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Lst>
  <p:notesMasterIdLst>
    <p:notesMasterId r:id="rId11"/>
  </p:notesMasterIdLst>
  <p:sldIdLst>
    <p:sldId id="2145706777" r:id="rId5"/>
    <p:sldId id="2145706891" r:id="rId6"/>
    <p:sldId id="2145706893" r:id="rId7"/>
    <p:sldId id="2145706894" r:id="rId8"/>
    <p:sldId id="2145706896" r:id="rId9"/>
    <p:sldId id="2145706895" r:id="rId10"/>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5" autoAdjust="0"/>
    <p:restoredTop sz="94660"/>
  </p:normalViewPr>
  <p:slideViewPr>
    <p:cSldViewPr snapToGrid="0">
      <p:cViewPr varScale="1">
        <p:scale>
          <a:sx n="67" d="100"/>
          <a:sy n="67" d="100"/>
        </p:scale>
        <p:origin x="644" y="44"/>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viewProps" Target="viewProps.xml"/><Relationship Id="rId3" Type="http://schemas.openxmlformats.org/officeDocument/2006/relationships/customXml" Target="../customXml/item3.xml"/><Relationship Id="rId7" Type="http://schemas.openxmlformats.org/officeDocument/2006/relationships/slide" Target="slides/slide3.xml"/><Relationship Id="rId12" Type="http://schemas.openxmlformats.org/officeDocument/2006/relationships/presProps" Target="presProps.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notesMaster" Target="notesMasters/notesMaster1.xml"/><Relationship Id="rId5" Type="http://schemas.openxmlformats.org/officeDocument/2006/relationships/slide" Target="slides/slide1.xml"/><Relationship Id="rId15" Type="http://schemas.openxmlformats.org/officeDocument/2006/relationships/tableStyles" Target="tableStyles.xml"/><Relationship Id="rId10" Type="http://schemas.openxmlformats.org/officeDocument/2006/relationships/slide" Target="slides/slide6.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theme" Target="theme/theme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3D7BE0B-378E-4F22-A8BB-4DAB867B0325}" type="datetimeFigureOut">
              <a:rPr lang="en-US" smtClean="0"/>
              <a:t>1/24/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5CBA3F3C-8FDF-404C-991E-2E484734EBC1}" type="slidenum">
              <a:rPr lang="en-US" smtClean="0"/>
              <a:t>‹#›</a:t>
            </a:fld>
            <a:endParaRPr lang="en-US"/>
          </a:p>
        </p:txBody>
      </p:sp>
    </p:spTree>
    <p:extLst>
      <p:ext uri="{BB962C8B-B14F-4D97-AF65-F5344CB8AC3E}">
        <p14:creationId xmlns:p14="http://schemas.microsoft.com/office/powerpoint/2010/main" val="211186906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2E3BBEB0-D8A1-124D-B540-4711A78D9F3A}" type="slidenum">
              <a:rPr lang="en-GB" smtClean="0"/>
              <a:t>1</a:t>
            </a:fld>
            <a:endParaRPr lang="en-GB"/>
          </a:p>
        </p:txBody>
      </p:sp>
    </p:spTree>
    <p:extLst>
      <p:ext uri="{BB962C8B-B14F-4D97-AF65-F5344CB8AC3E}">
        <p14:creationId xmlns:p14="http://schemas.microsoft.com/office/powerpoint/2010/main" val="150111376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1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2.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4.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5.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6.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7.xml"/><Relationship Id="rId5" Type="http://schemas.openxmlformats.org/officeDocument/2006/relationships/image" Target="../media/image3.png"/><Relationship Id="rId4"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8.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9.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0.xml"/><Relationship Id="rId5" Type="http://schemas.openxmlformats.org/officeDocument/2006/relationships/image" Target="../media/image2.png"/><Relationship Id="rId4" Type="http://schemas.openxmlformats.org/officeDocument/2006/relationships/image" Target="../media/image1.emf"/></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4 pillar">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2C73BAB-D3BC-4CEA-AF85-E09869374C3A}"/>
              </a:ext>
            </a:extLst>
          </p:cNvPr>
          <p:cNvGraphicFramePr>
            <a:graphicFrameLocks noChangeAspect="1"/>
          </p:cNvGraphicFramePr>
          <p:nvPr>
            <p:custDataLst>
              <p:tags r:id="rId1"/>
            </p:custDataLst>
            <p:extLst>
              <p:ext uri="{D42A27DB-BD31-4B8C-83A1-F6EECF244321}">
                <p14:modId xmlns:p14="http://schemas.microsoft.com/office/powerpoint/2010/main" val="27961941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0" imgH="393" progId="TCLayout.ActiveDocument.1">
                  <p:embed/>
                </p:oleObj>
              </mc:Choice>
              <mc:Fallback>
                <p:oleObj name="think-cell Slide" r:id="rId3" imgW="400" imgH="393" progId="TCLayout.ActiveDocument.1">
                  <p:embed/>
                  <p:pic>
                    <p:nvPicPr>
                      <p:cNvPr id="4" name="Object 3" hidden="1">
                        <a:extLst>
                          <a:ext uri="{FF2B5EF4-FFF2-40B4-BE49-F238E27FC236}">
                            <a16:creationId xmlns:a16="http://schemas.microsoft.com/office/drawing/2014/main" id="{22C73BAB-D3BC-4CEA-AF85-E09869374C3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22" name="Straight Connector 21">
            <a:extLst>
              <a:ext uri="{FF2B5EF4-FFF2-40B4-BE49-F238E27FC236}">
                <a16:creationId xmlns:a16="http://schemas.microsoft.com/office/drawing/2014/main" id="{408152C8-C481-964A-848C-47121E239699}"/>
              </a:ext>
            </a:extLst>
          </p:cNvPr>
          <p:cNvCxnSpPr>
            <a:cxnSpLocks/>
          </p:cNvCxnSpPr>
          <p:nvPr/>
        </p:nvCxnSpPr>
        <p:spPr>
          <a:xfrm>
            <a:off x="3222554" y="1637790"/>
            <a:ext cx="0" cy="4663440"/>
          </a:xfrm>
          <a:prstGeom prst="line">
            <a:avLst/>
          </a:prstGeom>
          <a:ln w="952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B1071EA7-FAD6-2947-8A8E-E0BBCFD50285}"/>
              </a:ext>
            </a:extLst>
          </p:cNvPr>
          <p:cNvCxnSpPr>
            <a:cxnSpLocks/>
          </p:cNvCxnSpPr>
          <p:nvPr/>
        </p:nvCxnSpPr>
        <p:spPr>
          <a:xfrm>
            <a:off x="6051614" y="1547158"/>
            <a:ext cx="0" cy="4663440"/>
          </a:xfrm>
          <a:prstGeom prst="line">
            <a:avLst/>
          </a:prstGeom>
          <a:ln w="952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32455726-460A-4143-B2F7-2160BC4B1AAF}"/>
              </a:ext>
            </a:extLst>
          </p:cNvPr>
          <p:cNvCxnSpPr>
            <a:cxnSpLocks/>
          </p:cNvCxnSpPr>
          <p:nvPr/>
        </p:nvCxnSpPr>
        <p:spPr>
          <a:xfrm>
            <a:off x="8880674" y="1677505"/>
            <a:ext cx="0" cy="4663440"/>
          </a:xfrm>
          <a:prstGeom prst="line">
            <a:avLst/>
          </a:prstGeom>
          <a:ln w="952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BD4A8238-8581-0B48-9D2A-2C23B4454818}"/>
              </a:ext>
            </a:extLst>
          </p:cNvPr>
          <p:cNvCxnSpPr>
            <a:cxnSpLocks/>
          </p:cNvCxnSpPr>
          <p:nvPr/>
        </p:nvCxnSpPr>
        <p:spPr>
          <a:xfrm>
            <a:off x="371475" y="4425016"/>
            <a:ext cx="11338564" cy="27001"/>
          </a:xfrm>
          <a:prstGeom prst="line">
            <a:avLst/>
          </a:prstGeom>
          <a:ln w="952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10" name="Group 9">
            <a:extLst>
              <a:ext uri="{FF2B5EF4-FFF2-40B4-BE49-F238E27FC236}">
                <a16:creationId xmlns:a16="http://schemas.microsoft.com/office/drawing/2014/main" id="{CBDDE579-FB72-4746-BAA0-235546931132}"/>
              </a:ext>
            </a:extLst>
          </p:cNvPr>
          <p:cNvGrpSpPr/>
          <p:nvPr/>
        </p:nvGrpSpPr>
        <p:grpSpPr>
          <a:xfrm>
            <a:off x="318000" y="1066621"/>
            <a:ext cx="11556000" cy="648030"/>
            <a:chOff x="784413" y="1119139"/>
            <a:chExt cx="11006428" cy="1170178"/>
          </a:xfrm>
        </p:grpSpPr>
        <p:sp>
          <p:nvSpPr>
            <p:cNvPr id="11" name="Rectangle: Rounded Corners 77">
              <a:extLst>
                <a:ext uri="{FF2B5EF4-FFF2-40B4-BE49-F238E27FC236}">
                  <a16:creationId xmlns:a16="http://schemas.microsoft.com/office/drawing/2014/main" id="{BBB9C7B4-A603-4E4A-9CC3-4F950A43ABCE}"/>
                </a:ext>
              </a:extLst>
            </p:cNvPr>
            <p:cNvSpPr/>
            <p:nvPr/>
          </p:nvSpPr>
          <p:spPr>
            <a:xfrm>
              <a:off x="784413" y="1119139"/>
              <a:ext cx="11006428" cy="1170178"/>
            </a:xfrm>
            <a:prstGeom prst="roundRect">
              <a:avLst>
                <a:gd name="adj" fmla="val 13628"/>
              </a:avLst>
            </a:prstGeom>
            <a:solidFill>
              <a:schemeClr val="bg1"/>
            </a:solidFill>
            <a:ln>
              <a:noFill/>
            </a:ln>
            <a:effectLst>
              <a:outerShdw blurRad="190500" sx="102000" sy="102000" algn="ctr"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16" name="Rectangle 73">
              <a:extLst>
                <a:ext uri="{FF2B5EF4-FFF2-40B4-BE49-F238E27FC236}">
                  <a16:creationId xmlns:a16="http://schemas.microsoft.com/office/drawing/2014/main" id="{EB5B0021-62EE-5A47-B5B4-4E6D6656115B}"/>
                </a:ext>
              </a:extLst>
            </p:cNvPr>
            <p:cNvSpPr/>
            <p:nvPr/>
          </p:nvSpPr>
          <p:spPr>
            <a:xfrm>
              <a:off x="900153" y="1218296"/>
              <a:ext cx="10780433" cy="932229"/>
            </a:xfrm>
            <a:prstGeom prst="roundRect">
              <a:avLst>
                <a:gd name="adj" fmla="val 14071"/>
              </a:avLst>
            </a:prstGeom>
            <a:solidFill>
              <a:srgbClr val="46AAC5"/>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Calibri"/>
                <a:ea typeface="+mn-ea"/>
                <a:cs typeface="+mn-cs"/>
              </a:endParaRPr>
            </a:p>
          </p:txBody>
        </p:sp>
        <p:cxnSp>
          <p:nvCxnSpPr>
            <p:cNvPr id="13" name="Straight Connector 12">
              <a:extLst>
                <a:ext uri="{FF2B5EF4-FFF2-40B4-BE49-F238E27FC236}">
                  <a16:creationId xmlns:a16="http://schemas.microsoft.com/office/drawing/2014/main" id="{27A682AC-4A82-D74C-B804-C1F3A3D20F1E}"/>
                </a:ext>
              </a:extLst>
            </p:cNvPr>
            <p:cNvCxnSpPr>
              <a:cxnSpLocks/>
            </p:cNvCxnSpPr>
            <p:nvPr/>
          </p:nvCxnSpPr>
          <p:spPr>
            <a:xfrm>
              <a:off x="3582197" y="1381956"/>
              <a:ext cx="0" cy="604911"/>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C45F4A70-12D9-CC40-9C31-5A495A95FEC3}"/>
                </a:ext>
              </a:extLst>
            </p:cNvPr>
            <p:cNvCxnSpPr>
              <a:cxnSpLocks/>
            </p:cNvCxnSpPr>
            <p:nvPr/>
          </p:nvCxnSpPr>
          <p:spPr>
            <a:xfrm>
              <a:off x="6295615" y="1381956"/>
              <a:ext cx="0" cy="604911"/>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F10FF3F4-152B-3C46-887E-B58C15BDB4A0}"/>
                </a:ext>
              </a:extLst>
            </p:cNvPr>
            <p:cNvCxnSpPr>
              <a:cxnSpLocks/>
            </p:cNvCxnSpPr>
            <p:nvPr/>
          </p:nvCxnSpPr>
          <p:spPr>
            <a:xfrm>
              <a:off x="8977280" y="1381956"/>
              <a:ext cx="0" cy="604911"/>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27" name="Text Placeholder 2">
            <a:extLst>
              <a:ext uri="{FF2B5EF4-FFF2-40B4-BE49-F238E27FC236}">
                <a16:creationId xmlns:a16="http://schemas.microsoft.com/office/drawing/2014/main" id="{D4D53367-56E8-384C-BCFC-1D832F0EC3F8}"/>
              </a:ext>
            </a:extLst>
          </p:cNvPr>
          <p:cNvSpPr>
            <a:spLocks noGrp="1"/>
          </p:cNvSpPr>
          <p:nvPr>
            <p:ph type="body" idx="18" hasCustomPrompt="1"/>
          </p:nvPr>
        </p:nvSpPr>
        <p:spPr>
          <a:xfrm>
            <a:off x="879552" y="1181090"/>
            <a:ext cx="1899851" cy="416119"/>
          </a:xfrm>
          <a:prstGeom prst="rect">
            <a:avLst/>
          </a:prstGeom>
        </p:spPr>
        <p:txBody>
          <a:bodyPr anchor="ctr"/>
          <a:lstStyle>
            <a:lvl1pPr marL="0" indent="0" algn="ctr">
              <a:buNone/>
              <a:defRPr sz="1800" b="1">
                <a:solidFill>
                  <a:schemeClr val="bg1">
                    <a:lumMod val="95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Heading</a:t>
            </a:r>
          </a:p>
        </p:txBody>
      </p:sp>
      <p:sp>
        <p:nvSpPr>
          <p:cNvPr id="28" name="Text Placeholder 2">
            <a:extLst>
              <a:ext uri="{FF2B5EF4-FFF2-40B4-BE49-F238E27FC236}">
                <a16:creationId xmlns:a16="http://schemas.microsoft.com/office/drawing/2014/main" id="{C05B4DD3-B6F6-E84B-944A-60A8D4D4D759}"/>
              </a:ext>
            </a:extLst>
          </p:cNvPr>
          <p:cNvSpPr>
            <a:spLocks noGrp="1"/>
          </p:cNvSpPr>
          <p:nvPr>
            <p:ph type="body" idx="19" hasCustomPrompt="1"/>
          </p:nvPr>
        </p:nvSpPr>
        <p:spPr>
          <a:xfrm>
            <a:off x="3702265" y="1181090"/>
            <a:ext cx="1899851" cy="416119"/>
          </a:xfrm>
          <a:prstGeom prst="rect">
            <a:avLst/>
          </a:prstGeom>
        </p:spPr>
        <p:txBody>
          <a:bodyPr anchor="ctr"/>
          <a:lstStyle>
            <a:lvl1pPr marL="0" indent="0" algn="ctr">
              <a:buNone/>
              <a:defRPr sz="1800" b="1">
                <a:solidFill>
                  <a:schemeClr val="bg1">
                    <a:lumMod val="95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Heading</a:t>
            </a:r>
          </a:p>
        </p:txBody>
      </p:sp>
      <p:sp>
        <p:nvSpPr>
          <p:cNvPr id="36" name="Text Placeholder 2">
            <a:extLst>
              <a:ext uri="{FF2B5EF4-FFF2-40B4-BE49-F238E27FC236}">
                <a16:creationId xmlns:a16="http://schemas.microsoft.com/office/drawing/2014/main" id="{85060853-75A4-6346-BA15-3E30A2BA42A0}"/>
              </a:ext>
            </a:extLst>
          </p:cNvPr>
          <p:cNvSpPr>
            <a:spLocks noGrp="1"/>
          </p:cNvSpPr>
          <p:nvPr>
            <p:ph type="body" idx="20" hasCustomPrompt="1"/>
          </p:nvPr>
        </p:nvSpPr>
        <p:spPr>
          <a:xfrm>
            <a:off x="6524978" y="1181090"/>
            <a:ext cx="1899851" cy="416119"/>
          </a:xfrm>
          <a:prstGeom prst="rect">
            <a:avLst/>
          </a:prstGeom>
        </p:spPr>
        <p:txBody>
          <a:bodyPr anchor="ctr"/>
          <a:lstStyle>
            <a:lvl1pPr marL="0" indent="0" algn="ctr">
              <a:buNone/>
              <a:defRPr sz="1800" b="1">
                <a:solidFill>
                  <a:schemeClr val="bg1">
                    <a:lumMod val="95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Heading</a:t>
            </a:r>
          </a:p>
        </p:txBody>
      </p:sp>
      <p:sp>
        <p:nvSpPr>
          <p:cNvPr id="37" name="Text Placeholder 2">
            <a:extLst>
              <a:ext uri="{FF2B5EF4-FFF2-40B4-BE49-F238E27FC236}">
                <a16:creationId xmlns:a16="http://schemas.microsoft.com/office/drawing/2014/main" id="{01437074-2C4C-B549-99D0-7B19C7B143C2}"/>
              </a:ext>
            </a:extLst>
          </p:cNvPr>
          <p:cNvSpPr>
            <a:spLocks noGrp="1"/>
          </p:cNvSpPr>
          <p:nvPr>
            <p:ph type="body" idx="21" hasCustomPrompt="1"/>
          </p:nvPr>
        </p:nvSpPr>
        <p:spPr>
          <a:xfrm>
            <a:off x="9347692" y="1181090"/>
            <a:ext cx="1899851" cy="416119"/>
          </a:xfrm>
          <a:prstGeom prst="rect">
            <a:avLst/>
          </a:prstGeom>
        </p:spPr>
        <p:txBody>
          <a:bodyPr anchor="ctr"/>
          <a:lstStyle>
            <a:lvl1pPr marL="0" indent="0" algn="ctr">
              <a:buNone/>
              <a:defRPr sz="1800" b="1">
                <a:solidFill>
                  <a:schemeClr val="bg1">
                    <a:lumMod val="95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Heading</a:t>
            </a:r>
          </a:p>
        </p:txBody>
      </p:sp>
      <p:sp>
        <p:nvSpPr>
          <p:cNvPr id="3" name="Text Placeholder 2">
            <a:extLst>
              <a:ext uri="{FF2B5EF4-FFF2-40B4-BE49-F238E27FC236}">
                <a16:creationId xmlns:a16="http://schemas.microsoft.com/office/drawing/2014/main" id="{1CB59A62-4237-C940-8549-4BD909FAC4C1}"/>
              </a:ext>
            </a:extLst>
          </p:cNvPr>
          <p:cNvSpPr>
            <a:spLocks noGrp="1"/>
          </p:cNvSpPr>
          <p:nvPr>
            <p:ph type="body" sz="quarter" idx="22" hasCustomPrompt="1"/>
          </p:nvPr>
        </p:nvSpPr>
        <p:spPr>
          <a:xfrm>
            <a:off x="559387" y="2101261"/>
            <a:ext cx="2540181" cy="2246894"/>
          </a:xfrm>
          <a:prstGeom prst="rect">
            <a:avLst/>
          </a:prstGeom>
        </p:spPr>
        <p:txBody>
          <a:bodyPr/>
          <a:lstStyle>
            <a:lvl1pPr marL="285750" indent="-285750">
              <a:buClr>
                <a:schemeClr val="accent3"/>
              </a:buClr>
              <a:buFont typeface="Wingdings" pitchFamily="2" charset="2"/>
              <a:buChar char="§"/>
              <a:defRPr sz="1400"/>
            </a:lvl1pPr>
          </a:lstStyle>
          <a:p>
            <a:pPr lvl="0"/>
            <a:r>
              <a:rPr lang="en-GB"/>
              <a:t>Write your text here</a:t>
            </a:r>
          </a:p>
        </p:txBody>
      </p:sp>
      <p:sp>
        <p:nvSpPr>
          <p:cNvPr id="39" name="Text Placeholder 2">
            <a:extLst>
              <a:ext uri="{FF2B5EF4-FFF2-40B4-BE49-F238E27FC236}">
                <a16:creationId xmlns:a16="http://schemas.microsoft.com/office/drawing/2014/main" id="{7F3E554D-59F3-4346-B458-A0C3FB411A4E}"/>
              </a:ext>
            </a:extLst>
          </p:cNvPr>
          <p:cNvSpPr>
            <a:spLocks noGrp="1"/>
          </p:cNvSpPr>
          <p:nvPr>
            <p:ph type="body" sz="quarter" idx="23" hasCustomPrompt="1"/>
          </p:nvPr>
        </p:nvSpPr>
        <p:spPr>
          <a:xfrm>
            <a:off x="3382100" y="2101261"/>
            <a:ext cx="2540181" cy="2246894"/>
          </a:xfrm>
          <a:prstGeom prst="rect">
            <a:avLst/>
          </a:prstGeom>
        </p:spPr>
        <p:txBody>
          <a:bodyPr/>
          <a:lstStyle>
            <a:lvl1pPr marL="285750" indent="-285750">
              <a:buClr>
                <a:schemeClr val="accent3"/>
              </a:buClr>
              <a:buFont typeface="Wingdings" pitchFamily="2" charset="2"/>
              <a:buChar char="§"/>
              <a:defRPr sz="1400"/>
            </a:lvl1pPr>
          </a:lstStyle>
          <a:p>
            <a:pPr lvl="0"/>
            <a:r>
              <a:rPr lang="en-GB"/>
              <a:t>Write your text here</a:t>
            </a:r>
          </a:p>
        </p:txBody>
      </p:sp>
      <p:sp>
        <p:nvSpPr>
          <p:cNvPr id="40" name="Text Placeholder 2">
            <a:extLst>
              <a:ext uri="{FF2B5EF4-FFF2-40B4-BE49-F238E27FC236}">
                <a16:creationId xmlns:a16="http://schemas.microsoft.com/office/drawing/2014/main" id="{49A64BEF-43C4-1243-AD2E-D0A806BC284E}"/>
              </a:ext>
            </a:extLst>
          </p:cNvPr>
          <p:cNvSpPr>
            <a:spLocks noGrp="1"/>
          </p:cNvSpPr>
          <p:nvPr>
            <p:ph type="body" sz="quarter" idx="24" hasCustomPrompt="1"/>
          </p:nvPr>
        </p:nvSpPr>
        <p:spPr>
          <a:xfrm>
            <a:off x="6204813" y="2101261"/>
            <a:ext cx="2540181" cy="2246894"/>
          </a:xfrm>
          <a:prstGeom prst="rect">
            <a:avLst/>
          </a:prstGeom>
        </p:spPr>
        <p:txBody>
          <a:bodyPr/>
          <a:lstStyle>
            <a:lvl1pPr marL="285750" indent="-285750">
              <a:buClr>
                <a:schemeClr val="accent3"/>
              </a:buClr>
              <a:buFont typeface="Wingdings" pitchFamily="2" charset="2"/>
              <a:buChar char="§"/>
              <a:defRPr sz="1400"/>
            </a:lvl1pPr>
          </a:lstStyle>
          <a:p>
            <a:pPr lvl="0"/>
            <a:r>
              <a:rPr lang="en-GB"/>
              <a:t>Write your text here</a:t>
            </a:r>
          </a:p>
        </p:txBody>
      </p:sp>
      <p:sp>
        <p:nvSpPr>
          <p:cNvPr id="43" name="Text Placeholder 2">
            <a:extLst>
              <a:ext uri="{FF2B5EF4-FFF2-40B4-BE49-F238E27FC236}">
                <a16:creationId xmlns:a16="http://schemas.microsoft.com/office/drawing/2014/main" id="{D0C4729F-2420-C94D-9CA1-320FF9E06FA2}"/>
              </a:ext>
            </a:extLst>
          </p:cNvPr>
          <p:cNvSpPr>
            <a:spLocks noGrp="1"/>
          </p:cNvSpPr>
          <p:nvPr>
            <p:ph type="body" sz="quarter" idx="25" hasCustomPrompt="1"/>
          </p:nvPr>
        </p:nvSpPr>
        <p:spPr>
          <a:xfrm>
            <a:off x="9027527" y="2101261"/>
            <a:ext cx="2540181" cy="2246894"/>
          </a:xfrm>
          <a:prstGeom prst="rect">
            <a:avLst/>
          </a:prstGeom>
        </p:spPr>
        <p:txBody>
          <a:bodyPr/>
          <a:lstStyle>
            <a:lvl1pPr marL="285750" indent="-285750">
              <a:buClr>
                <a:schemeClr val="accent3"/>
              </a:buClr>
              <a:buFont typeface="Wingdings" pitchFamily="2" charset="2"/>
              <a:buChar char="§"/>
              <a:defRPr sz="1400"/>
            </a:lvl1pPr>
          </a:lstStyle>
          <a:p>
            <a:pPr lvl="0"/>
            <a:r>
              <a:rPr lang="en-GB"/>
              <a:t>Write your text here</a:t>
            </a:r>
          </a:p>
        </p:txBody>
      </p:sp>
      <p:sp>
        <p:nvSpPr>
          <p:cNvPr id="30" name="Slide Number Placeholder 5">
            <a:extLst>
              <a:ext uri="{FF2B5EF4-FFF2-40B4-BE49-F238E27FC236}">
                <a16:creationId xmlns:a16="http://schemas.microsoft.com/office/drawing/2014/main" id="{A934C483-8CC1-4E78-A10D-40E62292DA2A}"/>
              </a:ext>
            </a:extLst>
          </p:cNvPr>
          <p:cNvSpPr txBox="1">
            <a:spLocks/>
          </p:cNvSpPr>
          <p:nvPr userDrawn="1"/>
        </p:nvSpPr>
        <p:spPr>
          <a:xfrm>
            <a:off x="11373135" y="6506785"/>
            <a:ext cx="609600" cy="261610"/>
          </a:xfrm>
          <a:prstGeom prst="rect">
            <a:avLst/>
          </a:prstGeom>
          <a:noFill/>
        </p:spPr>
        <p:txBody>
          <a:bodyPr>
            <a:spAutoFit/>
          </a:bodyPr>
          <a:lstStyle>
            <a:defPPr>
              <a:defRPr lang="en-US"/>
            </a:defPPr>
            <a:lvl1pPr marL="0" algn="ctr" defTabSz="914400" rtl="0" eaLnBrk="1" latinLnBrk="0" hangingPunct="1">
              <a:defRPr lang="en-US" sz="1800" kern="1200" smtClean="0">
                <a:solidFill>
                  <a:schemeClr val="bg1"/>
                </a:solidFill>
                <a:latin typeface="Tahoma" pitchFamily="34" charset="0"/>
                <a:ea typeface="Tahoma" pitchFamily="34" charset="0"/>
                <a:cs typeface="Tahoma"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fld id="{3413C1ED-5599-4BB6-878F-244F2E6B8E4A}" type="slidenum">
              <a:rPr lang="en-IN" sz="1100">
                <a:solidFill>
                  <a:prstClr val="black">
                    <a:lumMod val="50000"/>
                    <a:lumOff val="50000"/>
                  </a:prstClr>
                </a:solidFill>
              </a:rPr>
              <a:pPr fontAlgn="auto">
                <a:spcBef>
                  <a:spcPts val="0"/>
                </a:spcBef>
                <a:spcAft>
                  <a:spcPts val="0"/>
                </a:spcAft>
                <a:defRPr/>
              </a:pPr>
              <a:t>‹#›</a:t>
            </a:fld>
            <a:endParaRPr lang="en-IN" sz="1100">
              <a:solidFill>
                <a:prstClr val="black">
                  <a:lumMod val="50000"/>
                  <a:lumOff val="50000"/>
                </a:prstClr>
              </a:solidFill>
            </a:endParaRPr>
          </a:p>
        </p:txBody>
      </p:sp>
      <p:pic>
        <p:nvPicPr>
          <p:cNvPr id="31" name="Picture 30">
            <a:extLst>
              <a:ext uri="{FF2B5EF4-FFF2-40B4-BE49-F238E27FC236}">
                <a16:creationId xmlns:a16="http://schemas.microsoft.com/office/drawing/2014/main" id="{2A9427EC-09AE-464F-97BF-FD841254608F}"/>
              </a:ext>
            </a:extLst>
          </p:cNvPr>
          <p:cNvPicPr>
            <a:picLocks noChangeAspect="1"/>
          </p:cNvPicPr>
          <p:nvPr userDrawn="1"/>
        </p:nvPicPr>
        <p:blipFill>
          <a:blip r:embed="rId5"/>
          <a:stretch>
            <a:fillRect/>
          </a:stretch>
        </p:blipFill>
        <p:spPr>
          <a:xfrm>
            <a:off x="464908" y="6506785"/>
            <a:ext cx="1148260" cy="138938"/>
          </a:xfrm>
          <a:prstGeom prst="rect">
            <a:avLst/>
          </a:prstGeom>
        </p:spPr>
      </p:pic>
      <p:sp>
        <p:nvSpPr>
          <p:cNvPr id="32" name="Title 11">
            <a:extLst>
              <a:ext uri="{FF2B5EF4-FFF2-40B4-BE49-F238E27FC236}">
                <a16:creationId xmlns:a16="http://schemas.microsoft.com/office/drawing/2014/main" id="{7DD4CE38-6B71-402B-8CFB-3909F61FE9B9}"/>
              </a:ext>
            </a:extLst>
          </p:cNvPr>
          <p:cNvSpPr>
            <a:spLocks noGrp="1"/>
          </p:cNvSpPr>
          <p:nvPr>
            <p:ph type="title" hasCustomPrompt="1"/>
          </p:nvPr>
        </p:nvSpPr>
        <p:spPr>
          <a:xfrm>
            <a:off x="464908" y="185817"/>
            <a:ext cx="10515600" cy="608663"/>
          </a:xfrm>
          <a:prstGeom prst="rect">
            <a:avLst/>
          </a:prstGeom>
        </p:spPr>
        <p:txBody>
          <a:bodyPr vert="horz" lIns="0" tIns="0" rIns="0" bIns="0" rtlCol="0" anchor="ctr">
            <a:normAutofit/>
          </a:bodyPr>
          <a:lstStyle>
            <a:lvl1pPr>
              <a:defRPr lang="en-US" sz="2600" dirty="0">
                <a:solidFill>
                  <a:srgbClr val="334D8B"/>
                </a:solidFill>
              </a:defRPr>
            </a:lvl1pPr>
          </a:lstStyle>
          <a:p>
            <a:pPr lvl="0"/>
            <a:r>
              <a:rPr lang="en-US"/>
              <a:t>Write your Heading here</a:t>
            </a:r>
          </a:p>
        </p:txBody>
      </p:sp>
      <p:sp>
        <p:nvSpPr>
          <p:cNvPr id="33" name="Freeform: Shape 14">
            <a:extLst>
              <a:ext uri="{FF2B5EF4-FFF2-40B4-BE49-F238E27FC236}">
                <a16:creationId xmlns:a16="http://schemas.microsoft.com/office/drawing/2014/main" id="{9C6ADEC9-B364-45F4-B575-30E3203D5AC4}"/>
              </a:ext>
            </a:extLst>
          </p:cNvPr>
          <p:cNvSpPr/>
          <p:nvPr userDrawn="1"/>
        </p:nvSpPr>
        <p:spPr>
          <a:xfrm rot="5400000" flipH="1">
            <a:off x="10650813" y="-6388"/>
            <a:ext cx="1528833" cy="1553542"/>
          </a:xfrm>
          <a:custGeom>
            <a:avLst/>
            <a:gdLst>
              <a:gd name="connsiteX0" fmla="*/ 2051041 w 2051041"/>
              <a:gd name="connsiteY0" fmla="*/ 2080382 h 2084191"/>
              <a:gd name="connsiteX1" fmla="*/ 2051041 w 2051041"/>
              <a:gd name="connsiteY1" fmla="*/ 2083967 h 2084191"/>
              <a:gd name="connsiteX2" fmla="*/ 2047231 w 2051041"/>
              <a:gd name="connsiteY2" fmla="*/ 2084191 h 2084191"/>
              <a:gd name="connsiteX3" fmla="*/ 2045599 w 2051041"/>
              <a:gd name="connsiteY3" fmla="*/ 2081470 h 2084191"/>
              <a:gd name="connsiteX4" fmla="*/ 1478568 w 2051041"/>
              <a:gd name="connsiteY4" fmla="*/ 1997668 h 2084191"/>
              <a:gd name="connsiteX5" fmla="*/ 1484554 w 2051041"/>
              <a:gd name="connsiteY5" fmla="*/ 2004743 h 2084191"/>
              <a:gd name="connsiteX6" fmla="*/ 1478568 w 2051041"/>
              <a:gd name="connsiteY6" fmla="*/ 2009096 h 2084191"/>
              <a:gd name="connsiteX7" fmla="*/ 1473126 w 2051041"/>
              <a:gd name="connsiteY7" fmla="*/ 2003654 h 2084191"/>
              <a:gd name="connsiteX8" fmla="*/ 1478568 w 2051041"/>
              <a:gd name="connsiteY8" fmla="*/ 1997668 h 2084191"/>
              <a:gd name="connsiteX9" fmla="*/ 1641820 w 2051041"/>
              <a:gd name="connsiteY9" fmla="*/ 1993859 h 2084191"/>
              <a:gd name="connsiteX10" fmla="*/ 1652160 w 2051041"/>
              <a:gd name="connsiteY10" fmla="*/ 2003654 h 2084191"/>
              <a:gd name="connsiteX11" fmla="*/ 1641820 w 2051041"/>
              <a:gd name="connsiteY11" fmla="*/ 2013449 h 2084191"/>
              <a:gd name="connsiteX12" fmla="*/ 1632025 w 2051041"/>
              <a:gd name="connsiteY12" fmla="*/ 2003654 h 2084191"/>
              <a:gd name="connsiteX13" fmla="*/ 1641820 w 2051041"/>
              <a:gd name="connsiteY13" fmla="*/ 1993859 h 2084191"/>
              <a:gd name="connsiteX14" fmla="*/ 1969414 w 2051041"/>
              <a:gd name="connsiteY14" fmla="*/ 1992226 h 2084191"/>
              <a:gd name="connsiteX15" fmla="*/ 1979753 w 2051041"/>
              <a:gd name="connsiteY15" fmla="*/ 2003654 h 2084191"/>
              <a:gd name="connsiteX16" fmla="*/ 1968325 w 2051041"/>
              <a:gd name="connsiteY16" fmla="*/ 2014537 h 2084191"/>
              <a:gd name="connsiteX17" fmla="*/ 1957986 w 2051041"/>
              <a:gd name="connsiteY17" fmla="*/ 2003110 h 2084191"/>
              <a:gd name="connsiteX18" fmla="*/ 1969414 w 2051041"/>
              <a:gd name="connsiteY18" fmla="*/ 1992226 h 2084191"/>
              <a:gd name="connsiteX19" fmla="*/ 1805073 w 2051041"/>
              <a:gd name="connsiteY19" fmla="*/ 1992226 h 2084191"/>
              <a:gd name="connsiteX20" fmla="*/ 1815956 w 2051041"/>
              <a:gd name="connsiteY20" fmla="*/ 2002565 h 2084191"/>
              <a:gd name="connsiteX21" fmla="*/ 1805073 w 2051041"/>
              <a:gd name="connsiteY21" fmla="*/ 2014537 h 2084191"/>
              <a:gd name="connsiteX22" fmla="*/ 1794189 w 2051041"/>
              <a:gd name="connsiteY22" fmla="*/ 2004198 h 2084191"/>
              <a:gd name="connsiteX23" fmla="*/ 1805073 w 2051041"/>
              <a:gd name="connsiteY23" fmla="*/ 1992226 h 2084191"/>
              <a:gd name="connsiteX24" fmla="*/ 1234233 w 2051041"/>
              <a:gd name="connsiteY24" fmla="*/ 1916042 h 2084191"/>
              <a:gd name="connsiteX25" fmla="*/ 1240219 w 2051041"/>
              <a:gd name="connsiteY25" fmla="*/ 1923660 h 2084191"/>
              <a:gd name="connsiteX26" fmla="*/ 1236953 w 2051041"/>
              <a:gd name="connsiteY26" fmla="*/ 1926381 h 2084191"/>
              <a:gd name="connsiteX27" fmla="*/ 1229335 w 2051041"/>
              <a:gd name="connsiteY27" fmla="*/ 1918762 h 2084191"/>
              <a:gd name="connsiteX28" fmla="*/ 1234233 w 2051041"/>
              <a:gd name="connsiteY28" fmla="*/ 1916042 h 2084191"/>
              <a:gd name="connsiteX29" fmla="*/ 1397486 w 2051041"/>
              <a:gd name="connsiteY29" fmla="*/ 1911144 h 2084191"/>
              <a:gd name="connsiteX30" fmla="*/ 1408369 w 2051041"/>
              <a:gd name="connsiteY30" fmla="*/ 1921483 h 2084191"/>
              <a:gd name="connsiteX31" fmla="*/ 1399118 w 2051041"/>
              <a:gd name="connsiteY31" fmla="*/ 1931823 h 2084191"/>
              <a:gd name="connsiteX32" fmla="*/ 1387146 w 2051041"/>
              <a:gd name="connsiteY32" fmla="*/ 1922028 h 2084191"/>
              <a:gd name="connsiteX33" fmla="*/ 1397486 w 2051041"/>
              <a:gd name="connsiteY33" fmla="*/ 1911144 h 2084191"/>
              <a:gd name="connsiteX34" fmla="*/ 1560194 w 2051041"/>
              <a:gd name="connsiteY34" fmla="*/ 1906790 h 2084191"/>
              <a:gd name="connsiteX35" fmla="*/ 1574342 w 2051041"/>
              <a:gd name="connsiteY35" fmla="*/ 1921482 h 2084191"/>
              <a:gd name="connsiteX36" fmla="*/ 1560738 w 2051041"/>
              <a:gd name="connsiteY36" fmla="*/ 1935631 h 2084191"/>
              <a:gd name="connsiteX37" fmla="*/ 1547134 w 2051041"/>
              <a:gd name="connsiteY37" fmla="*/ 1922027 h 2084191"/>
              <a:gd name="connsiteX38" fmla="*/ 1560194 w 2051041"/>
              <a:gd name="connsiteY38" fmla="*/ 1906790 h 2084191"/>
              <a:gd name="connsiteX39" fmla="*/ 2049952 w 2051041"/>
              <a:gd name="connsiteY39" fmla="*/ 1905702 h 2084191"/>
              <a:gd name="connsiteX40" fmla="*/ 2051041 w 2051041"/>
              <a:gd name="connsiteY40" fmla="*/ 1906027 h 2084191"/>
              <a:gd name="connsiteX41" fmla="*/ 2051041 w 2051041"/>
              <a:gd name="connsiteY41" fmla="*/ 1938133 h 2084191"/>
              <a:gd name="connsiteX42" fmla="*/ 2050496 w 2051041"/>
              <a:gd name="connsiteY42" fmla="*/ 1938353 h 2084191"/>
              <a:gd name="connsiteX43" fmla="*/ 2034171 w 2051041"/>
              <a:gd name="connsiteY43" fmla="*/ 1922572 h 2084191"/>
              <a:gd name="connsiteX44" fmla="*/ 2049952 w 2051041"/>
              <a:gd name="connsiteY44" fmla="*/ 1905702 h 2084191"/>
              <a:gd name="connsiteX45" fmla="*/ 1723447 w 2051041"/>
              <a:gd name="connsiteY45" fmla="*/ 1905702 h 2084191"/>
              <a:gd name="connsiteX46" fmla="*/ 1739772 w 2051041"/>
              <a:gd name="connsiteY46" fmla="*/ 1920939 h 2084191"/>
              <a:gd name="connsiteX47" fmla="*/ 1724535 w 2051041"/>
              <a:gd name="connsiteY47" fmla="*/ 1937264 h 2084191"/>
              <a:gd name="connsiteX48" fmla="*/ 1708210 w 2051041"/>
              <a:gd name="connsiteY48" fmla="*/ 1922027 h 2084191"/>
              <a:gd name="connsiteX49" fmla="*/ 1723447 w 2051041"/>
              <a:gd name="connsiteY49" fmla="*/ 1905702 h 2084191"/>
              <a:gd name="connsiteX50" fmla="*/ 1887787 w 2051041"/>
              <a:gd name="connsiteY50" fmla="*/ 1905158 h 2084191"/>
              <a:gd name="connsiteX51" fmla="*/ 1904113 w 2051041"/>
              <a:gd name="connsiteY51" fmla="*/ 1922028 h 2084191"/>
              <a:gd name="connsiteX52" fmla="*/ 1886699 w 2051041"/>
              <a:gd name="connsiteY52" fmla="*/ 1937809 h 2084191"/>
              <a:gd name="connsiteX53" fmla="*/ 1870918 w 2051041"/>
              <a:gd name="connsiteY53" fmla="*/ 1921483 h 2084191"/>
              <a:gd name="connsiteX54" fmla="*/ 1887787 w 2051041"/>
              <a:gd name="connsiteY54" fmla="*/ 1905158 h 2084191"/>
              <a:gd name="connsiteX55" fmla="*/ 1152606 w 2051041"/>
              <a:gd name="connsiteY55" fmla="*/ 1831693 h 2084191"/>
              <a:gd name="connsiteX56" fmla="*/ 1161313 w 2051041"/>
              <a:gd name="connsiteY56" fmla="*/ 1839312 h 2084191"/>
              <a:gd name="connsiteX57" fmla="*/ 1153694 w 2051041"/>
              <a:gd name="connsiteY57" fmla="*/ 1852916 h 2084191"/>
              <a:gd name="connsiteX58" fmla="*/ 1144988 w 2051041"/>
              <a:gd name="connsiteY58" fmla="*/ 1841489 h 2084191"/>
              <a:gd name="connsiteX59" fmla="*/ 1152606 w 2051041"/>
              <a:gd name="connsiteY59" fmla="*/ 1831693 h 2084191"/>
              <a:gd name="connsiteX60" fmla="*/ 1315315 w 2051041"/>
              <a:gd name="connsiteY60" fmla="*/ 1825708 h 2084191"/>
              <a:gd name="connsiteX61" fmla="*/ 1330552 w 2051041"/>
              <a:gd name="connsiteY61" fmla="*/ 1840401 h 2084191"/>
              <a:gd name="connsiteX62" fmla="*/ 1316404 w 2051041"/>
              <a:gd name="connsiteY62" fmla="*/ 1854549 h 2084191"/>
              <a:gd name="connsiteX63" fmla="*/ 1301711 w 2051041"/>
              <a:gd name="connsiteY63" fmla="*/ 1840945 h 2084191"/>
              <a:gd name="connsiteX64" fmla="*/ 1315315 w 2051041"/>
              <a:gd name="connsiteY64" fmla="*/ 1825708 h 2084191"/>
              <a:gd name="connsiteX65" fmla="*/ 1479656 w 2051041"/>
              <a:gd name="connsiteY65" fmla="*/ 1822987 h 2084191"/>
              <a:gd name="connsiteX66" fmla="*/ 1495981 w 2051041"/>
              <a:gd name="connsiteY66" fmla="*/ 1840401 h 2084191"/>
              <a:gd name="connsiteX67" fmla="*/ 1478567 w 2051041"/>
              <a:gd name="connsiteY67" fmla="*/ 1856182 h 2084191"/>
              <a:gd name="connsiteX68" fmla="*/ 1462242 w 2051041"/>
              <a:gd name="connsiteY68" fmla="*/ 1839312 h 2084191"/>
              <a:gd name="connsiteX69" fmla="*/ 1479656 w 2051041"/>
              <a:gd name="connsiteY69" fmla="*/ 1822987 h 2084191"/>
              <a:gd name="connsiteX70" fmla="*/ 1642365 w 2051041"/>
              <a:gd name="connsiteY70" fmla="*/ 1821355 h 2084191"/>
              <a:gd name="connsiteX71" fmla="*/ 1660867 w 2051041"/>
              <a:gd name="connsiteY71" fmla="*/ 1840401 h 2084191"/>
              <a:gd name="connsiteX72" fmla="*/ 1642365 w 2051041"/>
              <a:gd name="connsiteY72" fmla="*/ 1857270 h 2084191"/>
              <a:gd name="connsiteX73" fmla="*/ 1624407 w 2051041"/>
              <a:gd name="connsiteY73" fmla="*/ 1839857 h 2084191"/>
              <a:gd name="connsiteX74" fmla="*/ 1642365 w 2051041"/>
              <a:gd name="connsiteY74" fmla="*/ 1821355 h 2084191"/>
              <a:gd name="connsiteX75" fmla="*/ 1806162 w 2051041"/>
              <a:gd name="connsiteY75" fmla="*/ 1819723 h 2084191"/>
              <a:gd name="connsiteX76" fmla="*/ 1826840 w 2051041"/>
              <a:gd name="connsiteY76" fmla="*/ 1840945 h 2084191"/>
              <a:gd name="connsiteX77" fmla="*/ 1804529 w 2051041"/>
              <a:gd name="connsiteY77" fmla="*/ 1861080 h 2084191"/>
              <a:gd name="connsiteX78" fmla="*/ 1784395 w 2051041"/>
              <a:gd name="connsiteY78" fmla="*/ 1839313 h 2084191"/>
              <a:gd name="connsiteX79" fmla="*/ 1806162 w 2051041"/>
              <a:gd name="connsiteY79" fmla="*/ 1819723 h 2084191"/>
              <a:gd name="connsiteX80" fmla="*/ 1968870 w 2051041"/>
              <a:gd name="connsiteY80" fmla="*/ 1819178 h 2084191"/>
              <a:gd name="connsiteX81" fmla="*/ 1990093 w 2051041"/>
              <a:gd name="connsiteY81" fmla="*/ 1840401 h 2084191"/>
              <a:gd name="connsiteX82" fmla="*/ 1968870 w 2051041"/>
              <a:gd name="connsiteY82" fmla="*/ 1861624 h 2084191"/>
              <a:gd name="connsiteX83" fmla="*/ 1947647 w 2051041"/>
              <a:gd name="connsiteY83" fmla="*/ 1840401 h 2084191"/>
              <a:gd name="connsiteX84" fmla="*/ 1968870 w 2051041"/>
              <a:gd name="connsiteY84" fmla="*/ 1819178 h 2084191"/>
              <a:gd name="connsiteX85" fmla="*/ 1070436 w 2051041"/>
              <a:gd name="connsiteY85" fmla="*/ 1747347 h 2084191"/>
              <a:gd name="connsiteX86" fmla="*/ 1081863 w 2051041"/>
              <a:gd name="connsiteY86" fmla="*/ 1758231 h 2084191"/>
              <a:gd name="connsiteX87" fmla="*/ 1070980 w 2051041"/>
              <a:gd name="connsiteY87" fmla="*/ 1769658 h 2084191"/>
              <a:gd name="connsiteX88" fmla="*/ 1059552 w 2051041"/>
              <a:gd name="connsiteY88" fmla="*/ 1758775 h 2084191"/>
              <a:gd name="connsiteX89" fmla="*/ 1070436 w 2051041"/>
              <a:gd name="connsiteY89" fmla="*/ 1747347 h 2084191"/>
              <a:gd name="connsiteX90" fmla="*/ 1233688 w 2051041"/>
              <a:gd name="connsiteY90" fmla="*/ 1742449 h 2084191"/>
              <a:gd name="connsiteX91" fmla="*/ 1250558 w 2051041"/>
              <a:gd name="connsiteY91" fmla="*/ 1758774 h 2084191"/>
              <a:gd name="connsiteX92" fmla="*/ 1233688 w 2051041"/>
              <a:gd name="connsiteY92" fmla="*/ 1775099 h 2084191"/>
              <a:gd name="connsiteX93" fmla="*/ 1217907 w 2051041"/>
              <a:gd name="connsiteY93" fmla="*/ 1759318 h 2084191"/>
              <a:gd name="connsiteX94" fmla="*/ 1233688 w 2051041"/>
              <a:gd name="connsiteY94" fmla="*/ 1742449 h 2084191"/>
              <a:gd name="connsiteX95" fmla="*/ 1399662 w 2051041"/>
              <a:gd name="connsiteY95" fmla="*/ 1739728 h 2084191"/>
              <a:gd name="connsiteX96" fmla="*/ 1417076 w 2051041"/>
              <a:gd name="connsiteY96" fmla="*/ 1760407 h 2084191"/>
              <a:gd name="connsiteX97" fmla="*/ 1396941 w 2051041"/>
              <a:gd name="connsiteY97" fmla="*/ 1779453 h 2084191"/>
              <a:gd name="connsiteX98" fmla="*/ 1377895 w 2051041"/>
              <a:gd name="connsiteY98" fmla="*/ 1757686 h 2084191"/>
              <a:gd name="connsiteX99" fmla="*/ 1399662 w 2051041"/>
              <a:gd name="connsiteY99" fmla="*/ 1739728 h 2084191"/>
              <a:gd name="connsiteX100" fmla="*/ 1723991 w 2051041"/>
              <a:gd name="connsiteY100" fmla="*/ 1735919 h 2084191"/>
              <a:gd name="connsiteX101" fmla="*/ 1746847 w 2051041"/>
              <a:gd name="connsiteY101" fmla="*/ 1758774 h 2084191"/>
              <a:gd name="connsiteX102" fmla="*/ 1723991 w 2051041"/>
              <a:gd name="connsiteY102" fmla="*/ 1781086 h 2084191"/>
              <a:gd name="connsiteX103" fmla="*/ 1701680 w 2051041"/>
              <a:gd name="connsiteY103" fmla="*/ 1758774 h 2084191"/>
              <a:gd name="connsiteX104" fmla="*/ 1723991 w 2051041"/>
              <a:gd name="connsiteY104" fmla="*/ 1735919 h 2084191"/>
              <a:gd name="connsiteX105" fmla="*/ 1560194 w 2051041"/>
              <a:gd name="connsiteY105" fmla="*/ 1735919 h 2084191"/>
              <a:gd name="connsiteX106" fmla="*/ 1582505 w 2051041"/>
              <a:gd name="connsiteY106" fmla="*/ 1758230 h 2084191"/>
              <a:gd name="connsiteX107" fmla="*/ 1560738 w 2051041"/>
              <a:gd name="connsiteY107" fmla="*/ 1779997 h 2084191"/>
              <a:gd name="connsiteX108" fmla="*/ 1538427 w 2051041"/>
              <a:gd name="connsiteY108" fmla="*/ 1758230 h 2084191"/>
              <a:gd name="connsiteX109" fmla="*/ 1560194 w 2051041"/>
              <a:gd name="connsiteY109" fmla="*/ 1735919 h 2084191"/>
              <a:gd name="connsiteX110" fmla="*/ 2051041 w 2051041"/>
              <a:gd name="connsiteY110" fmla="*/ 1734831 h 2084191"/>
              <a:gd name="connsiteX111" fmla="*/ 2051041 w 2051041"/>
              <a:gd name="connsiteY111" fmla="*/ 1781438 h 2084191"/>
              <a:gd name="connsiteX112" fmla="*/ 2050496 w 2051041"/>
              <a:gd name="connsiteY112" fmla="*/ 1781630 h 2084191"/>
              <a:gd name="connsiteX113" fmla="*/ 2027097 w 2051041"/>
              <a:gd name="connsiteY113" fmla="*/ 1758775 h 2084191"/>
              <a:gd name="connsiteX114" fmla="*/ 2051041 w 2051041"/>
              <a:gd name="connsiteY114" fmla="*/ 1734831 h 2084191"/>
              <a:gd name="connsiteX115" fmla="*/ 1887788 w 2051041"/>
              <a:gd name="connsiteY115" fmla="*/ 1734831 h 2084191"/>
              <a:gd name="connsiteX116" fmla="*/ 1910099 w 2051041"/>
              <a:gd name="connsiteY116" fmla="*/ 1758775 h 2084191"/>
              <a:gd name="connsiteX117" fmla="*/ 1886699 w 2051041"/>
              <a:gd name="connsiteY117" fmla="*/ 1781086 h 2084191"/>
              <a:gd name="connsiteX118" fmla="*/ 1863844 w 2051041"/>
              <a:gd name="connsiteY118" fmla="*/ 1757687 h 2084191"/>
              <a:gd name="connsiteX119" fmla="*/ 1887788 w 2051041"/>
              <a:gd name="connsiteY119" fmla="*/ 1734831 h 2084191"/>
              <a:gd name="connsiteX120" fmla="*/ 826100 w 2051041"/>
              <a:gd name="connsiteY120" fmla="*/ 1671706 h 2084191"/>
              <a:gd name="connsiteX121" fmla="*/ 832086 w 2051041"/>
              <a:gd name="connsiteY121" fmla="*/ 1677692 h 2084191"/>
              <a:gd name="connsiteX122" fmla="*/ 825556 w 2051041"/>
              <a:gd name="connsiteY122" fmla="*/ 1683134 h 2084191"/>
              <a:gd name="connsiteX123" fmla="*/ 820658 w 2051041"/>
              <a:gd name="connsiteY123" fmla="*/ 1676603 h 2084191"/>
              <a:gd name="connsiteX124" fmla="*/ 826100 w 2051041"/>
              <a:gd name="connsiteY124" fmla="*/ 1671706 h 2084191"/>
              <a:gd name="connsiteX125" fmla="*/ 989354 w 2051041"/>
              <a:gd name="connsiteY125" fmla="*/ 1661912 h 2084191"/>
              <a:gd name="connsiteX126" fmla="*/ 1004046 w 2051041"/>
              <a:gd name="connsiteY126" fmla="*/ 1676604 h 2084191"/>
              <a:gd name="connsiteX127" fmla="*/ 989354 w 2051041"/>
              <a:gd name="connsiteY127" fmla="*/ 1690209 h 2084191"/>
              <a:gd name="connsiteX128" fmla="*/ 975205 w 2051041"/>
              <a:gd name="connsiteY128" fmla="*/ 1677693 h 2084191"/>
              <a:gd name="connsiteX129" fmla="*/ 989354 w 2051041"/>
              <a:gd name="connsiteY129" fmla="*/ 1661912 h 2084191"/>
              <a:gd name="connsiteX130" fmla="*/ 1153151 w 2051041"/>
              <a:gd name="connsiteY130" fmla="*/ 1659734 h 2084191"/>
              <a:gd name="connsiteX131" fmla="*/ 1170564 w 2051041"/>
              <a:gd name="connsiteY131" fmla="*/ 1677692 h 2084191"/>
              <a:gd name="connsiteX132" fmla="*/ 1152062 w 2051041"/>
              <a:gd name="connsiteY132" fmla="*/ 1694562 h 2084191"/>
              <a:gd name="connsiteX133" fmla="*/ 1135737 w 2051041"/>
              <a:gd name="connsiteY133" fmla="*/ 1677148 h 2084191"/>
              <a:gd name="connsiteX134" fmla="*/ 1153151 w 2051041"/>
              <a:gd name="connsiteY134" fmla="*/ 1659734 h 2084191"/>
              <a:gd name="connsiteX135" fmla="*/ 1315315 w 2051041"/>
              <a:gd name="connsiteY135" fmla="*/ 1655381 h 2084191"/>
              <a:gd name="connsiteX136" fmla="*/ 1337082 w 2051041"/>
              <a:gd name="connsiteY136" fmla="*/ 1676603 h 2084191"/>
              <a:gd name="connsiteX137" fmla="*/ 1315315 w 2051041"/>
              <a:gd name="connsiteY137" fmla="*/ 1698915 h 2084191"/>
              <a:gd name="connsiteX138" fmla="*/ 1294092 w 2051041"/>
              <a:gd name="connsiteY138" fmla="*/ 1677148 h 2084191"/>
              <a:gd name="connsiteX139" fmla="*/ 1315315 w 2051041"/>
              <a:gd name="connsiteY139" fmla="*/ 1655381 h 2084191"/>
              <a:gd name="connsiteX140" fmla="*/ 1479111 w 2051041"/>
              <a:gd name="connsiteY140" fmla="*/ 1654293 h 2084191"/>
              <a:gd name="connsiteX141" fmla="*/ 1501967 w 2051041"/>
              <a:gd name="connsiteY141" fmla="*/ 1677692 h 2084191"/>
              <a:gd name="connsiteX142" fmla="*/ 1479111 w 2051041"/>
              <a:gd name="connsiteY142" fmla="*/ 1700548 h 2084191"/>
              <a:gd name="connsiteX143" fmla="*/ 1455712 w 2051041"/>
              <a:gd name="connsiteY143" fmla="*/ 1676604 h 2084191"/>
              <a:gd name="connsiteX144" fmla="*/ 1479111 w 2051041"/>
              <a:gd name="connsiteY144" fmla="*/ 1654293 h 2084191"/>
              <a:gd name="connsiteX145" fmla="*/ 1643452 w 2051041"/>
              <a:gd name="connsiteY145" fmla="*/ 1650483 h 2084191"/>
              <a:gd name="connsiteX146" fmla="*/ 1668484 w 2051041"/>
              <a:gd name="connsiteY146" fmla="*/ 1676603 h 2084191"/>
              <a:gd name="connsiteX147" fmla="*/ 1643452 w 2051041"/>
              <a:gd name="connsiteY147" fmla="*/ 1703268 h 2084191"/>
              <a:gd name="connsiteX148" fmla="*/ 1617332 w 2051041"/>
              <a:gd name="connsiteY148" fmla="*/ 1677692 h 2084191"/>
              <a:gd name="connsiteX149" fmla="*/ 1643452 w 2051041"/>
              <a:gd name="connsiteY149" fmla="*/ 1650483 h 2084191"/>
              <a:gd name="connsiteX150" fmla="*/ 1968326 w 2051041"/>
              <a:gd name="connsiteY150" fmla="*/ 1649940 h 2084191"/>
              <a:gd name="connsiteX151" fmla="*/ 1995535 w 2051041"/>
              <a:gd name="connsiteY151" fmla="*/ 1676604 h 2084191"/>
              <a:gd name="connsiteX152" fmla="*/ 1968870 w 2051041"/>
              <a:gd name="connsiteY152" fmla="*/ 1704357 h 2084191"/>
              <a:gd name="connsiteX153" fmla="*/ 1941661 w 2051041"/>
              <a:gd name="connsiteY153" fmla="*/ 1677148 h 2084191"/>
              <a:gd name="connsiteX154" fmla="*/ 1968326 w 2051041"/>
              <a:gd name="connsiteY154" fmla="*/ 1649940 h 2084191"/>
              <a:gd name="connsiteX155" fmla="*/ 1805617 w 2051041"/>
              <a:gd name="connsiteY155" fmla="*/ 1649939 h 2084191"/>
              <a:gd name="connsiteX156" fmla="*/ 1832826 w 2051041"/>
              <a:gd name="connsiteY156" fmla="*/ 1677148 h 2084191"/>
              <a:gd name="connsiteX157" fmla="*/ 1805073 w 2051041"/>
              <a:gd name="connsiteY157" fmla="*/ 1704357 h 2084191"/>
              <a:gd name="connsiteX158" fmla="*/ 1778409 w 2051041"/>
              <a:gd name="connsiteY158" fmla="*/ 1677148 h 2084191"/>
              <a:gd name="connsiteX159" fmla="*/ 1805617 w 2051041"/>
              <a:gd name="connsiteY159" fmla="*/ 1649939 h 2084191"/>
              <a:gd name="connsiteX160" fmla="*/ 744474 w 2051041"/>
              <a:gd name="connsiteY160" fmla="*/ 1588992 h 2084191"/>
              <a:gd name="connsiteX161" fmla="*/ 751004 w 2051041"/>
              <a:gd name="connsiteY161" fmla="*/ 1594978 h 2084191"/>
              <a:gd name="connsiteX162" fmla="*/ 745562 w 2051041"/>
              <a:gd name="connsiteY162" fmla="*/ 1602052 h 2084191"/>
              <a:gd name="connsiteX163" fmla="*/ 738488 w 2051041"/>
              <a:gd name="connsiteY163" fmla="*/ 1594978 h 2084191"/>
              <a:gd name="connsiteX164" fmla="*/ 744474 w 2051041"/>
              <a:gd name="connsiteY164" fmla="*/ 1588992 h 2084191"/>
              <a:gd name="connsiteX165" fmla="*/ 907183 w 2051041"/>
              <a:gd name="connsiteY165" fmla="*/ 1579741 h 2084191"/>
              <a:gd name="connsiteX166" fmla="*/ 923508 w 2051041"/>
              <a:gd name="connsiteY166" fmla="*/ 1594978 h 2084191"/>
              <a:gd name="connsiteX167" fmla="*/ 908815 w 2051041"/>
              <a:gd name="connsiteY167" fmla="*/ 1610759 h 2084191"/>
              <a:gd name="connsiteX168" fmla="*/ 892490 w 2051041"/>
              <a:gd name="connsiteY168" fmla="*/ 1595522 h 2084191"/>
              <a:gd name="connsiteX169" fmla="*/ 907183 w 2051041"/>
              <a:gd name="connsiteY169" fmla="*/ 1579741 h 2084191"/>
              <a:gd name="connsiteX170" fmla="*/ 1071524 w 2051041"/>
              <a:gd name="connsiteY170" fmla="*/ 1574843 h 2084191"/>
              <a:gd name="connsiteX171" fmla="*/ 1091114 w 2051041"/>
              <a:gd name="connsiteY171" fmla="*/ 1595522 h 2084191"/>
              <a:gd name="connsiteX172" fmla="*/ 1070980 w 2051041"/>
              <a:gd name="connsiteY172" fmla="*/ 1615656 h 2084191"/>
              <a:gd name="connsiteX173" fmla="*/ 1050301 w 2051041"/>
              <a:gd name="connsiteY173" fmla="*/ 1595522 h 2084191"/>
              <a:gd name="connsiteX174" fmla="*/ 1071524 w 2051041"/>
              <a:gd name="connsiteY174" fmla="*/ 1574843 h 2084191"/>
              <a:gd name="connsiteX175" fmla="*/ 1233688 w 2051041"/>
              <a:gd name="connsiteY175" fmla="*/ 1573210 h 2084191"/>
              <a:gd name="connsiteX176" fmla="*/ 1256544 w 2051041"/>
              <a:gd name="connsiteY176" fmla="*/ 1595522 h 2084191"/>
              <a:gd name="connsiteX177" fmla="*/ 1233688 w 2051041"/>
              <a:gd name="connsiteY177" fmla="*/ 1618377 h 2084191"/>
              <a:gd name="connsiteX178" fmla="*/ 1211377 w 2051041"/>
              <a:gd name="connsiteY178" fmla="*/ 1596610 h 2084191"/>
              <a:gd name="connsiteX179" fmla="*/ 1233688 w 2051041"/>
              <a:gd name="connsiteY179" fmla="*/ 1573210 h 2084191"/>
              <a:gd name="connsiteX180" fmla="*/ 1398030 w 2051041"/>
              <a:gd name="connsiteY180" fmla="*/ 1569402 h 2084191"/>
              <a:gd name="connsiteX181" fmla="*/ 1423062 w 2051041"/>
              <a:gd name="connsiteY181" fmla="*/ 1595522 h 2084191"/>
              <a:gd name="connsiteX182" fmla="*/ 1397485 w 2051041"/>
              <a:gd name="connsiteY182" fmla="*/ 1621099 h 2084191"/>
              <a:gd name="connsiteX183" fmla="*/ 1371365 w 2051041"/>
              <a:gd name="connsiteY183" fmla="*/ 1595522 h 2084191"/>
              <a:gd name="connsiteX184" fmla="*/ 1398030 w 2051041"/>
              <a:gd name="connsiteY184" fmla="*/ 1569402 h 2084191"/>
              <a:gd name="connsiteX185" fmla="*/ 1560194 w 2051041"/>
              <a:gd name="connsiteY185" fmla="*/ 1568313 h 2084191"/>
              <a:gd name="connsiteX186" fmla="*/ 1587947 w 2051041"/>
              <a:gd name="connsiteY186" fmla="*/ 1594433 h 2084191"/>
              <a:gd name="connsiteX187" fmla="*/ 1560194 w 2051041"/>
              <a:gd name="connsiteY187" fmla="*/ 1622730 h 2084191"/>
              <a:gd name="connsiteX188" fmla="*/ 1532985 w 2051041"/>
              <a:gd name="connsiteY188" fmla="*/ 1594977 h 2084191"/>
              <a:gd name="connsiteX189" fmla="*/ 1560194 w 2051041"/>
              <a:gd name="connsiteY189" fmla="*/ 1568313 h 2084191"/>
              <a:gd name="connsiteX190" fmla="*/ 1887244 w 2051041"/>
              <a:gd name="connsiteY190" fmla="*/ 1567225 h 2084191"/>
              <a:gd name="connsiteX191" fmla="*/ 1915541 w 2051041"/>
              <a:gd name="connsiteY191" fmla="*/ 1594978 h 2084191"/>
              <a:gd name="connsiteX192" fmla="*/ 1886699 w 2051041"/>
              <a:gd name="connsiteY192" fmla="*/ 1623819 h 2084191"/>
              <a:gd name="connsiteX193" fmla="*/ 1858947 w 2051041"/>
              <a:gd name="connsiteY193" fmla="*/ 1594978 h 2084191"/>
              <a:gd name="connsiteX194" fmla="*/ 1887244 w 2051041"/>
              <a:gd name="connsiteY194" fmla="*/ 1567225 h 2084191"/>
              <a:gd name="connsiteX195" fmla="*/ 1724535 w 2051041"/>
              <a:gd name="connsiteY195" fmla="*/ 1567225 h 2084191"/>
              <a:gd name="connsiteX196" fmla="*/ 1752288 w 2051041"/>
              <a:gd name="connsiteY196" fmla="*/ 1594978 h 2084191"/>
              <a:gd name="connsiteX197" fmla="*/ 1724535 w 2051041"/>
              <a:gd name="connsiteY197" fmla="*/ 1623275 h 2084191"/>
              <a:gd name="connsiteX198" fmla="*/ 1696238 w 2051041"/>
              <a:gd name="connsiteY198" fmla="*/ 1594978 h 2084191"/>
              <a:gd name="connsiteX199" fmla="*/ 1724535 w 2051041"/>
              <a:gd name="connsiteY199" fmla="*/ 1567225 h 2084191"/>
              <a:gd name="connsiteX200" fmla="*/ 2050496 w 2051041"/>
              <a:gd name="connsiteY200" fmla="*/ 1566680 h 2084191"/>
              <a:gd name="connsiteX201" fmla="*/ 2051041 w 2051041"/>
              <a:gd name="connsiteY201" fmla="*/ 1566888 h 2084191"/>
              <a:gd name="connsiteX202" fmla="*/ 2051041 w 2051041"/>
              <a:gd name="connsiteY202" fmla="*/ 1623794 h 2084191"/>
              <a:gd name="connsiteX203" fmla="*/ 2049408 w 2051041"/>
              <a:gd name="connsiteY203" fmla="*/ 1624363 h 2084191"/>
              <a:gd name="connsiteX204" fmla="*/ 2021655 w 2051041"/>
              <a:gd name="connsiteY204" fmla="*/ 1594977 h 2084191"/>
              <a:gd name="connsiteX205" fmla="*/ 2050496 w 2051041"/>
              <a:gd name="connsiteY205" fmla="*/ 1566680 h 2084191"/>
              <a:gd name="connsiteX206" fmla="*/ 663392 w 2051041"/>
              <a:gd name="connsiteY206" fmla="*/ 1505188 h 2084191"/>
              <a:gd name="connsiteX207" fmla="*/ 674819 w 2051041"/>
              <a:gd name="connsiteY207" fmla="*/ 1513895 h 2084191"/>
              <a:gd name="connsiteX208" fmla="*/ 662848 w 2051041"/>
              <a:gd name="connsiteY208" fmla="*/ 1522058 h 2084191"/>
              <a:gd name="connsiteX209" fmla="*/ 654685 w 2051041"/>
              <a:gd name="connsiteY209" fmla="*/ 1513351 h 2084191"/>
              <a:gd name="connsiteX210" fmla="*/ 663392 w 2051041"/>
              <a:gd name="connsiteY210" fmla="*/ 1505188 h 2084191"/>
              <a:gd name="connsiteX211" fmla="*/ 826101 w 2051041"/>
              <a:gd name="connsiteY211" fmla="*/ 1497570 h 2084191"/>
              <a:gd name="connsiteX212" fmla="*/ 842970 w 2051041"/>
              <a:gd name="connsiteY212" fmla="*/ 1513351 h 2084191"/>
              <a:gd name="connsiteX213" fmla="*/ 826645 w 2051041"/>
              <a:gd name="connsiteY213" fmla="*/ 1529676 h 2084191"/>
              <a:gd name="connsiteX214" fmla="*/ 810319 w 2051041"/>
              <a:gd name="connsiteY214" fmla="*/ 1514983 h 2084191"/>
              <a:gd name="connsiteX215" fmla="*/ 826101 w 2051041"/>
              <a:gd name="connsiteY215" fmla="*/ 1497570 h 2084191"/>
              <a:gd name="connsiteX216" fmla="*/ 988265 w 2051041"/>
              <a:gd name="connsiteY216" fmla="*/ 1492128 h 2084191"/>
              <a:gd name="connsiteX217" fmla="*/ 1010577 w 2051041"/>
              <a:gd name="connsiteY217" fmla="*/ 1513351 h 2084191"/>
              <a:gd name="connsiteX218" fmla="*/ 989354 w 2051041"/>
              <a:gd name="connsiteY218" fmla="*/ 1534574 h 2084191"/>
              <a:gd name="connsiteX219" fmla="*/ 968131 w 2051041"/>
              <a:gd name="connsiteY219" fmla="*/ 1513895 h 2084191"/>
              <a:gd name="connsiteX220" fmla="*/ 988265 w 2051041"/>
              <a:gd name="connsiteY220" fmla="*/ 1492128 h 2084191"/>
              <a:gd name="connsiteX221" fmla="*/ 1152606 w 2051041"/>
              <a:gd name="connsiteY221" fmla="*/ 1490496 h 2084191"/>
              <a:gd name="connsiteX222" fmla="*/ 1176006 w 2051041"/>
              <a:gd name="connsiteY222" fmla="*/ 1513351 h 2084191"/>
              <a:gd name="connsiteX223" fmla="*/ 1152606 w 2051041"/>
              <a:gd name="connsiteY223" fmla="*/ 1537839 h 2084191"/>
              <a:gd name="connsiteX224" fmla="*/ 1129207 w 2051041"/>
              <a:gd name="connsiteY224" fmla="*/ 1514984 h 2084191"/>
              <a:gd name="connsiteX225" fmla="*/ 1152606 w 2051041"/>
              <a:gd name="connsiteY225" fmla="*/ 1490496 h 2084191"/>
              <a:gd name="connsiteX226" fmla="*/ 1316403 w 2051041"/>
              <a:gd name="connsiteY226" fmla="*/ 1487231 h 2084191"/>
              <a:gd name="connsiteX227" fmla="*/ 1342523 w 2051041"/>
              <a:gd name="connsiteY227" fmla="*/ 1513896 h 2084191"/>
              <a:gd name="connsiteX228" fmla="*/ 1315314 w 2051041"/>
              <a:gd name="connsiteY228" fmla="*/ 1540560 h 2084191"/>
              <a:gd name="connsiteX229" fmla="*/ 1288650 w 2051041"/>
              <a:gd name="connsiteY229" fmla="*/ 1513896 h 2084191"/>
              <a:gd name="connsiteX230" fmla="*/ 1316403 w 2051041"/>
              <a:gd name="connsiteY230" fmla="*/ 1487231 h 2084191"/>
              <a:gd name="connsiteX231" fmla="*/ 1479656 w 2051041"/>
              <a:gd name="connsiteY231" fmla="*/ 1485054 h 2084191"/>
              <a:gd name="connsiteX232" fmla="*/ 1507409 w 2051041"/>
              <a:gd name="connsiteY232" fmla="*/ 1513895 h 2084191"/>
              <a:gd name="connsiteX233" fmla="*/ 1479112 w 2051041"/>
              <a:gd name="connsiteY233" fmla="*/ 1541648 h 2084191"/>
              <a:gd name="connsiteX234" fmla="*/ 1451359 w 2051041"/>
              <a:gd name="connsiteY234" fmla="*/ 1513351 h 2084191"/>
              <a:gd name="connsiteX235" fmla="*/ 1479656 w 2051041"/>
              <a:gd name="connsiteY235" fmla="*/ 1485054 h 2084191"/>
              <a:gd name="connsiteX236" fmla="*/ 1641820 w 2051041"/>
              <a:gd name="connsiteY236" fmla="*/ 1482334 h 2084191"/>
              <a:gd name="connsiteX237" fmla="*/ 1673382 w 2051041"/>
              <a:gd name="connsiteY237" fmla="*/ 1512807 h 2084191"/>
              <a:gd name="connsiteX238" fmla="*/ 1642909 w 2051041"/>
              <a:gd name="connsiteY238" fmla="*/ 1544370 h 2084191"/>
              <a:gd name="connsiteX239" fmla="*/ 1612435 w 2051041"/>
              <a:gd name="connsiteY239" fmla="*/ 1513351 h 2084191"/>
              <a:gd name="connsiteX240" fmla="*/ 1641820 w 2051041"/>
              <a:gd name="connsiteY240" fmla="*/ 1482334 h 2084191"/>
              <a:gd name="connsiteX241" fmla="*/ 1804529 w 2051041"/>
              <a:gd name="connsiteY241" fmla="*/ 1481788 h 2084191"/>
              <a:gd name="connsiteX242" fmla="*/ 1837180 w 2051041"/>
              <a:gd name="connsiteY242" fmla="*/ 1513351 h 2084191"/>
              <a:gd name="connsiteX243" fmla="*/ 1805617 w 2051041"/>
              <a:gd name="connsiteY243" fmla="*/ 1545457 h 2084191"/>
              <a:gd name="connsiteX244" fmla="*/ 1773511 w 2051041"/>
              <a:gd name="connsiteY244" fmla="*/ 1514983 h 2084191"/>
              <a:gd name="connsiteX245" fmla="*/ 1804529 w 2051041"/>
              <a:gd name="connsiteY245" fmla="*/ 1481788 h 2084191"/>
              <a:gd name="connsiteX246" fmla="*/ 1968870 w 2051041"/>
              <a:gd name="connsiteY246" fmla="*/ 1480700 h 2084191"/>
              <a:gd name="connsiteX247" fmla="*/ 2000977 w 2051041"/>
              <a:gd name="connsiteY247" fmla="*/ 1513351 h 2084191"/>
              <a:gd name="connsiteX248" fmla="*/ 1968870 w 2051041"/>
              <a:gd name="connsiteY248" fmla="*/ 1545457 h 2084191"/>
              <a:gd name="connsiteX249" fmla="*/ 1936764 w 2051041"/>
              <a:gd name="connsiteY249" fmla="*/ 1513351 h 2084191"/>
              <a:gd name="connsiteX250" fmla="*/ 1968870 w 2051041"/>
              <a:gd name="connsiteY250" fmla="*/ 1480700 h 2084191"/>
              <a:gd name="connsiteX251" fmla="*/ 581221 w 2051041"/>
              <a:gd name="connsiteY251" fmla="*/ 1423562 h 2084191"/>
              <a:gd name="connsiteX252" fmla="*/ 588840 w 2051041"/>
              <a:gd name="connsiteY252" fmla="*/ 1431725 h 2084191"/>
              <a:gd name="connsiteX253" fmla="*/ 581765 w 2051041"/>
              <a:gd name="connsiteY253" fmla="*/ 1443153 h 2084191"/>
              <a:gd name="connsiteX254" fmla="*/ 573059 w 2051041"/>
              <a:gd name="connsiteY254" fmla="*/ 1432813 h 2084191"/>
              <a:gd name="connsiteX255" fmla="*/ 581221 w 2051041"/>
              <a:gd name="connsiteY255" fmla="*/ 1423562 h 2084191"/>
              <a:gd name="connsiteX256" fmla="*/ 745562 w 2051041"/>
              <a:gd name="connsiteY256" fmla="*/ 1414855 h 2084191"/>
              <a:gd name="connsiteX257" fmla="*/ 761344 w 2051041"/>
              <a:gd name="connsiteY257" fmla="*/ 1432269 h 2084191"/>
              <a:gd name="connsiteX258" fmla="*/ 745018 w 2051041"/>
              <a:gd name="connsiteY258" fmla="*/ 1448050 h 2084191"/>
              <a:gd name="connsiteX259" fmla="*/ 728693 w 2051041"/>
              <a:gd name="connsiteY259" fmla="*/ 1431725 h 2084191"/>
              <a:gd name="connsiteX260" fmla="*/ 745562 w 2051041"/>
              <a:gd name="connsiteY260" fmla="*/ 1414855 h 2084191"/>
              <a:gd name="connsiteX261" fmla="*/ 908815 w 2051041"/>
              <a:gd name="connsiteY261" fmla="*/ 1409958 h 2084191"/>
              <a:gd name="connsiteX262" fmla="*/ 930038 w 2051041"/>
              <a:gd name="connsiteY262" fmla="*/ 1431725 h 2084191"/>
              <a:gd name="connsiteX263" fmla="*/ 907183 w 2051041"/>
              <a:gd name="connsiteY263" fmla="*/ 1453492 h 2084191"/>
              <a:gd name="connsiteX264" fmla="*/ 885960 w 2051041"/>
              <a:gd name="connsiteY264" fmla="*/ 1431725 h 2084191"/>
              <a:gd name="connsiteX265" fmla="*/ 908815 w 2051041"/>
              <a:gd name="connsiteY265" fmla="*/ 1409958 h 2084191"/>
              <a:gd name="connsiteX266" fmla="*/ 1070436 w 2051041"/>
              <a:gd name="connsiteY266" fmla="*/ 1406693 h 2084191"/>
              <a:gd name="connsiteX267" fmla="*/ 1096012 w 2051041"/>
              <a:gd name="connsiteY267" fmla="*/ 1432269 h 2084191"/>
              <a:gd name="connsiteX268" fmla="*/ 1070436 w 2051041"/>
              <a:gd name="connsiteY268" fmla="*/ 1457846 h 2084191"/>
              <a:gd name="connsiteX269" fmla="*/ 1045404 w 2051041"/>
              <a:gd name="connsiteY269" fmla="*/ 1431181 h 2084191"/>
              <a:gd name="connsiteX270" fmla="*/ 1070436 w 2051041"/>
              <a:gd name="connsiteY270" fmla="*/ 1406693 h 2084191"/>
              <a:gd name="connsiteX271" fmla="*/ 1235865 w 2051041"/>
              <a:gd name="connsiteY271" fmla="*/ 1404516 h 2084191"/>
              <a:gd name="connsiteX272" fmla="*/ 1261986 w 2051041"/>
              <a:gd name="connsiteY272" fmla="*/ 1433358 h 2084191"/>
              <a:gd name="connsiteX273" fmla="*/ 1233689 w 2051041"/>
              <a:gd name="connsiteY273" fmla="*/ 1459478 h 2084191"/>
              <a:gd name="connsiteX274" fmla="*/ 1206480 w 2051041"/>
              <a:gd name="connsiteY274" fmla="*/ 1432269 h 2084191"/>
              <a:gd name="connsiteX275" fmla="*/ 1235865 w 2051041"/>
              <a:gd name="connsiteY275" fmla="*/ 1404516 h 2084191"/>
              <a:gd name="connsiteX276" fmla="*/ 1397485 w 2051041"/>
              <a:gd name="connsiteY276" fmla="*/ 1400162 h 2084191"/>
              <a:gd name="connsiteX277" fmla="*/ 1427959 w 2051041"/>
              <a:gd name="connsiteY277" fmla="*/ 1431724 h 2084191"/>
              <a:gd name="connsiteX278" fmla="*/ 1398029 w 2051041"/>
              <a:gd name="connsiteY278" fmla="*/ 1463287 h 2084191"/>
              <a:gd name="connsiteX279" fmla="*/ 1366467 w 2051041"/>
              <a:gd name="connsiteY279" fmla="*/ 1432813 h 2084191"/>
              <a:gd name="connsiteX280" fmla="*/ 1397485 w 2051041"/>
              <a:gd name="connsiteY280" fmla="*/ 1400162 h 2084191"/>
              <a:gd name="connsiteX281" fmla="*/ 1561282 w 2051041"/>
              <a:gd name="connsiteY281" fmla="*/ 1399618 h 2084191"/>
              <a:gd name="connsiteX282" fmla="*/ 1593388 w 2051041"/>
              <a:gd name="connsiteY282" fmla="*/ 1432269 h 2084191"/>
              <a:gd name="connsiteX283" fmla="*/ 1560738 w 2051041"/>
              <a:gd name="connsiteY283" fmla="*/ 1464375 h 2084191"/>
              <a:gd name="connsiteX284" fmla="*/ 1528631 w 2051041"/>
              <a:gd name="connsiteY284" fmla="*/ 1432813 h 2084191"/>
              <a:gd name="connsiteX285" fmla="*/ 1561282 w 2051041"/>
              <a:gd name="connsiteY285" fmla="*/ 1399618 h 2084191"/>
              <a:gd name="connsiteX286" fmla="*/ 1723446 w 2051041"/>
              <a:gd name="connsiteY286" fmla="*/ 1399074 h 2084191"/>
              <a:gd name="connsiteX287" fmla="*/ 1757185 w 2051041"/>
              <a:gd name="connsiteY287" fmla="*/ 1432269 h 2084191"/>
              <a:gd name="connsiteX288" fmla="*/ 1723991 w 2051041"/>
              <a:gd name="connsiteY288" fmla="*/ 1465464 h 2084191"/>
              <a:gd name="connsiteX289" fmla="*/ 1691340 w 2051041"/>
              <a:gd name="connsiteY289" fmla="*/ 1433357 h 2084191"/>
              <a:gd name="connsiteX290" fmla="*/ 1723446 w 2051041"/>
              <a:gd name="connsiteY290" fmla="*/ 1399074 h 2084191"/>
              <a:gd name="connsiteX291" fmla="*/ 1886700 w 2051041"/>
              <a:gd name="connsiteY291" fmla="*/ 1398530 h 2084191"/>
              <a:gd name="connsiteX292" fmla="*/ 1920439 w 2051041"/>
              <a:gd name="connsiteY292" fmla="*/ 1432269 h 2084191"/>
              <a:gd name="connsiteX293" fmla="*/ 1887788 w 2051041"/>
              <a:gd name="connsiteY293" fmla="*/ 1464920 h 2084191"/>
              <a:gd name="connsiteX294" fmla="*/ 1854049 w 2051041"/>
              <a:gd name="connsiteY294" fmla="*/ 1433358 h 2084191"/>
              <a:gd name="connsiteX295" fmla="*/ 1886700 w 2051041"/>
              <a:gd name="connsiteY295" fmla="*/ 1398530 h 2084191"/>
              <a:gd name="connsiteX296" fmla="*/ 2051041 w 2051041"/>
              <a:gd name="connsiteY296" fmla="*/ 1398217 h 2084191"/>
              <a:gd name="connsiteX297" fmla="*/ 2051041 w 2051041"/>
              <a:gd name="connsiteY297" fmla="*/ 1464535 h 2084191"/>
              <a:gd name="connsiteX298" fmla="*/ 2049953 w 2051041"/>
              <a:gd name="connsiteY298" fmla="*/ 1464920 h 2084191"/>
              <a:gd name="connsiteX299" fmla="*/ 2017302 w 2051041"/>
              <a:gd name="connsiteY299" fmla="*/ 1431725 h 2084191"/>
              <a:gd name="connsiteX300" fmla="*/ 2027709 w 2051041"/>
              <a:gd name="connsiteY300" fmla="*/ 1408121 h 2084191"/>
              <a:gd name="connsiteX301" fmla="*/ 500139 w 2051041"/>
              <a:gd name="connsiteY301" fmla="*/ 1341936 h 2084191"/>
              <a:gd name="connsiteX302" fmla="*/ 511023 w 2051041"/>
              <a:gd name="connsiteY302" fmla="*/ 1350643 h 2084191"/>
              <a:gd name="connsiteX303" fmla="*/ 499595 w 2051041"/>
              <a:gd name="connsiteY303" fmla="*/ 1358261 h 2084191"/>
              <a:gd name="connsiteX304" fmla="*/ 491432 w 2051041"/>
              <a:gd name="connsiteY304" fmla="*/ 1349010 h 2084191"/>
              <a:gd name="connsiteX305" fmla="*/ 500139 w 2051041"/>
              <a:gd name="connsiteY305" fmla="*/ 1341936 h 2084191"/>
              <a:gd name="connsiteX306" fmla="*/ 662848 w 2051041"/>
              <a:gd name="connsiteY306" fmla="*/ 1333773 h 2084191"/>
              <a:gd name="connsiteX307" fmla="*/ 679173 w 2051041"/>
              <a:gd name="connsiteY307" fmla="*/ 1350643 h 2084191"/>
              <a:gd name="connsiteX308" fmla="*/ 662848 w 2051041"/>
              <a:gd name="connsiteY308" fmla="*/ 1366424 h 2084191"/>
              <a:gd name="connsiteX309" fmla="*/ 647067 w 2051041"/>
              <a:gd name="connsiteY309" fmla="*/ 1350098 h 2084191"/>
              <a:gd name="connsiteX310" fmla="*/ 662848 w 2051041"/>
              <a:gd name="connsiteY310" fmla="*/ 1333773 h 2084191"/>
              <a:gd name="connsiteX311" fmla="*/ 826645 w 2051041"/>
              <a:gd name="connsiteY311" fmla="*/ 1328331 h 2084191"/>
              <a:gd name="connsiteX312" fmla="*/ 847868 w 2051041"/>
              <a:gd name="connsiteY312" fmla="*/ 1350642 h 2084191"/>
              <a:gd name="connsiteX313" fmla="*/ 825556 w 2051041"/>
              <a:gd name="connsiteY313" fmla="*/ 1372409 h 2084191"/>
              <a:gd name="connsiteX314" fmla="*/ 804334 w 2051041"/>
              <a:gd name="connsiteY314" fmla="*/ 1349554 h 2084191"/>
              <a:gd name="connsiteX315" fmla="*/ 826645 w 2051041"/>
              <a:gd name="connsiteY315" fmla="*/ 1328331 h 2084191"/>
              <a:gd name="connsiteX316" fmla="*/ 989353 w 2051041"/>
              <a:gd name="connsiteY316" fmla="*/ 1323978 h 2084191"/>
              <a:gd name="connsiteX317" fmla="*/ 1015473 w 2051041"/>
              <a:gd name="connsiteY317" fmla="*/ 1350098 h 2084191"/>
              <a:gd name="connsiteX318" fmla="*/ 989353 w 2051041"/>
              <a:gd name="connsiteY318" fmla="*/ 1376763 h 2084191"/>
              <a:gd name="connsiteX319" fmla="*/ 963777 w 2051041"/>
              <a:gd name="connsiteY319" fmla="*/ 1350642 h 2084191"/>
              <a:gd name="connsiteX320" fmla="*/ 989353 w 2051041"/>
              <a:gd name="connsiteY320" fmla="*/ 1323978 h 2084191"/>
              <a:gd name="connsiteX321" fmla="*/ 1152606 w 2051041"/>
              <a:gd name="connsiteY321" fmla="*/ 1322889 h 2084191"/>
              <a:gd name="connsiteX322" fmla="*/ 1181447 w 2051041"/>
              <a:gd name="connsiteY322" fmla="*/ 1350098 h 2084191"/>
              <a:gd name="connsiteX323" fmla="*/ 1152606 w 2051041"/>
              <a:gd name="connsiteY323" fmla="*/ 1379483 h 2084191"/>
              <a:gd name="connsiteX324" fmla="*/ 1124853 w 2051041"/>
              <a:gd name="connsiteY324" fmla="*/ 1350642 h 2084191"/>
              <a:gd name="connsiteX325" fmla="*/ 1152606 w 2051041"/>
              <a:gd name="connsiteY325" fmla="*/ 1322889 h 2084191"/>
              <a:gd name="connsiteX326" fmla="*/ 1315315 w 2051041"/>
              <a:gd name="connsiteY326" fmla="*/ 1318536 h 2084191"/>
              <a:gd name="connsiteX327" fmla="*/ 1347966 w 2051041"/>
              <a:gd name="connsiteY327" fmla="*/ 1350098 h 2084191"/>
              <a:gd name="connsiteX328" fmla="*/ 1315315 w 2051041"/>
              <a:gd name="connsiteY328" fmla="*/ 1381661 h 2084191"/>
              <a:gd name="connsiteX329" fmla="*/ 1284297 w 2051041"/>
              <a:gd name="connsiteY329" fmla="*/ 1350098 h 2084191"/>
              <a:gd name="connsiteX330" fmla="*/ 1315315 w 2051041"/>
              <a:gd name="connsiteY330" fmla="*/ 1318536 h 2084191"/>
              <a:gd name="connsiteX331" fmla="*/ 1480744 w 2051041"/>
              <a:gd name="connsiteY331" fmla="*/ 1317448 h 2084191"/>
              <a:gd name="connsiteX332" fmla="*/ 1512306 w 2051041"/>
              <a:gd name="connsiteY332" fmla="*/ 1351731 h 2084191"/>
              <a:gd name="connsiteX333" fmla="*/ 1477479 w 2051041"/>
              <a:gd name="connsiteY333" fmla="*/ 1383293 h 2084191"/>
              <a:gd name="connsiteX334" fmla="*/ 1446461 w 2051041"/>
              <a:gd name="connsiteY334" fmla="*/ 1349554 h 2084191"/>
              <a:gd name="connsiteX335" fmla="*/ 1480744 w 2051041"/>
              <a:gd name="connsiteY335" fmla="*/ 1317448 h 2084191"/>
              <a:gd name="connsiteX336" fmla="*/ 1642908 w 2051041"/>
              <a:gd name="connsiteY336" fmla="*/ 1315815 h 2084191"/>
              <a:gd name="connsiteX337" fmla="*/ 1676647 w 2051041"/>
              <a:gd name="connsiteY337" fmla="*/ 1351731 h 2084191"/>
              <a:gd name="connsiteX338" fmla="*/ 1640732 w 2051041"/>
              <a:gd name="connsiteY338" fmla="*/ 1383837 h 2084191"/>
              <a:gd name="connsiteX339" fmla="*/ 1608081 w 2051041"/>
              <a:gd name="connsiteY339" fmla="*/ 1349554 h 2084191"/>
              <a:gd name="connsiteX340" fmla="*/ 1642908 w 2051041"/>
              <a:gd name="connsiteY340" fmla="*/ 1315815 h 2084191"/>
              <a:gd name="connsiteX341" fmla="*/ 1968870 w 2051041"/>
              <a:gd name="connsiteY341" fmla="*/ 1314183 h 2084191"/>
              <a:gd name="connsiteX342" fmla="*/ 2005329 w 2051041"/>
              <a:gd name="connsiteY342" fmla="*/ 1351187 h 2084191"/>
              <a:gd name="connsiteX343" fmla="*/ 1967781 w 2051041"/>
              <a:gd name="connsiteY343" fmla="*/ 1388191 h 2084191"/>
              <a:gd name="connsiteX344" fmla="*/ 1931866 w 2051041"/>
              <a:gd name="connsiteY344" fmla="*/ 1350098 h 2084191"/>
              <a:gd name="connsiteX345" fmla="*/ 1968870 w 2051041"/>
              <a:gd name="connsiteY345" fmla="*/ 1314183 h 2084191"/>
              <a:gd name="connsiteX346" fmla="*/ 1806161 w 2051041"/>
              <a:gd name="connsiteY346" fmla="*/ 1313639 h 2084191"/>
              <a:gd name="connsiteX347" fmla="*/ 1841533 w 2051041"/>
              <a:gd name="connsiteY347" fmla="*/ 1351187 h 2084191"/>
              <a:gd name="connsiteX348" fmla="*/ 1830105 w 2051041"/>
              <a:gd name="connsiteY348" fmla="*/ 1376763 h 2084191"/>
              <a:gd name="connsiteX349" fmla="*/ 1803984 w 2051041"/>
              <a:gd name="connsiteY349" fmla="*/ 1387102 h 2084191"/>
              <a:gd name="connsiteX350" fmla="*/ 1768613 w 2051041"/>
              <a:gd name="connsiteY350" fmla="*/ 1350098 h 2084191"/>
              <a:gd name="connsiteX351" fmla="*/ 1806161 w 2051041"/>
              <a:gd name="connsiteY351" fmla="*/ 1313639 h 2084191"/>
              <a:gd name="connsiteX352" fmla="*/ 419057 w 2051041"/>
              <a:gd name="connsiteY352" fmla="*/ 1262486 h 2084191"/>
              <a:gd name="connsiteX353" fmla="*/ 424499 w 2051041"/>
              <a:gd name="connsiteY353" fmla="*/ 1269016 h 2084191"/>
              <a:gd name="connsiteX354" fmla="*/ 417969 w 2051041"/>
              <a:gd name="connsiteY354" fmla="*/ 1278811 h 2084191"/>
              <a:gd name="connsiteX355" fmla="*/ 411983 w 2051041"/>
              <a:gd name="connsiteY355" fmla="*/ 1269016 h 2084191"/>
              <a:gd name="connsiteX356" fmla="*/ 419057 w 2051041"/>
              <a:gd name="connsiteY356" fmla="*/ 1262486 h 2084191"/>
              <a:gd name="connsiteX357" fmla="*/ 581221 w 2051041"/>
              <a:gd name="connsiteY357" fmla="*/ 1252147 h 2084191"/>
              <a:gd name="connsiteX358" fmla="*/ 597547 w 2051041"/>
              <a:gd name="connsiteY358" fmla="*/ 1269017 h 2084191"/>
              <a:gd name="connsiteX359" fmla="*/ 580133 w 2051041"/>
              <a:gd name="connsiteY359" fmla="*/ 1284254 h 2084191"/>
              <a:gd name="connsiteX360" fmla="*/ 564896 w 2051041"/>
              <a:gd name="connsiteY360" fmla="*/ 1268472 h 2084191"/>
              <a:gd name="connsiteX361" fmla="*/ 581221 w 2051041"/>
              <a:gd name="connsiteY361" fmla="*/ 1252147 h 2084191"/>
              <a:gd name="connsiteX362" fmla="*/ 745018 w 2051041"/>
              <a:gd name="connsiteY362" fmla="*/ 1246705 h 2084191"/>
              <a:gd name="connsiteX363" fmla="*/ 766241 w 2051041"/>
              <a:gd name="connsiteY363" fmla="*/ 1269560 h 2084191"/>
              <a:gd name="connsiteX364" fmla="*/ 744474 w 2051041"/>
              <a:gd name="connsiteY364" fmla="*/ 1290783 h 2084191"/>
              <a:gd name="connsiteX365" fmla="*/ 722707 w 2051041"/>
              <a:gd name="connsiteY365" fmla="*/ 1267928 h 2084191"/>
              <a:gd name="connsiteX366" fmla="*/ 745018 w 2051041"/>
              <a:gd name="connsiteY366" fmla="*/ 1246705 h 2084191"/>
              <a:gd name="connsiteX367" fmla="*/ 907727 w 2051041"/>
              <a:gd name="connsiteY367" fmla="*/ 1241807 h 2084191"/>
              <a:gd name="connsiteX368" fmla="*/ 933847 w 2051041"/>
              <a:gd name="connsiteY368" fmla="*/ 1269016 h 2084191"/>
              <a:gd name="connsiteX369" fmla="*/ 907183 w 2051041"/>
              <a:gd name="connsiteY369" fmla="*/ 1295136 h 2084191"/>
              <a:gd name="connsiteX370" fmla="*/ 880518 w 2051041"/>
              <a:gd name="connsiteY370" fmla="*/ 1267927 h 2084191"/>
              <a:gd name="connsiteX371" fmla="*/ 907727 w 2051041"/>
              <a:gd name="connsiteY371" fmla="*/ 1241807 h 2084191"/>
              <a:gd name="connsiteX372" fmla="*/ 1070979 w 2051041"/>
              <a:gd name="connsiteY372" fmla="*/ 1240719 h 2084191"/>
              <a:gd name="connsiteX373" fmla="*/ 1099821 w 2051041"/>
              <a:gd name="connsiteY373" fmla="*/ 1268472 h 2084191"/>
              <a:gd name="connsiteX374" fmla="*/ 1070435 w 2051041"/>
              <a:gd name="connsiteY374" fmla="*/ 1297858 h 2084191"/>
              <a:gd name="connsiteX375" fmla="*/ 1042138 w 2051041"/>
              <a:gd name="connsiteY375" fmla="*/ 1269560 h 2084191"/>
              <a:gd name="connsiteX376" fmla="*/ 1070979 w 2051041"/>
              <a:gd name="connsiteY376" fmla="*/ 1240719 h 2084191"/>
              <a:gd name="connsiteX377" fmla="*/ 1234233 w 2051041"/>
              <a:gd name="connsiteY377" fmla="*/ 1235821 h 2084191"/>
              <a:gd name="connsiteX378" fmla="*/ 1266883 w 2051041"/>
              <a:gd name="connsiteY378" fmla="*/ 1269016 h 2084191"/>
              <a:gd name="connsiteX379" fmla="*/ 1234233 w 2051041"/>
              <a:gd name="connsiteY379" fmla="*/ 1300578 h 2084191"/>
              <a:gd name="connsiteX380" fmla="*/ 1201582 w 2051041"/>
              <a:gd name="connsiteY380" fmla="*/ 1267383 h 2084191"/>
              <a:gd name="connsiteX381" fmla="*/ 1234233 w 2051041"/>
              <a:gd name="connsiteY381" fmla="*/ 1235821 h 2084191"/>
              <a:gd name="connsiteX382" fmla="*/ 1396397 w 2051041"/>
              <a:gd name="connsiteY382" fmla="*/ 1234733 h 2084191"/>
              <a:gd name="connsiteX383" fmla="*/ 1431224 w 2051041"/>
              <a:gd name="connsiteY383" fmla="*/ 1268472 h 2084191"/>
              <a:gd name="connsiteX384" fmla="*/ 1396941 w 2051041"/>
              <a:gd name="connsiteY384" fmla="*/ 1302755 h 2084191"/>
              <a:gd name="connsiteX385" fmla="*/ 1363746 w 2051041"/>
              <a:gd name="connsiteY385" fmla="*/ 1269016 h 2084191"/>
              <a:gd name="connsiteX386" fmla="*/ 1396397 w 2051041"/>
              <a:gd name="connsiteY386" fmla="*/ 1234733 h 2084191"/>
              <a:gd name="connsiteX387" fmla="*/ 1559649 w 2051041"/>
              <a:gd name="connsiteY387" fmla="*/ 1232557 h 2084191"/>
              <a:gd name="connsiteX388" fmla="*/ 1597742 w 2051041"/>
              <a:gd name="connsiteY388" fmla="*/ 1268472 h 2084191"/>
              <a:gd name="connsiteX389" fmla="*/ 1561826 w 2051041"/>
              <a:gd name="connsiteY389" fmla="*/ 1305476 h 2084191"/>
              <a:gd name="connsiteX390" fmla="*/ 1523734 w 2051041"/>
              <a:gd name="connsiteY390" fmla="*/ 1269561 h 2084191"/>
              <a:gd name="connsiteX391" fmla="*/ 1559649 w 2051041"/>
              <a:gd name="connsiteY391" fmla="*/ 1232557 h 2084191"/>
              <a:gd name="connsiteX392" fmla="*/ 1723990 w 2051041"/>
              <a:gd name="connsiteY392" fmla="*/ 1231468 h 2084191"/>
              <a:gd name="connsiteX393" fmla="*/ 1762083 w 2051041"/>
              <a:gd name="connsiteY393" fmla="*/ 1268472 h 2084191"/>
              <a:gd name="connsiteX394" fmla="*/ 1724535 w 2051041"/>
              <a:gd name="connsiteY394" fmla="*/ 1307109 h 2084191"/>
              <a:gd name="connsiteX395" fmla="*/ 1686442 w 2051041"/>
              <a:gd name="connsiteY395" fmla="*/ 1270105 h 2084191"/>
              <a:gd name="connsiteX396" fmla="*/ 1723990 w 2051041"/>
              <a:gd name="connsiteY396" fmla="*/ 1231468 h 2084191"/>
              <a:gd name="connsiteX397" fmla="*/ 1888332 w 2051041"/>
              <a:gd name="connsiteY397" fmla="*/ 1230924 h 2084191"/>
              <a:gd name="connsiteX398" fmla="*/ 1925336 w 2051041"/>
              <a:gd name="connsiteY398" fmla="*/ 1269561 h 2084191"/>
              <a:gd name="connsiteX399" fmla="*/ 1887243 w 2051041"/>
              <a:gd name="connsiteY399" fmla="*/ 1307653 h 2084191"/>
              <a:gd name="connsiteX400" fmla="*/ 1849151 w 2051041"/>
              <a:gd name="connsiteY400" fmla="*/ 1267928 h 2084191"/>
              <a:gd name="connsiteX401" fmla="*/ 1888332 w 2051041"/>
              <a:gd name="connsiteY401" fmla="*/ 1230924 h 2084191"/>
              <a:gd name="connsiteX402" fmla="*/ 2049952 w 2051041"/>
              <a:gd name="connsiteY402" fmla="*/ 1230380 h 2084191"/>
              <a:gd name="connsiteX403" fmla="*/ 2051041 w 2051041"/>
              <a:gd name="connsiteY403" fmla="*/ 1230805 h 2084191"/>
              <a:gd name="connsiteX404" fmla="*/ 2051041 w 2051041"/>
              <a:gd name="connsiteY404" fmla="*/ 1307109 h 2084191"/>
              <a:gd name="connsiteX405" fmla="*/ 2012404 w 2051041"/>
              <a:gd name="connsiteY405" fmla="*/ 1268472 h 2084191"/>
              <a:gd name="connsiteX406" fmla="*/ 2049952 w 2051041"/>
              <a:gd name="connsiteY406" fmla="*/ 1230380 h 2084191"/>
              <a:gd name="connsiteX407" fmla="*/ 337431 w 2051041"/>
              <a:gd name="connsiteY407" fmla="*/ 1181404 h 2084191"/>
              <a:gd name="connsiteX408" fmla="*/ 345050 w 2051041"/>
              <a:gd name="connsiteY408" fmla="*/ 1187934 h 2084191"/>
              <a:gd name="connsiteX409" fmla="*/ 336343 w 2051041"/>
              <a:gd name="connsiteY409" fmla="*/ 1192288 h 2084191"/>
              <a:gd name="connsiteX410" fmla="*/ 330901 w 2051041"/>
              <a:gd name="connsiteY410" fmla="*/ 1185758 h 2084191"/>
              <a:gd name="connsiteX411" fmla="*/ 337431 w 2051041"/>
              <a:gd name="connsiteY411" fmla="*/ 1181404 h 2084191"/>
              <a:gd name="connsiteX412" fmla="*/ 499051 w 2051041"/>
              <a:gd name="connsiteY412" fmla="*/ 1171065 h 2084191"/>
              <a:gd name="connsiteX413" fmla="*/ 516465 w 2051041"/>
              <a:gd name="connsiteY413" fmla="*/ 1187390 h 2084191"/>
              <a:gd name="connsiteX414" fmla="*/ 500140 w 2051041"/>
              <a:gd name="connsiteY414" fmla="*/ 1202627 h 2084191"/>
              <a:gd name="connsiteX415" fmla="*/ 483814 w 2051041"/>
              <a:gd name="connsiteY415" fmla="*/ 1187390 h 2084191"/>
              <a:gd name="connsiteX416" fmla="*/ 499051 w 2051041"/>
              <a:gd name="connsiteY416" fmla="*/ 1171065 h 2084191"/>
              <a:gd name="connsiteX417" fmla="*/ 662848 w 2051041"/>
              <a:gd name="connsiteY417" fmla="*/ 1165623 h 2084191"/>
              <a:gd name="connsiteX418" fmla="*/ 684615 w 2051041"/>
              <a:gd name="connsiteY418" fmla="*/ 1187390 h 2084191"/>
              <a:gd name="connsiteX419" fmla="*/ 662848 w 2051041"/>
              <a:gd name="connsiteY419" fmla="*/ 1209157 h 2084191"/>
              <a:gd name="connsiteX420" fmla="*/ 641081 w 2051041"/>
              <a:gd name="connsiteY420" fmla="*/ 1186846 h 2084191"/>
              <a:gd name="connsiteX421" fmla="*/ 662848 w 2051041"/>
              <a:gd name="connsiteY421" fmla="*/ 1165623 h 2084191"/>
              <a:gd name="connsiteX422" fmla="*/ 825556 w 2051041"/>
              <a:gd name="connsiteY422" fmla="*/ 1160725 h 2084191"/>
              <a:gd name="connsiteX423" fmla="*/ 852765 w 2051041"/>
              <a:gd name="connsiteY423" fmla="*/ 1186846 h 2084191"/>
              <a:gd name="connsiteX424" fmla="*/ 826645 w 2051041"/>
              <a:gd name="connsiteY424" fmla="*/ 1213511 h 2084191"/>
              <a:gd name="connsiteX425" fmla="*/ 798892 w 2051041"/>
              <a:gd name="connsiteY425" fmla="*/ 1188479 h 2084191"/>
              <a:gd name="connsiteX426" fmla="*/ 825556 w 2051041"/>
              <a:gd name="connsiteY426" fmla="*/ 1160725 h 2084191"/>
              <a:gd name="connsiteX427" fmla="*/ 989353 w 2051041"/>
              <a:gd name="connsiteY427" fmla="*/ 1158004 h 2084191"/>
              <a:gd name="connsiteX428" fmla="*/ 1018195 w 2051041"/>
              <a:gd name="connsiteY428" fmla="*/ 1187934 h 2084191"/>
              <a:gd name="connsiteX429" fmla="*/ 988809 w 2051041"/>
              <a:gd name="connsiteY429" fmla="*/ 1216775 h 2084191"/>
              <a:gd name="connsiteX430" fmla="*/ 959968 w 2051041"/>
              <a:gd name="connsiteY430" fmla="*/ 1187934 h 2084191"/>
              <a:gd name="connsiteX431" fmla="*/ 989353 w 2051041"/>
              <a:gd name="connsiteY431" fmla="*/ 1158004 h 2084191"/>
              <a:gd name="connsiteX432" fmla="*/ 1152062 w 2051041"/>
              <a:gd name="connsiteY432" fmla="*/ 1153651 h 2084191"/>
              <a:gd name="connsiteX433" fmla="*/ 1185801 w 2051041"/>
              <a:gd name="connsiteY433" fmla="*/ 1186301 h 2084191"/>
              <a:gd name="connsiteX434" fmla="*/ 1153150 w 2051041"/>
              <a:gd name="connsiteY434" fmla="*/ 1219496 h 2084191"/>
              <a:gd name="connsiteX435" fmla="*/ 1119956 w 2051041"/>
              <a:gd name="connsiteY435" fmla="*/ 1187390 h 2084191"/>
              <a:gd name="connsiteX436" fmla="*/ 1152062 w 2051041"/>
              <a:gd name="connsiteY436" fmla="*/ 1153651 h 2084191"/>
              <a:gd name="connsiteX437" fmla="*/ 1315315 w 2051041"/>
              <a:gd name="connsiteY437" fmla="*/ 1152018 h 2084191"/>
              <a:gd name="connsiteX438" fmla="*/ 1351230 w 2051041"/>
              <a:gd name="connsiteY438" fmla="*/ 1186845 h 2084191"/>
              <a:gd name="connsiteX439" fmla="*/ 1315859 w 2051041"/>
              <a:gd name="connsiteY439" fmla="*/ 1221673 h 2084191"/>
              <a:gd name="connsiteX440" fmla="*/ 1281576 w 2051041"/>
              <a:gd name="connsiteY440" fmla="*/ 1187390 h 2084191"/>
              <a:gd name="connsiteX441" fmla="*/ 1315315 w 2051041"/>
              <a:gd name="connsiteY441" fmla="*/ 1152018 h 2084191"/>
              <a:gd name="connsiteX442" fmla="*/ 1479656 w 2051041"/>
              <a:gd name="connsiteY442" fmla="*/ 1149298 h 2084191"/>
              <a:gd name="connsiteX443" fmla="*/ 1516660 w 2051041"/>
              <a:gd name="connsiteY443" fmla="*/ 1188479 h 2084191"/>
              <a:gd name="connsiteX444" fmla="*/ 1478023 w 2051041"/>
              <a:gd name="connsiteY444" fmla="*/ 1224394 h 2084191"/>
              <a:gd name="connsiteX445" fmla="*/ 1441563 w 2051041"/>
              <a:gd name="connsiteY445" fmla="*/ 1185758 h 2084191"/>
              <a:gd name="connsiteX446" fmla="*/ 1479656 w 2051041"/>
              <a:gd name="connsiteY446" fmla="*/ 1149298 h 2084191"/>
              <a:gd name="connsiteX447" fmla="*/ 1642365 w 2051041"/>
              <a:gd name="connsiteY447" fmla="*/ 1148209 h 2084191"/>
              <a:gd name="connsiteX448" fmla="*/ 1681001 w 2051041"/>
              <a:gd name="connsiteY448" fmla="*/ 1187390 h 2084191"/>
              <a:gd name="connsiteX449" fmla="*/ 1641821 w 2051041"/>
              <a:gd name="connsiteY449" fmla="*/ 1226026 h 2084191"/>
              <a:gd name="connsiteX450" fmla="*/ 1603728 w 2051041"/>
              <a:gd name="connsiteY450" fmla="*/ 1186846 h 2084191"/>
              <a:gd name="connsiteX451" fmla="*/ 1642365 w 2051041"/>
              <a:gd name="connsiteY451" fmla="*/ 1148209 h 2084191"/>
              <a:gd name="connsiteX452" fmla="*/ 1969414 w 2051041"/>
              <a:gd name="connsiteY452" fmla="*/ 1147665 h 2084191"/>
              <a:gd name="connsiteX453" fmla="*/ 2009139 w 2051041"/>
              <a:gd name="connsiteY453" fmla="*/ 1187934 h 2084191"/>
              <a:gd name="connsiteX454" fmla="*/ 1968870 w 2051041"/>
              <a:gd name="connsiteY454" fmla="*/ 1227114 h 2084191"/>
              <a:gd name="connsiteX455" fmla="*/ 1929145 w 2051041"/>
              <a:gd name="connsiteY455" fmla="*/ 1186301 h 2084191"/>
              <a:gd name="connsiteX456" fmla="*/ 1969414 w 2051041"/>
              <a:gd name="connsiteY456" fmla="*/ 1147665 h 2084191"/>
              <a:gd name="connsiteX457" fmla="*/ 1805617 w 2051041"/>
              <a:gd name="connsiteY457" fmla="*/ 1147665 h 2084191"/>
              <a:gd name="connsiteX458" fmla="*/ 1844798 w 2051041"/>
              <a:gd name="connsiteY458" fmla="*/ 1187934 h 2084191"/>
              <a:gd name="connsiteX459" fmla="*/ 1805073 w 2051041"/>
              <a:gd name="connsiteY459" fmla="*/ 1226571 h 2084191"/>
              <a:gd name="connsiteX460" fmla="*/ 1766981 w 2051041"/>
              <a:gd name="connsiteY460" fmla="*/ 1186845 h 2084191"/>
              <a:gd name="connsiteX461" fmla="*/ 1805617 w 2051041"/>
              <a:gd name="connsiteY461" fmla="*/ 1147665 h 2084191"/>
              <a:gd name="connsiteX462" fmla="*/ 417425 w 2051041"/>
              <a:gd name="connsiteY462" fmla="*/ 1090527 h 2084191"/>
              <a:gd name="connsiteX463" fmla="*/ 432662 w 2051041"/>
              <a:gd name="connsiteY463" fmla="*/ 1105764 h 2084191"/>
              <a:gd name="connsiteX464" fmla="*/ 417969 w 2051041"/>
              <a:gd name="connsiteY464" fmla="*/ 1120457 h 2084191"/>
              <a:gd name="connsiteX465" fmla="*/ 402732 w 2051041"/>
              <a:gd name="connsiteY465" fmla="*/ 1105219 h 2084191"/>
              <a:gd name="connsiteX466" fmla="*/ 417425 w 2051041"/>
              <a:gd name="connsiteY466" fmla="*/ 1090527 h 2084191"/>
              <a:gd name="connsiteX467" fmla="*/ 580677 w 2051041"/>
              <a:gd name="connsiteY467" fmla="*/ 1083996 h 2084191"/>
              <a:gd name="connsiteX468" fmla="*/ 602444 w 2051041"/>
              <a:gd name="connsiteY468" fmla="*/ 1105219 h 2084191"/>
              <a:gd name="connsiteX469" fmla="*/ 581221 w 2051041"/>
              <a:gd name="connsiteY469" fmla="*/ 1127530 h 2084191"/>
              <a:gd name="connsiteX470" fmla="*/ 558910 w 2051041"/>
              <a:gd name="connsiteY470" fmla="*/ 1105219 h 2084191"/>
              <a:gd name="connsiteX471" fmla="*/ 580677 w 2051041"/>
              <a:gd name="connsiteY471" fmla="*/ 1083996 h 2084191"/>
              <a:gd name="connsiteX472" fmla="*/ 743386 w 2051041"/>
              <a:gd name="connsiteY472" fmla="*/ 1079099 h 2084191"/>
              <a:gd name="connsiteX473" fmla="*/ 770595 w 2051041"/>
              <a:gd name="connsiteY473" fmla="*/ 1105219 h 2084191"/>
              <a:gd name="connsiteX474" fmla="*/ 745019 w 2051041"/>
              <a:gd name="connsiteY474" fmla="*/ 1132428 h 2084191"/>
              <a:gd name="connsiteX475" fmla="*/ 717810 w 2051041"/>
              <a:gd name="connsiteY475" fmla="*/ 1106308 h 2084191"/>
              <a:gd name="connsiteX476" fmla="*/ 743386 w 2051041"/>
              <a:gd name="connsiteY476" fmla="*/ 1079099 h 2084191"/>
              <a:gd name="connsiteX477" fmla="*/ 907727 w 2051041"/>
              <a:gd name="connsiteY477" fmla="*/ 1076378 h 2084191"/>
              <a:gd name="connsiteX478" fmla="*/ 937112 w 2051041"/>
              <a:gd name="connsiteY478" fmla="*/ 1105219 h 2084191"/>
              <a:gd name="connsiteX479" fmla="*/ 908271 w 2051041"/>
              <a:gd name="connsiteY479" fmla="*/ 1134061 h 2084191"/>
              <a:gd name="connsiteX480" fmla="*/ 878885 w 2051041"/>
              <a:gd name="connsiteY480" fmla="*/ 1105764 h 2084191"/>
              <a:gd name="connsiteX481" fmla="*/ 907727 w 2051041"/>
              <a:gd name="connsiteY481" fmla="*/ 1076378 h 2084191"/>
              <a:gd name="connsiteX482" fmla="*/ 1071524 w 2051041"/>
              <a:gd name="connsiteY482" fmla="*/ 1072569 h 2084191"/>
              <a:gd name="connsiteX483" fmla="*/ 1104174 w 2051041"/>
              <a:gd name="connsiteY483" fmla="*/ 1105220 h 2084191"/>
              <a:gd name="connsiteX484" fmla="*/ 1070435 w 2051041"/>
              <a:gd name="connsiteY484" fmla="*/ 1137870 h 2084191"/>
              <a:gd name="connsiteX485" fmla="*/ 1038329 w 2051041"/>
              <a:gd name="connsiteY485" fmla="*/ 1105764 h 2084191"/>
              <a:gd name="connsiteX486" fmla="*/ 1071524 w 2051041"/>
              <a:gd name="connsiteY486" fmla="*/ 1072569 h 2084191"/>
              <a:gd name="connsiteX487" fmla="*/ 1235865 w 2051041"/>
              <a:gd name="connsiteY487" fmla="*/ 1068760 h 2084191"/>
              <a:gd name="connsiteX488" fmla="*/ 1271237 w 2051041"/>
              <a:gd name="connsiteY488" fmla="*/ 1106852 h 2084191"/>
              <a:gd name="connsiteX489" fmla="*/ 1234777 w 2051041"/>
              <a:gd name="connsiteY489" fmla="*/ 1142223 h 2084191"/>
              <a:gd name="connsiteX490" fmla="*/ 1198861 w 2051041"/>
              <a:gd name="connsiteY490" fmla="*/ 1105219 h 2084191"/>
              <a:gd name="connsiteX491" fmla="*/ 1235865 w 2051041"/>
              <a:gd name="connsiteY491" fmla="*/ 1068760 h 2084191"/>
              <a:gd name="connsiteX492" fmla="*/ 1396397 w 2051041"/>
              <a:gd name="connsiteY492" fmla="*/ 1067127 h 2084191"/>
              <a:gd name="connsiteX493" fmla="*/ 1435578 w 2051041"/>
              <a:gd name="connsiteY493" fmla="*/ 1105219 h 2084191"/>
              <a:gd name="connsiteX494" fmla="*/ 1396941 w 2051041"/>
              <a:gd name="connsiteY494" fmla="*/ 1143856 h 2084191"/>
              <a:gd name="connsiteX495" fmla="*/ 1358849 w 2051041"/>
              <a:gd name="connsiteY495" fmla="*/ 1105763 h 2084191"/>
              <a:gd name="connsiteX496" fmla="*/ 1396397 w 2051041"/>
              <a:gd name="connsiteY496" fmla="*/ 1067127 h 2084191"/>
              <a:gd name="connsiteX497" fmla="*/ 1560738 w 2051041"/>
              <a:gd name="connsiteY497" fmla="*/ 1066582 h 2084191"/>
              <a:gd name="connsiteX498" fmla="*/ 1599919 w 2051041"/>
              <a:gd name="connsiteY498" fmla="*/ 1105763 h 2084191"/>
              <a:gd name="connsiteX499" fmla="*/ 1560738 w 2051041"/>
              <a:gd name="connsiteY499" fmla="*/ 1144400 h 2084191"/>
              <a:gd name="connsiteX500" fmla="*/ 1521013 w 2051041"/>
              <a:gd name="connsiteY500" fmla="*/ 1105763 h 2084191"/>
              <a:gd name="connsiteX501" fmla="*/ 1560738 w 2051041"/>
              <a:gd name="connsiteY501" fmla="*/ 1066582 h 2084191"/>
              <a:gd name="connsiteX502" fmla="*/ 1723447 w 2051041"/>
              <a:gd name="connsiteY502" fmla="*/ 1064406 h 2084191"/>
              <a:gd name="connsiteX503" fmla="*/ 1764260 w 2051041"/>
              <a:gd name="connsiteY503" fmla="*/ 1104675 h 2084191"/>
              <a:gd name="connsiteX504" fmla="*/ 1724535 w 2051041"/>
              <a:gd name="connsiteY504" fmla="*/ 1146032 h 2084191"/>
              <a:gd name="connsiteX505" fmla="*/ 1683178 w 2051041"/>
              <a:gd name="connsiteY505" fmla="*/ 1105764 h 2084191"/>
              <a:gd name="connsiteX506" fmla="*/ 1723447 w 2051041"/>
              <a:gd name="connsiteY506" fmla="*/ 1064406 h 2084191"/>
              <a:gd name="connsiteX507" fmla="*/ 2051041 w 2051041"/>
              <a:gd name="connsiteY507" fmla="*/ 1063318 h 2084191"/>
              <a:gd name="connsiteX508" fmla="*/ 2051041 w 2051041"/>
              <a:gd name="connsiteY508" fmla="*/ 1147740 h 2084191"/>
              <a:gd name="connsiteX509" fmla="*/ 2049952 w 2051041"/>
              <a:gd name="connsiteY509" fmla="*/ 1148210 h 2084191"/>
              <a:gd name="connsiteX510" fmla="*/ 2008051 w 2051041"/>
              <a:gd name="connsiteY510" fmla="*/ 1105764 h 2084191"/>
              <a:gd name="connsiteX511" fmla="*/ 2051041 w 2051041"/>
              <a:gd name="connsiteY511" fmla="*/ 1063318 h 2084191"/>
              <a:gd name="connsiteX512" fmla="*/ 1887787 w 2051041"/>
              <a:gd name="connsiteY512" fmla="*/ 1062773 h 2084191"/>
              <a:gd name="connsiteX513" fmla="*/ 1929145 w 2051041"/>
              <a:gd name="connsiteY513" fmla="*/ 1105763 h 2084191"/>
              <a:gd name="connsiteX514" fmla="*/ 1886699 w 2051041"/>
              <a:gd name="connsiteY514" fmla="*/ 1147665 h 2084191"/>
              <a:gd name="connsiteX515" fmla="*/ 1844798 w 2051041"/>
              <a:gd name="connsiteY515" fmla="*/ 1105219 h 2084191"/>
              <a:gd name="connsiteX516" fmla="*/ 1887787 w 2051041"/>
              <a:gd name="connsiteY516" fmla="*/ 1062773 h 2084191"/>
              <a:gd name="connsiteX517" fmla="*/ 335798 w 2051041"/>
              <a:gd name="connsiteY517" fmla="*/ 1011621 h 2084191"/>
              <a:gd name="connsiteX518" fmla="*/ 348314 w 2051041"/>
              <a:gd name="connsiteY518" fmla="*/ 1023049 h 2084191"/>
              <a:gd name="connsiteX519" fmla="*/ 336886 w 2051041"/>
              <a:gd name="connsiteY519" fmla="*/ 1036109 h 2084191"/>
              <a:gd name="connsiteX520" fmla="*/ 324370 w 2051041"/>
              <a:gd name="connsiteY520" fmla="*/ 1024681 h 2084191"/>
              <a:gd name="connsiteX521" fmla="*/ 335798 w 2051041"/>
              <a:gd name="connsiteY521" fmla="*/ 1011621 h 2084191"/>
              <a:gd name="connsiteX522" fmla="*/ 499051 w 2051041"/>
              <a:gd name="connsiteY522" fmla="*/ 1002914 h 2084191"/>
              <a:gd name="connsiteX523" fmla="*/ 520818 w 2051041"/>
              <a:gd name="connsiteY523" fmla="*/ 1024137 h 2084191"/>
              <a:gd name="connsiteX524" fmla="*/ 499595 w 2051041"/>
              <a:gd name="connsiteY524" fmla="*/ 1045360 h 2084191"/>
              <a:gd name="connsiteX525" fmla="*/ 478372 w 2051041"/>
              <a:gd name="connsiteY525" fmla="*/ 1024137 h 2084191"/>
              <a:gd name="connsiteX526" fmla="*/ 499051 w 2051041"/>
              <a:gd name="connsiteY526" fmla="*/ 1002914 h 2084191"/>
              <a:gd name="connsiteX527" fmla="*/ 663392 w 2051041"/>
              <a:gd name="connsiteY527" fmla="*/ 997473 h 2084191"/>
              <a:gd name="connsiteX528" fmla="*/ 688424 w 2051041"/>
              <a:gd name="connsiteY528" fmla="*/ 1024138 h 2084191"/>
              <a:gd name="connsiteX529" fmla="*/ 661759 w 2051041"/>
              <a:gd name="connsiteY529" fmla="*/ 1050258 h 2084191"/>
              <a:gd name="connsiteX530" fmla="*/ 636727 w 2051041"/>
              <a:gd name="connsiteY530" fmla="*/ 1023593 h 2084191"/>
              <a:gd name="connsiteX531" fmla="*/ 663392 w 2051041"/>
              <a:gd name="connsiteY531" fmla="*/ 997473 h 2084191"/>
              <a:gd name="connsiteX532" fmla="*/ 826645 w 2051041"/>
              <a:gd name="connsiteY532" fmla="*/ 995840 h 2084191"/>
              <a:gd name="connsiteX533" fmla="*/ 854942 w 2051041"/>
              <a:gd name="connsiteY533" fmla="*/ 1024137 h 2084191"/>
              <a:gd name="connsiteX534" fmla="*/ 825557 w 2051041"/>
              <a:gd name="connsiteY534" fmla="*/ 1052978 h 2084191"/>
              <a:gd name="connsiteX535" fmla="*/ 797260 w 2051041"/>
              <a:gd name="connsiteY535" fmla="*/ 1023593 h 2084191"/>
              <a:gd name="connsiteX536" fmla="*/ 826645 w 2051041"/>
              <a:gd name="connsiteY536" fmla="*/ 995840 h 2084191"/>
              <a:gd name="connsiteX537" fmla="*/ 990441 w 2051041"/>
              <a:gd name="connsiteY537" fmla="*/ 990942 h 2084191"/>
              <a:gd name="connsiteX538" fmla="*/ 1022548 w 2051041"/>
              <a:gd name="connsiteY538" fmla="*/ 1025225 h 2084191"/>
              <a:gd name="connsiteX539" fmla="*/ 988809 w 2051041"/>
              <a:gd name="connsiteY539" fmla="*/ 1056787 h 2084191"/>
              <a:gd name="connsiteX540" fmla="*/ 956702 w 2051041"/>
              <a:gd name="connsiteY540" fmla="*/ 1023593 h 2084191"/>
              <a:gd name="connsiteX541" fmla="*/ 990441 w 2051041"/>
              <a:gd name="connsiteY541" fmla="*/ 990942 h 2084191"/>
              <a:gd name="connsiteX542" fmla="*/ 1150974 w 2051041"/>
              <a:gd name="connsiteY542" fmla="*/ 987678 h 2084191"/>
              <a:gd name="connsiteX543" fmla="*/ 1189610 w 2051041"/>
              <a:gd name="connsiteY543" fmla="*/ 1023593 h 2084191"/>
              <a:gd name="connsiteX544" fmla="*/ 1152062 w 2051041"/>
              <a:gd name="connsiteY544" fmla="*/ 1061685 h 2084191"/>
              <a:gd name="connsiteX545" fmla="*/ 1115058 w 2051041"/>
              <a:gd name="connsiteY545" fmla="*/ 1024682 h 2084191"/>
              <a:gd name="connsiteX546" fmla="*/ 1150974 w 2051041"/>
              <a:gd name="connsiteY546" fmla="*/ 987678 h 2084191"/>
              <a:gd name="connsiteX547" fmla="*/ 1315314 w 2051041"/>
              <a:gd name="connsiteY547" fmla="*/ 985501 h 2084191"/>
              <a:gd name="connsiteX548" fmla="*/ 1354495 w 2051041"/>
              <a:gd name="connsiteY548" fmla="*/ 1023593 h 2084191"/>
              <a:gd name="connsiteX549" fmla="*/ 1315858 w 2051041"/>
              <a:gd name="connsiteY549" fmla="*/ 1062230 h 2084191"/>
              <a:gd name="connsiteX550" fmla="*/ 1277222 w 2051041"/>
              <a:gd name="connsiteY550" fmla="*/ 1024137 h 2084191"/>
              <a:gd name="connsiteX551" fmla="*/ 1315314 w 2051041"/>
              <a:gd name="connsiteY551" fmla="*/ 985501 h 2084191"/>
              <a:gd name="connsiteX552" fmla="*/ 1479656 w 2051041"/>
              <a:gd name="connsiteY552" fmla="*/ 984412 h 2084191"/>
              <a:gd name="connsiteX553" fmla="*/ 1519380 w 2051041"/>
              <a:gd name="connsiteY553" fmla="*/ 1025225 h 2084191"/>
              <a:gd name="connsiteX554" fmla="*/ 1478567 w 2051041"/>
              <a:gd name="connsiteY554" fmla="*/ 1063318 h 2084191"/>
              <a:gd name="connsiteX555" fmla="*/ 1439387 w 2051041"/>
              <a:gd name="connsiteY555" fmla="*/ 1023593 h 2084191"/>
              <a:gd name="connsiteX556" fmla="*/ 1479656 w 2051041"/>
              <a:gd name="connsiteY556" fmla="*/ 984412 h 2084191"/>
              <a:gd name="connsiteX557" fmla="*/ 1641820 w 2051041"/>
              <a:gd name="connsiteY557" fmla="*/ 981691 h 2084191"/>
              <a:gd name="connsiteX558" fmla="*/ 1684810 w 2051041"/>
              <a:gd name="connsiteY558" fmla="*/ 1023592 h 2084191"/>
              <a:gd name="connsiteX559" fmla="*/ 1642909 w 2051041"/>
              <a:gd name="connsiteY559" fmla="*/ 1066038 h 2084191"/>
              <a:gd name="connsiteX560" fmla="*/ 1599919 w 2051041"/>
              <a:gd name="connsiteY560" fmla="*/ 1023592 h 2084191"/>
              <a:gd name="connsiteX561" fmla="*/ 1641820 w 2051041"/>
              <a:gd name="connsiteY561" fmla="*/ 981691 h 2084191"/>
              <a:gd name="connsiteX562" fmla="*/ 1806161 w 2051041"/>
              <a:gd name="connsiteY562" fmla="*/ 980603 h 2084191"/>
              <a:gd name="connsiteX563" fmla="*/ 1849151 w 2051041"/>
              <a:gd name="connsiteY563" fmla="*/ 1023592 h 2084191"/>
              <a:gd name="connsiteX564" fmla="*/ 1805617 w 2051041"/>
              <a:gd name="connsiteY564" fmla="*/ 1067127 h 2084191"/>
              <a:gd name="connsiteX565" fmla="*/ 1762083 w 2051041"/>
              <a:gd name="connsiteY565" fmla="*/ 1023592 h 2084191"/>
              <a:gd name="connsiteX566" fmla="*/ 1806161 w 2051041"/>
              <a:gd name="connsiteY566" fmla="*/ 980603 h 2084191"/>
              <a:gd name="connsiteX567" fmla="*/ 1969414 w 2051041"/>
              <a:gd name="connsiteY567" fmla="*/ 980059 h 2084191"/>
              <a:gd name="connsiteX568" fmla="*/ 2012404 w 2051041"/>
              <a:gd name="connsiteY568" fmla="*/ 1024137 h 2084191"/>
              <a:gd name="connsiteX569" fmla="*/ 1968870 w 2051041"/>
              <a:gd name="connsiteY569" fmla="*/ 1067127 h 2084191"/>
              <a:gd name="connsiteX570" fmla="*/ 1924792 w 2051041"/>
              <a:gd name="connsiteY570" fmla="*/ 1024137 h 2084191"/>
              <a:gd name="connsiteX571" fmla="*/ 1969414 w 2051041"/>
              <a:gd name="connsiteY571" fmla="*/ 980059 h 2084191"/>
              <a:gd name="connsiteX572" fmla="*/ 254171 w 2051041"/>
              <a:gd name="connsiteY572" fmla="*/ 931083 h 2084191"/>
              <a:gd name="connsiteX573" fmla="*/ 265599 w 2051041"/>
              <a:gd name="connsiteY573" fmla="*/ 941967 h 2084191"/>
              <a:gd name="connsiteX574" fmla="*/ 254171 w 2051041"/>
              <a:gd name="connsiteY574" fmla="*/ 952850 h 2084191"/>
              <a:gd name="connsiteX575" fmla="*/ 243832 w 2051041"/>
              <a:gd name="connsiteY575" fmla="*/ 941967 h 2084191"/>
              <a:gd name="connsiteX576" fmla="*/ 254171 w 2051041"/>
              <a:gd name="connsiteY576" fmla="*/ 931083 h 2084191"/>
              <a:gd name="connsiteX577" fmla="*/ 417968 w 2051041"/>
              <a:gd name="connsiteY577" fmla="*/ 922377 h 2084191"/>
              <a:gd name="connsiteX578" fmla="*/ 437559 w 2051041"/>
              <a:gd name="connsiteY578" fmla="*/ 942511 h 2084191"/>
              <a:gd name="connsiteX579" fmla="*/ 417968 w 2051041"/>
              <a:gd name="connsiteY579" fmla="*/ 961557 h 2084191"/>
              <a:gd name="connsiteX580" fmla="*/ 397834 w 2051041"/>
              <a:gd name="connsiteY580" fmla="*/ 941423 h 2084191"/>
              <a:gd name="connsiteX581" fmla="*/ 417968 w 2051041"/>
              <a:gd name="connsiteY581" fmla="*/ 922377 h 2084191"/>
              <a:gd name="connsiteX582" fmla="*/ 581222 w 2051041"/>
              <a:gd name="connsiteY582" fmla="*/ 916934 h 2084191"/>
              <a:gd name="connsiteX583" fmla="*/ 606798 w 2051041"/>
              <a:gd name="connsiteY583" fmla="*/ 943054 h 2084191"/>
              <a:gd name="connsiteX584" fmla="*/ 581222 w 2051041"/>
              <a:gd name="connsiteY584" fmla="*/ 967542 h 2084191"/>
              <a:gd name="connsiteX585" fmla="*/ 556190 w 2051041"/>
              <a:gd name="connsiteY585" fmla="*/ 943054 h 2084191"/>
              <a:gd name="connsiteX586" fmla="*/ 581222 w 2051041"/>
              <a:gd name="connsiteY586" fmla="*/ 916934 h 2084191"/>
              <a:gd name="connsiteX587" fmla="*/ 744474 w 2051041"/>
              <a:gd name="connsiteY587" fmla="*/ 913669 h 2084191"/>
              <a:gd name="connsiteX588" fmla="*/ 773315 w 2051041"/>
              <a:gd name="connsiteY588" fmla="*/ 942510 h 2084191"/>
              <a:gd name="connsiteX589" fmla="*/ 743930 w 2051041"/>
              <a:gd name="connsiteY589" fmla="*/ 970807 h 2084191"/>
              <a:gd name="connsiteX590" fmla="*/ 716177 w 2051041"/>
              <a:gd name="connsiteY590" fmla="*/ 941966 h 2084191"/>
              <a:gd name="connsiteX591" fmla="*/ 744474 w 2051041"/>
              <a:gd name="connsiteY591" fmla="*/ 913669 h 2084191"/>
              <a:gd name="connsiteX592" fmla="*/ 908271 w 2051041"/>
              <a:gd name="connsiteY592" fmla="*/ 908772 h 2084191"/>
              <a:gd name="connsiteX593" fmla="*/ 940377 w 2051041"/>
              <a:gd name="connsiteY593" fmla="*/ 944144 h 2084191"/>
              <a:gd name="connsiteX594" fmla="*/ 906094 w 2051041"/>
              <a:gd name="connsiteY594" fmla="*/ 975162 h 2084191"/>
              <a:gd name="connsiteX595" fmla="*/ 874532 w 2051041"/>
              <a:gd name="connsiteY595" fmla="*/ 940879 h 2084191"/>
              <a:gd name="connsiteX596" fmla="*/ 908271 w 2051041"/>
              <a:gd name="connsiteY596" fmla="*/ 908772 h 2084191"/>
              <a:gd name="connsiteX597" fmla="*/ 1072068 w 2051041"/>
              <a:gd name="connsiteY597" fmla="*/ 906051 h 2084191"/>
              <a:gd name="connsiteX598" fmla="*/ 1107984 w 2051041"/>
              <a:gd name="connsiteY598" fmla="*/ 942511 h 2084191"/>
              <a:gd name="connsiteX599" fmla="*/ 1070980 w 2051041"/>
              <a:gd name="connsiteY599" fmla="*/ 979515 h 2084191"/>
              <a:gd name="connsiteX600" fmla="*/ 1034520 w 2051041"/>
              <a:gd name="connsiteY600" fmla="*/ 942511 h 2084191"/>
              <a:gd name="connsiteX601" fmla="*/ 1072068 w 2051041"/>
              <a:gd name="connsiteY601" fmla="*/ 906051 h 2084191"/>
              <a:gd name="connsiteX602" fmla="*/ 1235321 w 2051041"/>
              <a:gd name="connsiteY602" fmla="*/ 903874 h 2084191"/>
              <a:gd name="connsiteX603" fmla="*/ 1272325 w 2051041"/>
              <a:gd name="connsiteY603" fmla="*/ 943054 h 2084191"/>
              <a:gd name="connsiteX604" fmla="*/ 1233688 w 2051041"/>
              <a:gd name="connsiteY604" fmla="*/ 981147 h 2084191"/>
              <a:gd name="connsiteX605" fmla="*/ 1195596 w 2051041"/>
              <a:gd name="connsiteY605" fmla="*/ 940878 h 2084191"/>
              <a:gd name="connsiteX606" fmla="*/ 1235321 w 2051041"/>
              <a:gd name="connsiteY606" fmla="*/ 903874 h 2084191"/>
              <a:gd name="connsiteX607" fmla="*/ 1397486 w 2051041"/>
              <a:gd name="connsiteY607" fmla="*/ 901153 h 2084191"/>
              <a:gd name="connsiteX608" fmla="*/ 1438299 w 2051041"/>
              <a:gd name="connsiteY608" fmla="*/ 942511 h 2084191"/>
              <a:gd name="connsiteX609" fmla="*/ 1396941 w 2051041"/>
              <a:gd name="connsiteY609" fmla="*/ 983324 h 2084191"/>
              <a:gd name="connsiteX610" fmla="*/ 1356128 w 2051041"/>
              <a:gd name="connsiteY610" fmla="*/ 941967 h 2084191"/>
              <a:gd name="connsiteX611" fmla="*/ 1397486 w 2051041"/>
              <a:gd name="connsiteY611" fmla="*/ 901153 h 2084191"/>
              <a:gd name="connsiteX612" fmla="*/ 1560738 w 2051041"/>
              <a:gd name="connsiteY612" fmla="*/ 898977 h 2084191"/>
              <a:gd name="connsiteX613" fmla="*/ 1603728 w 2051041"/>
              <a:gd name="connsiteY613" fmla="*/ 942511 h 2084191"/>
              <a:gd name="connsiteX614" fmla="*/ 1560738 w 2051041"/>
              <a:gd name="connsiteY614" fmla="*/ 985501 h 2084191"/>
              <a:gd name="connsiteX615" fmla="*/ 1517204 w 2051041"/>
              <a:gd name="connsiteY615" fmla="*/ 941423 h 2084191"/>
              <a:gd name="connsiteX616" fmla="*/ 1560738 w 2051041"/>
              <a:gd name="connsiteY616" fmla="*/ 898977 h 2084191"/>
              <a:gd name="connsiteX617" fmla="*/ 1723990 w 2051041"/>
              <a:gd name="connsiteY617" fmla="*/ 897888 h 2084191"/>
              <a:gd name="connsiteX618" fmla="*/ 1768069 w 2051041"/>
              <a:gd name="connsiteY618" fmla="*/ 942510 h 2084191"/>
              <a:gd name="connsiteX619" fmla="*/ 1723990 w 2051041"/>
              <a:gd name="connsiteY619" fmla="*/ 986589 h 2084191"/>
              <a:gd name="connsiteX620" fmla="*/ 1679912 w 2051041"/>
              <a:gd name="connsiteY620" fmla="*/ 941422 h 2084191"/>
              <a:gd name="connsiteX621" fmla="*/ 1723990 w 2051041"/>
              <a:gd name="connsiteY621" fmla="*/ 897888 h 2084191"/>
              <a:gd name="connsiteX622" fmla="*/ 2050497 w 2051041"/>
              <a:gd name="connsiteY622" fmla="*/ 897344 h 2084191"/>
              <a:gd name="connsiteX623" fmla="*/ 2051041 w 2051041"/>
              <a:gd name="connsiteY623" fmla="*/ 897453 h 2084191"/>
              <a:gd name="connsiteX624" fmla="*/ 2051041 w 2051041"/>
              <a:gd name="connsiteY624" fmla="*/ 986917 h 2084191"/>
              <a:gd name="connsiteX625" fmla="*/ 2049952 w 2051041"/>
              <a:gd name="connsiteY625" fmla="*/ 987133 h 2084191"/>
              <a:gd name="connsiteX626" fmla="*/ 2005330 w 2051041"/>
              <a:gd name="connsiteY626" fmla="*/ 941422 h 2084191"/>
              <a:gd name="connsiteX627" fmla="*/ 2050497 w 2051041"/>
              <a:gd name="connsiteY627" fmla="*/ 897344 h 2084191"/>
              <a:gd name="connsiteX628" fmla="*/ 1887243 w 2051041"/>
              <a:gd name="connsiteY628" fmla="*/ 897344 h 2084191"/>
              <a:gd name="connsiteX629" fmla="*/ 1931866 w 2051041"/>
              <a:gd name="connsiteY629" fmla="*/ 942511 h 2084191"/>
              <a:gd name="connsiteX630" fmla="*/ 1887243 w 2051041"/>
              <a:gd name="connsiteY630" fmla="*/ 986589 h 2084191"/>
              <a:gd name="connsiteX631" fmla="*/ 1843165 w 2051041"/>
              <a:gd name="connsiteY631" fmla="*/ 941422 h 2084191"/>
              <a:gd name="connsiteX632" fmla="*/ 1887243 w 2051041"/>
              <a:gd name="connsiteY632" fmla="*/ 897344 h 2084191"/>
              <a:gd name="connsiteX633" fmla="*/ 172545 w 2051041"/>
              <a:gd name="connsiteY633" fmla="*/ 854354 h 2084191"/>
              <a:gd name="connsiteX634" fmla="*/ 179619 w 2051041"/>
              <a:gd name="connsiteY634" fmla="*/ 860884 h 2084191"/>
              <a:gd name="connsiteX635" fmla="*/ 173634 w 2051041"/>
              <a:gd name="connsiteY635" fmla="*/ 866870 h 2084191"/>
              <a:gd name="connsiteX636" fmla="*/ 166015 w 2051041"/>
              <a:gd name="connsiteY636" fmla="*/ 861973 h 2084191"/>
              <a:gd name="connsiteX637" fmla="*/ 172545 w 2051041"/>
              <a:gd name="connsiteY637" fmla="*/ 854354 h 2084191"/>
              <a:gd name="connsiteX638" fmla="*/ 336342 w 2051041"/>
              <a:gd name="connsiteY638" fmla="*/ 843471 h 2084191"/>
              <a:gd name="connsiteX639" fmla="*/ 353211 w 2051041"/>
              <a:gd name="connsiteY639" fmla="*/ 860340 h 2084191"/>
              <a:gd name="connsiteX640" fmla="*/ 336886 w 2051041"/>
              <a:gd name="connsiteY640" fmla="*/ 877210 h 2084191"/>
              <a:gd name="connsiteX641" fmla="*/ 320017 w 2051041"/>
              <a:gd name="connsiteY641" fmla="*/ 860884 h 2084191"/>
              <a:gd name="connsiteX642" fmla="*/ 336342 w 2051041"/>
              <a:gd name="connsiteY642" fmla="*/ 843471 h 2084191"/>
              <a:gd name="connsiteX643" fmla="*/ 500139 w 2051041"/>
              <a:gd name="connsiteY643" fmla="*/ 837485 h 2084191"/>
              <a:gd name="connsiteX644" fmla="*/ 522994 w 2051041"/>
              <a:gd name="connsiteY644" fmla="*/ 861428 h 2084191"/>
              <a:gd name="connsiteX645" fmla="*/ 499595 w 2051041"/>
              <a:gd name="connsiteY645" fmla="*/ 884284 h 2084191"/>
              <a:gd name="connsiteX646" fmla="*/ 476739 w 2051041"/>
              <a:gd name="connsiteY646" fmla="*/ 860340 h 2084191"/>
              <a:gd name="connsiteX647" fmla="*/ 500139 w 2051041"/>
              <a:gd name="connsiteY647" fmla="*/ 837485 h 2084191"/>
              <a:gd name="connsiteX648" fmla="*/ 662848 w 2051041"/>
              <a:gd name="connsiteY648" fmla="*/ 832587 h 2084191"/>
              <a:gd name="connsiteX649" fmla="*/ 690057 w 2051041"/>
              <a:gd name="connsiteY649" fmla="*/ 860340 h 2084191"/>
              <a:gd name="connsiteX650" fmla="*/ 662848 w 2051041"/>
              <a:gd name="connsiteY650" fmla="*/ 888637 h 2084191"/>
              <a:gd name="connsiteX651" fmla="*/ 634551 w 2051041"/>
              <a:gd name="connsiteY651" fmla="*/ 861428 h 2084191"/>
              <a:gd name="connsiteX652" fmla="*/ 662848 w 2051041"/>
              <a:gd name="connsiteY652" fmla="*/ 832587 h 2084191"/>
              <a:gd name="connsiteX653" fmla="*/ 826101 w 2051041"/>
              <a:gd name="connsiteY653" fmla="*/ 827146 h 2084191"/>
              <a:gd name="connsiteX654" fmla="*/ 859295 w 2051041"/>
              <a:gd name="connsiteY654" fmla="*/ 860885 h 2084191"/>
              <a:gd name="connsiteX655" fmla="*/ 825556 w 2051041"/>
              <a:gd name="connsiteY655" fmla="*/ 892991 h 2084191"/>
              <a:gd name="connsiteX656" fmla="*/ 793450 w 2051041"/>
              <a:gd name="connsiteY656" fmla="*/ 860885 h 2084191"/>
              <a:gd name="connsiteX657" fmla="*/ 826101 w 2051041"/>
              <a:gd name="connsiteY657" fmla="*/ 827146 h 2084191"/>
              <a:gd name="connsiteX658" fmla="*/ 988809 w 2051041"/>
              <a:gd name="connsiteY658" fmla="*/ 824424 h 2084191"/>
              <a:gd name="connsiteX659" fmla="*/ 1025813 w 2051041"/>
              <a:gd name="connsiteY659" fmla="*/ 860339 h 2084191"/>
              <a:gd name="connsiteX660" fmla="*/ 989897 w 2051041"/>
              <a:gd name="connsiteY660" fmla="*/ 897344 h 2084191"/>
              <a:gd name="connsiteX661" fmla="*/ 953437 w 2051041"/>
              <a:gd name="connsiteY661" fmla="*/ 861972 h 2084191"/>
              <a:gd name="connsiteX662" fmla="*/ 988809 w 2051041"/>
              <a:gd name="connsiteY662" fmla="*/ 824424 h 2084191"/>
              <a:gd name="connsiteX663" fmla="*/ 1153695 w 2051041"/>
              <a:gd name="connsiteY663" fmla="*/ 821704 h 2084191"/>
              <a:gd name="connsiteX664" fmla="*/ 1191243 w 2051041"/>
              <a:gd name="connsiteY664" fmla="*/ 861429 h 2084191"/>
              <a:gd name="connsiteX665" fmla="*/ 1152606 w 2051041"/>
              <a:gd name="connsiteY665" fmla="*/ 899521 h 2084191"/>
              <a:gd name="connsiteX666" fmla="*/ 1114514 w 2051041"/>
              <a:gd name="connsiteY666" fmla="*/ 859252 h 2084191"/>
              <a:gd name="connsiteX667" fmla="*/ 1153695 w 2051041"/>
              <a:gd name="connsiteY667" fmla="*/ 821704 h 2084191"/>
              <a:gd name="connsiteX668" fmla="*/ 1316403 w 2051041"/>
              <a:gd name="connsiteY668" fmla="*/ 818982 h 2084191"/>
              <a:gd name="connsiteX669" fmla="*/ 1357216 w 2051041"/>
              <a:gd name="connsiteY669" fmla="*/ 860884 h 2084191"/>
              <a:gd name="connsiteX670" fmla="*/ 1315315 w 2051041"/>
              <a:gd name="connsiteY670" fmla="*/ 901697 h 2084191"/>
              <a:gd name="connsiteX671" fmla="*/ 1274501 w 2051041"/>
              <a:gd name="connsiteY671" fmla="*/ 860340 h 2084191"/>
              <a:gd name="connsiteX672" fmla="*/ 1316403 w 2051041"/>
              <a:gd name="connsiteY672" fmla="*/ 818982 h 2084191"/>
              <a:gd name="connsiteX673" fmla="*/ 1479112 w 2051041"/>
              <a:gd name="connsiteY673" fmla="*/ 816806 h 2084191"/>
              <a:gd name="connsiteX674" fmla="*/ 1522646 w 2051041"/>
              <a:gd name="connsiteY674" fmla="*/ 860340 h 2084191"/>
              <a:gd name="connsiteX675" fmla="*/ 1479656 w 2051041"/>
              <a:gd name="connsiteY675" fmla="*/ 904419 h 2084191"/>
              <a:gd name="connsiteX676" fmla="*/ 1435578 w 2051041"/>
              <a:gd name="connsiteY676" fmla="*/ 860884 h 2084191"/>
              <a:gd name="connsiteX677" fmla="*/ 1479112 w 2051041"/>
              <a:gd name="connsiteY677" fmla="*/ 816806 h 2084191"/>
              <a:gd name="connsiteX678" fmla="*/ 1642909 w 2051041"/>
              <a:gd name="connsiteY678" fmla="*/ 815718 h 2084191"/>
              <a:gd name="connsiteX679" fmla="*/ 1686987 w 2051041"/>
              <a:gd name="connsiteY679" fmla="*/ 860885 h 2084191"/>
              <a:gd name="connsiteX680" fmla="*/ 1641276 w 2051041"/>
              <a:gd name="connsiteY680" fmla="*/ 905507 h 2084191"/>
              <a:gd name="connsiteX681" fmla="*/ 1597742 w 2051041"/>
              <a:gd name="connsiteY681" fmla="*/ 860340 h 2084191"/>
              <a:gd name="connsiteX682" fmla="*/ 1642909 w 2051041"/>
              <a:gd name="connsiteY682" fmla="*/ 815718 h 2084191"/>
              <a:gd name="connsiteX683" fmla="*/ 1806161 w 2051041"/>
              <a:gd name="connsiteY683" fmla="*/ 815173 h 2084191"/>
              <a:gd name="connsiteX684" fmla="*/ 1852416 w 2051041"/>
              <a:gd name="connsiteY684" fmla="*/ 860884 h 2084191"/>
              <a:gd name="connsiteX685" fmla="*/ 1805617 w 2051041"/>
              <a:gd name="connsiteY685" fmla="*/ 906594 h 2084191"/>
              <a:gd name="connsiteX686" fmla="*/ 1759906 w 2051041"/>
              <a:gd name="connsiteY686" fmla="*/ 860884 h 2084191"/>
              <a:gd name="connsiteX687" fmla="*/ 1806161 w 2051041"/>
              <a:gd name="connsiteY687" fmla="*/ 815173 h 2084191"/>
              <a:gd name="connsiteX688" fmla="*/ 1968326 w 2051041"/>
              <a:gd name="connsiteY688" fmla="*/ 812453 h 2084191"/>
              <a:gd name="connsiteX689" fmla="*/ 2000977 w 2051041"/>
              <a:gd name="connsiteY689" fmla="*/ 826057 h 2084191"/>
              <a:gd name="connsiteX690" fmla="*/ 2015670 w 2051041"/>
              <a:gd name="connsiteY690" fmla="*/ 859796 h 2084191"/>
              <a:gd name="connsiteX691" fmla="*/ 1969415 w 2051041"/>
              <a:gd name="connsiteY691" fmla="*/ 907684 h 2084191"/>
              <a:gd name="connsiteX692" fmla="*/ 1922071 w 2051041"/>
              <a:gd name="connsiteY692" fmla="*/ 860885 h 2084191"/>
              <a:gd name="connsiteX693" fmla="*/ 1968326 w 2051041"/>
              <a:gd name="connsiteY693" fmla="*/ 812453 h 2084191"/>
              <a:gd name="connsiteX694" fmla="*/ 255260 w 2051041"/>
              <a:gd name="connsiteY694" fmla="*/ 762932 h 2084191"/>
              <a:gd name="connsiteX695" fmla="*/ 270497 w 2051041"/>
              <a:gd name="connsiteY695" fmla="*/ 779802 h 2084191"/>
              <a:gd name="connsiteX696" fmla="*/ 254172 w 2051041"/>
              <a:gd name="connsiteY696" fmla="*/ 795038 h 2084191"/>
              <a:gd name="connsiteX697" fmla="*/ 238935 w 2051041"/>
              <a:gd name="connsiteY697" fmla="*/ 778713 h 2084191"/>
              <a:gd name="connsiteX698" fmla="*/ 255260 w 2051041"/>
              <a:gd name="connsiteY698" fmla="*/ 762932 h 2084191"/>
              <a:gd name="connsiteX699" fmla="*/ 416881 w 2051041"/>
              <a:gd name="connsiteY699" fmla="*/ 756402 h 2084191"/>
              <a:gd name="connsiteX700" fmla="*/ 440280 w 2051041"/>
              <a:gd name="connsiteY700" fmla="*/ 778713 h 2084191"/>
              <a:gd name="connsiteX701" fmla="*/ 419057 w 2051041"/>
              <a:gd name="connsiteY701" fmla="*/ 801024 h 2084191"/>
              <a:gd name="connsiteX702" fmla="*/ 396202 w 2051041"/>
              <a:gd name="connsiteY702" fmla="*/ 779257 h 2084191"/>
              <a:gd name="connsiteX703" fmla="*/ 416881 w 2051041"/>
              <a:gd name="connsiteY703" fmla="*/ 756402 h 2084191"/>
              <a:gd name="connsiteX704" fmla="*/ 581766 w 2051041"/>
              <a:gd name="connsiteY704" fmla="*/ 751505 h 2084191"/>
              <a:gd name="connsiteX705" fmla="*/ 608975 w 2051041"/>
              <a:gd name="connsiteY705" fmla="*/ 779802 h 2084191"/>
              <a:gd name="connsiteX706" fmla="*/ 580678 w 2051041"/>
              <a:gd name="connsiteY706" fmla="*/ 806467 h 2084191"/>
              <a:gd name="connsiteX707" fmla="*/ 553469 w 2051041"/>
              <a:gd name="connsiteY707" fmla="*/ 778714 h 2084191"/>
              <a:gd name="connsiteX708" fmla="*/ 581766 w 2051041"/>
              <a:gd name="connsiteY708" fmla="*/ 751505 h 2084191"/>
              <a:gd name="connsiteX709" fmla="*/ 746107 w 2051041"/>
              <a:gd name="connsiteY709" fmla="*/ 746607 h 2084191"/>
              <a:gd name="connsiteX710" fmla="*/ 777125 w 2051041"/>
              <a:gd name="connsiteY710" fmla="*/ 780346 h 2084191"/>
              <a:gd name="connsiteX711" fmla="*/ 742842 w 2051041"/>
              <a:gd name="connsiteY711" fmla="*/ 811364 h 2084191"/>
              <a:gd name="connsiteX712" fmla="*/ 712368 w 2051041"/>
              <a:gd name="connsiteY712" fmla="*/ 778713 h 2084191"/>
              <a:gd name="connsiteX713" fmla="*/ 746107 w 2051041"/>
              <a:gd name="connsiteY713" fmla="*/ 746607 h 2084191"/>
              <a:gd name="connsiteX714" fmla="*/ 907727 w 2051041"/>
              <a:gd name="connsiteY714" fmla="*/ 741710 h 2084191"/>
              <a:gd name="connsiteX715" fmla="*/ 944187 w 2051041"/>
              <a:gd name="connsiteY715" fmla="*/ 778714 h 2084191"/>
              <a:gd name="connsiteX716" fmla="*/ 907727 w 2051041"/>
              <a:gd name="connsiteY716" fmla="*/ 815174 h 2084191"/>
              <a:gd name="connsiteX717" fmla="*/ 872355 w 2051041"/>
              <a:gd name="connsiteY717" fmla="*/ 779258 h 2084191"/>
              <a:gd name="connsiteX718" fmla="*/ 907727 w 2051041"/>
              <a:gd name="connsiteY718" fmla="*/ 741710 h 2084191"/>
              <a:gd name="connsiteX719" fmla="*/ 1070979 w 2051041"/>
              <a:gd name="connsiteY719" fmla="*/ 740621 h 2084191"/>
              <a:gd name="connsiteX720" fmla="*/ 1110160 w 2051041"/>
              <a:gd name="connsiteY720" fmla="*/ 779258 h 2084191"/>
              <a:gd name="connsiteX721" fmla="*/ 1070979 w 2051041"/>
              <a:gd name="connsiteY721" fmla="*/ 817894 h 2084191"/>
              <a:gd name="connsiteX722" fmla="*/ 1031799 w 2051041"/>
              <a:gd name="connsiteY722" fmla="*/ 778714 h 2084191"/>
              <a:gd name="connsiteX723" fmla="*/ 1070979 w 2051041"/>
              <a:gd name="connsiteY723" fmla="*/ 740621 h 2084191"/>
              <a:gd name="connsiteX724" fmla="*/ 1233688 w 2051041"/>
              <a:gd name="connsiteY724" fmla="*/ 736268 h 2084191"/>
              <a:gd name="connsiteX725" fmla="*/ 1276134 w 2051041"/>
              <a:gd name="connsiteY725" fmla="*/ 777625 h 2084191"/>
              <a:gd name="connsiteX726" fmla="*/ 1235320 w 2051041"/>
              <a:gd name="connsiteY726" fmla="*/ 820615 h 2084191"/>
              <a:gd name="connsiteX727" fmla="*/ 1192331 w 2051041"/>
              <a:gd name="connsiteY727" fmla="*/ 779258 h 2084191"/>
              <a:gd name="connsiteX728" fmla="*/ 1233688 w 2051041"/>
              <a:gd name="connsiteY728" fmla="*/ 736268 h 2084191"/>
              <a:gd name="connsiteX729" fmla="*/ 1397485 w 2051041"/>
              <a:gd name="connsiteY729" fmla="*/ 735724 h 2084191"/>
              <a:gd name="connsiteX730" fmla="*/ 1441019 w 2051041"/>
              <a:gd name="connsiteY730" fmla="*/ 779802 h 2084191"/>
              <a:gd name="connsiteX731" fmla="*/ 1396397 w 2051041"/>
              <a:gd name="connsiteY731" fmla="*/ 823336 h 2084191"/>
              <a:gd name="connsiteX732" fmla="*/ 1352863 w 2051041"/>
              <a:gd name="connsiteY732" fmla="*/ 779258 h 2084191"/>
              <a:gd name="connsiteX733" fmla="*/ 1397485 w 2051041"/>
              <a:gd name="connsiteY733" fmla="*/ 735724 h 2084191"/>
              <a:gd name="connsiteX734" fmla="*/ 1562371 w 2051041"/>
              <a:gd name="connsiteY734" fmla="*/ 734636 h 2084191"/>
              <a:gd name="connsiteX735" fmla="*/ 1605905 w 2051041"/>
              <a:gd name="connsiteY735" fmla="*/ 779802 h 2084191"/>
              <a:gd name="connsiteX736" fmla="*/ 1560194 w 2051041"/>
              <a:gd name="connsiteY736" fmla="*/ 823881 h 2084191"/>
              <a:gd name="connsiteX737" fmla="*/ 1515572 w 2051041"/>
              <a:gd name="connsiteY737" fmla="*/ 777626 h 2084191"/>
              <a:gd name="connsiteX738" fmla="*/ 1562371 w 2051041"/>
              <a:gd name="connsiteY738" fmla="*/ 734636 h 2084191"/>
              <a:gd name="connsiteX739" fmla="*/ 1724535 w 2051041"/>
              <a:gd name="connsiteY739" fmla="*/ 730827 h 2084191"/>
              <a:gd name="connsiteX740" fmla="*/ 1772422 w 2051041"/>
              <a:gd name="connsiteY740" fmla="*/ 779258 h 2084191"/>
              <a:gd name="connsiteX741" fmla="*/ 1723446 w 2051041"/>
              <a:gd name="connsiteY741" fmla="*/ 826602 h 2084191"/>
              <a:gd name="connsiteX742" fmla="*/ 1676647 w 2051041"/>
              <a:gd name="connsiteY742" fmla="*/ 778714 h 2084191"/>
              <a:gd name="connsiteX743" fmla="*/ 1724535 w 2051041"/>
              <a:gd name="connsiteY743" fmla="*/ 730827 h 2084191"/>
              <a:gd name="connsiteX744" fmla="*/ 1886699 w 2051041"/>
              <a:gd name="connsiteY744" fmla="*/ 730826 h 2084191"/>
              <a:gd name="connsiteX745" fmla="*/ 1935131 w 2051041"/>
              <a:gd name="connsiteY745" fmla="*/ 778713 h 2084191"/>
              <a:gd name="connsiteX746" fmla="*/ 1887244 w 2051041"/>
              <a:gd name="connsiteY746" fmla="*/ 827145 h 2084191"/>
              <a:gd name="connsiteX747" fmla="*/ 1838812 w 2051041"/>
              <a:gd name="connsiteY747" fmla="*/ 778713 h 2084191"/>
              <a:gd name="connsiteX748" fmla="*/ 1886699 w 2051041"/>
              <a:gd name="connsiteY748" fmla="*/ 730826 h 2084191"/>
              <a:gd name="connsiteX749" fmla="*/ 2050496 w 2051041"/>
              <a:gd name="connsiteY749" fmla="*/ 730282 h 2084191"/>
              <a:gd name="connsiteX750" fmla="*/ 2051041 w 2051041"/>
              <a:gd name="connsiteY750" fmla="*/ 730396 h 2084191"/>
              <a:gd name="connsiteX751" fmla="*/ 2051041 w 2051041"/>
              <a:gd name="connsiteY751" fmla="*/ 826942 h 2084191"/>
              <a:gd name="connsiteX752" fmla="*/ 2049952 w 2051041"/>
              <a:gd name="connsiteY752" fmla="*/ 827145 h 2084191"/>
              <a:gd name="connsiteX753" fmla="*/ 2002065 w 2051041"/>
              <a:gd name="connsiteY753" fmla="*/ 778169 h 2084191"/>
              <a:gd name="connsiteX754" fmla="*/ 2050496 w 2051041"/>
              <a:gd name="connsiteY754" fmla="*/ 730282 h 2084191"/>
              <a:gd name="connsiteX755" fmla="*/ 173634 w 2051041"/>
              <a:gd name="connsiteY755" fmla="*/ 685660 h 2084191"/>
              <a:gd name="connsiteX756" fmla="*/ 184518 w 2051041"/>
              <a:gd name="connsiteY756" fmla="*/ 698176 h 2084191"/>
              <a:gd name="connsiteX757" fmla="*/ 172546 w 2051041"/>
              <a:gd name="connsiteY757" fmla="*/ 709059 h 2084191"/>
              <a:gd name="connsiteX758" fmla="*/ 161118 w 2051041"/>
              <a:gd name="connsiteY758" fmla="*/ 697088 h 2084191"/>
              <a:gd name="connsiteX759" fmla="*/ 173634 w 2051041"/>
              <a:gd name="connsiteY759" fmla="*/ 685660 h 2084191"/>
              <a:gd name="connsiteX760" fmla="*/ 335798 w 2051041"/>
              <a:gd name="connsiteY760" fmla="*/ 675320 h 2084191"/>
              <a:gd name="connsiteX761" fmla="*/ 357565 w 2051041"/>
              <a:gd name="connsiteY761" fmla="*/ 696543 h 2084191"/>
              <a:gd name="connsiteX762" fmla="*/ 336342 w 2051041"/>
              <a:gd name="connsiteY762" fmla="*/ 718854 h 2084191"/>
              <a:gd name="connsiteX763" fmla="*/ 315120 w 2051041"/>
              <a:gd name="connsiteY763" fmla="*/ 697631 h 2084191"/>
              <a:gd name="connsiteX764" fmla="*/ 335798 w 2051041"/>
              <a:gd name="connsiteY764" fmla="*/ 675320 h 2084191"/>
              <a:gd name="connsiteX765" fmla="*/ 499051 w 2051041"/>
              <a:gd name="connsiteY765" fmla="*/ 670423 h 2084191"/>
              <a:gd name="connsiteX766" fmla="*/ 526804 w 2051041"/>
              <a:gd name="connsiteY766" fmla="*/ 697088 h 2084191"/>
              <a:gd name="connsiteX767" fmla="*/ 499595 w 2051041"/>
              <a:gd name="connsiteY767" fmla="*/ 724296 h 2084191"/>
              <a:gd name="connsiteX768" fmla="*/ 472930 w 2051041"/>
              <a:gd name="connsiteY768" fmla="*/ 697632 h 2084191"/>
              <a:gd name="connsiteX769" fmla="*/ 499051 w 2051041"/>
              <a:gd name="connsiteY769" fmla="*/ 670423 h 2084191"/>
              <a:gd name="connsiteX770" fmla="*/ 662848 w 2051041"/>
              <a:gd name="connsiteY770" fmla="*/ 665525 h 2084191"/>
              <a:gd name="connsiteX771" fmla="*/ 694954 w 2051041"/>
              <a:gd name="connsiteY771" fmla="*/ 697087 h 2084191"/>
              <a:gd name="connsiteX772" fmla="*/ 663392 w 2051041"/>
              <a:gd name="connsiteY772" fmla="*/ 729194 h 2084191"/>
              <a:gd name="connsiteX773" fmla="*/ 632374 w 2051041"/>
              <a:gd name="connsiteY773" fmla="*/ 698176 h 2084191"/>
              <a:gd name="connsiteX774" fmla="*/ 662848 w 2051041"/>
              <a:gd name="connsiteY774" fmla="*/ 665525 h 2084191"/>
              <a:gd name="connsiteX775" fmla="*/ 825013 w 2051041"/>
              <a:gd name="connsiteY775" fmla="*/ 663349 h 2084191"/>
              <a:gd name="connsiteX776" fmla="*/ 860384 w 2051041"/>
              <a:gd name="connsiteY776" fmla="*/ 697632 h 2084191"/>
              <a:gd name="connsiteX777" fmla="*/ 826101 w 2051041"/>
              <a:gd name="connsiteY777" fmla="*/ 731915 h 2084191"/>
              <a:gd name="connsiteX778" fmla="*/ 791818 w 2051041"/>
              <a:gd name="connsiteY778" fmla="*/ 698176 h 2084191"/>
              <a:gd name="connsiteX779" fmla="*/ 825013 w 2051041"/>
              <a:gd name="connsiteY779" fmla="*/ 663349 h 2084191"/>
              <a:gd name="connsiteX780" fmla="*/ 988809 w 2051041"/>
              <a:gd name="connsiteY780" fmla="*/ 658995 h 2084191"/>
              <a:gd name="connsiteX781" fmla="*/ 1027446 w 2051041"/>
              <a:gd name="connsiteY781" fmla="*/ 697087 h 2084191"/>
              <a:gd name="connsiteX782" fmla="*/ 989353 w 2051041"/>
              <a:gd name="connsiteY782" fmla="*/ 735723 h 2084191"/>
              <a:gd name="connsiteX783" fmla="*/ 950717 w 2051041"/>
              <a:gd name="connsiteY783" fmla="*/ 697631 h 2084191"/>
              <a:gd name="connsiteX784" fmla="*/ 988809 w 2051041"/>
              <a:gd name="connsiteY784" fmla="*/ 658995 h 2084191"/>
              <a:gd name="connsiteX785" fmla="*/ 1152607 w 2051041"/>
              <a:gd name="connsiteY785" fmla="*/ 655729 h 2084191"/>
              <a:gd name="connsiteX786" fmla="*/ 1195052 w 2051041"/>
              <a:gd name="connsiteY786" fmla="*/ 697087 h 2084191"/>
              <a:gd name="connsiteX787" fmla="*/ 1153151 w 2051041"/>
              <a:gd name="connsiteY787" fmla="*/ 739533 h 2084191"/>
              <a:gd name="connsiteX788" fmla="*/ 1110705 w 2051041"/>
              <a:gd name="connsiteY788" fmla="*/ 697631 h 2084191"/>
              <a:gd name="connsiteX789" fmla="*/ 1152607 w 2051041"/>
              <a:gd name="connsiteY789" fmla="*/ 655729 h 2084191"/>
              <a:gd name="connsiteX790" fmla="*/ 1316948 w 2051041"/>
              <a:gd name="connsiteY790" fmla="*/ 653554 h 2084191"/>
              <a:gd name="connsiteX791" fmla="*/ 1359937 w 2051041"/>
              <a:gd name="connsiteY791" fmla="*/ 697632 h 2084191"/>
              <a:gd name="connsiteX792" fmla="*/ 1315315 w 2051041"/>
              <a:gd name="connsiteY792" fmla="*/ 740622 h 2084191"/>
              <a:gd name="connsiteX793" fmla="*/ 1271781 w 2051041"/>
              <a:gd name="connsiteY793" fmla="*/ 696544 h 2084191"/>
              <a:gd name="connsiteX794" fmla="*/ 1316948 w 2051041"/>
              <a:gd name="connsiteY794" fmla="*/ 653554 h 2084191"/>
              <a:gd name="connsiteX795" fmla="*/ 1479112 w 2051041"/>
              <a:gd name="connsiteY795" fmla="*/ 651921 h 2084191"/>
              <a:gd name="connsiteX796" fmla="*/ 1524823 w 2051041"/>
              <a:gd name="connsiteY796" fmla="*/ 697088 h 2084191"/>
              <a:gd name="connsiteX797" fmla="*/ 1479112 w 2051041"/>
              <a:gd name="connsiteY797" fmla="*/ 742254 h 2084191"/>
              <a:gd name="connsiteX798" fmla="*/ 1433945 w 2051041"/>
              <a:gd name="connsiteY798" fmla="*/ 697088 h 2084191"/>
              <a:gd name="connsiteX799" fmla="*/ 1479112 w 2051041"/>
              <a:gd name="connsiteY799" fmla="*/ 651921 h 2084191"/>
              <a:gd name="connsiteX800" fmla="*/ 1642909 w 2051041"/>
              <a:gd name="connsiteY800" fmla="*/ 649744 h 2084191"/>
              <a:gd name="connsiteX801" fmla="*/ 1690796 w 2051041"/>
              <a:gd name="connsiteY801" fmla="*/ 697087 h 2084191"/>
              <a:gd name="connsiteX802" fmla="*/ 1642909 w 2051041"/>
              <a:gd name="connsiteY802" fmla="*/ 745519 h 2084191"/>
              <a:gd name="connsiteX803" fmla="*/ 1594477 w 2051041"/>
              <a:gd name="connsiteY803" fmla="*/ 697632 h 2084191"/>
              <a:gd name="connsiteX804" fmla="*/ 1642909 w 2051041"/>
              <a:gd name="connsiteY804" fmla="*/ 649744 h 2084191"/>
              <a:gd name="connsiteX805" fmla="*/ 1805617 w 2051041"/>
              <a:gd name="connsiteY805" fmla="*/ 648112 h 2084191"/>
              <a:gd name="connsiteX806" fmla="*/ 1854593 w 2051041"/>
              <a:gd name="connsiteY806" fmla="*/ 698176 h 2084191"/>
              <a:gd name="connsiteX807" fmla="*/ 1805073 w 2051041"/>
              <a:gd name="connsiteY807" fmla="*/ 746607 h 2084191"/>
              <a:gd name="connsiteX808" fmla="*/ 1756097 w 2051041"/>
              <a:gd name="connsiteY808" fmla="*/ 697087 h 2084191"/>
              <a:gd name="connsiteX809" fmla="*/ 1805617 w 2051041"/>
              <a:gd name="connsiteY809" fmla="*/ 648112 h 2084191"/>
              <a:gd name="connsiteX810" fmla="*/ 1969414 w 2051041"/>
              <a:gd name="connsiteY810" fmla="*/ 647023 h 2084191"/>
              <a:gd name="connsiteX811" fmla="*/ 2018934 w 2051041"/>
              <a:gd name="connsiteY811" fmla="*/ 698176 h 2084191"/>
              <a:gd name="connsiteX812" fmla="*/ 1968326 w 2051041"/>
              <a:gd name="connsiteY812" fmla="*/ 746063 h 2084191"/>
              <a:gd name="connsiteX813" fmla="*/ 1918806 w 2051041"/>
              <a:gd name="connsiteY813" fmla="*/ 697087 h 2084191"/>
              <a:gd name="connsiteX814" fmla="*/ 1969414 w 2051041"/>
              <a:gd name="connsiteY814" fmla="*/ 647023 h 2084191"/>
              <a:gd name="connsiteX815" fmla="*/ 90919 w 2051041"/>
              <a:gd name="connsiteY815" fmla="*/ 606754 h 2084191"/>
              <a:gd name="connsiteX816" fmla="*/ 99626 w 2051041"/>
              <a:gd name="connsiteY816" fmla="*/ 615460 h 2084191"/>
              <a:gd name="connsiteX817" fmla="*/ 92007 w 2051041"/>
              <a:gd name="connsiteY817" fmla="*/ 627976 h 2084191"/>
              <a:gd name="connsiteX818" fmla="*/ 82756 w 2051041"/>
              <a:gd name="connsiteY818" fmla="*/ 616005 h 2084191"/>
              <a:gd name="connsiteX819" fmla="*/ 90919 w 2051041"/>
              <a:gd name="connsiteY819" fmla="*/ 606754 h 2084191"/>
              <a:gd name="connsiteX820" fmla="*/ 254172 w 2051041"/>
              <a:gd name="connsiteY820" fmla="*/ 598047 h 2084191"/>
              <a:gd name="connsiteX821" fmla="*/ 272674 w 2051041"/>
              <a:gd name="connsiteY821" fmla="*/ 614917 h 2084191"/>
              <a:gd name="connsiteX822" fmla="*/ 255260 w 2051041"/>
              <a:gd name="connsiteY822" fmla="*/ 633419 h 2084191"/>
              <a:gd name="connsiteX823" fmla="*/ 236758 w 2051041"/>
              <a:gd name="connsiteY823" fmla="*/ 616005 h 2084191"/>
              <a:gd name="connsiteX824" fmla="*/ 254172 w 2051041"/>
              <a:gd name="connsiteY824" fmla="*/ 598047 h 2084191"/>
              <a:gd name="connsiteX825" fmla="*/ 418513 w 2051041"/>
              <a:gd name="connsiteY825" fmla="*/ 590429 h 2084191"/>
              <a:gd name="connsiteX826" fmla="*/ 443001 w 2051041"/>
              <a:gd name="connsiteY826" fmla="*/ 614917 h 2084191"/>
              <a:gd name="connsiteX827" fmla="*/ 419058 w 2051041"/>
              <a:gd name="connsiteY827" fmla="*/ 640493 h 2084191"/>
              <a:gd name="connsiteX828" fmla="*/ 392937 w 2051041"/>
              <a:gd name="connsiteY828" fmla="*/ 616005 h 2084191"/>
              <a:gd name="connsiteX829" fmla="*/ 418513 w 2051041"/>
              <a:gd name="connsiteY829" fmla="*/ 590429 h 2084191"/>
              <a:gd name="connsiteX830" fmla="*/ 581222 w 2051041"/>
              <a:gd name="connsiteY830" fmla="*/ 587163 h 2084191"/>
              <a:gd name="connsiteX831" fmla="*/ 610063 w 2051041"/>
              <a:gd name="connsiteY831" fmla="*/ 616549 h 2084191"/>
              <a:gd name="connsiteX832" fmla="*/ 580677 w 2051041"/>
              <a:gd name="connsiteY832" fmla="*/ 645390 h 2084191"/>
              <a:gd name="connsiteX833" fmla="*/ 551836 w 2051041"/>
              <a:gd name="connsiteY833" fmla="*/ 615461 h 2084191"/>
              <a:gd name="connsiteX834" fmla="*/ 581222 w 2051041"/>
              <a:gd name="connsiteY834" fmla="*/ 587163 h 2084191"/>
              <a:gd name="connsiteX835" fmla="*/ 743930 w 2051041"/>
              <a:gd name="connsiteY835" fmla="*/ 582266 h 2084191"/>
              <a:gd name="connsiteX836" fmla="*/ 779301 w 2051041"/>
              <a:gd name="connsiteY836" fmla="*/ 616005 h 2084191"/>
              <a:gd name="connsiteX837" fmla="*/ 745563 w 2051041"/>
              <a:gd name="connsiteY837" fmla="*/ 649744 h 2084191"/>
              <a:gd name="connsiteX838" fmla="*/ 711824 w 2051041"/>
              <a:gd name="connsiteY838" fmla="*/ 616549 h 2084191"/>
              <a:gd name="connsiteX839" fmla="*/ 743930 w 2051041"/>
              <a:gd name="connsiteY839" fmla="*/ 582266 h 2084191"/>
              <a:gd name="connsiteX840" fmla="*/ 907183 w 2051041"/>
              <a:gd name="connsiteY840" fmla="*/ 577913 h 2084191"/>
              <a:gd name="connsiteX841" fmla="*/ 945276 w 2051041"/>
              <a:gd name="connsiteY841" fmla="*/ 615461 h 2084191"/>
              <a:gd name="connsiteX842" fmla="*/ 907727 w 2051041"/>
              <a:gd name="connsiteY842" fmla="*/ 654098 h 2084191"/>
              <a:gd name="connsiteX843" fmla="*/ 869091 w 2051041"/>
              <a:gd name="connsiteY843" fmla="*/ 616006 h 2084191"/>
              <a:gd name="connsiteX844" fmla="*/ 907183 w 2051041"/>
              <a:gd name="connsiteY844" fmla="*/ 577913 h 2084191"/>
              <a:gd name="connsiteX845" fmla="*/ 1069891 w 2051041"/>
              <a:gd name="connsiteY845" fmla="*/ 574648 h 2084191"/>
              <a:gd name="connsiteX846" fmla="*/ 1111248 w 2051041"/>
              <a:gd name="connsiteY846" fmla="*/ 615461 h 2084191"/>
              <a:gd name="connsiteX847" fmla="*/ 1070435 w 2051041"/>
              <a:gd name="connsiteY847" fmla="*/ 656274 h 2084191"/>
              <a:gd name="connsiteX848" fmla="*/ 1029622 w 2051041"/>
              <a:gd name="connsiteY848" fmla="*/ 614917 h 2084191"/>
              <a:gd name="connsiteX849" fmla="*/ 1069891 w 2051041"/>
              <a:gd name="connsiteY849" fmla="*/ 574648 h 2084191"/>
              <a:gd name="connsiteX850" fmla="*/ 1235321 w 2051041"/>
              <a:gd name="connsiteY850" fmla="*/ 572472 h 2084191"/>
              <a:gd name="connsiteX851" fmla="*/ 1277222 w 2051041"/>
              <a:gd name="connsiteY851" fmla="*/ 616550 h 2084191"/>
              <a:gd name="connsiteX852" fmla="*/ 1233688 w 2051041"/>
              <a:gd name="connsiteY852" fmla="*/ 660084 h 2084191"/>
              <a:gd name="connsiteX853" fmla="*/ 1190154 w 2051041"/>
              <a:gd name="connsiteY853" fmla="*/ 614917 h 2084191"/>
              <a:gd name="connsiteX854" fmla="*/ 1235321 w 2051041"/>
              <a:gd name="connsiteY854" fmla="*/ 572472 h 2084191"/>
              <a:gd name="connsiteX855" fmla="*/ 1397485 w 2051041"/>
              <a:gd name="connsiteY855" fmla="*/ 569206 h 2084191"/>
              <a:gd name="connsiteX856" fmla="*/ 1443196 w 2051041"/>
              <a:gd name="connsiteY856" fmla="*/ 616005 h 2084191"/>
              <a:gd name="connsiteX857" fmla="*/ 1396941 w 2051041"/>
              <a:gd name="connsiteY857" fmla="*/ 661172 h 2084191"/>
              <a:gd name="connsiteX858" fmla="*/ 1351775 w 2051041"/>
              <a:gd name="connsiteY858" fmla="*/ 614373 h 2084191"/>
              <a:gd name="connsiteX859" fmla="*/ 1397485 w 2051041"/>
              <a:gd name="connsiteY859" fmla="*/ 569206 h 2084191"/>
              <a:gd name="connsiteX860" fmla="*/ 1560738 w 2051041"/>
              <a:gd name="connsiteY860" fmla="*/ 567029 h 2084191"/>
              <a:gd name="connsiteX861" fmla="*/ 1609714 w 2051041"/>
              <a:gd name="connsiteY861" fmla="*/ 615461 h 2084191"/>
              <a:gd name="connsiteX862" fmla="*/ 1561283 w 2051041"/>
              <a:gd name="connsiteY862" fmla="*/ 663892 h 2084191"/>
              <a:gd name="connsiteX863" fmla="*/ 1512851 w 2051041"/>
              <a:gd name="connsiteY863" fmla="*/ 616005 h 2084191"/>
              <a:gd name="connsiteX864" fmla="*/ 1560738 w 2051041"/>
              <a:gd name="connsiteY864" fmla="*/ 567029 h 2084191"/>
              <a:gd name="connsiteX865" fmla="*/ 1725624 w 2051041"/>
              <a:gd name="connsiteY865" fmla="*/ 565397 h 2084191"/>
              <a:gd name="connsiteX866" fmla="*/ 1774599 w 2051041"/>
              <a:gd name="connsiteY866" fmla="*/ 616005 h 2084191"/>
              <a:gd name="connsiteX867" fmla="*/ 1723447 w 2051041"/>
              <a:gd name="connsiteY867" fmla="*/ 664981 h 2084191"/>
              <a:gd name="connsiteX868" fmla="*/ 1674471 w 2051041"/>
              <a:gd name="connsiteY868" fmla="*/ 615461 h 2084191"/>
              <a:gd name="connsiteX869" fmla="*/ 1725624 w 2051041"/>
              <a:gd name="connsiteY869" fmla="*/ 565397 h 2084191"/>
              <a:gd name="connsiteX870" fmla="*/ 1886699 w 2051041"/>
              <a:gd name="connsiteY870" fmla="*/ 564853 h 2084191"/>
              <a:gd name="connsiteX871" fmla="*/ 1938396 w 2051041"/>
              <a:gd name="connsiteY871" fmla="*/ 614917 h 2084191"/>
              <a:gd name="connsiteX872" fmla="*/ 1887787 w 2051041"/>
              <a:gd name="connsiteY872" fmla="*/ 665525 h 2084191"/>
              <a:gd name="connsiteX873" fmla="*/ 1837179 w 2051041"/>
              <a:gd name="connsiteY873" fmla="*/ 615461 h 2084191"/>
              <a:gd name="connsiteX874" fmla="*/ 1886699 w 2051041"/>
              <a:gd name="connsiteY874" fmla="*/ 564853 h 2084191"/>
              <a:gd name="connsiteX875" fmla="*/ 2050496 w 2051041"/>
              <a:gd name="connsiteY875" fmla="*/ 564852 h 2084191"/>
              <a:gd name="connsiteX876" fmla="*/ 2051041 w 2051041"/>
              <a:gd name="connsiteY876" fmla="*/ 564962 h 2084191"/>
              <a:gd name="connsiteX877" fmla="*/ 2051041 w 2051041"/>
              <a:gd name="connsiteY877" fmla="*/ 665899 h 2084191"/>
              <a:gd name="connsiteX878" fmla="*/ 2049952 w 2051041"/>
              <a:gd name="connsiteY878" fmla="*/ 666069 h 2084191"/>
              <a:gd name="connsiteX879" fmla="*/ 1999344 w 2051041"/>
              <a:gd name="connsiteY879" fmla="*/ 615460 h 2084191"/>
              <a:gd name="connsiteX880" fmla="*/ 2050496 w 2051041"/>
              <a:gd name="connsiteY880" fmla="*/ 564852 h 2084191"/>
              <a:gd name="connsiteX881" fmla="*/ 173090 w 2051041"/>
              <a:gd name="connsiteY881" fmla="*/ 517509 h 2084191"/>
              <a:gd name="connsiteX882" fmla="*/ 189959 w 2051041"/>
              <a:gd name="connsiteY882" fmla="*/ 533834 h 2084191"/>
              <a:gd name="connsiteX883" fmla="*/ 173634 w 2051041"/>
              <a:gd name="connsiteY883" fmla="*/ 550160 h 2084191"/>
              <a:gd name="connsiteX884" fmla="*/ 157308 w 2051041"/>
              <a:gd name="connsiteY884" fmla="*/ 534923 h 2084191"/>
              <a:gd name="connsiteX885" fmla="*/ 173090 w 2051041"/>
              <a:gd name="connsiteY885" fmla="*/ 517509 h 2084191"/>
              <a:gd name="connsiteX886" fmla="*/ 335798 w 2051041"/>
              <a:gd name="connsiteY886" fmla="*/ 511523 h 2084191"/>
              <a:gd name="connsiteX887" fmla="*/ 358654 w 2051041"/>
              <a:gd name="connsiteY887" fmla="*/ 533834 h 2084191"/>
              <a:gd name="connsiteX888" fmla="*/ 336343 w 2051041"/>
              <a:gd name="connsiteY888" fmla="*/ 556689 h 2084191"/>
              <a:gd name="connsiteX889" fmla="*/ 312943 w 2051041"/>
              <a:gd name="connsiteY889" fmla="*/ 534378 h 2084191"/>
              <a:gd name="connsiteX890" fmla="*/ 335798 w 2051041"/>
              <a:gd name="connsiteY890" fmla="*/ 511523 h 2084191"/>
              <a:gd name="connsiteX891" fmla="*/ 500139 w 2051041"/>
              <a:gd name="connsiteY891" fmla="*/ 506626 h 2084191"/>
              <a:gd name="connsiteX892" fmla="*/ 527348 w 2051041"/>
              <a:gd name="connsiteY892" fmla="*/ 535467 h 2084191"/>
              <a:gd name="connsiteX893" fmla="*/ 497963 w 2051041"/>
              <a:gd name="connsiteY893" fmla="*/ 561587 h 2084191"/>
              <a:gd name="connsiteX894" fmla="*/ 471842 w 2051041"/>
              <a:gd name="connsiteY894" fmla="*/ 533290 h 2084191"/>
              <a:gd name="connsiteX895" fmla="*/ 500139 w 2051041"/>
              <a:gd name="connsiteY895" fmla="*/ 506626 h 2084191"/>
              <a:gd name="connsiteX896" fmla="*/ 662304 w 2051041"/>
              <a:gd name="connsiteY896" fmla="*/ 500639 h 2084191"/>
              <a:gd name="connsiteX897" fmla="*/ 696042 w 2051041"/>
              <a:gd name="connsiteY897" fmla="*/ 533290 h 2084191"/>
              <a:gd name="connsiteX898" fmla="*/ 663392 w 2051041"/>
              <a:gd name="connsiteY898" fmla="*/ 566485 h 2084191"/>
              <a:gd name="connsiteX899" fmla="*/ 630197 w 2051041"/>
              <a:gd name="connsiteY899" fmla="*/ 534378 h 2084191"/>
              <a:gd name="connsiteX900" fmla="*/ 662304 w 2051041"/>
              <a:gd name="connsiteY900" fmla="*/ 500639 h 2084191"/>
              <a:gd name="connsiteX901" fmla="*/ 825557 w 2051041"/>
              <a:gd name="connsiteY901" fmla="*/ 496830 h 2084191"/>
              <a:gd name="connsiteX902" fmla="*/ 863649 w 2051041"/>
              <a:gd name="connsiteY902" fmla="*/ 534923 h 2084191"/>
              <a:gd name="connsiteX903" fmla="*/ 825557 w 2051041"/>
              <a:gd name="connsiteY903" fmla="*/ 571383 h 2084191"/>
              <a:gd name="connsiteX904" fmla="*/ 788553 w 2051041"/>
              <a:gd name="connsiteY904" fmla="*/ 534379 h 2084191"/>
              <a:gd name="connsiteX905" fmla="*/ 825557 w 2051041"/>
              <a:gd name="connsiteY905" fmla="*/ 496830 h 2084191"/>
              <a:gd name="connsiteX906" fmla="*/ 989898 w 2051041"/>
              <a:gd name="connsiteY906" fmla="*/ 494110 h 2084191"/>
              <a:gd name="connsiteX907" fmla="*/ 1029078 w 2051041"/>
              <a:gd name="connsiteY907" fmla="*/ 534923 h 2084191"/>
              <a:gd name="connsiteX908" fmla="*/ 989353 w 2051041"/>
              <a:gd name="connsiteY908" fmla="*/ 574104 h 2084191"/>
              <a:gd name="connsiteX909" fmla="*/ 949629 w 2051041"/>
              <a:gd name="connsiteY909" fmla="*/ 533835 h 2084191"/>
              <a:gd name="connsiteX910" fmla="*/ 989898 w 2051041"/>
              <a:gd name="connsiteY910" fmla="*/ 494110 h 2084191"/>
              <a:gd name="connsiteX911" fmla="*/ 1152062 w 2051041"/>
              <a:gd name="connsiteY911" fmla="*/ 490301 h 2084191"/>
              <a:gd name="connsiteX912" fmla="*/ 1196140 w 2051041"/>
              <a:gd name="connsiteY912" fmla="*/ 533835 h 2084191"/>
              <a:gd name="connsiteX913" fmla="*/ 1152606 w 2051041"/>
              <a:gd name="connsiteY913" fmla="*/ 577369 h 2084191"/>
              <a:gd name="connsiteX914" fmla="*/ 1109072 w 2051041"/>
              <a:gd name="connsiteY914" fmla="*/ 534379 h 2084191"/>
              <a:gd name="connsiteX915" fmla="*/ 1152062 w 2051041"/>
              <a:gd name="connsiteY915" fmla="*/ 490301 h 2084191"/>
              <a:gd name="connsiteX916" fmla="*/ 1316947 w 2051041"/>
              <a:gd name="connsiteY916" fmla="*/ 489212 h 2084191"/>
              <a:gd name="connsiteX917" fmla="*/ 1361570 w 2051041"/>
              <a:gd name="connsiteY917" fmla="*/ 534923 h 2084191"/>
              <a:gd name="connsiteX918" fmla="*/ 1315859 w 2051041"/>
              <a:gd name="connsiteY918" fmla="*/ 580090 h 2084191"/>
              <a:gd name="connsiteX919" fmla="*/ 1270693 w 2051041"/>
              <a:gd name="connsiteY919" fmla="*/ 533835 h 2084191"/>
              <a:gd name="connsiteX920" fmla="*/ 1316947 w 2051041"/>
              <a:gd name="connsiteY920" fmla="*/ 489212 h 2084191"/>
              <a:gd name="connsiteX921" fmla="*/ 1479112 w 2051041"/>
              <a:gd name="connsiteY921" fmla="*/ 484315 h 2084191"/>
              <a:gd name="connsiteX922" fmla="*/ 1528087 w 2051041"/>
              <a:gd name="connsiteY922" fmla="*/ 533835 h 2084191"/>
              <a:gd name="connsiteX923" fmla="*/ 1479656 w 2051041"/>
              <a:gd name="connsiteY923" fmla="*/ 582267 h 2084191"/>
              <a:gd name="connsiteX924" fmla="*/ 1431224 w 2051041"/>
              <a:gd name="connsiteY924" fmla="*/ 533835 h 2084191"/>
              <a:gd name="connsiteX925" fmla="*/ 1479112 w 2051041"/>
              <a:gd name="connsiteY925" fmla="*/ 484315 h 2084191"/>
              <a:gd name="connsiteX926" fmla="*/ 1643452 w 2051041"/>
              <a:gd name="connsiteY926" fmla="*/ 484314 h 2084191"/>
              <a:gd name="connsiteX927" fmla="*/ 1692973 w 2051041"/>
              <a:gd name="connsiteY927" fmla="*/ 534923 h 2084191"/>
              <a:gd name="connsiteX928" fmla="*/ 1641276 w 2051041"/>
              <a:gd name="connsiteY928" fmla="*/ 583898 h 2084191"/>
              <a:gd name="connsiteX929" fmla="*/ 1592300 w 2051041"/>
              <a:gd name="connsiteY929" fmla="*/ 532202 h 2084191"/>
              <a:gd name="connsiteX930" fmla="*/ 1643452 w 2051041"/>
              <a:gd name="connsiteY930" fmla="*/ 484314 h 2084191"/>
              <a:gd name="connsiteX931" fmla="*/ 1806162 w 2051041"/>
              <a:gd name="connsiteY931" fmla="*/ 481594 h 2084191"/>
              <a:gd name="connsiteX932" fmla="*/ 1857858 w 2051041"/>
              <a:gd name="connsiteY932" fmla="*/ 536011 h 2084191"/>
              <a:gd name="connsiteX933" fmla="*/ 1803441 w 2051041"/>
              <a:gd name="connsiteY933" fmla="*/ 586075 h 2084191"/>
              <a:gd name="connsiteX934" fmla="*/ 1753377 w 2051041"/>
              <a:gd name="connsiteY934" fmla="*/ 533290 h 2084191"/>
              <a:gd name="connsiteX935" fmla="*/ 1806162 w 2051041"/>
              <a:gd name="connsiteY935" fmla="*/ 481594 h 2084191"/>
              <a:gd name="connsiteX936" fmla="*/ 1968326 w 2051041"/>
              <a:gd name="connsiteY936" fmla="*/ 480505 h 2084191"/>
              <a:gd name="connsiteX937" fmla="*/ 2022200 w 2051041"/>
              <a:gd name="connsiteY937" fmla="*/ 534379 h 2084191"/>
              <a:gd name="connsiteX938" fmla="*/ 1969415 w 2051041"/>
              <a:gd name="connsiteY938" fmla="*/ 588252 h 2084191"/>
              <a:gd name="connsiteX939" fmla="*/ 1915541 w 2051041"/>
              <a:gd name="connsiteY939" fmla="*/ 534923 h 2084191"/>
              <a:gd name="connsiteX940" fmla="*/ 1968326 w 2051041"/>
              <a:gd name="connsiteY940" fmla="*/ 480505 h 2084191"/>
              <a:gd name="connsiteX941" fmla="*/ 91464 w 2051041"/>
              <a:gd name="connsiteY941" fmla="*/ 440780 h 2084191"/>
              <a:gd name="connsiteX942" fmla="*/ 102891 w 2051041"/>
              <a:gd name="connsiteY942" fmla="*/ 451664 h 2084191"/>
              <a:gd name="connsiteX943" fmla="*/ 92008 w 2051041"/>
              <a:gd name="connsiteY943" fmla="*/ 464179 h 2084191"/>
              <a:gd name="connsiteX944" fmla="*/ 80036 w 2051041"/>
              <a:gd name="connsiteY944" fmla="*/ 452752 h 2084191"/>
              <a:gd name="connsiteX945" fmla="*/ 91464 w 2051041"/>
              <a:gd name="connsiteY945" fmla="*/ 440780 h 2084191"/>
              <a:gd name="connsiteX946" fmla="*/ 254172 w 2051041"/>
              <a:gd name="connsiteY946" fmla="*/ 430441 h 2084191"/>
              <a:gd name="connsiteX947" fmla="*/ 275939 w 2051041"/>
              <a:gd name="connsiteY947" fmla="*/ 452208 h 2084191"/>
              <a:gd name="connsiteX948" fmla="*/ 254716 w 2051041"/>
              <a:gd name="connsiteY948" fmla="*/ 473975 h 2084191"/>
              <a:gd name="connsiteX949" fmla="*/ 232405 w 2051041"/>
              <a:gd name="connsiteY949" fmla="*/ 452752 h 2084191"/>
              <a:gd name="connsiteX950" fmla="*/ 254172 w 2051041"/>
              <a:gd name="connsiteY950" fmla="*/ 430441 h 2084191"/>
              <a:gd name="connsiteX951" fmla="*/ 417969 w 2051041"/>
              <a:gd name="connsiteY951" fmla="*/ 424999 h 2084191"/>
              <a:gd name="connsiteX952" fmla="*/ 444634 w 2051041"/>
              <a:gd name="connsiteY952" fmla="*/ 452752 h 2084191"/>
              <a:gd name="connsiteX953" fmla="*/ 417425 w 2051041"/>
              <a:gd name="connsiteY953" fmla="*/ 479417 h 2084191"/>
              <a:gd name="connsiteX954" fmla="*/ 390760 w 2051041"/>
              <a:gd name="connsiteY954" fmla="*/ 452208 h 2084191"/>
              <a:gd name="connsiteX955" fmla="*/ 417969 w 2051041"/>
              <a:gd name="connsiteY955" fmla="*/ 424999 h 2084191"/>
              <a:gd name="connsiteX956" fmla="*/ 580677 w 2051041"/>
              <a:gd name="connsiteY956" fmla="*/ 419558 h 2084191"/>
              <a:gd name="connsiteX957" fmla="*/ 612783 w 2051041"/>
              <a:gd name="connsiteY957" fmla="*/ 452208 h 2084191"/>
              <a:gd name="connsiteX958" fmla="*/ 581221 w 2051041"/>
              <a:gd name="connsiteY958" fmla="*/ 484315 h 2084191"/>
              <a:gd name="connsiteX959" fmla="*/ 549115 w 2051041"/>
              <a:gd name="connsiteY959" fmla="*/ 452208 h 2084191"/>
              <a:gd name="connsiteX960" fmla="*/ 580677 w 2051041"/>
              <a:gd name="connsiteY960" fmla="*/ 419558 h 2084191"/>
              <a:gd name="connsiteX961" fmla="*/ 743931 w 2051041"/>
              <a:gd name="connsiteY961" fmla="*/ 415748 h 2084191"/>
              <a:gd name="connsiteX962" fmla="*/ 780390 w 2051041"/>
              <a:gd name="connsiteY962" fmla="*/ 452208 h 2084191"/>
              <a:gd name="connsiteX963" fmla="*/ 744475 w 2051041"/>
              <a:gd name="connsiteY963" fmla="*/ 489212 h 2084191"/>
              <a:gd name="connsiteX964" fmla="*/ 708559 w 2051041"/>
              <a:gd name="connsiteY964" fmla="*/ 453840 h 2084191"/>
              <a:gd name="connsiteX965" fmla="*/ 743931 w 2051041"/>
              <a:gd name="connsiteY965" fmla="*/ 415748 h 2084191"/>
              <a:gd name="connsiteX966" fmla="*/ 908271 w 2051041"/>
              <a:gd name="connsiteY966" fmla="*/ 414116 h 2084191"/>
              <a:gd name="connsiteX967" fmla="*/ 946363 w 2051041"/>
              <a:gd name="connsiteY967" fmla="*/ 453296 h 2084191"/>
              <a:gd name="connsiteX968" fmla="*/ 906638 w 2051041"/>
              <a:gd name="connsiteY968" fmla="*/ 491933 h 2084191"/>
              <a:gd name="connsiteX969" fmla="*/ 868546 w 2051041"/>
              <a:gd name="connsiteY969" fmla="*/ 452208 h 2084191"/>
              <a:gd name="connsiteX970" fmla="*/ 908271 w 2051041"/>
              <a:gd name="connsiteY970" fmla="*/ 414116 h 2084191"/>
              <a:gd name="connsiteX971" fmla="*/ 1072068 w 2051041"/>
              <a:gd name="connsiteY971" fmla="*/ 409218 h 2084191"/>
              <a:gd name="connsiteX972" fmla="*/ 1113970 w 2051041"/>
              <a:gd name="connsiteY972" fmla="*/ 452752 h 2084191"/>
              <a:gd name="connsiteX973" fmla="*/ 1070436 w 2051041"/>
              <a:gd name="connsiteY973" fmla="*/ 495198 h 2084191"/>
              <a:gd name="connsiteX974" fmla="*/ 1028534 w 2051041"/>
              <a:gd name="connsiteY974" fmla="*/ 451120 h 2084191"/>
              <a:gd name="connsiteX975" fmla="*/ 1072068 w 2051041"/>
              <a:gd name="connsiteY975" fmla="*/ 409218 h 2084191"/>
              <a:gd name="connsiteX976" fmla="*/ 1235865 w 2051041"/>
              <a:gd name="connsiteY976" fmla="*/ 408130 h 2084191"/>
              <a:gd name="connsiteX977" fmla="*/ 1279400 w 2051041"/>
              <a:gd name="connsiteY977" fmla="*/ 453296 h 2084191"/>
              <a:gd name="connsiteX978" fmla="*/ 1233689 w 2051041"/>
              <a:gd name="connsiteY978" fmla="*/ 497374 h 2084191"/>
              <a:gd name="connsiteX979" fmla="*/ 1189611 w 2051041"/>
              <a:gd name="connsiteY979" fmla="*/ 451664 h 2084191"/>
              <a:gd name="connsiteX980" fmla="*/ 1235865 w 2051041"/>
              <a:gd name="connsiteY980" fmla="*/ 408130 h 2084191"/>
              <a:gd name="connsiteX981" fmla="*/ 1396941 w 2051041"/>
              <a:gd name="connsiteY981" fmla="*/ 403776 h 2084191"/>
              <a:gd name="connsiteX982" fmla="*/ 1446461 w 2051041"/>
              <a:gd name="connsiteY982" fmla="*/ 450575 h 2084191"/>
              <a:gd name="connsiteX983" fmla="*/ 1399118 w 2051041"/>
              <a:gd name="connsiteY983" fmla="*/ 500640 h 2084191"/>
              <a:gd name="connsiteX984" fmla="*/ 1349598 w 2051041"/>
              <a:gd name="connsiteY984" fmla="*/ 453296 h 2084191"/>
              <a:gd name="connsiteX985" fmla="*/ 1396941 w 2051041"/>
              <a:gd name="connsiteY985" fmla="*/ 403776 h 2084191"/>
              <a:gd name="connsiteX986" fmla="*/ 1560738 w 2051041"/>
              <a:gd name="connsiteY986" fmla="*/ 402144 h 2084191"/>
              <a:gd name="connsiteX987" fmla="*/ 1611347 w 2051041"/>
              <a:gd name="connsiteY987" fmla="*/ 453297 h 2084191"/>
              <a:gd name="connsiteX988" fmla="*/ 1560194 w 2051041"/>
              <a:gd name="connsiteY988" fmla="*/ 502272 h 2084191"/>
              <a:gd name="connsiteX989" fmla="*/ 1511218 w 2051041"/>
              <a:gd name="connsiteY989" fmla="*/ 451664 h 2084191"/>
              <a:gd name="connsiteX990" fmla="*/ 1560738 w 2051041"/>
              <a:gd name="connsiteY990" fmla="*/ 402144 h 2084191"/>
              <a:gd name="connsiteX991" fmla="*/ 1723991 w 2051041"/>
              <a:gd name="connsiteY991" fmla="*/ 399423 h 2084191"/>
              <a:gd name="connsiteX992" fmla="*/ 1776776 w 2051041"/>
              <a:gd name="connsiteY992" fmla="*/ 452752 h 2084191"/>
              <a:gd name="connsiteX993" fmla="*/ 1725079 w 2051041"/>
              <a:gd name="connsiteY993" fmla="*/ 504993 h 2084191"/>
              <a:gd name="connsiteX994" fmla="*/ 1671750 w 2051041"/>
              <a:gd name="connsiteY994" fmla="*/ 452752 h 2084191"/>
              <a:gd name="connsiteX995" fmla="*/ 1723991 w 2051041"/>
              <a:gd name="connsiteY995" fmla="*/ 399423 h 2084191"/>
              <a:gd name="connsiteX996" fmla="*/ 2051040 w 2051041"/>
              <a:gd name="connsiteY996" fmla="*/ 398335 h 2084191"/>
              <a:gd name="connsiteX997" fmla="*/ 2051041 w 2051041"/>
              <a:gd name="connsiteY997" fmla="*/ 398335 h 2084191"/>
              <a:gd name="connsiteX998" fmla="*/ 2051041 w 2051041"/>
              <a:gd name="connsiteY998" fmla="*/ 506936 h 2084191"/>
              <a:gd name="connsiteX999" fmla="*/ 2049952 w 2051041"/>
              <a:gd name="connsiteY999" fmla="*/ 507170 h 2084191"/>
              <a:gd name="connsiteX1000" fmla="*/ 1995534 w 2051041"/>
              <a:gd name="connsiteY1000" fmla="*/ 452208 h 2084191"/>
              <a:gd name="connsiteX1001" fmla="*/ 2051040 w 2051041"/>
              <a:gd name="connsiteY1001" fmla="*/ 398335 h 2084191"/>
              <a:gd name="connsiteX1002" fmla="*/ 1888332 w 2051041"/>
              <a:gd name="connsiteY1002" fmla="*/ 398335 h 2084191"/>
              <a:gd name="connsiteX1003" fmla="*/ 1941661 w 2051041"/>
              <a:gd name="connsiteY1003" fmla="*/ 452208 h 2084191"/>
              <a:gd name="connsiteX1004" fmla="*/ 1886699 w 2051041"/>
              <a:gd name="connsiteY1004" fmla="*/ 506082 h 2084191"/>
              <a:gd name="connsiteX1005" fmla="*/ 1833370 w 2051041"/>
              <a:gd name="connsiteY1005" fmla="*/ 452208 h 2084191"/>
              <a:gd name="connsiteX1006" fmla="*/ 1888332 w 2051041"/>
              <a:gd name="connsiteY1006" fmla="*/ 398335 h 2084191"/>
              <a:gd name="connsiteX1007" fmla="*/ 12014 w 2051041"/>
              <a:gd name="connsiteY1007" fmla="*/ 364052 h 2084191"/>
              <a:gd name="connsiteX1008" fmla="*/ 15823 w 2051041"/>
              <a:gd name="connsiteY1008" fmla="*/ 370038 h 2084191"/>
              <a:gd name="connsiteX1009" fmla="*/ 9293 w 2051041"/>
              <a:gd name="connsiteY1009" fmla="*/ 377656 h 2084191"/>
              <a:gd name="connsiteX1010" fmla="*/ 3307 w 2051041"/>
              <a:gd name="connsiteY1010" fmla="*/ 371126 h 2084191"/>
              <a:gd name="connsiteX1011" fmla="*/ 12014 w 2051041"/>
              <a:gd name="connsiteY1011" fmla="*/ 364052 h 2084191"/>
              <a:gd name="connsiteX1012" fmla="*/ 172545 w 2051041"/>
              <a:gd name="connsiteY1012" fmla="*/ 353713 h 2084191"/>
              <a:gd name="connsiteX1013" fmla="*/ 190503 w 2051041"/>
              <a:gd name="connsiteY1013" fmla="*/ 370582 h 2084191"/>
              <a:gd name="connsiteX1014" fmla="*/ 173090 w 2051041"/>
              <a:gd name="connsiteY1014" fmla="*/ 387996 h 2084191"/>
              <a:gd name="connsiteX1015" fmla="*/ 155676 w 2051041"/>
              <a:gd name="connsiteY1015" fmla="*/ 371126 h 2084191"/>
              <a:gd name="connsiteX1016" fmla="*/ 172545 w 2051041"/>
              <a:gd name="connsiteY1016" fmla="*/ 353713 h 2084191"/>
              <a:gd name="connsiteX1017" fmla="*/ 336886 w 2051041"/>
              <a:gd name="connsiteY1017" fmla="*/ 345550 h 2084191"/>
              <a:gd name="connsiteX1018" fmla="*/ 361374 w 2051041"/>
              <a:gd name="connsiteY1018" fmla="*/ 371670 h 2084191"/>
              <a:gd name="connsiteX1019" fmla="*/ 335798 w 2051041"/>
              <a:gd name="connsiteY1019" fmla="*/ 395070 h 2084191"/>
              <a:gd name="connsiteX1020" fmla="*/ 311854 w 2051041"/>
              <a:gd name="connsiteY1020" fmla="*/ 370038 h 2084191"/>
              <a:gd name="connsiteX1021" fmla="*/ 336886 w 2051041"/>
              <a:gd name="connsiteY1021" fmla="*/ 345550 h 2084191"/>
              <a:gd name="connsiteX1022" fmla="*/ 499596 w 2051041"/>
              <a:gd name="connsiteY1022" fmla="*/ 342284 h 2084191"/>
              <a:gd name="connsiteX1023" fmla="*/ 528437 w 2051041"/>
              <a:gd name="connsiteY1023" fmla="*/ 370582 h 2084191"/>
              <a:gd name="connsiteX1024" fmla="*/ 499051 w 2051041"/>
              <a:gd name="connsiteY1024" fmla="*/ 399423 h 2084191"/>
              <a:gd name="connsiteX1025" fmla="*/ 470210 w 2051041"/>
              <a:gd name="connsiteY1025" fmla="*/ 370037 h 2084191"/>
              <a:gd name="connsiteX1026" fmla="*/ 499596 w 2051041"/>
              <a:gd name="connsiteY1026" fmla="*/ 342284 h 2084191"/>
              <a:gd name="connsiteX1027" fmla="*/ 663392 w 2051041"/>
              <a:gd name="connsiteY1027" fmla="*/ 337387 h 2084191"/>
              <a:gd name="connsiteX1028" fmla="*/ 697131 w 2051041"/>
              <a:gd name="connsiteY1028" fmla="*/ 371126 h 2084191"/>
              <a:gd name="connsiteX1029" fmla="*/ 662304 w 2051041"/>
              <a:gd name="connsiteY1029" fmla="*/ 404321 h 2084191"/>
              <a:gd name="connsiteX1030" fmla="*/ 629109 w 2051041"/>
              <a:gd name="connsiteY1030" fmla="*/ 371126 h 2084191"/>
              <a:gd name="connsiteX1031" fmla="*/ 663392 w 2051041"/>
              <a:gd name="connsiteY1031" fmla="*/ 337387 h 2084191"/>
              <a:gd name="connsiteX1032" fmla="*/ 825556 w 2051041"/>
              <a:gd name="connsiteY1032" fmla="*/ 332489 h 2084191"/>
              <a:gd name="connsiteX1033" fmla="*/ 864737 w 2051041"/>
              <a:gd name="connsiteY1033" fmla="*/ 370037 h 2084191"/>
              <a:gd name="connsiteX1034" fmla="*/ 826645 w 2051041"/>
              <a:gd name="connsiteY1034" fmla="*/ 409218 h 2084191"/>
              <a:gd name="connsiteX1035" fmla="*/ 787464 w 2051041"/>
              <a:gd name="connsiteY1035" fmla="*/ 371126 h 2084191"/>
              <a:gd name="connsiteX1036" fmla="*/ 825556 w 2051041"/>
              <a:gd name="connsiteY1036" fmla="*/ 332489 h 2084191"/>
              <a:gd name="connsiteX1037" fmla="*/ 989898 w 2051041"/>
              <a:gd name="connsiteY1037" fmla="*/ 328680 h 2084191"/>
              <a:gd name="connsiteX1038" fmla="*/ 1031255 w 2051041"/>
              <a:gd name="connsiteY1038" fmla="*/ 371126 h 2084191"/>
              <a:gd name="connsiteX1039" fmla="*/ 989354 w 2051041"/>
              <a:gd name="connsiteY1039" fmla="*/ 413027 h 2084191"/>
              <a:gd name="connsiteX1040" fmla="*/ 947452 w 2051041"/>
              <a:gd name="connsiteY1040" fmla="*/ 370037 h 2084191"/>
              <a:gd name="connsiteX1041" fmla="*/ 989898 w 2051041"/>
              <a:gd name="connsiteY1041" fmla="*/ 328680 h 2084191"/>
              <a:gd name="connsiteX1042" fmla="*/ 1153150 w 2051041"/>
              <a:gd name="connsiteY1042" fmla="*/ 326504 h 2084191"/>
              <a:gd name="connsiteX1043" fmla="*/ 1197228 w 2051041"/>
              <a:gd name="connsiteY1043" fmla="*/ 370582 h 2084191"/>
              <a:gd name="connsiteX1044" fmla="*/ 1152606 w 2051041"/>
              <a:gd name="connsiteY1044" fmla="*/ 414661 h 2084191"/>
              <a:gd name="connsiteX1045" fmla="*/ 1108528 w 2051041"/>
              <a:gd name="connsiteY1045" fmla="*/ 370038 h 2084191"/>
              <a:gd name="connsiteX1046" fmla="*/ 1153150 w 2051041"/>
              <a:gd name="connsiteY1046" fmla="*/ 326504 h 2084191"/>
              <a:gd name="connsiteX1047" fmla="*/ 1317492 w 2051041"/>
              <a:gd name="connsiteY1047" fmla="*/ 323239 h 2084191"/>
              <a:gd name="connsiteX1048" fmla="*/ 1364835 w 2051041"/>
              <a:gd name="connsiteY1048" fmla="*/ 372215 h 2084191"/>
              <a:gd name="connsiteX1049" fmla="*/ 1314771 w 2051041"/>
              <a:gd name="connsiteY1049" fmla="*/ 419014 h 2084191"/>
              <a:gd name="connsiteX1050" fmla="*/ 1268516 w 2051041"/>
              <a:gd name="connsiteY1050" fmla="*/ 370582 h 2084191"/>
              <a:gd name="connsiteX1051" fmla="*/ 1317492 w 2051041"/>
              <a:gd name="connsiteY1051" fmla="*/ 323239 h 2084191"/>
              <a:gd name="connsiteX1052" fmla="*/ 1479112 w 2051041"/>
              <a:gd name="connsiteY1052" fmla="*/ 320517 h 2084191"/>
              <a:gd name="connsiteX1053" fmla="*/ 1529720 w 2051041"/>
              <a:gd name="connsiteY1053" fmla="*/ 371670 h 2084191"/>
              <a:gd name="connsiteX1054" fmla="*/ 1478568 w 2051041"/>
              <a:gd name="connsiteY1054" fmla="*/ 420101 h 2084191"/>
              <a:gd name="connsiteX1055" fmla="*/ 1429592 w 2051041"/>
              <a:gd name="connsiteY1055" fmla="*/ 370037 h 2084191"/>
              <a:gd name="connsiteX1056" fmla="*/ 1479112 w 2051041"/>
              <a:gd name="connsiteY1056" fmla="*/ 320517 h 2084191"/>
              <a:gd name="connsiteX1057" fmla="*/ 1642364 w 2051041"/>
              <a:gd name="connsiteY1057" fmla="*/ 318341 h 2084191"/>
              <a:gd name="connsiteX1058" fmla="*/ 1695694 w 2051041"/>
              <a:gd name="connsiteY1058" fmla="*/ 370582 h 2084191"/>
              <a:gd name="connsiteX1059" fmla="*/ 1643453 w 2051041"/>
              <a:gd name="connsiteY1059" fmla="*/ 424455 h 2084191"/>
              <a:gd name="connsiteX1060" fmla="*/ 1589035 w 2051041"/>
              <a:gd name="connsiteY1060" fmla="*/ 371670 h 2084191"/>
              <a:gd name="connsiteX1061" fmla="*/ 1642364 w 2051041"/>
              <a:gd name="connsiteY1061" fmla="*/ 318341 h 2084191"/>
              <a:gd name="connsiteX1062" fmla="*/ 90919 w 2051041"/>
              <a:gd name="connsiteY1062" fmla="*/ 273718 h 2084191"/>
              <a:gd name="connsiteX1063" fmla="*/ 106700 w 2051041"/>
              <a:gd name="connsiteY1063" fmla="*/ 288411 h 2084191"/>
              <a:gd name="connsiteX1064" fmla="*/ 91463 w 2051041"/>
              <a:gd name="connsiteY1064" fmla="*/ 303648 h 2084191"/>
              <a:gd name="connsiteX1065" fmla="*/ 76770 w 2051041"/>
              <a:gd name="connsiteY1065" fmla="*/ 288411 h 2084191"/>
              <a:gd name="connsiteX1066" fmla="*/ 90919 w 2051041"/>
              <a:gd name="connsiteY1066" fmla="*/ 273718 h 2084191"/>
              <a:gd name="connsiteX1067" fmla="*/ 254716 w 2051041"/>
              <a:gd name="connsiteY1067" fmla="*/ 267733 h 2084191"/>
              <a:gd name="connsiteX1068" fmla="*/ 276483 w 2051041"/>
              <a:gd name="connsiteY1068" fmla="*/ 288956 h 2084191"/>
              <a:gd name="connsiteX1069" fmla="*/ 254172 w 2051041"/>
              <a:gd name="connsiteY1069" fmla="*/ 311811 h 2084191"/>
              <a:gd name="connsiteX1070" fmla="*/ 232405 w 2051041"/>
              <a:gd name="connsiteY1070" fmla="*/ 289500 h 2084191"/>
              <a:gd name="connsiteX1071" fmla="*/ 254716 w 2051041"/>
              <a:gd name="connsiteY1071" fmla="*/ 267733 h 2084191"/>
              <a:gd name="connsiteX1072" fmla="*/ 1941117 w 2051041"/>
              <a:gd name="connsiteY1072" fmla="*/ 263202 h 2084191"/>
              <a:gd name="connsiteX1073" fmla="*/ 1936219 w 2051041"/>
              <a:gd name="connsiteY1073" fmla="*/ 266467 h 2084191"/>
              <a:gd name="connsiteX1074" fmla="*/ 1938396 w 2051041"/>
              <a:gd name="connsiteY1074" fmla="*/ 272453 h 2084191"/>
              <a:gd name="connsiteX1075" fmla="*/ 1932954 w 2051041"/>
              <a:gd name="connsiteY1075" fmla="*/ 325782 h 2084191"/>
              <a:gd name="connsiteX1076" fmla="*/ 1930777 w 2051041"/>
              <a:gd name="connsiteY1076" fmla="*/ 331224 h 2084191"/>
              <a:gd name="connsiteX1077" fmla="*/ 1936219 w 2051041"/>
              <a:gd name="connsiteY1077" fmla="*/ 330136 h 2084191"/>
              <a:gd name="connsiteX1078" fmla="*/ 1966693 w 2051041"/>
              <a:gd name="connsiteY1078" fmla="*/ 320340 h 2084191"/>
              <a:gd name="connsiteX1079" fmla="*/ 1998799 w 2051041"/>
              <a:gd name="connsiteY1079" fmla="*/ 328503 h 2084191"/>
              <a:gd name="connsiteX1080" fmla="*/ 2003153 w 2051041"/>
              <a:gd name="connsiteY1080" fmla="*/ 330136 h 2084191"/>
              <a:gd name="connsiteX1081" fmla="*/ 2001520 w 2051041"/>
              <a:gd name="connsiteY1081" fmla="*/ 324694 h 2084191"/>
              <a:gd name="connsiteX1082" fmla="*/ 1994446 w 2051041"/>
              <a:gd name="connsiteY1082" fmla="*/ 309457 h 2084191"/>
              <a:gd name="connsiteX1083" fmla="*/ 1998255 w 2051041"/>
              <a:gd name="connsiteY1083" fmla="*/ 267555 h 2084191"/>
              <a:gd name="connsiteX1084" fmla="*/ 2000976 w 2051041"/>
              <a:gd name="connsiteY1084" fmla="*/ 263746 h 2084191"/>
              <a:gd name="connsiteX1085" fmla="*/ 1995534 w 2051041"/>
              <a:gd name="connsiteY1085" fmla="*/ 263746 h 2084191"/>
              <a:gd name="connsiteX1086" fmla="*/ 1941117 w 2051041"/>
              <a:gd name="connsiteY1086" fmla="*/ 263202 h 2084191"/>
              <a:gd name="connsiteX1087" fmla="*/ 417425 w 2051041"/>
              <a:gd name="connsiteY1087" fmla="*/ 262291 h 2084191"/>
              <a:gd name="connsiteX1088" fmla="*/ 445178 w 2051041"/>
              <a:gd name="connsiteY1088" fmla="*/ 288956 h 2084191"/>
              <a:gd name="connsiteX1089" fmla="*/ 417969 w 2051041"/>
              <a:gd name="connsiteY1089" fmla="*/ 317253 h 2084191"/>
              <a:gd name="connsiteX1090" fmla="*/ 390216 w 2051041"/>
              <a:gd name="connsiteY1090" fmla="*/ 290044 h 2084191"/>
              <a:gd name="connsiteX1091" fmla="*/ 417425 w 2051041"/>
              <a:gd name="connsiteY1091" fmla="*/ 262291 h 2084191"/>
              <a:gd name="connsiteX1092" fmla="*/ 580678 w 2051041"/>
              <a:gd name="connsiteY1092" fmla="*/ 256304 h 2084191"/>
              <a:gd name="connsiteX1093" fmla="*/ 613872 w 2051041"/>
              <a:gd name="connsiteY1093" fmla="*/ 288955 h 2084191"/>
              <a:gd name="connsiteX1094" fmla="*/ 581222 w 2051041"/>
              <a:gd name="connsiteY1094" fmla="*/ 322150 h 2084191"/>
              <a:gd name="connsiteX1095" fmla="*/ 548027 w 2051041"/>
              <a:gd name="connsiteY1095" fmla="*/ 289499 h 2084191"/>
              <a:gd name="connsiteX1096" fmla="*/ 580678 w 2051041"/>
              <a:gd name="connsiteY1096" fmla="*/ 256304 h 2084191"/>
              <a:gd name="connsiteX1097" fmla="*/ 743930 w 2051041"/>
              <a:gd name="connsiteY1097" fmla="*/ 251951 h 2084191"/>
              <a:gd name="connsiteX1098" fmla="*/ 782022 w 2051041"/>
              <a:gd name="connsiteY1098" fmla="*/ 289499 h 2084191"/>
              <a:gd name="connsiteX1099" fmla="*/ 744474 w 2051041"/>
              <a:gd name="connsiteY1099" fmla="*/ 326503 h 2084191"/>
              <a:gd name="connsiteX1100" fmla="*/ 707470 w 2051041"/>
              <a:gd name="connsiteY1100" fmla="*/ 289499 h 2084191"/>
              <a:gd name="connsiteX1101" fmla="*/ 743930 w 2051041"/>
              <a:gd name="connsiteY1101" fmla="*/ 251951 h 2084191"/>
              <a:gd name="connsiteX1102" fmla="*/ 907183 w 2051041"/>
              <a:gd name="connsiteY1102" fmla="*/ 249775 h 2084191"/>
              <a:gd name="connsiteX1103" fmla="*/ 947452 w 2051041"/>
              <a:gd name="connsiteY1103" fmla="*/ 289500 h 2084191"/>
              <a:gd name="connsiteX1104" fmla="*/ 908271 w 2051041"/>
              <a:gd name="connsiteY1104" fmla="*/ 329225 h 2084191"/>
              <a:gd name="connsiteX1105" fmla="*/ 867458 w 2051041"/>
              <a:gd name="connsiteY1105" fmla="*/ 290044 h 2084191"/>
              <a:gd name="connsiteX1106" fmla="*/ 907183 w 2051041"/>
              <a:gd name="connsiteY1106" fmla="*/ 249775 h 2084191"/>
              <a:gd name="connsiteX1107" fmla="*/ 1070435 w 2051041"/>
              <a:gd name="connsiteY1107" fmla="*/ 245965 h 2084191"/>
              <a:gd name="connsiteX1108" fmla="*/ 1114513 w 2051041"/>
              <a:gd name="connsiteY1108" fmla="*/ 290043 h 2084191"/>
              <a:gd name="connsiteX1109" fmla="*/ 1069347 w 2051041"/>
              <a:gd name="connsiteY1109" fmla="*/ 333578 h 2084191"/>
              <a:gd name="connsiteX1110" fmla="*/ 1026357 w 2051041"/>
              <a:gd name="connsiteY1110" fmla="*/ 288955 h 2084191"/>
              <a:gd name="connsiteX1111" fmla="*/ 1070435 w 2051041"/>
              <a:gd name="connsiteY1111" fmla="*/ 245965 h 2084191"/>
              <a:gd name="connsiteX1112" fmla="*/ 1233689 w 2051041"/>
              <a:gd name="connsiteY1112" fmla="*/ 241613 h 2084191"/>
              <a:gd name="connsiteX1113" fmla="*/ 1282120 w 2051041"/>
              <a:gd name="connsiteY1113" fmla="*/ 288412 h 2084191"/>
              <a:gd name="connsiteX1114" fmla="*/ 1235321 w 2051041"/>
              <a:gd name="connsiteY1114" fmla="*/ 335755 h 2084191"/>
              <a:gd name="connsiteX1115" fmla="*/ 1187434 w 2051041"/>
              <a:gd name="connsiteY1115" fmla="*/ 289500 h 2084191"/>
              <a:gd name="connsiteX1116" fmla="*/ 1233689 w 2051041"/>
              <a:gd name="connsiteY1116" fmla="*/ 241613 h 2084191"/>
              <a:gd name="connsiteX1117" fmla="*/ 1397485 w 2051041"/>
              <a:gd name="connsiteY1117" fmla="*/ 238891 h 2084191"/>
              <a:gd name="connsiteX1118" fmla="*/ 1448094 w 2051041"/>
              <a:gd name="connsiteY1118" fmla="*/ 288955 h 2084191"/>
              <a:gd name="connsiteX1119" fmla="*/ 1398029 w 2051041"/>
              <a:gd name="connsiteY1119" fmla="*/ 338475 h 2084191"/>
              <a:gd name="connsiteX1120" fmla="*/ 1348509 w 2051041"/>
              <a:gd name="connsiteY1120" fmla="*/ 289499 h 2084191"/>
              <a:gd name="connsiteX1121" fmla="*/ 1397485 w 2051041"/>
              <a:gd name="connsiteY1121" fmla="*/ 238891 h 2084191"/>
              <a:gd name="connsiteX1122" fmla="*/ 1559650 w 2051041"/>
              <a:gd name="connsiteY1122" fmla="*/ 237258 h 2084191"/>
              <a:gd name="connsiteX1123" fmla="*/ 1613523 w 2051041"/>
              <a:gd name="connsiteY1123" fmla="*/ 288955 h 2084191"/>
              <a:gd name="connsiteX1124" fmla="*/ 1560738 w 2051041"/>
              <a:gd name="connsiteY1124" fmla="*/ 342829 h 2084191"/>
              <a:gd name="connsiteX1125" fmla="*/ 1507953 w 2051041"/>
              <a:gd name="connsiteY1125" fmla="*/ 289499 h 2084191"/>
              <a:gd name="connsiteX1126" fmla="*/ 1559650 w 2051041"/>
              <a:gd name="connsiteY1126" fmla="*/ 237258 h 2084191"/>
              <a:gd name="connsiteX1127" fmla="*/ 9837 w 2051041"/>
              <a:gd name="connsiteY1127" fmla="*/ 198078 h 2084191"/>
              <a:gd name="connsiteX1128" fmla="*/ 19632 w 2051041"/>
              <a:gd name="connsiteY1128" fmla="*/ 207873 h 2084191"/>
              <a:gd name="connsiteX1129" fmla="*/ 10381 w 2051041"/>
              <a:gd name="connsiteY1129" fmla="*/ 218213 h 2084191"/>
              <a:gd name="connsiteX1130" fmla="*/ 42 w 2051041"/>
              <a:gd name="connsiteY1130" fmla="*/ 207873 h 2084191"/>
              <a:gd name="connsiteX1131" fmla="*/ 9837 w 2051041"/>
              <a:gd name="connsiteY1131" fmla="*/ 198078 h 2084191"/>
              <a:gd name="connsiteX1132" fmla="*/ 173090 w 2051041"/>
              <a:gd name="connsiteY1132" fmla="*/ 187739 h 2084191"/>
              <a:gd name="connsiteX1133" fmla="*/ 192136 w 2051041"/>
              <a:gd name="connsiteY1133" fmla="*/ 207329 h 2084191"/>
              <a:gd name="connsiteX1134" fmla="*/ 172546 w 2051041"/>
              <a:gd name="connsiteY1134" fmla="*/ 227464 h 2084191"/>
              <a:gd name="connsiteX1135" fmla="*/ 154044 w 2051041"/>
              <a:gd name="connsiteY1135" fmla="*/ 208418 h 2084191"/>
              <a:gd name="connsiteX1136" fmla="*/ 173090 w 2051041"/>
              <a:gd name="connsiteY1136" fmla="*/ 187739 h 2084191"/>
              <a:gd name="connsiteX1137" fmla="*/ 336887 w 2051041"/>
              <a:gd name="connsiteY1137" fmla="*/ 182297 h 2084191"/>
              <a:gd name="connsiteX1138" fmla="*/ 363007 w 2051041"/>
              <a:gd name="connsiteY1138" fmla="*/ 207329 h 2084191"/>
              <a:gd name="connsiteX1139" fmla="*/ 336887 w 2051041"/>
              <a:gd name="connsiteY1139" fmla="*/ 233994 h 2084191"/>
              <a:gd name="connsiteX1140" fmla="*/ 310766 w 2051041"/>
              <a:gd name="connsiteY1140" fmla="*/ 208961 h 2084191"/>
              <a:gd name="connsiteX1141" fmla="*/ 336887 w 2051041"/>
              <a:gd name="connsiteY1141" fmla="*/ 182297 h 2084191"/>
              <a:gd name="connsiteX1142" fmla="*/ 1856225 w 2051041"/>
              <a:gd name="connsiteY1142" fmla="*/ 180487 h 2084191"/>
              <a:gd name="connsiteX1143" fmla="*/ 1855681 w 2051041"/>
              <a:gd name="connsiteY1143" fmla="*/ 185929 h 2084191"/>
              <a:gd name="connsiteX1144" fmla="*/ 1851872 w 2051041"/>
              <a:gd name="connsiteY1144" fmla="*/ 244700 h 2084191"/>
              <a:gd name="connsiteX1145" fmla="*/ 1851328 w 2051041"/>
              <a:gd name="connsiteY1145" fmla="*/ 247965 h 2084191"/>
              <a:gd name="connsiteX1146" fmla="*/ 1854593 w 2051041"/>
              <a:gd name="connsiteY1146" fmla="*/ 247421 h 2084191"/>
              <a:gd name="connsiteX1147" fmla="*/ 1899215 w 2051041"/>
              <a:gd name="connsiteY1147" fmla="*/ 238714 h 2084191"/>
              <a:gd name="connsiteX1148" fmla="*/ 1913908 w 2051041"/>
              <a:gd name="connsiteY1148" fmla="*/ 243067 h 2084191"/>
              <a:gd name="connsiteX1149" fmla="*/ 1918806 w 2051041"/>
              <a:gd name="connsiteY1149" fmla="*/ 242523 h 2084191"/>
              <a:gd name="connsiteX1150" fmla="*/ 1918261 w 2051041"/>
              <a:gd name="connsiteY1150" fmla="*/ 238170 h 2084191"/>
              <a:gd name="connsiteX1151" fmla="*/ 1917173 w 2051041"/>
              <a:gd name="connsiteY1151" fmla="*/ 185929 h 2084191"/>
              <a:gd name="connsiteX1152" fmla="*/ 1918261 w 2051041"/>
              <a:gd name="connsiteY1152" fmla="*/ 181576 h 2084191"/>
              <a:gd name="connsiteX1153" fmla="*/ 1913908 w 2051041"/>
              <a:gd name="connsiteY1153" fmla="*/ 182664 h 2084191"/>
              <a:gd name="connsiteX1154" fmla="*/ 1860579 w 2051041"/>
              <a:gd name="connsiteY1154" fmla="*/ 180487 h 2084191"/>
              <a:gd name="connsiteX1155" fmla="*/ 1856225 w 2051041"/>
              <a:gd name="connsiteY1155" fmla="*/ 180487 h 2084191"/>
              <a:gd name="connsiteX1156" fmla="*/ 499595 w 2051041"/>
              <a:gd name="connsiteY1156" fmla="*/ 175767 h 2084191"/>
              <a:gd name="connsiteX1157" fmla="*/ 531158 w 2051041"/>
              <a:gd name="connsiteY1157" fmla="*/ 207874 h 2084191"/>
              <a:gd name="connsiteX1158" fmla="*/ 498507 w 2051041"/>
              <a:gd name="connsiteY1158" fmla="*/ 238347 h 2084191"/>
              <a:gd name="connsiteX1159" fmla="*/ 468033 w 2051041"/>
              <a:gd name="connsiteY1159" fmla="*/ 207329 h 2084191"/>
              <a:gd name="connsiteX1160" fmla="*/ 499595 w 2051041"/>
              <a:gd name="connsiteY1160" fmla="*/ 175767 h 2084191"/>
              <a:gd name="connsiteX1161" fmla="*/ 662304 w 2051041"/>
              <a:gd name="connsiteY1161" fmla="*/ 173046 h 2084191"/>
              <a:gd name="connsiteX1162" fmla="*/ 697676 w 2051041"/>
              <a:gd name="connsiteY1162" fmla="*/ 207873 h 2084191"/>
              <a:gd name="connsiteX1163" fmla="*/ 662304 w 2051041"/>
              <a:gd name="connsiteY1163" fmla="*/ 242156 h 2084191"/>
              <a:gd name="connsiteX1164" fmla="*/ 628021 w 2051041"/>
              <a:gd name="connsiteY1164" fmla="*/ 207873 h 2084191"/>
              <a:gd name="connsiteX1165" fmla="*/ 662304 w 2051041"/>
              <a:gd name="connsiteY1165" fmla="*/ 173046 h 2084191"/>
              <a:gd name="connsiteX1166" fmla="*/ 826645 w 2051041"/>
              <a:gd name="connsiteY1166" fmla="*/ 168148 h 2084191"/>
              <a:gd name="connsiteX1167" fmla="*/ 864737 w 2051041"/>
              <a:gd name="connsiteY1167" fmla="*/ 207329 h 2084191"/>
              <a:gd name="connsiteX1168" fmla="*/ 826100 w 2051041"/>
              <a:gd name="connsiteY1168" fmla="*/ 247054 h 2084191"/>
              <a:gd name="connsiteX1169" fmla="*/ 787464 w 2051041"/>
              <a:gd name="connsiteY1169" fmla="*/ 207873 h 2084191"/>
              <a:gd name="connsiteX1170" fmla="*/ 826645 w 2051041"/>
              <a:gd name="connsiteY1170" fmla="*/ 168148 h 2084191"/>
              <a:gd name="connsiteX1171" fmla="*/ 987721 w 2051041"/>
              <a:gd name="connsiteY1171" fmla="*/ 164883 h 2084191"/>
              <a:gd name="connsiteX1172" fmla="*/ 1031799 w 2051041"/>
              <a:gd name="connsiteY1172" fmla="*/ 207329 h 2084191"/>
              <a:gd name="connsiteX1173" fmla="*/ 988809 w 2051041"/>
              <a:gd name="connsiteY1173" fmla="*/ 250319 h 2084191"/>
              <a:gd name="connsiteX1174" fmla="*/ 945819 w 2051041"/>
              <a:gd name="connsiteY1174" fmla="*/ 208417 h 2084191"/>
              <a:gd name="connsiteX1175" fmla="*/ 987721 w 2051041"/>
              <a:gd name="connsiteY1175" fmla="*/ 164883 h 2084191"/>
              <a:gd name="connsiteX1176" fmla="*/ 1153150 w 2051041"/>
              <a:gd name="connsiteY1176" fmla="*/ 162707 h 2084191"/>
              <a:gd name="connsiteX1177" fmla="*/ 1197772 w 2051041"/>
              <a:gd name="connsiteY1177" fmla="*/ 207874 h 2084191"/>
              <a:gd name="connsiteX1178" fmla="*/ 1151517 w 2051041"/>
              <a:gd name="connsiteY1178" fmla="*/ 253584 h 2084191"/>
              <a:gd name="connsiteX1179" fmla="*/ 1107439 w 2051041"/>
              <a:gd name="connsiteY1179" fmla="*/ 207329 h 2084191"/>
              <a:gd name="connsiteX1180" fmla="*/ 1153150 w 2051041"/>
              <a:gd name="connsiteY1180" fmla="*/ 162707 h 2084191"/>
              <a:gd name="connsiteX1181" fmla="*/ 1315315 w 2051041"/>
              <a:gd name="connsiteY1181" fmla="*/ 158353 h 2084191"/>
              <a:gd name="connsiteX1182" fmla="*/ 1365379 w 2051041"/>
              <a:gd name="connsiteY1182" fmla="*/ 206785 h 2084191"/>
              <a:gd name="connsiteX1183" fmla="*/ 1315859 w 2051041"/>
              <a:gd name="connsiteY1183" fmla="*/ 256305 h 2084191"/>
              <a:gd name="connsiteX1184" fmla="*/ 1266883 w 2051041"/>
              <a:gd name="connsiteY1184" fmla="*/ 207873 h 2084191"/>
              <a:gd name="connsiteX1185" fmla="*/ 1315315 w 2051041"/>
              <a:gd name="connsiteY1185" fmla="*/ 158353 h 2084191"/>
              <a:gd name="connsiteX1186" fmla="*/ 1478567 w 2051041"/>
              <a:gd name="connsiteY1186" fmla="*/ 156721 h 2084191"/>
              <a:gd name="connsiteX1187" fmla="*/ 1529720 w 2051041"/>
              <a:gd name="connsiteY1187" fmla="*/ 207329 h 2084191"/>
              <a:gd name="connsiteX1188" fmla="*/ 1478567 w 2051041"/>
              <a:gd name="connsiteY1188" fmla="*/ 258482 h 2084191"/>
              <a:gd name="connsiteX1189" fmla="*/ 1427959 w 2051041"/>
              <a:gd name="connsiteY1189" fmla="*/ 207874 h 2084191"/>
              <a:gd name="connsiteX1190" fmla="*/ 1478567 w 2051041"/>
              <a:gd name="connsiteY1190" fmla="*/ 156721 h 2084191"/>
              <a:gd name="connsiteX1191" fmla="*/ 1644541 w 2051041"/>
              <a:gd name="connsiteY1191" fmla="*/ 153456 h 2084191"/>
              <a:gd name="connsiteX1192" fmla="*/ 1697326 w 2051041"/>
              <a:gd name="connsiteY1192" fmla="*/ 209506 h 2084191"/>
              <a:gd name="connsiteX1193" fmla="*/ 1641276 w 2051041"/>
              <a:gd name="connsiteY1193" fmla="*/ 262835 h 2084191"/>
              <a:gd name="connsiteX1194" fmla="*/ 1587947 w 2051041"/>
              <a:gd name="connsiteY1194" fmla="*/ 206785 h 2084191"/>
              <a:gd name="connsiteX1195" fmla="*/ 1644541 w 2051041"/>
              <a:gd name="connsiteY1195" fmla="*/ 153456 h 2084191"/>
              <a:gd name="connsiteX1196" fmla="*/ 91463 w 2051041"/>
              <a:gd name="connsiteY1196" fmla="*/ 109922 h 2084191"/>
              <a:gd name="connsiteX1197" fmla="*/ 107244 w 2051041"/>
              <a:gd name="connsiteY1197" fmla="*/ 126247 h 2084191"/>
              <a:gd name="connsiteX1198" fmla="*/ 91463 w 2051041"/>
              <a:gd name="connsiteY1198" fmla="*/ 142028 h 2084191"/>
              <a:gd name="connsiteX1199" fmla="*/ 75682 w 2051041"/>
              <a:gd name="connsiteY1199" fmla="*/ 126247 h 2084191"/>
              <a:gd name="connsiteX1200" fmla="*/ 91463 w 2051041"/>
              <a:gd name="connsiteY1200" fmla="*/ 109922 h 2084191"/>
              <a:gd name="connsiteX1201" fmla="*/ 1942341 w 2051041"/>
              <a:gd name="connsiteY1201" fmla="*/ 104915 h 2084191"/>
              <a:gd name="connsiteX1202" fmla="*/ 1942205 w 2051041"/>
              <a:gd name="connsiteY1202" fmla="*/ 111377 h 2084191"/>
              <a:gd name="connsiteX1203" fmla="*/ 1946559 w 2051041"/>
              <a:gd name="connsiteY1203" fmla="*/ 131511 h 2084191"/>
              <a:gd name="connsiteX1204" fmla="*/ 1939484 w 2051041"/>
              <a:gd name="connsiteY1204" fmla="*/ 157088 h 2084191"/>
              <a:gd name="connsiteX1205" fmla="*/ 1941117 w 2051041"/>
              <a:gd name="connsiteY1205" fmla="*/ 160353 h 2084191"/>
              <a:gd name="connsiteX1206" fmla="*/ 1986828 w 2051041"/>
              <a:gd name="connsiteY1206" fmla="*/ 157088 h 2084191"/>
              <a:gd name="connsiteX1207" fmla="*/ 1987916 w 2051041"/>
              <a:gd name="connsiteY1207" fmla="*/ 157088 h 2084191"/>
              <a:gd name="connsiteX1208" fmla="*/ 1993902 w 2051041"/>
              <a:gd name="connsiteY1208" fmla="*/ 150013 h 2084191"/>
              <a:gd name="connsiteX1209" fmla="*/ 1993902 w 2051041"/>
              <a:gd name="connsiteY1209" fmla="*/ 109744 h 2084191"/>
              <a:gd name="connsiteX1210" fmla="*/ 1989004 w 2051041"/>
              <a:gd name="connsiteY1210" fmla="*/ 105391 h 2084191"/>
              <a:gd name="connsiteX1211" fmla="*/ 1948191 w 2051041"/>
              <a:gd name="connsiteY1211" fmla="*/ 105391 h 2084191"/>
              <a:gd name="connsiteX1212" fmla="*/ 1942341 w 2051041"/>
              <a:gd name="connsiteY1212" fmla="*/ 104915 h 2084191"/>
              <a:gd name="connsiteX1213" fmla="*/ 255804 w 2051041"/>
              <a:gd name="connsiteY1213" fmla="*/ 103392 h 2084191"/>
              <a:gd name="connsiteX1214" fmla="*/ 277571 w 2051041"/>
              <a:gd name="connsiteY1214" fmla="*/ 126791 h 2084191"/>
              <a:gd name="connsiteX1215" fmla="*/ 254172 w 2051041"/>
              <a:gd name="connsiteY1215" fmla="*/ 148014 h 2084191"/>
              <a:gd name="connsiteX1216" fmla="*/ 232405 w 2051041"/>
              <a:gd name="connsiteY1216" fmla="*/ 125159 h 2084191"/>
              <a:gd name="connsiteX1217" fmla="*/ 255804 w 2051041"/>
              <a:gd name="connsiteY1217" fmla="*/ 103392 h 2084191"/>
              <a:gd name="connsiteX1218" fmla="*/ 1773511 w 2051041"/>
              <a:gd name="connsiteY1218" fmla="*/ 99405 h 2084191"/>
              <a:gd name="connsiteX1219" fmla="*/ 1773511 w 2051041"/>
              <a:gd name="connsiteY1219" fmla="*/ 107023 h 2084191"/>
              <a:gd name="connsiteX1220" fmla="*/ 1780585 w 2051041"/>
              <a:gd name="connsiteY1220" fmla="*/ 130423 h 2084191"/>
              <a:gd name="connsiteX1221" fmla="*/ 1773511 w 2051041"/>
              <a:gd name="connsiteY1221" fmla="*/ 155999 h 2084191"/>
              <a:gd name="connsiteX1222" fmla="*/ 1774055 w 2051041"/>
              <a:gd name="connsiteY1222" fmla="*/ 161985 h 2084191"/>
              <a:gd name="connsiteX1223" fmla="*/ 1780041 w 2051041"/>
              <a:gd name="connsiteY1223" fmla="*/ 162529 h 2084191"/>
              <a:gd name="connsiteX1224" fmla="*/ 1811059 w 2051041"/>
              <a:gd name="connsiteY1224" fmla="*/ 157632 h 2084191"/>
              <a:gd name="connsiteX1225" fmla="*/ 1829561 w 2051041"/>
              <a:gd name="connsiteY1225" fmla="*/ 161985 h 2084191"/>
              <a:gd name="connsiteX1226" fmla="*/ 1836635 w 2051041"/>
              <a:gd name="connsiteY1226" fmla="*/ 161985 h 2084191"/>
              <a:gd name="connsiteX1227" fmla="*/ 1833914 w 2051041"/>
              <a:gd name="connsiteY1227" fmla="*/ 157088 h 2084191"/>
              <a:gd name="connsiteX1228" fmla="*/ 1834458 w 2051041"/>
              <a:gd name="connsiteY1228" fmla="*/ 104303 h 2084191"/>
              <a:gd name="connsiteX1229" fmla="*/ 1835547 w 2051041"/>
              <a:gd name="connsiteY1229" fmla="*/ 99405 h 2084191"/>
              <a:gd name="connsiteX1230" fmla="*/ 1831193 w 2051041"/>
              <a:gd name="connsiteY1230" fmla="*/ 101038 h 2084191"/>
              <a:gd name="connsiteX1231" fmla="*/ 1780041 w 2051041"/>
              <a:gd name="connsiteY1231" fmla="*/ 101582 h 2084191"/>
              <a:gd name="connsiteX1232" fmla="*/ 1773511 w 2051041"/>
              <a:gd name="connsiteY1232" fmla="*/ 99405 h 2084191"/>
              <a:gd name="connsiteX1233" fmla="*/ 417424 w 2051041"/>
              <a:gd name="connsiteY1233" fmla="*/ 97950 h 2084191"/>
              <a:gd name="connsiteX1234" fmla="*/ 445721 w 2051041"/>
              <a:gd name="connsiteY1234" fmla="*/ 126247 h 2084191"/>
              <a:gd name="connsiteX1235" fmla="*/ 417424 w 2051041"/>
              <a:gd name="connsiteY1235" fmla="*/ 153456 h 2084191"/>
              <a:gd name="connsiteX1236" fmla="*/ 390215 w 2051041"/>
              <a:gd name="connsiteY1236" fmla="*/ 125159 h 2084191"/>
              <a:gd name="connsiteX1237" fmla="*/ 417424 w 2051041"/>
              <a:gd name="connsiteY1237" fmla="*/ 97950 h 2084191"/>
              <a:gd name="connsiteX1238" fmla="*/ 580677 w 2051041"/>
              <a:gd name="connsiteY1238" fmla="*/ 92508 h 2084191"/>
              <a:gd name="connsiteX1239" fmla="*/ 614960 w 2051041"/>
              <a:gd name="connsiteY1239" fmla="*/ 125159 h 2084191"/>
              <a:gd name="connsiteX1240" fmla="*/ 581766 w 2051041"/>
              <a:gd name="connsiteY1240" fmla="*/ 158353 h 2084191"/>
              <a:gd name="connsiteX1241" fmla="*/ 548571 w 2051041"/>
              <a:gd name="connsiteY1241" fmla="*/ 125703 h 2084191"/>
              <a:gd name="connsiteX1242" fmla="*/ 580677 w 2051041"/>
              <a:gd name="connsiteY1242" fmla="*/ 92508 h 2084191"/>
              <a:gd name="connsiteX1243" fmla="*/ 745019 w 2051041"/>
              <a:gd name="connsiteY1243" fmla="*/ 88154 h 2084191"/>
              <a:gd name="connsiteX1244" fmla="*/ 782567 w 2051041"/>
              <a:gd name="connsiteY1244" fmla="*/ 126791 h 2084191"/>
              <a:gd name="connsiteX1245" fmla="*/ 743930 w 2051041"/>
              <a:gd name="connsiteY1245" fmla="*/ 164339 h 2084191"/>
              <a:gd name="connsiteX1246" fmla="*/ 706382 w 2051041"/>
              <a:gd name="connsiteY1246" fmla="*/ 125702 h 2084191"/>
              <a:gd name="connsiteX1247" fmla="*/ 745019 w 2051041"/>
              <a:gd name="connsiteY1247" fmla="*/ 88154 h 2084191"/>
              <a:gd name="connsiteX1248" fmla="*/ 1685898 w 2051041"/>
              <a:gd name="connsiteY1248" fmla="*/ 84712 h 2084191"/>
              <a:gd name="connsiteX1249" fmla="*/ 1685681 w 2051041"/>
              <a:gd name="connsiteY1249" fmla="*/ 85147 h 2084191"/>
              <a:gd name="connsiteX1250" fmla="*/ 1685354 w 2051041"/>
              <a:gd name="connsiteY1250" fmla="*/ 85256 h 2084191"/>
              <a:gd name="connsiteX1251" fmla="*/ 1685898 w 2051041"/>
              <a:gd name="connsiteY1251" fmla="*/ 84712 h 2084191"/>
              <a:gd name="connsiteX1252" fmla="*/ 907183 w 2051041"/>
              <a:gd name="connsiteY1252" fmla="*/ 84345 h 2084191"/>
              <a:gd name="connsiteX1253" fmla="*/ 934935 w 2051041"/>
              <a:gd name="connsiteY1253" fmla="*/ 95228 h 2084191"/>
              <a:gd name="connsiteX1254" fmla="*/ 949628 w 2051041"/>
              <a:gd name="connsiteY1254" fmla="*/ 125158 h 2084191"/>
              <a:gd name="connsiteX1255" fmla="*/ 908271 w 2051041"/>
              <a:gd name="connsiteY1255" fmla="*/ 167060 h 2084191"/>
              <a:gd name="connsiteX1256" fmla="*/ 866369 w 2051041"/>
              <a:gd name="connsiteY1256" fmla="*/ 125702 h 2084191"/>
              <a:gd name="connsiteX1257" fmla="*/ 907183 w 2051041"/>
              <a:gd name="connsiteY1257" fmla="*/ 84345 h 2084191"/>
              <a:gd name="connsiteX1258" fmla="*/ 1070979 w 2051041"/>
              <a:gd name="connsiteY1258" fmla="*/ 82169 h 2084191"/>
              <a:gd name="connsiteX1259" fmla="*/ 1115602 w 2051041"/>
              <a:gd name="connsiteY1259" fmla="*/ 126247 h 2084191"/>
              <a:gd name="connsiteX1260" fmla="*/ 1071524 w 2051041"/>
              <a:gd name="connsiteY1260" fmla="*/ 170325 h 2084191"/>
              <a:gd name="connsiteX1261" fmla="*/ 1026357 w 2051041"/>
              <a:gd name="connsiteY1261" fmla="*/ 125703 h 2084191"/>
              <a:gd name="connsiteX1262" fmla="*/ 1070979 w 2051041"/>
              <a:gd name="connsiteY1262" fmla="*/ 82169 h 2084191"/>
              <a:gd name="connsiteX1263" fmla="*/ 1684811 w 2051041"/>
              <a:gd name="connsiteY1263" fmla="*/ 82168 h 2084191"/>
              <a:gd name="connsiteX1264" fmla="*/ 1684266 w 2051041"/>
              <a:gd name="connsiteY1264" fmla="*/ 82713 h 2084191"/>
              <a:gd name="connsiteX1265" fmla="*/ 1684469 w 2051041"/>
              <a:gd name="connsiteY1265" fmla="*/ 82365 h 2084191"/>
              <a:gd name="connsiteX1266" fmla="*/ 1234777 w 2051041"/>
              <a:gd name="connsiteY1266" fmla="*/ 78360 h 2084191"/>
              <a:gd name="connsiteX1267" fmla="*/ 1282664 w 2051041"/>
              <a:gd name="connsiteY1267" fmla="*/ 126791 h 2084191"/>
              <a:gd name="connsiteX1268" fmla="*/ 1234232 w 2051041"/>
              <a:gd name="connsiteY1268" fmla="*/ 174135 h 2084191"/>
              <a:gd name="connsiteX1269" fmla="*/ 1186889 w 2051041"/>
              <a:gd name="connsiteY1269" fmla="*/ 126791 h 2084191"/>
              <a:gd name="connsiteX1270" fmla="*/ 1234777 w 2051041"/>
              <a:gd name="connsiteY1270" fmla="*/ 78360 h 2084191"/>
              <a:gd name="connsiteX1271" fmla="*/ 1398574 w 2051041"/>
              <a:gd name="connsiteY1271" fmla="*/ 76182 h 2084191"/>
              <a:gd name="connsiteX1272" fmla="*/ 1448094 w 2051041"/>
              <a:gd name="connsiteY1272" fmla="*/ 127335 h 2084191"/>
              <a:gd name="connsiteX1273" fmla="*/ 1396941 w 2051041"/>
              <a:gd name="connsiteY1273" fmla="*/ 175766 h 2084191"/>
              <a:gd name="connsiteX1274" fmla="*/ 1347421 w 2051041"/>
              <a:gd name="connsiteY1274" fmla="*/ 125702 h 2084191"/>
              <a:gd name="connsiteX1275" fmla="*/ 1398574 w 2051041"/>
              <a:gd name="connsiteY1275" fmla="*/ 76182 h 2084191"/>
              <a:gd name="connsiteX1276" fmla="*/ 1561282 w 2051041"/>
              <a:gd name="connsiteY1276" fmla="*/ 72373 h 2084191"/>
              <a:gd name="connsiteX1277" fmla="*/ 1614611 w 2051041"/>
              <a:gd name="connsiteY1277" fmla="*/ 126247 h 2084191"/>
              <a:gd name="connsiteX1278" fmla="*/ 1560738 w 2051041"/>
              <a:gd name="connsiteY1278" fmla="*/ 179576 h 2084191"/>
              <a:gd name="connsiteX1279" fmla="*/ 1507409 w 2051041"/>
              <a:gd name="connsiteY1279" fmla="*/ 126247 h 2084191"/>
              <a:gd name="connsiteX1280" fmla="*/ 1561282 w 2051041"/>
              <a:gd name="connsiteY1280" fmla="*/ 72373 h 2084191"/>
              <a:gd name="connsiteX1281" fmla="*/ 10381 w 2051041"/>
              <a:gd name="connsiteY1281" fmla="*/ 33737 h 2084191"/>
              <a:gd name="connsiteX1282" fmla="*/ 20720 w 2051041"/>
              <a:gd name="connsiteY1282" fmla="*/ 45165 h 2084191"/>
              <a:gd name="connsiteX1283" fmla="*/ 9292 w 2051041"/>
              <a:gd name="connsiteY1283" fmla="*/ 54960 h 2084191"/>
              <a:gd name="connsiteX1284" fmla="*/ 41 w 2051041"/>
              <a:gd name="connsiteY1284" fmla="*/ 44621 h 2084191"/>
              <a:gd name="connsiteX1285" fmla="*/ 10381 w 2051041"/>
              <a:gd name="connsiteY1285" fmla="*/ 33737 h 2084191"/>
              <a:gd name="connsiteX1286" fmla="*/ 172546 w 2051041"/>
              <a:gd name="connsiteY1286" fmla="*/ 23942 h 2084191"/>
              <a:gd name="connsiteX1287" fmla="*/ 193224 w 2051041"/>
              <a:gd name="connsiteY1287" fmla="*/ 44621 h 2084191"/>
              <a:gd name="connsiteX1288" fmla="*/ 173090 w 2051041"/>
              <a:gd name="connsiteY1288" fmla="*/ 64755 h 2084191"/>
              <a:gd name="connsiteX1289" fmla="*/ 152411 w 2051041"/>
              <a:gd name="connsiteY1289" fmla="*/ 44621 h 2084191"/>
              <a:gd name="connsiteX1290" fmla="*/ 172546 w 2051041"/>
              <a:gd name="connsiteY1290" fmla="*/ 23942 h 2084191"/>
              <a:gd name="connsiteX1291" fmla="*/ 1861123 w 2051041"/>
              <a:gd name="connsiteY1291" fmla="*/ 22132 h 2084191"/>
              <a:gd name="connsiteX1292" fmla="*/ 1861123 w 2051041"/>
              <a:gd name="connsiteY1292" fmla="*/ 35737 h 2084191"/>
              <a:gd name="connsiteX1293" fmla="*/ 1861123 w 2051041"/>
              <a:gd name="connsiteY1293" fmla="*/ 61313 h 2084191"/>
              <a:gd name="connsiteX1294" fmla="*/ 1858946 w 2051041"/>
              <a:gd name="connsiteY1294" fmla="*/ 72740 h 2084191"/>
              <a:gd name="connsiteX1295" fmla="*/ 1866021 w 2051041"/>
              <a:gd name="connsiteY1295" fmla="*/ 76550 h 2084191"/>
              <a:gd name="connsiteX1296" fmla="*/ 1873639 w 2051041"/>
              <a:gd name="connsiteY1296" fmla="*/ 74917 h 2084191"/>
              <a:gd name="connsiteX1297" fmla="*/ 1900304 w 2051041"/>
              <a:gd name="connsiteY1297" fmla="*/ 74373 h 2084191"/>
              <a:gd name="connsiteX1298" fmla="*/ 1907922 w 2051041"/>
              <a:gd name="connsiteY1298" fmla="*/ 76006 h 2084191"/>
              <a:gd name="connsiteX1299" fmla="*/ 1912820 w 2051041"/>
              <a:gd name="connsiteY1299" fmla="*/ 70020 h 2084191"/>
              <a:gd name="connsiteX1300" fmla="*/ 1912820 w 2051041"/>
              <a:gd name="connsiteY1300" fmla="*/ 27030 h 2084191"/>
              <a:gd name="connsiteX1301" fmla="*/ 1908466 w 2051041"/>
              <a:gd name="connsiteY1301" fmla="*/ 22132 h 2084191"/>
              <a:gd name="connsiteX1302" fmla="*/ 1902480 w 2051041"/>
              <a:gd name="connsiteY1302" fmla="*/ 24309 h 2084191"/>
              <a:gd name="connsiteX1303" fmla="*/ 1873095 w 2051041"/>
              <a:gd name="connsiteY1303" fmla="*/ 24309 h 2084191"/>
              <a:gd name="connsiteX1304" fmla="*/ 1861123 w 2051041"/>
              <a:gd name="connsiteY1304" fmla="*/ 22132 h 2084191"/>
              <a:gd name="connsiteX1305" fmla="*/ 336886 w 2051041"/>
              <a:gd name="connsiteY1305" fmla="*/ 17412 h 2084191"/>
              <a:gd name="connsiteX1306" fmla="*/ 363007 w 2051041"/>
              <a:gd name="connsiteY1306" fmla="*/ 44077 h 2084191"/>
              <a:gd name="connsiteX1307" fmla="*/ 337431 w 2051041"/>
              <a:gd name="connsiteY1307" fmla="*/ 71285 h 2084191"/>
              <a:gd name="connsiteX1308" fmla="*/ 310222 w 2051041"/>
              <a:gd name="connsiteY1308" fmla="*/ 45165 h 2084191"/>
              <a:gd name="connsiteX1309" fmla="*/ 336886 w 2051041"/>
              <a:gd name="connsiteY1309" fmla="*/ 17412 h 2084191"/>
              <a:gd name="connsiteX1310" fmla="*/ 498507 w 2051041"/>
              <a:gd name="connsiteY1310" fmla="*/ 13059 h 2084191"/>
              <a:gd name="connsiteX1311" fmla="*/ 531702 w 2051041"/>
              <a:gd name="connsiteY1311" fmla="*/ 44621 h 2084191"/>
              <a:gd name="connsiteX1312" fmla="*/ 499595 w 2051041"/>
              <a:gd name="connsiteY1312" fmla="*/ 76727 h 2084191"/>
              <a:gd name="connsiteX1313" fmla="*/ 467489 w 2051041"/>
              <a:gd name="connsiteY1313" fmla="*/ 45165 h 2084191"/>
              <a:gd name="connsiteX1314" fmla="*/ 498507 w 2051041"/>
              <a:gd name="connsiteY1314" fmla="*/ 13059 h 2084191"/>
              <a:gd name="connsiteX1315" fmla="*/ 662303 w 2051041"/>
              <a:gd name="connsiteY1315" fmla="*/ 7616 h 2084191"/>
              <a:gd name="connsiteX1316" fmla="*/ 698763 w 2051041"/>
              <a:gd name="connsiteY1316" fmla="*/ 44076 h 2084191"/>
              <a:gd name="connsiteX1317" fmla="*/ 662303 w 2051041"/>
              <a:gd name="connsiteY1317" fmla="*/ 81080 h 2084191"/>
              <a:gd name="connsiteX1318" fmla="*/ 626932 w 2051041"/>
              <a:gd name="connsiteY1318" fmla="*/ 44076 h 2084191"/>
              <a:gd name="connsiteX1319" fmla="*/ 662303 w 2051041"/>
              <a:gd name="connsiteY1319" fmla="*/ 7616 h 2084191"/>
              <a:gd name="connsiteX1320" fmla="*/ 825557 w 2051041"/>
              <a:gd name="connsiteY1320" fmla="*/ 5440 h 2084191"/>
              <a:gd name="connsiteX1321" fmla="*/ 865281 w 2051041"/>
              <a:gd name="connsiteY1321" fmla="*/ 44621 h 2084191"/>
              <a:gd name="connsiteX1322" fmla="*/ 826101 w 2051041"/>
              <a:gd name="connsiteY1322" fmla="*/ 83257 h 2084191"/>
              <a:gd name="connsiteX1323" fmla="*/ 786920 w 2051041"/>
              <a:gd name="connsiteY1323" fmla="*/ 44621 h 2084191"/>
              <a:gd name="connsiteX1324" fmla="*/ 825557 w 2051041"/>
              <a:gd name="connsiteY1324" fmla="*/ 5440 h 2084191"/>
              <a:gd name="connsiteX1325" fmla="*/ 989353 w 2051041"/>
              <a:gd name="connsiteY1325" fmla="*/ 1086 h 2084191"/>
              <a:gd name="connsiteX1326" fmla="*/ 1032343 w 2051041"/>
              <a:gd name="connsiteY1326" fmla="*/ 43532 h 2084191"/>
              <a:gd name="connsiteX1327" fmla="*/ 989897 w 2051041"/>
              <a:gd name="connsiteY1327" fmla="*/ 87610 h 2084191"/>
              <a:gd name="connsiteX1328" fmla="*/ 945819 w 2051041"/>
              <a:gd name="connsiteY1328" fmla="*/ 44620 h 2084191"/>
              <a:gd name="connsiteX1329" fmla="*/ 989353 w 2051041"/>
              <a:gd name="connsiteY1329" fmla="*/ 1086 h 2084191"/>
              <a:gd name="connsiteX1330" fmla="*/ 1614056 w 2051041"/>
              <a:gd name="connsiteY1330" fmla="*/ 0 h 2084191"/>
              <a:gd name="connsiteX1331" fmla="*/ 1675529 w 2051041"/>
              <a:gd name="connsiteY1331" fmla="*/ 0 h 2084191"/>
              <a:gd name="connsiteX1332" fmla="*/ 1682905 w 2051041"/>
              <a:gd name="connsiteY1332" fmla="*/ 4720 h 2084191"/>
              <a:gd name="connsiteX1333" fmla="*/ 1933639 w 2051041"/>
              <a:gd name="connsiteY1333" fmla="*/ 4720 h 2084191"/>
              <a:gd name="connsiteX1334" fmla="*/ 2016655 w 2051041"/>
              <a:gd name="connsiteY1334" fmla="*/ 39107 h 2084191"/>
              <a:gd name="connsiteX1335" fmla="*/ 2028934 w 2051041"/>
              <a:gd name="connsiteY1335" fmla="*/ 57318 h 2084191"/>
              <a:gd name="connsiteX1336" fmla="*/ 2026008 w 2051041"/>
              <a:gd name="connsiteY1336" fmla="*/ 71108 h 2084191"/>
              <a:gd name="connsiteX1337" fmla="*/ 2030906 w 2051041"/>
              <a:gd name="connsiteY1337" fmla="*/ 75461 h 2084191"/>
              <a:gd name="connsiteX1338" fmla="*/ 2039929 w 2051041"/>
              <a:gd name="connsiteY1338" fmla="*/ 73627 h 2084191"/>
              <a:gd name="connsiteX1339" fmla="*/ 2041815 w 2051041"/>
              <a:gd name="connsiteY1339" fmla="*/ 76424 h 2084191"/>
              <a:gd name="connsiteX1340" fmla="*/ 2051041 w 2051041"/>
              <a:gd name="connsiteY1340" fmla="*/ 122122 h 2084191"/>
              <a:gd name="connsiteX1341" fmla="*/ 2051041 w 2051041"/>
              <a:gd name="connsiteY1341" fmla="*/ 186473 h 2084191"/>
              <a:gd name="connsiteX1342" fmla="*/ 2029818 w 2051041"/>
              <a:gd name="connsiteY1342" fmla="*/ 186473 h 2084191"/>
              <a:gd name="connsiteX1343" fmla="*/ 2023287 w 2051041"/>
              <a:gd name="connsiteY1343" fmla="*/ 192459 h 2084191"/>
              <a:gd name="connsiteX1344" fmla="*/ 2023832 w 2051041"/>
              <a:gd name="connsiteY1344" fmla="*/ 196268 h 2084191"/>
              <a:gd name="connsiteX1345" fmla="*/ 2019478 w 2051041"/>
              <a:gd name="connsiteY1345" fmla="*/ 239258 h 2084191"/>
              <a:gd name="connsiteX1346" fmla="*/ 2020022 w 2051041"/>
              <a:gd name="connsiteY1346" fmla="*/ 242523 h 2084191"/>
              <a:gd name="connsiteX1347" fmla="*/ 2023287 w 2051041"/>
              <a:gd name="connsiteY1347" fmla="*/ 243067 h 2084191"/>
              <a:gd name="connsiteX1348" fmla="*/ 2050224 w 2051041"/>
              <a:gd name="connsiteY1348" fmla="*/ 237150 h 2084191"/>
              <a:gd name="connsiteX1349" fmla="*/ 2051041 w 2051041"/>
              <a:gd name="connsiteY1349" fmla="*/ 237329 h 2084191"/>
              <a:gd name="connsiteX1350" fmla="*/ 2051041 w 2051041"/>
              <a:gd name="connsiteY1350" fmla="*/ 348996 h 2084191"/>
              <a:gd name="connsiteX1351" fmla="*/ 2036552 w 2051041"/>
              <a:gd name="connsiteY1351" fmla="*/ 347754 h 2084191"/>
              <a:gd name="connsiteX1352" fmla="*/ 2021111 w 2051041"/>
              <a:gd name="connsiteY1352" fmla="*/ 341019 h 2084191"/>
              <a:gd name="connsiteX1353" fmla="*/ 2016757 w 2051041"/>
              <a:gd name="connsiteY1353" fmla="*/ 338842 h 2084191"/>
              <a:gd name="connsiteX1354" fmla="*/ 2017301 w 2051041"/>
              <a:gd name="connsiteY1354" fmla="*/ 344284 h 2084191"/>
              <a:gd name="connsiteX1355" fmla="*/ 2025464 w 2051041"/>
              <a:gd name="connsiteY1355" fmla="*/ 376391 h 2084191"/>
              <a:gd name="connsiteX1356" fmla="*/ 1994446 w 2051041"/>
              <a:gd name="connsiteY1356" fmla="*/ 424278 h 2084191"/>
              <a:gd name="connsiteX1357" fmla="*/ 1933498 w 2051041"/>
              <a:gd name="connsiteY1357" fmla="*/ 416115 h 2084191"/>
              <a:gd name="connsiteX1358" fmla="*/ 1920438 w 2051041"/>
              <a:gd name="connsiteY1358" fmla="*/ 352447 h 2084191"/>
              <a:gd name="connsiteX1359" fmla="*/ 1925336 w 2051041"/>
              <a:gd name="connsiteY1359" fmla="*/ 338298 h 2084191"/>
              <a:gd name="connsiteX1360" fmla="*/ 1911731 w 2051041"/>
              <a:gd name="connsiteY1360" fmla="*/ 343196 h 2084191"/>
              <a:gd name="connsiteX1361" fmla="*/ 1898671 w 2051041"/>
              <a:gd name="connsiteY1361" fmla="*/ 347005 h 2084191"/>
              <a:gd name="connsiteX1362" fmla="*/ 1854593 w 2051041"/>
              <a:gd name="connsiteY1362" fmla="*/ 336666 h 2084191"/>
              <a:gd name="connsiteX1363" fmla="*/ 1847690 w 2051041"/>
              <a:gd name="connsiteY1363" fmla="*/ 333480 h 2084191"/>
              <a:gd name="connsiteX1364" fmla="*/ 1852961 w 2051041"/>
              <a:gd name="connsiteY1364" fmla="*/ 344461 h 2084191"/>
              <a:gd name="connsiteX1365" fmla="*/ 1826840 w 2051041"/>
              <a:gd name="connsiteY1365" fmla="*/ 420646 h 2084191"/>
              <a:gd name="connsiteX1366" fmla="*/ 1765893 w 2051041"/>
              <a:gd name="connsiteY1366" fmla="*/ 408130 h 2084191"/>
              <a:gd name="connsiteX1367" fmla="*/ 1759362 w 2051041"/>
              <a:gd name="connsiteY1367" fmla="*/ 342829 h 2084191"/>
              <a:gd name="connsiteX1368" fmla="*/ 1815991 w 2051041"/>
              <a:gd name="connsiteY1368" fmla="*/ 317193 h 2084191"/>
              <a:gd name="connsiteX1369" fmla="*/ 1834459 w 2051041"/>
              <a:gd name="connsiteY1369" fmla="*/ 325415 h 2084191"/>
              <a:gd name="connsiteX1370" fmla="*/ 1845023 w 2051041"/>
              <a:gd name="connsiteY1370" fmla="*/ 330169 h 2084191"/>
              <a:gd name="connsiteX1371" fmla="*/ 1840444 w 2051041"/>
              <a:gd name="connsiteY1371" fmla="*/ 321429 h 2084191"/>
              <a:gd name="connsiteX1372" fmla="*/ 1834458 w 2051041"/>
              <a:gd name="connsiteY1372" fmla="*/ 275174 h 2084191"/>
              <a:gd name="connsiteX1373" fmla="*/ 1840988 w 2051041"/>
              <a:gd name="connsiteY1373" fmla="*/ 259937 h 2084191"/>
              <a:gd name="connsiteX1374" fmla="*/ 1842077 w 2051041"/>
              <a:gd name="connsiteY1374" fmla="*/ 255584 h 2084191"/>
              <a:gd name="connsiteX1375" fmla="*/ 1837723 w 2051041"/>
              <a:gd name="connsiteY1375" fmla="*/ 257216 h 2084191"/>
              <a:gd name="connsiteX1376" fmla="*/ 1817589 w 2051041"/>
              <a:gd name="connsiteY1376" fmla="*/ 264834 h 2084191"/>
              <a:gd name="connsiteX1377" fmla="*/ 1768069 w 2051041"/>
              <a:gd name="connsiteY1377" fmla="*/ 251774 h 2084191"/>
              <a:gd name="connsiteX1378" fmla="*/ 1764740 w 2051041"/>
              <a:gd name="connsiteY1378" fmla="*/ 250110 h 2084191"/>
              <a:gd name="connsiteX1379" fmla="*/ 1773510 w 2051041"/>
              <a:gd name="connsiteY1379" fmla="*/ 267189 h 2084191"/>
              <a:gd name="connsiteX1380" fmla="*/ 1750655 w 2051041"/>
              <a:gd name="connsiteY1380" fmla="*/ 336843 h 2084191"/>
              <a:gd name="connsiteX1381" fmla="*/ 1673926 w 2051041"/>
              <a:gd name="connsiteY1381" fmla="*/ 310723 h 2084191"/>
              <a:gd name="connsiteX1382" fmla="*/ 1681545 w 2051041"/>
              <a:gd name="connsiteY1382" fmla="*/ 254673 h 2084191"/>
              <a:gd name="connsiteX1383" fmla="*/ 1733786 w 2051041"/>
              <a:gd name="connsiteY1383" fmla="*/ 235083 h 2084191"/>
              <a:gd name="connsiteX1384" fmla="*/ 1751743 w 2051041"/>
              <a:gd name="connsiteY1384" fmla="*/ 242157 h 2084191"/>
              <a:gd name="connsiteX1385" fmla="*/ 1762506 w 2051041"/>
              <a:gd name="connsiteY1385" fmla="*/ 246769 h 2084191"/>
              <a:gd name="connsiteX1386" fmla="*/ 1757185 w 2051041"/>
              <a:gd name="connsiteY1386" fmla="*/ 236537 h 2084191"/>
              <a:gd name="connsiteX1387" fmla="*/ 1756097 w 2051041"/>
              <a:gd name="connsiteY1387" fmla="*/ 185929 h 2084191"/>
              <a:gd name="connsiteX1388" fmla="*/ 1757185 w 2051041"/>
              <a:gd name="connsiteY1388" fmla="*/ 177766 h 2084191"/>
              <a:gd name="connsiteX1389" fmla="*/ 1749023 w 2051041"/>
              <a:gd name="connsiteY1389" fmla="*/ 178311 h 2084191"/>
              <a:gd name="connsiteX1390" fmla="*/ 1676103 w 2051041"/>
              <a:gd name="connsiteY1390" fmla="*/ 154911 h 2084191"/>
              <a:gd name="connsiteX1391" fmla="*/ 1681001 w 2051041"/>
              <a:gd name="connsiteY1391" fmla="*/ 94507 h 2084191"/>
              <a:gd name="connsiteX1392" fmla="*/ 1685681 w 2051041"/>
              <a:gd name="connsiteY1392" fmla="*/ 85147 h 2084191"/>
              <a:gd name="connsiteX1393" fmla="*/ 1693517 w 2051041"/>
              <a:gd name="connsiteY1393" fmla="*/ 82536 h 2084191"/>
              <a:gd name="connsiteX1394" fmla="*/ 1747934 w 2051041"/>
              <a:gd name="connsiteY1394" fmla="*/ 77638 h 2084191"/>
              <a:gd name="connsiteX1395" fmla="*/ 1756641 w 2051041"/>
              <a:gd name="connsiteY1395" fmla="*/ 79271 h 2084191"/>
              <a:gd name="connsiteX1396" fmla="*/ 1754464 w 2051041"/>
              <a:gd name="connsiteY1396" fmla="*/ 71652 h 2084191"/>
              <a:gd name="connsiteX1397" fmla="*/ 1752832 w 2051041"/>
              <a:gd name="connsiteY1397" fmla="*/ 68387 h 2084191"/>
              <a:gd name="connsiteX1398" fmla="*/ 1756097 w 2051041"/>
              <a:gd name="connsiteY1398" fmla="*/ 20500 h 2084191"/>
              <a:gd name="connsiteX1399" fmla="*/ 1756641 w 2051041"/>
              <a:gd name="connsiteY1399" fmla="*/ 16146 h 2084191"/>
              <a:gd name="connsiteX1400" fmla="*/ 1751744 w 2051041"/>
              <a:gd name="connsiteY1400" fmla="*/ 15058 h 2084191"/>
              <a:gd name="connsiteX1401" fmla="*/ 1741404 w 2051041"/>
              <a:gd name="connsiteY1401" fmla="*/ 19955 h 2084191"/>
              <a:gd name="connsiteX1402" fmla="*/ 1691884 w 2051041"/>
              <a:gd name="connsiteY1402" fmla="*/ 11249 h 2084191"/>
              <a:gd name="connsiteX1403" fmla="*/ 1685645 w 2051041"/>
              <a:gd name="connsiteY1403" fmla="*/ 8369 h 2084191"/>
              <a:gd name="connsiteX1404" fmla="*/ 1688620 w 2051041"/>
              <a:gd name="connsiteY1404" fmla="*/ 14691 h 2084191"/>
              <a:gd name="connsiteX1405" fmla="*/ 1691885 w 2051041"/>
              <a:gd name="connsiteY1405" fmla="*/ 69652 h 2084191"/>
              <a:gd name="connsiteX1406" fmla="*/ 1684469 w 2051041"/>
              <a:gd name="connsiteY1406" fmla="*/ 82365 h 2084191"/>
              <a:gd name="connsiteX1407" fmla="*/ 1663044 w 2051041"/>
              <a:gd name="connsiteY1407" fmla="*/ 94684 h 2084191"/>
              <a:gd name="connsiteX1408" fmla="*/ 1626584 w 2051041"/>
              <a:gd name="connsiteY1408" fmla="*/ 96861 h 2084191"/>
              <a:gd name="connsiteX1409" fmla="*/ 1590124 w 2051041"/>
              <a:gd name="connsiteY1409" fmla="*/ 60401 h 2084191"/>
              <a:gd name="connsiteX1410" fmla="*/ 1591757 w 2051041"/>
              <a:gd name="connsiteY1410" fmla="*/ 25030 h 2084191"/>
              <a:gd name="connsiteX1411" fmla="*/ 1460066 w 2051041"/>
              <a:gd name="connsiteY1411" fmla="*/ 0 h 2084191"/>
              <a:gd name="connsiteX1412" fmla="*/ 1498513 w 2051041"/>
              <a:gd name="connsiteY1412" fmla="*/ 0 h 2084191"/>
              <a:gd name="connsiteX1413" fmla="*/ 1517204 w 2051041"/>
              <a:gd name="connsiteY1413" fmla="*/ 8092 h 2084191"/>
              <a:gd name="connsiteX1414" fmla="*/ 1531896 w 2051041"/>
              <a:gd name="connsiteY1414" fmla="*/ 45164 h 2084191"/>
              <a:gd name="connsiteX1415" fmla="*/ 1479111 w 2051041"/>
              <a:gd name="connsiteY1415" fmla="*/ 97949 h 2084191"/>
              <a:gd name="connsiteX1416" fmla="*/ 1426870 w 2051041"/>
              <a:gd name="connsiteY1416" fmla="*/ 45164 h 2084191"/>
              <a:gd name="connsiteX1417" fmla="*/ 1441631 w 2051041"/>
              <a:gd name="connsiteY1417" fmla="*/ 7684 h 2084191"/>
              <a:gd name="connsiteX1418" fmla="*/ 1296749 w 2051041"/>
              <a:gd name="connsiteY1418" fmla="*/ 0 h 2084191"/>
              <a:gd name="connsiteX1419" fmla="*/ 1335755 w 2051041"/>
              <a:gd name="connsiteY1419" fmla="*/ 0 h 2084191"/>
              <a:gd name="connsiteX1420" fmla="*/ 1350278 w 2051041"/>
              <a:gd name="connsiteY1420" fmla="*/ 10270 h 2084191"/>
              <a:gd name="connsiteX1421" fmla="*/ 1365923 w 2051041"/>
              <a:gd name="connsiteY1421" fmla="*/ 45165 h 2084191"/>
              <a:gd name="connsiteX1422" fmla="*/ 1315315 w 2051041"/>
              <a:gd name="connsiteY1422" fmla="*/ 93052 h 2084191"/>
              <a:gd name="connsiteX1423" fmla="*/ 1266339 w 2051041"/>
              <a:gd name="connsiteY1423" fmla="*/ 44076 h 2084191"/>
              <a:gd name="connsiteX1424" fmla="*/ 1282732 w 2051041"/>
              <a:gd name="connsiteY1424" fmla="*/ 9317 h 2084191"/>
              <a:gd name="connsiteX1425" fmla="*/ 1148085 w 2051041"/>
              <a:gd name="connsiteY1425" fmla="*/ 0 h 2084191"/>
              <a:gd name="connsiteX1426" fmla="*/ 1161802 w 2051041"/>
              <a:gd name="connsiteY1426" fmla="*/ 0 h 2084191"/>
              <a:gd name="connsiteX1427" fmla="*/ 1169637 w 2051041"/>
              <a:gd name="connsiteY1427" fmla="*/ 1315 h 2084191"/>
              <a:gd name="connsiteX1428" fmla="*/ 1199405 w 2051041"/>
              <a:gd name="connsiteY1428" fmla="*/ 45164 h 2084191"/>
              <a:gd name="connsiteX1429" fmla="*/ 1151518 w 2051041"/>
              <a:gd name="connsiteY1429" fmla="*/ 91419 h 2084191"/>
              <a:gd name="connsiteX1430" fmla="*/ 1105807 w 2051041"/>
              <a:gd name="connsiteY1430" fmla="*/ 44620 h 2084191"/>
              <a:gd name="connsiteX1431" fmla="*/ 1119139 w 2051041"/>
              <a:gd name="connsiteY1431" fmla="*/ 11902 h 20841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Lst>
            <a:rect l="l" t="t" r="r" b="b"/>
            <a:pathLst>
              <a:path w="2051041" h="2084191">
                <a:moveTo>
                  <a:pt x="2051041" y="2080382"/>
                </a:moveTo>
                <a:lnTo>
                  <a:pt x="2051041" y="2083967"/>
                </a:lnTo>
                <a:lnTo>
                  <a:pt x="2047231" y="2084191"/>
                </a:lnTo>
                <a:cubicBezTo>
                  <a:pt x="2046687" y="2084191"/>
                  <a:pt x="2046143" y="2082559"/>
                  <a:pt x="2045599" y="2081470"/>
                </a:cubicBezTo>
                <a:close/>
                <a:moveTo>
                  <a:pt x="1478568" y="1997668"/>
                </a:moveTo>
                <a:cubicBezTo>
                  <a:pt x="1484010" y="1997668"/>
                  <a:pt x="1485642" y="2000933"/>
                  <a:pt x="1484554" y="2004743"/>
                </a:cubicBezTo>
                <a:cubicBezTo>
                  <a:pt x="1484010" y="2006919"/>
                  <a:pt x="1480745" y="2008551"/>
                  <a:pt x="1478568" y="2009096"/>
                </a:cubicBezTo>
                <a:cubicBezTo>
                  <a:pt x="1474759" y="2009640"/>
                  <a:pt x="1473126" y="2007463"/>
                  <a:pt x="1473126" y="2003654"/>
                </a:cubicBezTo>
                <a:cubicBezTo>
                  <a:pt x="1473126" y="1998756"/>
                  <a:pt x="1475303" y="1997124"/>
                  <a:pt x="1478568" y="1997668"/>
                </a:cubicBezTo>
                <a:close/>
                <a:moveTo>
                  <a:pt x="1641820" y="1993859"/>
                </a:moveTo>
                <a:cubicBezTo>
                  <a:pt x="1646718" y="1993314"/>
                  <a:pt x="1652160" y="1999300"/>
                  <a:pt x="1652160" y="2003654"/>
                </a:cubicBezTo>
                <a:cubicBezTo>
                  <a:pt x="1652160" y="2008551"/>
                  <a:pt x="1646718" y="2013449"/>
                  <a:pt x="1641820" y="2013449"/>
                </a:cubicBezTo>
                <a:cubicBezTo>
                  <a:pt x="1636923" y="2013449"/>
                  <a:pt x="1632025" y="2008007"/>
                  <a:pt x="1632025" y="2003654"/>
                </a:cubicBezTo>
                <a:cubicBezTo>
                  <a:pt x="1632025" y="1999300"/>
                  <a:pt x="1638011" y="1993859"/>
                  <a:pt x="1641820" y="1993859"/>
                </a:cubicBezTo>
                <a:close/>
                <a:moveTo>
                  <a:pt x="1969414" y="1992226"/>
                </a:moveTo>
                <a:cubicBezTo>
                  <a:pt x="1976488" y="1992226"/>
                  <a:pt x="1979753" y="1996035"/>
                  <a:pt x="1979753" y="2003654"/>
                </a:cubicBezTo>
                <a:cubicBezTo>
                  <a:pt x="1979753" y="2011272"/>
                  <a:pt x="1975944" y="2014537"/>
                  <a:pt x="1968325" y="2014537"/>
                </a:cubicBezTo>
                <a:cubicBezTo>
                  <a:pt x="1960707" y="2014537"/>
                  <a:pt x="1957442" y="2010728"/>
                  <a:pt x="1957986" y="2003110"/>
                </a:cubicBezTo>
                <a:cubicBezTo>
                  <a:pt x="1957986" y="1994947"/>
                  <a:pt x="1961251" y="1992226"/>
                  <a:pt x="1969414" y="1992226"/>
                </a:cubicBezTo>
                <a:close/>
                <a:moveTo>
                  <a:pt x="1805073" y="1992226"/>
                </a:moveTo>
                <a:cubicBezTo>
                  <a:pt x="1811058" y="1992226"/>
                  <a:pt x="1815956" y="1996035"/>
                  <a:pt x="1815956" y="2002565"/>
                </a:cubicBezTo>
                <a:cubicBezTo>
                  <a:pt x="1816500" y="2009096"/>
                  <a:pt x="1812147" y="2014537"/>
                  <a:pt x="1805073" y="2014537"/>
                </a:cubicBezTo>
                <a:cubicBezTo>
                  <a:pt x="1799087" y="2014537"/>
                  <a:pt x="1794189" y="2010184"/>
                  <a:pt x="1794189" y="2004198"/>
                </a:cubicBezTo>
                <a:cubicBezTo>
                  <a:pt x="1794189" y="1997668"/>
                  <a:pt x="1799087" y="1992770"/>
                  <a:pt x="1805073" y="1992226"/>
                </a:cubicBezTo>
                <a:close/>
                <a:moveTo>
                  <a:pt x="1234233" y="1916042"/>
                </a:moveTo>
                <a:cubicBezTo>
                  <a:pt x="1238586" y="1915497"/>
                  <a:pt x="1240763" y="1917674"/>
                  <a:pt x="1240219" y="1923660"/>
                </a:cubicBezTo>
                <a:cubicBezTo>
                  <a:pt x="1239674" y="1924204"/>
                  <a:pt x="1237498" y="1926381"/>
                  <a:pt x="1236953" y="1926381"/>
                </a:cubicBezTo>
                <a:cubicBezTo>
                  <a:pt x="1234233" y="1924204"/>
                  <a:pt x="1231512" y="1921483"/>
                  <a:pt x="1229335" y="1918762"/>
                </a:cubicBezTo>
                <a:cubicBezTo>
                  <a:pt x="1230968" y="1917674"/>
                  <a:pt x="1232600" y="1916586"/>
                  <a:pt x="1234233" y="1916042"/>
                </a:cubicBezTo>
                <a:close/>
                <a:moveTo>
                  <a:pt x="1397486" y="1911144"/>
                </a:moveTo>
                <a:cubicBezTo>
                  <a:pt x="1402927" y="1911144"/>
                  <a:pt x="1408369" y="1916041"/>
                  <a:pt x="1408369" y="1921483"/>
                </a:cubicBezTo>
                <a:cubicBezTo>
                  <a:pt x="1408369" y="1926925"/>
                  <a:pt x="1404016" y="1931279"/>
                  <a:pt x="1399118" y="1931823"/>
                </a:cubicBezTo>
                <a:cubicBezTo>
                  <a:pt x="1392588" y="1932367"/>
                  <a:pt x="1387146" y="1928013"/>
                  <a:pt x="1387146" y="1922028"/>
                </a:cubicBezTo>
                <a:cubicBezTo>
                  <a:pt x="1386602" y="1916586"/>
                  <a:pt x="1391500" y="1911144"/>
                  <a:pt x="1397486" y="1911144"/>
                </a:cubicBezTo>
                <a:close/>
                <a:moveTo>
                  <a:pt x="1560194" y="1906790"/>
                </a:moveTo>
                <a:cubicBezTo>
                  <a:pt x="1566180" y="1906790"/>
                  <a:pt x="1574342" y="1914953"/>
                  <a:pt x="1574342" y="1921482"/>
                </a:cubicBezTo>
                <a:cubicBezTo>
                  <a:pt x="1574342" y="1928013"/>
                  <a:pt x="1566724" y="1936175"/>
                  <a:pt x="1560738" y="1935631"/>
                </a:cubicBezTo>
                <a:cubicBezTo>
                  <a:pt x="1554752" y="1935631"/>
                  <a:pt x="1547678" y="1928557"/>
                  <a:pt x="1547134" y="1922027"/>
                </a:cubicBezTo>
                <a:cubicBezTo>
                  <a:pt x="1546589" y="1915497"/>
                  <a:pt x="1554208" y="1907334"/>
                  <a:pt x="1560194" y="1906790"/>
                </a:cubicBezTo>
                <a:close/>
                <a:moveTo>
                  <a:pt x="2049952" y="1905702"/>
                </a:moveTo>
                <a:lnTo>
                  <a:pt x="2051041" y="1906027"/>
                </a:lnTo>
                <a:lnTo>
                  <a:pt x="2051041" y="1938133"/>
                </a:lnTo>
                <a:lnTo>
                  <a:pt x="2050496" y="1938353"/>
                </a:lnTo>
                <a:cubicBezTo>
                  <a:pt x="2039613" y="1937808"/>
                  <a:pt x="2034715" y="1933455"/>
                  <a:pt x="2034171" y="1922572"/>
                </a:cubicBezTo>
                <a:cubicBezTo>
                  <a:pt x="2034171" y="1911144"/>
                  <a:pt x="2039069" y="1905702"/>
                  <a:pt x="2049952" y="1905702"/>
                </a:cubicBezTo>
                <a:close/>
                <a:moveTo>
                  <a:pt x="1723447" y="1905702"/>
                </a:moveTo>
                <a:cubicBezTo>
                  <a:pt x="1730521" y="1905702"/>
                  <a:pt x="1739772" y="1914409"/>
                  <a:pt x="1739772" y="1920939"/>
                </a:cubicBezTo>
                <a:cubicBezTo>
                  <a:pt x="1740316" y="1929101"/>
                  <a:pt x="1732698" y="1936720"/>
                  <a:pt x="1724535" y="1937264"/>
                </a:cubicBezTo>
                <a:cubicBezTo>
                  <a:pt x="1716373" y="1937264"/>
                  <a:pt x="1708754" y="1930190"/>
                  <a:pt x="1708210" y="1922027"/>
                </a:cubicBezTo>
                <a:cubicBezTo>
                  <a:pt x="1708210" y="1914953"/>
                  <a:pt x="1716373" y="1905702"/>
                  <a:pt x="1723447" y="1905702"/>
                </a:cubicBezTo>
                <a:close/>
                <a:moveTo>
                  <a:pt x="1887787" y="1905158"/>
                </a:moveTo>
                <a:cubicBezTo>
                  <a:pt x="1898671" y="1905158"/>
                  <a:pt x="1904113" y="1911144"/>
                  <a:pt x="1904113" y="1922028"/>
                </a:cubicBezTo>
                <a:cubicBezTo>
                  <a:pt x="1904113" y="1932367"/>
                  <a:pt x="1898127" y="1937809"/>
                  <a:pt x="1886699" y="1937809"/>
                </a:cubicBezTo>
                <a:cubicBezTo>
                  <a:pt x="1876360" y="1937809"/>
                  <a:pt x="1870918" y="1931823"/>
                  <a:pt x="1870918" y="1921483"/>
                </a:cubicBezTo>
                <a:cubicBezTo>
                  <a:pt x="1870918" y="1910600"/>
                  <a:pt x="1876904" y="1904614"/>
                  <a:pt x="1887787" y="1905158"/>
                </a:cubicBezTo>
                <a:close/>
                <a:moveTo>
                  <a:pt x="1152606" y="1831693"/>
                </a:moveTo>
                <a:cubicBezTo>
                  <a:pt x="1155871" y="1832782"/>
                  <a:pt x="1160769" y="1836591"/>
                  <a:pt x="1161313" y="1839312"/>
                </a:cubicBezTo>
                <a:cubicBezTo>
                  <a:pt x="1160769" y="1843121"/>
                  <a:pt x="1156959" y="1846931"/>
                  <a:pt x="1153694" y="1852916"/>
                </a:cubicBezTo>
                <a:cubicBezTo>
                  <a:pt x="1149341" y="1847475"/>
                  <a:pt x="1146076" y="1844754"/>
                  <a:pt x="1144988" y="1841489"/>
                </a:cubicBezTo>
                <a:cubicBezTo>
                  <a:pt x="1143355" y="1837135"/>
                  <a:pt x="1148797" y="1830605"/>
                  <a:pt x="1152606" y="1831693"/>
                </a:cubicBezTo>
                <a:close/>
                <a:moveTo>
                  <a:pt x="1315315" y="1825708"/>
                </a:moveTo>
                <a:cubicBezTo>
                  <a:pt x="1321301" y="1825164"/>
                  <a:pt x="1331096" y="1834415"/>
                  <a:pt x="1330552" y="1840401"/>
                </a:cubicBezTo>
                <a:cubicBezTo>
                  <a:pt x="1330552" y="1845298"/>
                  <a:pt x="1321301" y="1854549"/>
                  <a:pt x="1316404" y="1854549"/>
                </a:cubicBezTo>
                <a:cubicBezTo>
                  <a:pt x="1310962" y="1855094"/>
                  <a:pt x="1302255" y="1846387"/>
                  <a:pt x="1301711" y="1840945"/>
                </a:cubicBezTo>
                <a:cubicBezTo>
                  <a:pt x="1301167" y="1834959"/>
                  <a:pt x="1309329" y="1826252"/>
                  <a:pt x="1315315" y="1825708"/>
                </a:cubicBezTo>
                <a:close/>
                <a:moveTo>
                  <a:pt x="1479656" y="1822987"/>
                </a:moveTo>
                <a:cubicBezTo>
                  <a:pt x="1489995" y="1823531"/>
                  <a:pt x="1495981" y="1830061"/>
                  <a:pt x="1495981" y="1840401"/>
                </a:cubicBezTo>
                <a:cubicBezTo>
                  <a:pt x="1495981" y="1851284"/>
                  <a:pt x="1490539" y="1856726"/>
                  <a:pt x="1478567" y="1856182"/>
                </a:cubicBezTo>
                <a:cubicBezTo>
                  <a:pt x="1467140" y="1856182"/>
                  <a:pt x="1462242" y="1850740"/>
                  <a:pt x="1462242" y="1839312"/>
                </a:cubicBezTo>
                <a:cubicBezTo>
                  <a:pt x="1462242" y="1828429"/>
                  <a:pt x="1468772" y="1822443"/>
                  <a:pt x="1479656" y="1822987"/>
                </a:cubicBezTo>
                <a:close/>
                <a:moveTo>
                  <a:pt x="1642365" y="1821355"/>
                </a:moveTo>
                <a:cubicBezTo>
                  <a:pt x="1653248" y="1821355"/>
                  <a:pt x="1661955" y="1829518"/>
                  <a:pt x="1660867" y="1840401"/>
                </a:cubicBezTo>
                <a:cubicBezTo>
                  <a:pt x="1659778" y="1853461"/>
                  <a:pt x="1653792" y="1857270"/>
                  <a:pt x="1642365" y="1857270"/>
                </a:cubicBezTo>
                <a:cubicBezTo>
                  <a:pt x="1630937" y="1857270"/>
                  <a:pt x="1624407" y="1850740"/>
                  <a:pt x="1624407" y="1839857"/>
                </a:cubicBezTo>
                <a:cubicBezTo>
                  <a:pt x="1624407" y="1828973"/>
                  <a:pt x="1632025" y="1821355"/>
                  <a:pt x="1642365" y="1821355"/>
                </a:cubicBezTo>
                <a:close/>
                <a:moveTo>
                  <a:pt x="1806162" y="1819723"/>
                </a:moveTo>
                <a:cubicBezTo>
                  <a:pt x="1816501" y="1819723"/>
                  <a:pt x="1827385" y="1831150"/>
                  <a:pt x="1826840" y="1840945"/>
                </a:cubicBezTo>
                <a:cubicBezTo>
                  <a:pt x="1826296" y="1850740"/>
                  <a:pt x="1813780" y="1862168"/>
                  <a:pt x="1804529" y="1861080"/>
                </a:cubicBezTo>
                <a:cubicBezTo>
                  <a:pt x="1795278" y="1860536"/>
                  <a:pt x="1783851" y="1847476"/>
                  <a:pt x="1784395" y="1839313"/>
                </a:cubicBezTo>
                <a:cubicBezTo>
                  <a:pt x="1784939" y="1828973"/>
                  <a:pt x="1796367" y="1819178"/>
                  <a:pt x="1806162" y="1819723"/>
                </a:cubicBezTo>
                <a:close/>
                <a:moveTo>
                  <a:pt x="1968870" y="1819178"/>
                </a:moveTo>
                <a:cubicBezTo>
                  <a:pt x="1980298" y="1819178"/>
                  <a:pt x="1990093" y="1828973"/>
                  <a:pt x="1990093" y="1840401"/>
                </a:cubicBezTo>
                <a:cubicBezTo>
                  <a:pt x="1990093" y="1851285"/>
                  <a:pt x="1980298" y="1861624"/>
                  <a:pt x="1968870" y="1861624"/>
                </a:cubicBezTo>
                <a:cubicBezTo>
                  <a:pt x="1957986" y="1861624"/>
                  <a:pt x="1947647" y="1851285"/>
                  <a:pt x="1947647" y="1840401"/>
                </a:cubicBezTo>
                <a:cubicBezTo>
                  <a:pt x="1947647" y="1828973"/>
                  <a:pt x="1957986" y="1819178"/>
                  <a:pt x="1968870" y="1819178"/>
                </a:cubicBezTo>
                <a:close/>
                <a:moveTo>
                  <a:pt x="1070436" y="1747347"/>
                </a:moveTo>
                <a:cubicBezTo>
                  <a:pt x="1078598" y="1747347"/>
                  <a:pt x="1081863" y="1750612"/>
                  <a:pt x="1081863" y="1758231"/>
                </a:cubicBezTo>
                <a:cubicBezTo>
                  <a:pt x="1081863" y="1766393"/>
                  <a:pt x="1078598" y="1769658"/>
                  <a:pt x="1070980" y="1769658"/>
                </a:cubicBezTo>
                <a:cubicBezTo>
                  <a:pt x="1063361" y="1769658"/>
                  <a:pt x="1060096" y="1766393"/>
                  <a:pt x="1059552" y="1758775"/>
                </a:cubicBezTo>
                <a:cubicBezTo>
                  <a:pt x="1059552" y="1751156"/>
                  <a:pt x="1062817" y="1747347"/>
                  <a:pt x="1070436" y="1747347"/>
                </a:cubicBezTo>
                <a:close/>
                <a:moveTo>
                  <a:pt x="1233688" y="1742449"/>
                </a:moveTo>
                <a:cubicBezTo>
                  <a:pt x="1242939" y="1741904"/>
                  <a:pt x="1250558" y="1750067"/>
                  <a:pt x="1250558" y="1758774"/>
                </a:cubicBezTo>
                <a:cubicBezTo>
                  <a:pt x="1250558" y="1767481"/>
                  <a:pt x="1242939" y="1775099"/>
                  <a:pt x="1233688" y="1775099"/>
                </a:cubicBezTo>
                <a:cubicBezTo>
                  <a:pt x="1224981" y="1775099"/>
                  <a:pt x="1218451" y="1768025"/>
                  <a:pt x="1217907" y="1759318"/>
                </a:cubicBezTo>
                <a:cubicBezTo>
                  <a:pt x="1217907" y="1750067"/>
                  <a:pt x="1224981" y="1742449"/>
                  <a:pt x="1233688" y="1742449"/>
                </a:cubicBezTo>
                <a:close/>
                <a:moveTo>
                  <a:pt x="1399662" y="1739728"/>
                </a:moveTo>
                <a:cubicBezTo>
                  <a:pt x="1410002" y="1740817"/>
                  <a:pt x="1418164" y="1750068"/>
                  <a:pt x="1417076" y="1760407"/>
                </a:cubicBezTo>
                <a:cubicBezTo>
                  <a:pt x="1415988" y="1769114"/>
                  <a:pt x="1404560" y="1779997"/>
                  <a:pt x="1396941" y="1779453"/>
                </a:cubicBezTo>
                <a:cubicBezTo>
                  <a:pt x="1388779" y="1778909"/>
                  <a:pt x="1376807" y="1765305"/>
                  <a:pt x="1377895" y="1757686"/>
                </a:cubicBezTo>
                <a:cubicBezTo>
                  <a:pt x="1379528" y="1746803"/>
                  <a:pt x="1389867" y="1738640"/>
                  <a:pt x="1399662" y="1739728"/>
                </a:cubicBezTo>
                <a:close/>
                <a:moveTo>
                  <a:pt x="1723991" y="1735919"/>
                </a:moveTo>
                <a:cubicBezTo>
                  <a:pt x="1738140" y="1735919"/>
                  <a:pt x="1746847" y="1744626"/>
                  <a:pt x="1746847" y="1758774"/>
                </a:cubicBezTo>
                <a:cubicBezTo>
                  <a:pt x="1746847" y="1772379"/>
                  <a:pt x="1738140" y="1781086"/>
                  <a:pt x="1723991" y="1781086"/>
                </a:cubicBezTo>
                <a:cubicBezTo>
                  <a:pt x="1709299" y="1781086"/>
                  <a:pt x="1701680" y="1773467"/>
                  <a:pt x="1701680" y="1758774"/>
                </a:cubicBezTo>
                <a:cubicBezTo>
                  <a:pt x="1701680" y="1744626"/>
                  <a:pt x="1709843" y="1735919"/>
                  <a:pt x="1723991" y="1735919"/>
                </a:cubicBezTo>
                <a:close/>
                <a:moveTo>
                  <a:pt x="1560194" y="1735919"/>
                </a:moveTo>
                <a:cubicBezTo>
                  <a:pt x="1572710" y="1736463"/>
                  <a:pt x="1582505" y="1746258"/>
                  <a:pt x="1582505" y="1758230"/>
                </a:cubicBezTo>
                <a:cubicBezTo>
                  <a:pt x="1582505" y="1770202"/>
                  <a:pt x="1572710" y="1779997"/>
                  <a:pt x="1560738" y="1779997"/>
                </a:cubicBezTo>
                <a:cubicBezTo>
                  <a:pt x="1549855" y="1779997"/>
                  <a:pt x="1538427" y="1769114"/>
                  <a:pt x="1538427" y="1758230"/>
                </a:cubicBezTo>
                <a:cubicBezTo>
                  <a:pt x="1538427" y="1746803"/>
                  <a:pt x="1548766" y="1735919"/>
                  <a:pt x="1560194" y="1735919"/>
                </a:cubicBezTo>
                <a:close/>
                <a:moveTo>
                  <a:pt x="2051041" y="1734831"/>
                </a:moveTo>
                <a:lnTo>
                  <a:pt x="2051041" y="1781438"/>
                </a:lnTo>
                <a:lnTo>
                  <a:pt x="2050496" y="1781630"/>
                </a:lnTo>
                <a:cubicBezTo>
                  <a:pt x="2033627" y="1782174"/>
                  <a:pt x="2027097" y="1772379"/>
                  <a:pt x="2027097" y="1758775"/>
                </a:cubicBezTo>
                <a:cubicBezTo>
                  <a:pt x="2027097" y="1744082"/>
                  <a:pt x="2033627" y="1734831"/>
                  <a:pt x="2051041" y="1734831"/>
                </a:cubicBezTo>
                <a:close/>
                <a:moveTo>
                  <a:pt x="1887788" y="1734831"/>
                </a:moveTo>
                <a:cubicBezTo>
                  <a:pt x="1902481" y="1735375"/>
                  <a:pt x="1910099" y="1742994"/>
                  <a:pt x="1910099" y="1758775"/>
                </a:cubicBezTo>
                <a:cubicBezTo>
                  <a:pt x="1910099" y="1771835"/>
                  <a:pt x="1903025" y="1782718"/>
                  <a:pt x="1886699" y="1781086"/>
                </a:cubicBezTo>
                <a:cubicBezTo>
                  <a:pt x="1872551" y="1782174"/>
                  <a:pt x="1863844" y="1770203"/>
                  <a:pt x="1863844" y="1757687"/>
                </a:cubicBezTo>
                <a:cubicBezTo>
                  <a:pt x="1863844" y="1742994"/>
                  <a:pt x="1874728" y="1734287"/>
                  <a:pt x="1887788" y="1734831"/>
                </a:cubicBezTo>
                <a:close/>
                <a:moveTo>
                  <a:pt x="826100" y="1671706"/>
                </a:moveTo>
                <a:cubicBezTo>
                  <a:pt x="830454" y="1670618"/>
                  <a:pt x="832086" y="1673338"/>
                  <a:pt x="832086" y="1677692"/>
                </a:cubicBezTo>
                <a:cubicBezTo>
                  <a:pt x="832086" y="1681501"/>
                  <a:pt x="829365" y="1683134"/>
                  <a:pt x="825556" y="1683134"/>
                </a:cubicBezTo>
                <a:cubicBezTo>
                  <a:pt x="821203" y="1683134"/>
                  <a:pt x="819570" y="1679869"/>
                  <a:pt x="820658" y="1676603"/>
                </a:cubicBezTo>
                <a:cubicBezTo>
                  <a:pt x="821203" y="1674427"/>
                  <a:pt x="823924" y="1672250"/>
                  <a:pt x="826100" y="1671706"/>
                </a:cubicBezTo>
                <a:close/>
                <a:moveTo>
                  <a:pt x="989354" y="1661912"/>
                </a:moveTo>
                <a:cubicBezTo>
                  <a:pt x="994251" y="1661912"/>
                  <a:pt x="1004046" y="1671707"/>
                  <a:pt x="1004046" y="1676604"/>
                </a:cubicBezTo>
                <a:cubicBezTo>
                  <a:pt x="1004046" y="1682590"/>
                  <a:pt x="996428" y="1690209"/>
                  <a:pt x="989354" y="1690209"/>
                </a:cubicBezTo>
                <a:cubicBezTo>
                  <a:pt x="982823" y="1690209"/>
                  <a:pt x="975749" y="1683679"/>
                  <a:pt x="975205" y="1677693"/>
                </a:cubicBezTo>
                <a:cubicBezTo>
                  <a:pt x="974661" y="1671707"/>
                  <a:pt x="983912" y="1661367"/>
                  <a:pt x="989354" y="1661912"/>
                </a:cubicBezTo>
                <a:close/>
                <a:moveTo>
                  <a:pt x="1153151" y="1659734"/>
                </a:moveTo>
                <a:cubicBezTo>
                  <a:pt x="1162946" y="1658646"/>
                  <a:pt x="1171108" y="1667353"/>
                  <a:pt x="1170564" y="1677692"/>
                </a:cubicBezTo>
                <a:cubicBezTo>
                  <a:pt x="1170020" y="1688575"/>
                  <a:pt x="1162946" y="1694562"/>
                  <a:pt x="1152062" y="1694562"/>
                </a:cubicBezTo>
                <a:cubicBezTo>
                  <a:pt x="1141179" y="1694017"/>
                  <a:pt x="1135737" y="1688031"/>
                  <a:pt x="1135737" y="1677148"/>
                </a:cubicBezTo>
                <a:cubicBezTo>
                  <a:pt x="1135737" y="1664632"/>
                  <a:pt x="1141179" y="1659190"/>
                  <a:pt x="1153151" y="1659734"/>
                </a:cubicBezTo>
                <a:close/>
                <a:moveTo>
                  <a:pt x="1315315" y="1655381"/>
                </a:moveTo>
                <a:cubicBezTo>
                  <a:pt x="1327287" y="1654836"/>
                  <a:pt x="1337082" y="1664088"/>
                  <a:pt x="1337082" y="1676603"/>
                </a:cubicBezTo>
                <a:cubicBezTo>
                  <a:pt x="1337082" y="1688575"/>
                  <a:pt x="1326743" y="1698915"/>
                  <a:pt x="1315315" y="1698915"/>
                </a:cubicBezTo>
                <a:cubicBezTo>
                  <a:pt x="1304976" y="1698915"/>
                  <a:pt x="1294092" y="1687487"/>
                  <a:pt x="1294092" y="1677148"/>
                </a:cubicBezTo>
                <a:cubicBezTo>
                  <a:pt x="1294092" y="1666264"/>
                  <a:pt x="1304431" y="1655925"/>
                  <a:pt x="1315315" y="1655381"/>
                </a:cubicBezTo>
                <a:close/>
                <a:moveTo>
                  <a:pt x="1479111" y="1654293"/>
                </a:moveTo>
                <a:cubicBezTo>
                  <a:pt x="1495437" y="1653204"/>
                  <a:pt x="1501967" y="1664632"/>
                  <a:pt x="1501967" y="1677692"/>
                </a:cubicBezTo>
                <a:cubicBezTo>
                  <a:pt x="1501967" y="1689664"/>
                  <a:pt x="1492716" y="1700548"/>
                  <a:pt x="1479111" y="1700548"/>
                </a:cubicBezTo>
                <a:cubicBezTo>
                  <a:pt x="1466596" y="1700548"/>
                  <a:pt x="1455712" y="1690208"/>
                  <a:pt x="1455712" y="1676604"/>
                </a:cubicBezTo>
                <a:cubicBezTo>
                  <a:pt x="1456256" y="1663544"/>
                  <a:pt x="1464963" y="1653204"/>
                  <a:pt x="1479111" y="1654293"/>
                </a:cubicBezTo>
                <a:close/>
                <a:moveTo>
                  <a:pt x="1643452" y="1650483"/>
                </a:moveTo>
                <a:cubicBezTo>
                  <a:pt x="1654880" y="1651027"/>
                  <a:pt x="1667940" y="1664087"/>
                  <a:pt x="1668484" y="1676603"/>
                </a:cubicBezTo>
                <a:cubicBezTo>
                  <a:pt x="1669029" y="1689120"/>
                  <a:pt x="1655968" y="1702724"/>
                  <a:pt x="1643452" y="1703268"/>
                </a:cubicBezTo>
                <a:cubicBezTo>
                  <a:pt x="1631480" y="1703812"/>
                  <a:pt x="1617332" y="1690208"/>
                  <a:pt x="1617332" y="1677692"/>
                </a:cubicBezTo>
                <a:cubicBezTo>
                  <a:pt x="1616788" y="1664632"/>
                  <a:pt x="1630392" y="1650483"/>
                  <a:pt x="1643452" y="1650483"/>
                </a:cubicBezTo>
                <a:close/>
                <a:moveTo>
                  <a:pt x="1968326" y="1649940"/>
                </a:moveTo>
                <a:cubicBezTo>
                  <a:pt x="1983019" y="1649395"/>
                  <a:pt x="1997167" y="1664088"/>
                  <a:pt x="1995535" y="1676604"/>
                </a:cubicBezTo>
                <a:cubicBezTo>
                  <a:pt x="1997167" y="1689664"/>
                  <a:pt x="1982474" y="1704901"/>
                  <a:pt x="1968870" y="1704357"/>
                </a:cubicBezTo>
                <a:cubicBezTo>
                  <a:pt x="1954177" y="1703813"/>
                  <a:pt x="1942205" y="1691841"/>
                  <a:pt x="1941661" y="1677148"/>
                </a:cubicBezTo>
                <a:cubicBezTo>
                  <a:pt x="1941117" y="1662456"/>
                  <a:pt x="1956354" y="1649940"/>
                  <a:pt x="1968326" y="1649940"/>
                </a:cubicBezTo>
                <a:close/>
                <a:moveTo>
                  <a:pt x="1805617" y="1649939"/>
                </a:moveTo>
                <a:cubicBezTo>
                  <a:pt x="1819222" y="1648851"/>
                  <a:pt x="1832826" y="1664088"/>
                  <a:pt x="1832826" y="1677148"/>
                </a:cubicBezTo>
                <a:cubicBezTo>
                  <a:pt x="1832282" y="1690752"/>
                  <a:pt x="1819222" y="1703812"/>
                  <a:pt x="1805073" y="1704357"/>
                </a:cubicBezTo>
                <a:cubicBezTo>
                  <a:pt x="1792557" y="1704901"/>
                  <a:pt x="1777864" y="1688031"/>
                  <a:pt x="1778409" y="1677148"/>
                </a:cubicBezTo>
                <a:cubicBezTo>
                  <a:pt x="1779497" y="1662999"/>
                  <a:pt x="1791469" y="1649939"/>
                  <a:pt x="1805617" y="1649939"/>
                </a:cubicBezTo>
                <a:close/>
                <a:moveTo>
                  <a:pt x="744474" y="1588992"/>
                </a:moveTo>
                <a:cubicBezTo>
                  <a:pt x="748827" y="1588992"/>
                  <a:pt x="751004" y="1590624"/>
                  <a:pt x="751004" y="1594978"/>
                </a:cubicBezTo>
                <a:cubicBezTo>
                  <a:pt x="751004" y="1598787"/>
                  <a:pt x="749916" y="1601508"/>
                  <a:pt x="745562" y="1602052"/>
                </a:cubicBezTo>
                <a:cubicBezTo>
                  <a:pt x="740665" y="1602052"/>
                  <a:pt x="738488" y="1600420"/>
                  <a:pt x="738488" y="1594978"/>
                </a:cubicBezTo>
                <a:cubicBezTo>
                  <a:pt x="737944" y="1590624"/>
                  <a:pt x="740121" y="1588992"/>
                  <a:pt x="744474" y="1588992"/>
                </a:cubicBezTo>
                <a:close/>
                <a:moveTo>
                  <a:pt x="907183" y="1579741"/>
                </a:moveTo>
                <a:cubicBezTo>
                  <a:pt x="913169" y="1579197"/>
                  <a:pt x="923508" y="1588992"/>
                  <a:pt x="923508" y="1594978"/>
                </a:cubicBezTo>
                <a:cubicBezTo>
                  <a:pt x="923508" y="1600964"/>
                  <a:pt x="915345" y="1610215"/>
                  <a:pt x="908815" y="1610759"/>
                </a:cubicBezTo>
                <a:cubicBezTo>
                  <a:pt x="901197" y="1611303"/>
                  <a:pt x="892490" y="1603685"/>
                  <a:pt x="892490" y="1595522"/>
                </a:cubicBezTo>
                <a:cubicBezTo>
                  <a:pt x="892490" y="1588448"/>
                  <a:pt x="900653" y="1579741"/>
                  <a:pt x="907183" y="1579741"/>
                </a:cubicBezTo>
                <a:close/>
                <a:moveTo>
                  <a:pt x="1071524" y="1574843"/>
                </a:moveTo>
                <a:cubicBezTo>
                  <a:pt x="1081319" y="1575387"/>
                  <a:pt x="1091114" y="1585726"/>
                  <a:pt x="1091114" y="1595522"/>
                </a:cubicBezTo>
                <a:cubicBezTo>
                  <a:pt x="1091114" y="1605317"/>
                  <a:pt x="1080231" y="1615656"/>
                  <a:pt x="1070980" y="1615656"/>
                </a:cubicBezTo>
                <a:cubicBezTo>
                  <a:pt x="1062273" y="1615656"/>
                  <a:pt x="1050845" y="1604228"/>
                  <a:pt x="1050301" y="1595522"/>
                </a:cubicBezTo>
                <a:cubicBezTo>
                  <a:pt x="1050301" y="1586270"/>
                  <a:pt x="1062273" y="1574299"/>
                  <a:pt x="1071524" y="1574843"/>
                </a:cubicBezTo>
                <a:close/>
                <a:moveTo>
                  <a:pt x="1233688" y="1573210"/>
                </a:moveTo>
                <a:cubicBezTo>
                  <a:pt x="1247837" y="1573210"/>
                  <a:pt x="1256544" y="1581373"/>
                  <a:pt x="1256544" y="1595522"/>
                </a:cubicBezTo>
                <a:cubicBezTo>
                  <a:pt x="1256544" y="1609670"/>
                  <a:pt x="1247837" y="1618377"/>
                  <a:pt x="1233688" y="1618377"/>
                </a:cubicBezTo>
                <a:cubicBezTo>
                  <a:pt x="1221172" y="1618377"/>
                  <a:pt x="1212465" y="1608582"/>
                  <a:pt x="1211377" y="1596610"/>
                </a:cubicBezTo>
                <a:cubicBezTo>
                  <a:pt x="1210289" y="1584638"/>
                  <a:pt x="1222261" y="1571034"/>
                  <a:pt x="1233688" y="1573210"/>
                </a:cubicBezTo>
                <a:close/>
                <a:moveTo>
                  <a:pt x="1398030" y="1569402"/>
                </a:moveTo>
                <a:cubicBezTo>
                  <a:pt x="1411634" y="1569946"/>
                  <a:pt x="1423606" y="1582462"/>
                  <a:pt x="1423062" y="1595522"/>
                </a:cubicBezTo>
                <a:cubicBezTo>
                  <a:pt x="1423062" y="1608582"/>
                  <a:pt x="1410546" y="1621099"/>
                  <a:pt x="1397485" y="1621099"/>
                </a:cubicBezTo>
                <a:cubicBezTo>
                  <a:pt x="1384969" y="1621099"/>
                  <a:pt x="1371365" y="1608038"/>
                  <a:pt x="1371365" y="1595522"/>
                </a:cubicBezTo>
                <a:cubicBezTo>
                  <a:pt x="1371365" y="1582462"/>
                  <a:pt x="1384969" y="1568857"/>
                  <a:pt x="1398030" y="1569402"/>
                </a:cubicBezTo>
                <a:close/>
                <a:moveTo>
                  <a:pt x="1560194" y="1568313"/>
                </a:moveTo>
                <a:cubicBezTo>
                  <a:pt x="1574342" y="1566680"/>
                  <a:pt x="1587403" y="1581373"/>
                  <a:pt x="1587947" y="1594433"/>
                </a:cubicBezTo>
                <a:cubicBezTo>
                  <a:pt x="1588491" y="1608582"/>
                  <a:pt x="1574887" y="1622730"/>
                  <a:pt x="1560194" y="1622730"/>
                </a:cubicBezTo>
                <a:cubicBezTo>
                  <a:pt x="1547134" y="1622730"/>
                  <a:pt x="1532985" y="1608582"/>
                  <a:pt x="1532985" y="1594977"/>
                </a:cubicBezTo>
                <a:cubicBezTo>
                  <a:pt x="1532985" y="1581917"/>
                  <a:pt x="1547134" y="1566680"/>
                  <a:pt x="1560194" y="1568313"/>
                </a:cubicBezTo>
                <a:close/>
                <a:moveTo>
                  <a:pt x="1887244" y="1567225"/>
                </a:moveTo>
                <a:cubicBezTo>
                  <a:pt x="1905202" y="1567225"/>
                  <a:pt x="1915541" y="1578109"/>
                  <a:pt x="1915541" y="1594978"/>
                </a:cubicBezTo>
                <a:cubicBezTo>
                  <a:pt x="1915541" y="1612392"/>
                  <a:pt x="1903569" y="1624363"/>
                  <a:pt x="1886699" y="1623819"/>
                </a:cubicBezTo>
                <a:cubicBezTo>
                  <a:pt x="1872551" y="1623819"/>
                  <a:pt x="1857314" y="1613480"/>
                  <a:pt x="1858947" y="1594978"/>
                </a:cubicBezTo>
                <a:cubicBezTo>
                  <a:pt x="1857858" y="1577564"/>
                  <a:pt x="1870918" y="1567225"/>
                  <a:pt x="1887244" y="1567225"/>
                </a:cubicBezTo>
                <a:close/>
                <a:moveTo>
                  <a:pt x="1724535" y="1567225"/>
                </a:moveTo>
                <a:cubicBezTo>
                  <a:pt x="1743037" y="1567225"/>
                  <a:pt x="1752288" y="1581373"/>
                  <a:pt x="1752288" y="1594978"/>
                </a:cubicBezTo>
                <a:cubicBezTo>
                  <a:pt x="1752288" y="1609127"/>
                  <a:pt x="1741949" y="1623275"/>
                  <a:pt x="1724535" y="1623275"/>
                </a:cubicBezTo>
                <a:cubicBezTo>
                  <a:pt x="1710930" y="1623819"/>
                  <a:pt x="1694605" y="1613480"/>
                  <a:pt x="1696238" y="1594978"/>
                </a:cubicBezTo>
                <a:cubicBezTo>
                  <a:pt x="1694605" y="1577564"/>
                  <a:pt x="1708754" y="1567225"/>
                  <a:pt x="1724535" y="1567225"/>
                </a:cubicBezTo>
                <a:close/>
                <a:moveTo>
                  <a:pt x="2050496" y="1566680"/>
                </a:moveTo>
                <a:lnTo>
                  <a:pt x="2051041" y="1566888"/>
                </a:lnTo>
                <a:lnTo>
                  <a:pt x="2051041" y="1623794"/>
                </a:lnTo>
                <a:lnTo>
                  <a:pt x="2049408" y="1624363"/>
                </a:lnTo>
                <a:cubicBezTo>
                  <a:pt x="2033083" y="1623818"/>
                  <a:pt x="2021111" y="1611302"/>
                  <a:pt x="2021655" y="1594977"/>
                </a:cubicBezTo>
                <a:cubicBezTo>
                  <a:pt x="2022199" y="1575931"/>
                  <a:pt x="2033627" y="1567224"/>
                  <a:pt x="2050496" y="1566680"/>
                </a:cubicBezTo>
                <a:close/>
                <a:moveTo>
                  <a:pt x="663392" y="1505188"/>
                </a:moveTo>
                <a:cubicBezTo>
                  <a:pt x="666113" y="1505188"/>
                  <a:pt x="669922" y="1510086"/>
                  <a:pt x="674819" y="1513895"/>
                </a:cubicBezTo>
                <a:cubicBezTo>
                  <a:pt x="669378" y="1517704"/>
                  <a:pt x="665569" y="1522602"/>
                  <a:pt x="662848" y="1522058"/>
                </a:cubicBezTo>
                <a:cubicBezTo>
                  <a:pt x="659583" y="1521513"/>
                  <a:pt x="654685" y="1516072"/>
                  <a:pt x="654685" y="1513351"/>
                </a:cubicBezTo>
                <a:cubicBezTo>
                  <a:pt x="654685" y="1510086"/>
                  <a:pt x="660127" y="1505188"/>
                  <a:pt x="663392" y="1505188"/>
                </a:cubicBezTo>
                <a:close/>
                <a:moveTo>
                  <a:pt x="826101" y="1497570"/>
                </a:moveTo>
                <a:cubicBezTo>
                  <a:pt x="834263" y="1497025"/>
                  <a:pt x="842426" y="1505188"/>
                  <a:pt x="842970" y="1513351"/>
                </a:cubicBezTo>
                <a:cubicBezTo>
                  <a:pt x="842970" y="1522058"/>
                  <a:pt x="835352" y="1529676"/>
                  <a:pt x="826645" y="1529676"/>
                </a:cubicBezTo>
                <a:cubicBezTo>
                  <a:pt x="818482" y="1529676"/>
                  <a:pt x="810864" y="1523146"/>
                  <a:pt x="810319" y="1514983"/>
                </a:cubicBezTo>
                <a:cubicBezTo>
                  <a:pt x="809775" y="1506276"/>
                  <a:pt x="817394" y="1498114"/>
                  <a:pt x="826101" y="1497570"/>
                </a:cubicBezTo>
                <a:close/>
                <a:moveTo>
                  <a:pt x="988265" y="1492128"/>
                </a:moveTo>
                <a:cubicBezTo>
                  <a:pt x="998605" y="1492128"/>
                  <a:pt x="1010577" y="1501379"/>
                  <a:pt x="1010577" y="1513351"/>
                </a:cubicBezTo>
                <a:cubicBezTo>
                  <a:pt x="1010577" y="1524234"/>
                  <a:pt x="1000237" y="1534574"/>
                  <a:pt x="989354" y="1534574"/>
                </a:cubicBezTo>
                <a:cubicBezTo>
                  <a:pt x="979559" y="1534574"/>
                  <a:pt x="968675" y="1523690"/>
                  <a:pt x="968131" y="1513895"/>
                </a:cubicBezTo>
                <a:cubicBezTo>
                  <a:pt x="968131" y="1503556"/>
                  <a:pt x="977926" y="1492672"/>
                  <a:pt x="988265" y="1492128"/>
                </a:cubicBezTo>
                <a:close/>
                <a:moveTo>
                  <a:pt x="1152606" y="1490496"/>
                </a:moveTo>
                <a:cubicBezTo>
                  <a:pt x="1167299" y="1489407"/>
                  <a:pt x="1176006" y="1498658"/>
                  <a:pt x="1176006" y="1513351"/>
                </a:cubicBezTo>
                <a:cubicBezTo>
                  <a:pt x="1176006" y="1530764"/>
                  <a:pt x="1166755" y="1537295"/>
                  <a:pt x="1152606" y="1537839"/>
                </a:cubicBezTo>
                <a:cubicBezTo>
                  <a:pt x="1139546" y="1537839"/>
                  <a:pt x="1129207" y="1530764"/>
                  <a:pt x="1129207" y="1514984"/>
                </a:cubicBezTo>
                <a:cubicBezTo>
                  <a:pt x="1129207" y="1498114"/>
                  <a:pt x="1138458" y="1491040"/>
                  <a:pt x="1152606" y="1490496"/>
                </a:cubicBezTo>
                <a:close/>
                <a:moveTo>
                  <a:pt x="1316403" y="1487231"/>
                </a:moveTo>
                <a:cubicBezTo>
                  <a:pt x="1331095" y="1487775"/>
                  <a:pt x="1342523" y="1499203"/>
                  <a:pt x="1342523" y="1513896"/>
                </a:cubicBezTo>
                <a:cubicBezTo>
                  <a:pt x="1342523" y="1528588"/>
                  <a:pt x="1330551" y="1540560"/>
                  <a:pt x="1315314" y="1540560"/>
                </a:cubicBezTo>
                <a:cubicBezTo>
                  <a:pt x="1303887" y="1542193"/>
                  <a:pt x="1288106" y="1527500"/>
                  <a:pt x="1288650" y="1513896"/>
                </a:cubicBezTo>
                <a:cubicBezTo>
                  <a:pt x="1289194" y="1498659"/>
                  <a:pt x="1301166" y="1486687"/>
                  <a:pt x="1316403" y="1487231"/>
                </a:cubicBezTo>
                <a:close/>
                <a:moveTo>
                  <a:pt x="1479656" y="1485054"/>
                </a:moveTo>
                <a:cubicBezTo>
                  <a:pt x="1495437" y="1485598"/>
                  <a:pt x="1508497" y="1496482"/>
                  <a:pt x="1507409" y="1513895"/>
                </a:cubicBezTo>
                <a:cubicBezTo>
                  <a:pt x="1508497" y="1527500"/>
                  <a:pt x="1498158" y="1542192"/>
                  <a:pt x="1479112" y="1541648"/>
                </a:cubicBezTo>
                <a:cubicBezTo>
                  <a:pt x="1462787" y="1541648"/>
                  <a:pt x="1451359" y="1529676"/>
                  <a:pt x="1451359" y="1513351"/>
                </a:cubicBezTo>
                <a:cubicBezTo>
                  <a:pt x="1451359" y="1493761"/>
                  <a:pt x="1466596" y="1485054"/>
                  <a:pt x="1479656" y="1485054"/>
                </a:cubicBezTo>
                <a:close/>
                <a:moveTo>
                  <a:pt x="1641820" y="1482334"/>
                </a:moveTo>
                <a:cubicBezTo>
                  <a:pt x="1657057" y="1481789"/>
                  <a:pt x="1672838" y="1496482"/>
                  <a:pt x="1673382" y="1512807"/>
                </a:cubicBezTo>
                <a:cubicBezTo>
                  <a:pt x="1673927" y="1528044"/>
                  <a:pt x="1658145" y="1544370"/>
                  <a:pt x="1642909" y="1544370"/>
                </a:cubicBezTo>
                <a:cubicBezTo>
                  <a:pt x="1626039" y="1542193"/>
                  <a:pt x="1612979" y="1532942"/>
                  <a:pt x="1612435" y="1513351"/>
                </a:cubicBezTo>
                <a:cubicBezTo>
                  <a:pt x="1611890" y="1497571"/>
                  <a:pt x="1626583" y="1483422"/>
                  <a:pt x="1641820" y="1482334"/>
                </a:cubicBezTo>
                <a:close/>
                <a:moveTo>
                  <a:pt x="1804529" y="1481788"/>
                </a:moveTo>
                <a:cubicBezTo>
                  <a:pt x="1820855" y="1481244"/>
                  <a:pt x="1836091" y="1494304"/>
                  <a:pt x="1837180" y="1513351"/>
                </a:cubicBezTo>
                <a:cubicBezTo>
                  <a:pt x="1838812" y="1528043"/>
                  <a:pt x="1825208" y="1544913"/>
                  <a:pt x="1805617" y="1545457"/>
                </a:cubicBezTo>
                <a:cubicBezTo>
                  <a:pt x="1787660" y="1544913"/>
                  <a:pt x="1774055" y="1532397"/>
                  <a:pt x="1773511" y="1514983"/>
                </a:cubicBezTo>
                <a:cubicBezTo>
                  <a:pt x="1772967" y="1494849"/>
                  <a:pt x="1788204" y="1482333"/>
                  <a:pt x="1804529" y="1481788"/>
                </a:cubicBezTo>
                <a:close/>
                <a:moveTo>
                  <a:pt x="1968870" y="1480700"/>
                </a:moveTo>
                <a:cubicBezTo>
                  <a:pt x="1984651" y="1480700"/>
                  <a:pt x="2000977" y="1495937"/>
                  <a:pt x="2000977" y="1513351"/>
                </a:cubicBezTo>
                <a:cubicBezTo>
                  <a:pt x="2001521" y="1529132"/>
                  <a:pt x="1987916" y="1546001"/>
                  <a:pt x="1968870" y="1545457"/>
                </a:cubicBezTo>
                <a:cubicBezTo>
                  <a:pt x="1949824" y="1545457"/>
                  <a:pt x="1936764" y="1530764"/>
                  <a:pt x="1936764" y="1513351"/>
                </a:cubicBezTo>
                <a:cubicBezTo>
                  <a:pt x="1936764" y="1493760"/>
                  <a:pt x="1953633" y="1480700"/>
                  <a:pt x="1968870" y="1480700"/>
                </a:cubicBezTo>
                <a:close/>
                <a:moveTo>
                  <a:pt x="581221" y="1423562"/>
                </a:moveTo>
                <a:cubicBezTo>
                  <a:pt x="586663" y="1423562"/>
                  <a:pt x="589384" y="1427371"/>
                  <a:pt x="588840" y="1431725"/>
                </a:cubicBezTo>
                <a:cubicBezTo>
                  <a:pt x="588840" y="1434990"/>
                  <a:pt x="585030" y="1438255"/>
                  <a:pt x="581765" y="1443153"/>
                </a:cubicBezTo>
                <a:cubicBezTo>
                  <a:pt x="577412" y="1438255"/>
                  <a:pt x="574147" y="1436078"/>
                  <a:pt x="573059" y="1432813"/>
                </a:cubicBezTo>
                <a:cubicBezTo>
                  <a:pt x="571426" y="1429004"/>
                  <a:pt x="576868" y="1423562"/>
                  <a:pt x="581221" y="1423562"/>
                </a:cubicBezTo>
                <a:close/>
                <a:moveTo>
                  <a:pt x="745562" y="1414855"/>
                </a:moveTo>
                <a:cubicBezTo>
                  <a:pt x="754269" y="1415399"/>
                  <a:pt x="761344" y="1423018"/>
                  <a:pt x="761344" y="1432269"/>
                </a:cubicBezTo>
                <a:cubicBezTo>
                  <a:pt x="761344" y="1442064"/>
                  <a:pt x="754813" y="1448050"/>
                  <a:pt x="745018" y="1448050"/>
                </a:cubicBezTo>
                <a:cubicBezTo>
                  <a:pt x="734679" y="1448050"/>
                  <a:pt x="728693" y="1442064"/>
                  <a:pt x="728693" y="1431725"/>
                </a:cubicBezTo>
                <a:cubicBezTo>
                  <a:pt x="728693" y="1421386"/>
                  <a:pt x="735223" y="1414311"/>
                  <a:pt x="745562" y="1414855"/>
                </a:cubicBezTo>
                <a:close/>
                <a:moveTo>
                  <a:pt x="908815" y="1409958"/>
                </a:moveTo>
                <a:cubicBezTo>
                  <a:pt x="920243" y="1410502"/>
                  <a:pt x="930038" y="1420297"/>
                  <a:pt x="930038" y="1431725"/>
                </a:cubicBezTo>
                <a:cubicBezTo>
                  <a:pt x="929494" y="1443697"/>
                  <a:pt x="919155" y="1454036"/>
                  <a:pt x="907183" y="1453492"/>
                </a:cubicBezTo>
                <a:cubicBezTo>
                  <a:pt x="896844" y="1453492"/>
                  <a:pt x="885960" y="1442064"/>
                  <a:pt x="885960" y="1431725"/>
                </a:cubicBezTo>
                <a:cubicBezTo>
                  <a:pt x="885960" y="1420297"/>
                  <a:pt x="897388" y="1409414"/>
                  <a:pt x="908815" y="1409958"/>
                </a:cubicBezTo>
                <a:close/>
                <a:moveTo>
                  <a:pt x="1070436" y="1406693"/>
                </a:moveTo>
                <a:cubicBezTo>
                  <a:pt x="1084584" y="1406693"/>
                  <a:pt x="1096012" y="1418121"/>
                  <a:pt x="1096012" y="1432269"/>
                </a:cubicBezTo>
                <a:cubicBezTo>
                  <a:pt x="1096012" y="1445329"/>
                  <a:pt x="1082952" y="1458390"/>
                  <a:pt x="1070436" y="1457846"/>
                </a:cubicBezTo>
                <a:cubicBezTo>
                  <a:pt x="1058464" y="1457301"/>
                  <a:pt x="1044860" y="1443153"/>
                  <a:pt x="1045404" y="1431181"/>
                </a:cubicBezTo>
                <a:cubicBezTo>
                  <a:pt x="1045948" y="1418665"/>
                  <a:pt x="1057920" y="1406693"/>
                  <a:pt x="1070436" y="1406693"/>
                </a:cubicBezTo>
                <a:close/>
                <a:moveTo>
                  <a:pt x="1235865" y="1404516"/>
                </a:moveTo>
                <a:cubicBezTo>
                  <a:pt x="1252191" y="1405605"/>
                  <a:pt x="1262530" y="1415944"/>
                  <a:pt x="1261986" y="1433358"/>
                </a:cubicBezTo>
                <a:cubicBezTo>
                  <a:pt x="1261442" y="1449683"/>
                  <a:pt x="1251102" y="1459478"/>
                  <a:pt x="1233689" y="1459478"/>
                </a:cubicBezTo>
                <a:cubicBezTo>
                  <a:pt x="1218452" y="1461655"/>
                  <a:pt x="1206480" y="1445329"/>
                  <a:pt x="1206480" y="1432269"/>
                </a:cubicBezTo>
                <a:cubicBezTo>
                  <a:pt x="1206480" y="1417032"/>
                  <a:pt x="1220084" y="1403428"/>
                  <a:pt x="1235865" y="1404516"/>
                </a:cubicBezTo>
                <a:close/>
                <a:moveTo>
                  <a:pt x="1397485" y="1400162"/>
                </a:moveTo>
                <a:cubicBezTo>
                  <a:pt x="1412178" y="1400162"/>
                  <a:pt x="1427959" y="1416487"/>
                  <a:pt x="1427959" y="1431724"/>
                </a:cubicBezTo>
                <a:cubicBezTo>
                  <a:pt x="1428503" y="1446961"/>
                  <a:pt x="1413810" y="1462198"/>
                  <a:pt x="1398029" y="1463287"/>
                </a:cubicBezTo>
                <a:cubicBezTo>
                  <a:pt x="1384425" y="1464375"/>
                  <a:pt x="1367555" y="1448049"/>
                  <a:pt x="1366467" y="1432813"/>
                </a:cubicBezTo>
                <a:cubicBezTo>
                  <a:pt x="1365923" y="1418120"/>
                  <a:pt x="1382792" y="1400162"/>
                  <a:pt x="1397485" y="1400162"/>
                </a:cubicBezTo>
                <a:close/>
                <a:moveTo>
                  <a:pt x="1561282" y="1399618"/>
                </a:moveTo>
                <a:cubicBezTo>
                  <a:pt x="1575975" y="1399618"/>
                  <a:pt x="1593388" y="1415943"/>
                  <a:pt x="1593388" y="1432269"/>
                </a:cubicBezTo>
                <a:cubicBezTo>
                  <a:pt x="1593388" y="1446961"/>
                  <a:pt x="1578696" y="1464919"/>
                  <a:pt x="1560738" y="1464375"/>
                </a:cubicBezTo>
                <a:cubicBezTo>
                  <a:pt x="1542236" y="1463831"/>
                  <a:pt x="1529176" y="1450226"/>
                  <a:pt x="1528631" y="1432813"/>
                </a:cubicBezTo>
                <a:cubicBezTo>
                  <a:pt x="1528087" y="1414311"/>
                  <a:pt x="1545501" y="1399618"/>
                  <a:pt x="1561282" y="1399618"/>
                </a:cubicBezTo>
                <a:close/>
                <a:moveTo>
                  <a:pt x="1723446" y="1399074"/>
                </a:moveTo>
                <a:cubicBezTo>
                  <a:pt x="1741948" y="1399074"/>
                  <a:pt x="1757185" y="1413767"/>
                  <a:pt x="1757185" y="1432269"/>
                </a:cubicBezTo>
                <a:cubicBezTo>
                  <a:pt x="1757185" y="1451315"/>
                  <a:pt x="1743037" y="1463831"/>
                  <a:pt x="1723991" y="1465464"/>
                </a:cubicBezTo>
                <a:cubicBezTo>
                  <a:pt x="1707121" y="1466552"/>
                  <a:pt x="1690252" y="1448594"/>
                  <a:pt x="1691340" y="1433357"/>
                </a:cubicBezTo>
                <a:cubicBezTo>
                  <a:pt x="1692428" y="1412678"/>
                  <a:pt x="1704400" y="1399074"/>
                  <a:pt x="1723446" y="1399074"/>
                </a:cubicBezTo>
                <a:close/>
                <a:moveTo>
                  <a:pt x="1886700" y="1398530"/>
                </a:moveTo>
                <a:cubicBezTo>
                  <a:pt x="1904113" y="1396898"/>
                  <a:pt x="1922071" y="1415944"/>
                  <a:pt x="1920439" y="1432269"/>
                </a:cubicBezTo>
                <a:cubicBezTo>
                  <a:pt x="1919350" y="1451315"/>
                  <a:pt x="1907378" y="1464920"/>
                  <a:pt x="1887788" y="1464920"/>
                </a:cubicBezTo>
                <a:cubicBezTo>
                  <a:pt x="1867109" y="1464920"/>
                  <a:pt x="1854049" y="1452948"/>
                  <a:pt x="1854049" y="1433358"/>
                </a:cubicBezTo>
                <a:cubicBezTo>
                  <a:pt x="1854049" y="1412679"/>
                  <a:pt x="1867109" y="1400163"/>
                  <a:pt x="1886700" y="1398530"/>
                </a:cubicBezTo>
                <a:close/>
                <a:moveTo>
                  <a:pt x="2051041" y="1398217"/>
                </a:moveTo>
                <a:lnTo>
                  <a:pt x="2051041" y="1464535"/>
                </a:lnTo>
                <a:lnTo>
                  <a:pt x="2049953" y="1464920"/>
                </a:lnTo>
                <a:cubicBezTo>
                  <a:pt x="2032539" y="1467096"/>
                  <a:pt x="2017302" y="1450771"/>
                  <a:pt x="2017302" y="1431725"/>
                </a:cubicBezTo>
                <a:cubicBezTo>
                  <a:pt x="2017302" y="1422746"/>
                  <a:pt x="2021383" y="1414311"/>
                  <a:pt x="2027709" y="1408121"/>
                </a:cubicBezTo>
                <a:close/>
                <a:moveTo>
                  <a:pt x="500139" y="1341936"/>
                </a:moveTo>
                <a:cubicBezTo>
                  <a:pt x="503404" y="1343568"/>
                  <a:pt x="506125" y="1346833"/>
                  <a:pt x="511023" y="1350643"/>
                </a:cubicBezTo>
                <a:cubicBezTo>
                  <a:pt x="506125" y="1354452"/>
                  <a:pt x="502860" y="1357717"/>
                  <a:pt x="499595" y="1358261"/>
                </a:cubicBezTo>
                <a:cubicBezTo>
                  <a:pt x="495241" y="1359349"/>
                  <a:pt x="490888" y="1353908"/>
                  <a:pt x="491432" y="1349010"/>
                </a:cubicBezTo>
                <a:cubicBezTo>
                  <a:pt x="491976" y="1344112"/>
                  <a:pt x="495241" y="1340848"/>
                  <a:pt x="500139" y="1341936"/>
                </a:cubicBezTo>
                <a:close/>
                <a:moveTo>
                  <a:pt x="662848" y="1333773"/>
                </a:moveTo>
                <a:cubicBezTo>
                  <a:pt x="673187" y="1333773"/>
                  <a:pt x="679173" y="1340303"/>
                  <a:pt x="679173" y="1350643"/>
                </a:cubicBezTo>
                <a:cubicBezTo>
                  <a:pt x="679173" y="1359894"/>
                  <a:pt x="672099" y="1366424"/>
                  <a:pt x="662848" y="1366424"/>
                </a:cubicBezTo>
                <a:cubicBezTo>
                  <a:pt x="653053" y="1366424"/>
                  <a:pt x="647067" y="1359894"/>
                  <a:pt x="647067" y="1350098"/>
                </a:cubicBezTo>
                <a:cubicBezTo>
                  <a:pt x="647067" y="1339759"/>
                  <a:pt x="653053" y="1333773"/>
                  <a:pt x="662848" y="1333773"/>
                </a:cubicBezTo>
                <a:close/>
                <a:moveTo>
                  <a:pt x="826645" y="1328331"/>
                </a:moveTo>
                <a:cubicBezTo>
                  <a:pt x="838617" y="1328331"/>
                  <a:pt x="848412" y="1338670"/>
                  <a:pt x="847868" y="1350642"/>
                </a:cubicBezTo>
                <a:cubicBezTo>
                  <a:pt x="847868" y="1362070"/>
                  <a:pt x="836984" y="1372409"/>
                  <a:pt x="825556" y="1372409"/>
                </a:cubicBezTo>
                <a:cubicBezTo>
                  <a:pt x="814673" y="1372409"/>
                  <a:pt x="803789" y="1360982"/>
                  <a:pt x="804334" y="1349554"/>
                </a:cubicBezTo>
                <a:cubicBezTo>
                  <a:pt x="804334" y="1337582"/>
                  <a:pt x="814673" y="1328331"/>
                  <a:pt x="826645" y="1328331"/>
                </a:cubicBezTo>
                <a:close/>
                <a:moveTo>
                  <a:pt x="989353" y="1323978"/>
                </a:moveTo>
                <a:cubicBezTo>
                  <a:pt x="1002957" y="1324522"/>
                  <a:pt x="1014385" y="1334861"/>
                  <a:pt x="1015473" y="1350098"/>
                </a:cubicBezTo>
                <a:cubicBezTo>
                  <a:pt x="1014929" y="1363702"/>
                  <a:pt x="1004046" y="1376219"/>
                  <a:pt x="989353" y="1376763"/>
                </a:cubicBezTo>
                <a:cubicBezTo>
                  <a:pt x="976293" y="1376763"/>
                  <a:pt x="963777" y="1364791"/>
                  <a:pt x="963777" y="1350642"/>
                </a:cubicBezTo>
                <a:cubicBezTo>
                  <a:pt x="963233" y="1334861"/>
                  <a:pt x="977925" y="1323434"/>
                  <a:pt x="989353" y="1323978"/>
                </a:cubicBezTo>
                <a:close/>
                <a:moveTo>
                  <a:pt x="1152606" y="1322889"/>
                </a:moveTo>
                <a:cubicBezTo>
                  <a:pt x="1170564" y="1320712"/>
                  <a:pt x="1180903" y="1335405"/>
                  <a:pt x="1181447" y="1350098"/>
                </a:cubicBezTo>
                <a:cubicBezTo>
                  <a:pt x="1181447" y="1364791"/>
                  <a:pt x="1171108" y="1379483"/>
                  <a:pt x="1152606" y="1379483"/>
                </a:cubicBezTo>
                <a:cubicBezTo>
                  <a:pt x="1137913" y="1379483"/>
                  <a:pt x="1124853" y="1367511"/>
                  <a:pt x="1124853" y="1350642"/>
                </a:cubicBezTo>
                <a:cubicBezTo>
                  <a:pt x="1124309" y="1333228"/>
                  <a:pt x="1137913" y="1320712"/>
                  <a:pt x="1152606" y="1322889"/>
                </a:cubicBezTo>
                <a:close/>
                <a:moveTo>
                  <a:pt x="1315315" y="1318536"/>
                </a:moveTo>
                <a:cubicBezTo>
                  <a:pt x="1334361" y="1318536"/>
                  <a:pt x="1345789" y="1331596"/>
                  <a:pt x="1347966" y="1350098"/>
                </a:cubicBezTo>
                <a:cubicBezTo>
                  <a:pt x="1345245" y="1369144"/>
                  <a:pt x="1334905" y="1382205"/>
                  <a:pt x="1315315" y="1381661"/>
                </a:cubicBezTo>
                <a:cubicBezTo>
                  <a:pt x="1296813" y="1381116"/>
                  <a:pt x="1284841" y="1369144"/>
                  <a:pt x="1284297" y="1350098"/>
                </a:cubicBezTo>
                <a:cubicBezTo>
                  <a:pt x="1284297" y="1331052"/>
                  <a:pt x="1297357" y="1319080"/>
                  <a:pt x="1315315" y="1318536"/>
                </a:cubicBezTo>
                <a:close/>
                <a:moveTo>
                  <a:pt x="1480744" y="1317448"/>
                </a:moveTo>
                <a:cubicBezTo>
                  <a:pt x="1499246" y="1317992"/>
                  <a:pt x="1512851" y="1332140"/>
                  <a:pt x="1512306" y="1351731"/>
                </a:cubicBezTo>
                <a:cubicBezTo>
                  <a:pt x="1511762" y="1370233"/>
                  <a:pt x="1497070" y="1383837"/>
                  <a:pt x="1477479" y="1383293"/>
                </a:cubicBezTo>
                <a:cubicBezTo>
                  <a:pt x="1458977" y="1382749"/>
                  <a:pt x="1447550" y="1368600"/>
                  <a:pt x="1446461" y="1349554"/>
                </a:cubicBezTo>
                <a:cubicBezTo>
                  <a:pt x="1445373" y="1333773"/>
                  <a:pt x="1463331" y="1314727"/>
                  <a:pt x="1480744" y="1317448"/>
                </a:cubicBezTo>
                <a:close/>
                <a:moveTo>
                  <a:pt x="1642908" y="1315815"/>
                </a:moveTo>
                <a:cubicBezTo>
                  <a:pt x="1663043" y="1315815"/>
                  <a:pt x="1677735" y="1333229"/>
                  <a:pt x="1676647" y="1351731"/>
                </a:cubicBezTo>
                <a:cubicBezTo>
                  <a:pt x="1675559" y="1371865"/>
                  <a:pt x="1661954" y="1384381"/>
                  <a:pt x="1640732" y="1383837"/>
                </a:cubicBezTo>
                <a:cubicBezTo>
                  <a:pt x="1620597" y="1384381"/>
                  <a:pt x="1608081" y="1368056"/>
                  <a:pt x="1608081" y="1349554"/>
                </a:cubicBezTo>
                <a:cubicBezTo>
                  <a:pt x="1608081" y="1329964"/>
                  <a:pt x="1623318" y="1315815"/>
                  <a:pt x="1642908" y="1315815"/>
                </a:cubicBezTo>
                <a:close/>
                <a:moveTo>
                  <a:pt x="1968870" y="1314183"/>
                </a:moveTo>
                <a:cubicBezTo>
                  <a:pt x="1989548" y="1314727"/>
                  <a:pt x="2004785" y="1329420"/>
                  <a:pt x="2005329" y="1351187"/>
                </a:cubicBezTo>
                <a:cubicBezTo>
                  <a:pt x="2004785" y="1370233"/>
                  <a:pt x="1985739" y="1388735"/>
                  <a:pt x="1967781" y="1388191"/>
                </a:cubicBezTo>
                <a:cubicBezTo>
                  <a:pt x="1949823" y="1387647"/>
                  <a:pt x="1931322" y="1367512"/>
                  <a:pt x="1931866" y="1350098"/>
                </a:cubicBezTo>
                <a:cubicBezTo>
                  <a:pt x="1932410" y="1331596"/>
                  <a:pt x="1950912" y="1313094"/>
                  <a:pt x="1968870" y="1314183"/>
                </a:cubicBezTo>
                <a:close/>
                <a:moveTo>
                  <a:pt x="1806161" y="1313639"/>
                </a:moveTo>
                <a:cubicBezTo>
                  <a:pt x="1825207" y="1314183"/>
                  <a:pt x="1843165" y="1332141"/>
                  <a:pt x="1841533" y="1351187"/>
                </a:cubicBezTo>
                <a:cubicBezTo>
                  <a:pt x="1840988" y="1360438"/>
                  <a:pt x="1838267" y="1370233"/>
                  <a:pt x="1830105" y="1376763"/>
                </a:cubicBezTo>
                <a:cubicBezTo>
                  <a:pt x="1822486" y="1383293"/>
                  <a:pt x="1813235" y="1387102"/>
                  <a:pt x="1803984" y="1387102"/>
                </a:cubicBezTo>
                <a:cubicBezTo>
                  <a:pt x="1786027" y="1387102"/>
                  <a:pt x="1768613" y="1367512"/>
                  <a:pt x="1768613" y="1350098"/>
                </a:cubicBezTo>
                <a:cubicBezTo>
                  <a:pt x="1769157" y="1331596"/>
                  <a:pt x="1788203" y="1313094"/>
                  <a:pt x="1806161" y="1313639"/>
                </a:cubicBezTo>
                <a:close/>
                <a:moveTo>
                  <a:pt x="419057" y="1262486"/>
                </a:moveTo>
                <a:cubicBezTo>
                  <a:pt x="423410" y="1262486"/>
                  <a:pt x="425587" y="1265207"/>
                  <a:pt x="424499" y="1269016"/>
                </a:cubicBezTo>
                <a:cubicBezTo>
                  <a:pt x="423410" y="1271737"/>
                  <a:pt x="421234" y="1273914"/>
                  <a:pt x="417969" y="1278811"/>
                </a:cubicBezTo>
                <a:cubicBezTo>
                  <a:pt x="414704" y="1273914"/>
                  <a:pt x="412527" y="1271737"/>
                  <a:pt x="411983" y="1269016"/>
                </a:cubicBezTo>
                <a:cubicBezTo>
                  <a:pt x="410894" y="1264118"/>
                  <a:pt x="414159" y="1262486"/>
                  <a:pt x="419057" y="1262486"/>
                </a:cubicBezTo>
                <a:close/>
                <a:moveTo>
                  <a:pt x="581221" y="1252147"/>
                </a:moveTo>
                <a:cubicBezTo>
                  <a:pt x="591016" y="1252691"/>
                  <a:pt x="598091" y="1260310"/>
                  <a:pt x="597547" y="1269017"/>
                </a:cubicBezTo>
                <a:cubicBezTo>
                  <a:pt x="597547" y="1278268"/>
                  <a:pt x="589928" y="1284798"/>
                  <a:pt x="580133" y="1284254"/>
                </a:cubicBezTo>
                <a:cubicBezTo>
                  <a:pt x="570882" y="1283709"/>
                  <a:pt x="564896" y="1277179"/>
                  <a:pt x="564896" y="1268472"/>
                </a:cubicBezTo>
                <a:cubicBezTo>
                  <a:pt x="564896" y="1259222"/>
                  <a:pt x="571970" y="1252147"/>
                  <a:pt x="581221" y="1252147"/>
                </a:cubicBezTo>
                <a:close/>
                <a:moveTo>
                  <a:pt x="745018" y="1246705"/>
                </a:moveTo>
                <a:cubicBezTo>
                  <a:pt x="757534" y="1246705"/>
                  <a:pt x="766785" y="1257044"/>
                  <a:pt x="766241" y="1269560"/>
                </a:cubicBezTo>
                <a:cubicBezTo>
                  <a:pt x="765697" y="1280988"/>
                  <a:pt x="755358" y="1290783"/>
                  <a:pt x="744474" y="1290783"/>
                </a:cubicBezTo>
                <a:cubicBezTo>
                  <a:pt x="733046" y="1290783"/>
                  <a:pt x="722707" y="1279900"/>
                  <a:pt x="722707" y="1267928"/>
                </a:cubicBezTo>
                <a:cubicBezTo>
                  <a:pt x="722707" y="1255956"/>
                  <a:pt x="733046" y="1246705"/>
                  <a:pt x="745018" y="1246705"/>
                </a:cubicBezTo>
                <a:close/>
                <a:moveTo>
                  <a:pt x="907727" y="1241807"/>
                </a:moveTo>
                <a:cubicBezTo>
                  <a:pt x="921331" y="1241807"/>
                  <a:pt x="934391" y="1257044"/>
                  <a:pt x="933847" y="1269016"/>
                </a:cubicBezTo>
                <a:cubicBezTo>
                  <a:pt x="933847" y="1282620"/>
                  <a:pt x="920787" y="1295680"/>
                  <a:pt x="907183" y="1295136"/>
                </a:cubicBezTo>
                <a:cubicBezTo>
                  <a:pt x="893578" y="1294592"/>
                  <a:pt x="880518" y="1280988"/>
                  <a:pt x="880518" y="1267927"/>
                </a:cubicBezTo>
                <a:cubicBezTo>
                  <a:pt x="881062" y="1254323"/>
                  <a:pt x="894122" y="1242351"/>
                  <a:pt x="907727" y="1241807"/>
                </a:cubicBezTo>
                <a:close/>
                <a:moveTo>
                  <a:pt x="1070979" y="1240719"/>
                </a:moveTo>
                <a:cubicBezTo>
                  <a:pt x="1091114" y="1240175"/>
                  <a:pt x="1099276" y="1252691"/>
                  <a:pt x="1099821" y="1268472"/>
                </a:cubicBezTo>
                <a:cubicBezTo>
                  <a:pt x="1099821" y="1285886"/>
                  <a:pt x="1088393" y="1297858"/>
                  <a:pt x="1070435" y="1297858"/>
                </a:cubicBezTo>
                <a:cubicBezTo>
                  <a:pt x="1053566" y="1297858"/>
                  <a:pt x="1042138" y="1286430"/>
                  <a:pt x="1042138" y="1269560"/>
                </a:cubicBezTo>
                <a:cubicBezTo>
                  <a:pt x="1042138" y="1250514"/>
                  <a:pt x="1053566" y="1240719"/>
                  <a:pt x="1070979" y="1240719"/>
                </a:cubicBezTo>
                <a:close/>
                <a:moveTo>
                  <a:pt x="1234233" y="1235821"/>
                </a:moveTo>
                <a:cubicBezTo>
                  <a:pt x="1250558" y="1235821"/>
                  <a:pt x="1267972" y="1252691"/>
                  <a:pt x="1266883" y="1269016"/>
                </a:cubicBezTo>
                <a:cubicBezTo>
                  <a:pt x="1266339" y="1285885"/>
                  <a:pt x="1251646" y="1301122"/>
                  <a:pt x="1234233" y="1300578"/>
                </a:cubicBezTo>
                <a:cubicBezTo>
                  <a:pt x="1216275" y="1300578"/>
                  <a:pt x="1201582" y="1286430"/>
                  <a:pt x="1201582" y="1267383"/>
                </a:cubicBezTo>
                <a:cubicBezTo>
                  <a:pt x="1201582" y="1249425"/>
                  <a:pt x="1217907" y="1235821"/>
                  <a:pt x="1234233" y="1235821"/>
                </a:cubicBezTo>
                <a:close/>
                <a:moveTo>
                  <a:pt x="1396397" y="1234733"/>
                </a:moveTo>
                <a:cubicBezTo>
                  <a:pt x="1413810" y="1233645"/>
                  <a:pt x="1433945" y="1250514"/>
                  <a:pt x="1431224" y="1268472"/>
                </a:cubicBezTo>
                <a:cubicBezTo>
                  <a:pt x="1433401" y="1286430"/>
                  <a:pt x="1415443" y="1303299"/>
                  <a:pt x="1396941" y="1302755"/>
                </a:cubicBezTo>
                <a:cubicBezTo>
                  <a:pt x="1381160" y="1302211"/>
                  <a:pt x="1363202" y="1290783"/>
                  <a:pt x="1363746" y="1269016"/>
                </a:cubicBezTo>
                <a:cubicBezTo>
                  <a:pt x="1364290" y="1248881"/>
                  <a:pt x="1376806" y="1235821"/>
                  <a:pt x="1396397" y="1234733"/>
                </a:cubicBezTo>
                <a:close/>
                <a:moveTo>
                  <a:pt x="1559649" y="1232557"/>
                </a:moveTo>
                <a:cubicBezTo>
                  <a:pt x="1580328" y="1232013"/>
                  <a:pt x="1595021" y="1246705"/>
                  <a:pt x="1597742" y="1268472"/>
                </a:cubicBezTo>
                <a:cubicBezTo>
                  <a:pt x="1598286" y="1286974"/>
                  <a:pt x="1580872" y="1304932"/>
                  <a:pt x="1561826" y="1305476"/>
                </a:cubicBezTo>
                <a:cubicBezTo>
                  <a:pt x="1543868" y="1306564"/>
                  <a:pt x="1524822" y="1288063"/>
                  <a:pt x="1523734" y="1269561"/>
                </a:cubicBezTo>
                <a:cubicBezTo>
                  <a:pt x="1522645" y="1252147"/>
                  <a:pt x="1541147" y="1232557"/>
                  <a:pt x="1559649" y="1232557"/>
                </a:cubicBezTo>
                <a:close/>
                <a:moveTo>
                  <a:pt x="1723990" y="1231468"/>
                </a:moveTo>
                <a:cubicBezTo>
                  <a:pt x="1743037" y="1231468"/>
                  <a:pt x="1761539" y="1249426"/>
                  <a:pt x="1762083" y="1268472"/>
                </a:cubicBezTo>
                <a:cubicBezTo>
                  <a:pt x="1762627" y="1290239"/>
                  <a:pt x="1741404" y="1306020"/>
                  <a:pt x="1724535" y="1307109"/>
                </a:cubicBezTo>
                <a:cubicBezTo>
                  <a:pt x="1706033" y="1306564"/>
                  <a:pt x="1687531" y="1290239"/>
                  <a:pt x="1686442" y="1270105"/>
                </a:cubicBezTo>
                <a:cubicBezTo>
                  <a:pt x="1685354" y="1254323"/>
                  <a:pt x="1701679" y="1231468"/>
                  <a:pt x="1723990" y="1231468"/>
                </a:cubicBezTo>
                <a:close/>
                <a:moveTo>
                  <a:pt x="1888332" y="1230924"/>
                </a:moveTo>
                <a:cubicBezTo>
                  <a:pt x="1905745" y="1229836"/>
                  <a:pt x="1928056" y="1250514"/>
                  <a:pt x="1925336" y="1269561"/>
                </a:cubicBezTo>
                <a:cubicBezTo>
                  <a:pt x="1925336" y="1289695"/>
                  <a:pt x="1907378" y="1306564"/>
                  <a:pt x="1887243" y="1307653"/>
                </a:cubicBezTo>
                <a:cubicBezTo>
                  <a:pt x="1870918" y="1308197"/>
                  <a:pt x="1847519" y="1288063"/>
                  <a:pt x="1849151" y="1267928"/>
                </a:cubicBezTo>
                <a:cubicBezTo>
                  <a:pt x="1850239" y="1247794"/>
                  <a:pt x="1867653" y="1231468"/>
                  <a:pt x="1888332" y="1230924"/>
                </a:cubicBezTo>
                <a:close/>
                <a:moveTo>
                  <a:pt x="2049952" y="1230380"/>
                </a:moveTo>
                <a:lnTo>
                  <a:pt x="2051041" y="1230805"/>
                </a:lnTo>
                <a:lnTo>
                  <a:pt x="2051041" y="1307109"/>
                </a:lnTo>
                <a:cubicBezTo>
                  <a:pt x="2033627" y="1309830"/>
                  <a:pt x="2011316" y="1286974"/>
                  <a:pt x="2012404" y="1268472"/>
                </a:cubicBezTo>
                <a:cubicBezTo>
                  <a:pt x="2013493" y="1247794"/>
                  <a:pt x="2029274" y="1230380"/>
                  <a:pt x="2049952" y="1230380"/>
                </a:cubicBezTo>
                <a:close/>
                <a:moveTo>
                  <a:pt x="337431" y="1181404"/>
                </a:moveTo>
                <a:cubicBezTo>
                  <a:pt x="339608" y="1182493"/>
                  <a:pt x="341240" y="1184669"/>
                  <a:pt x="345050" y="1187934"/>
                </a:cubicBezTo>
                <a:cubicBezTo>
                  <a:pt x="340696" y="1190111"/>
                  <a:pt x="338519" y="1192288"/>
                  <a:pt x="336343" y="1192288"/>
                </a:cubicBezTo>
                <a:cubicBezTo>
                  <a:pt x="331445" y="1192832"/>
                  <a:pt x="330901" y="1189567"/>
                  <a:pt x="330901" y="1185758"/>
                </a:cubicBezTo>
                <a:cubicBezTo>
                  <a:pt x="330901" y="1181404"/>
                  <a:pt x="334166" y="1180860"/>
                  <a:pt x="337431" y="1181404"/>
                </a:cubicBezTo>
                <a:close/>
                <a:moveTo>
                  <a:pt x="499051" y="1171065"/>
                </a:moveTo>
                <a:cubicBezTo>
                  <a:pt x="506125" y="1170521"/>
                  <a:pt x="516465" y="1179772"/>
                  <a:pt x="516465" y="1187390"/>
                </a:cubicBezTo>
                <a:cubicBezTo>
                  <a:pt x="515921" y="1193920"/>
                  <a:pt x="507214" y="1202627"/>
                  <a:pt x="500140" y="1202627"/>
                </a:cubicBezTo>
                <a:cubicBezTo>
                  <a:pt x="493065" y="1202627"/>
                  <a:pt x="484358" y="1195008"/>
                  <a:pt x="483814" y="1187390"/>
                </a:cubicBezTo>
                <a:cubicBezTo>
                  <a:pt x="483270" y="1180316"/>
                  <a:pt x="491977" y="1171065"/>
                  <a:pt x="499051" y="1171065"/>
                </a:cubicBezTo>
                <a:close/>
                <a:moveTo>
                  <a:pt x="662848" y="1165623"/>
                </a:moveTo>
                <a:cubicBezTo>
                  <a:pt x="675364" y="1165623"/>
                  <a:pt x="684615" y="1174874"/>
                  <a:pt x="684615" y="1187390"/>
                </a:cubicBezTo>
                <a:cubicBezTo>
                  <a:pt x="684615" y="1199362"/>
                  <a:pt x="674820" y="1209157"/>
                  <a:pt x="662848" y="1209157"/>
                </a:cubicBezTo>
                <a:cubicBezTo>
                  <a:pt x="651420" y="1209157"/>
                  <a:pt x="641081" y="1198274"/>
                  <a:pt x="641081" y="1186846"/>
                </a:cubicBezTo>
                <a:cubicBezTo>
                  <a:pt x="641081" y="1175418"/>
                  <a:pt x="651420" y="1165623"/>
                  <a:pt x="662848" y="1165623"/>
                </a:cubicBezTo>
                <a:close/>
                <a:moveTo>
                  <a:pt x="825556" y="1160725"/>
                </a:moveTo>
                <a:cubicBezTo>
                  <a:pt x="840249" y="1161270"/>
                  <a:pt x="851677" y="1171609"/>
                  <a:pt x="852765" y="1186846"/>
                </a:cubicBezTo>
                <a:cubicBezTo>
                  <a:pt x="853309" y="1199906"/>
                  <a:pt x="840249" y="1213511"/>
                  <a:pt x="826645" y="1213511"/>
                </a:cubicBezTo>
                <a:cubicBezTo>
                  <a:pt x="813585" y="1214055"/>
                  <a:pt x="799980" y="1200995"/>
                  <a:pt x="798892" y="1188479"/>
                </a:cubicBezTo>
                <a:cubicBezTo>
                  <a:pt x="797803" y="1173241"/>
                  <a:pt x="814129" y="1160181"/>
                  <a:pt x="825556" y="1160725"/>
                </a:cubicBezTo>
                <a:close/>
                <a:moveTo>
                  <a:pt x="989353" y="1158004"/>
                </a:moveTo>
                <a:cubicBezTo>
                  <a:pt x="1007855" y="1159092"/>
                  <a:pt x="1018739" y="1168888"/>
                  <a:pt x="1018195" y="1187934"/>
                </a:cubicBezTo>
                <a:cubicBezTo>
                  <a:pt x="1017651" y="1206436"/>
                  <a:pt x="1007311" y="1216231"/>
                  <a:pt x="988809" y="1216775"/>
                </a:cubicBezTo>
                <a:cubicBezTo>
                  <a:pt x="972484" y="1217319"/>
                  <a:pt x="960512" y="1203715"/>
                  <a:pt x="959968" y="1187934"/>
                </a:cubicBezTo>
                <a:cubicBezTo>
                  <a:pt x="959968" y="1170520"/>
                  <a:pt x="972484" y="1158004"/>
                  <a:pt x="989353" y="1158004"/>
                </a:cubicBezTo>
                <a:close/>
                <a:moveTo>
                  <a:pt x="1152062" y="1153651"/>
                </a:moveTo>
                <a:cubicBezTo>
                  <a:pt x="1166755" y="1152562"/>
                  <a:pt x="1186345" y="1171065"/>
                  <a:pt x="1185801" y="1186301"/>
                </a:cubicBezTo>
                <a:cubicBezTo>
                  <a:pt x="1184713" y="1205348"/>
                  <a:pt x="1171652" y="1218952"/>
                  <a:pt x="1153150" y="1219496"/>
                </a:cubicBezTo>
                <a:cubicBezTo>
                  <a:pt x="1135193" y="1221129"/>
                  <a:pt x="1119412" y="1204259"/>
                  <a:pt x="1119956" y="1187390"/>
                </a:cubicBezTo>
                <a:cubicBezTo>
                  <a:pt x="1120500" y="1168888"/>
                  <a:pt x="1134648" y="1154739"/>
                  <a:pt x="1152062" y="1153651"/>
                </a:cubicBezTo>
                <a:close/>
                <a:moveTo>
                  <a:pt x="1315315" y="1152018"/>
                </a:moveTo>
                <a:cubicBezTo>
                  <a:pt x="1336537" y="1151474"/>
                  <a:pt x="1351230" y="1169432"/>
                  <a:pt x="1351230" y="1186845"/>
                </a:cubicBezTo>
                <a:cubicBezTo>
                  <a:pt x="1350686" y="1205891"/>
                  <a:pt x="1338714" y="1222217"/>
                  <a:pt x="1315859" y="1221673"/>
                </a:cubicBezTo>
                <a:cubicBezTo>
                  <a:pt x="1294092" y="1221128"/>
                  <a:pt x="1282120" y="1209157"/>
                  <a:pt x="1281576" y="1187390"/>
                </a:cubicBezTo>
                <a:cubicBezTo>
                  <a:pt x="1281031" y="1167255"/>
                  <a:pt x="1295724" y="1152562"/>
                  <a:pt x="1315315" y="1152018"/>
                </a:cubicBezTo>
                <a:close/>
                <a:moveTo>
                  <a:pt x="1479656" y="1149298"/>
                </a:moveTo>
                <a:cubicBezTo>
                  <a:pt x="1500878" y="1149842"/>
                  <a:pt x="1517204" y="1168888"/>
                  <a:pt x="1516660" y="1188479"/>
                </a:cubicBezTo>
                <a:cubicBezTo>
                  <a:pt x="1515027" y="1210246"/>
                  <a:pt x="1495981" y="1224938"/>
                  <a:pt x="1478023" y="1224394"/>
                </a:cubicBezTo>
                <a:cubicBezTo>
                  <a:pt x="1457889" y="1223850"/>
                  <a:pt x="1439931" y="1205892"/>
                  <a:pt x="1441563" y="1185758"/>
                </a:cubicBezTo>
                <a:cubicBezTo>
                  <a:pt x="1442652" y="1166167"/>
                  <a:pt x="1458977" y="1149298"/>
                  <a:pt x="1479656" y="1149298"/>
                </a:cubicBezTo>
                <a:close/>
                <a:moveTo>
                  <a:pt x="1642365" y="1148209"/>
                </a:moveTo>
                <a:cubicBezTo>
                  <a:pt x="1659779" y="1147121"/>
                  <a:pt x="1681001" y="1166711"/>
                  <a:pt x="1681001" y="1187390"/>
                </a:cubicBezTo>
                <a:cubicBezTo>
                  <a:pt x="1681001" y="1208613"/>
                  <a:pt x="1658690" y="1226026"/>
                  <a:pt x="1641821" y="1226026"/>
                </a:cubicBezTo>
                <a:cubicBezTo>
                  <a:pt x="1624407" y="1226026"/>
                  <a:pt x="1601007" y="1205348"/>
                  <a:pt x="1603728" y="1186846"/>
                </a:cubicBezTo>
                <a:cubicBezTo>
                  <a:pt x="1603728" y="1165623"/>
                  <a:pt x="1621686" y="1149298"/>
                  <a:pt x="1642365" y="1148209"/>
                </a:cubicBezTo>
                <a:close/>
                <a:moveTo>
                  <a:pt x="1969414" y="1147665"/>
                </a:moveTo>
                <a:cubicBezTo>
                  <a:pt x="1991725" y="1146032"/>
                  <a:pt x="2009139" y="1165623"/>
                  <a:pt x="2009139" y="1187934"/>
                </a:cubicBezTo>
                <a:cubicBezTo>
                  <a:pt x="2008595" y="1209157"/>
                  <a:pt x="1990093" y="1227114"/>
                  <a:pt x="1968870" y="1227114"/>
                </a:cubicBezTo>
                <a:cubicBezTo>
                  <a:pt x="1949824" y="1227114"/>
                  <a:pt x="1928601" y="1209701"/>
                  <a:pt x="1929145" y="1186301"/>
                </a:cubicBezTo>
                <a:cubicBezTo>
                  <a:pt x="1929145" y="1165623"/>
                  <a:pt x="1948191" y="1145488"/>
                  <a:pt x="1969414" y="1147665"/>
                </a:cubicBezTo>
                <a:close/>
                <a:moveTo>
                  <a:pt x="1805617" y="1147665"/>
                </a:moveTo>
                <a:cubicBezTo>
                  <a:pt x="1825752" y="1147665"/>
                  <a:pt x="1845342" y="1165078"/>
                  <a:pt x="1844798" y="1187934"/>
                </a:cubicBezTo>
                <a:cubicBezTo>
                  <a:pt x="1844254" y="1208612"/>
                  <a:pt x="1824664" y="1227115"/>
                  <a:pt x="1805073" y="1226571"/>
                </a:cubicBezTo>
                <a:cubicBezTo>
                  <a:pt x="1787115" y="1226571"/>
                  <a:pt x="1764260" y="1209701"/>
                  <a:pt x="1766981" y="1186845"/>
                </a:cubicBezTo>
                <a:cubicBezTo>
                  <a:pt x="1764804" y="1165623"/>
                  <a:pt x="1786027" y="1147665"/>
                  <a:pt x="1805617" y="1147665"/>
                </a:cubicBezTo>
                <a:close/>
                <a:moveTo>
                  <a:pt x="417425" y="1090527"/>
                </a:moveTo>
                <a:cubicBezTo>
                  <a:pt x="423955" y="1090527"/>
                  <a:pt x="433206" y="1099234"/>
                  <a:pt x="432662" y="1105764"/>
                </a:cubicBezTo>
                <a:cubicBezTo>
                  <a:pt x="432662" y="1111206"/>
                  <a:pt x="423955" y="1119912"/>
                  <a:pt x="417969" y="1120457"/>
                </a:cubicBezTo>
                <a:cubicBezTo>
                  <a:pt x="411439" y="1121001"/>
                  <a:pt x="402188" y="1111750"/>
                  <a:pt x="402732" y="1105219"/>
                </a:cubicBezTo>
                <a:cubicBezTo>
                  <a:pt x="402732" y="1099234"/>
                  <a:pt x="411439" y="1090527"/>
                  <a:pt x="417425" y="1090527"/>
                </a:cubicBezTo>
                <a:close/>
                <a:moveTo>
                  <a:pt x="580677" y="1083996"/>
                </a:moveTo>
                <a:cubicBezTo>
                  <a:pt x="592105" y="1083996"/>
                  <a:pt x="601900" y="1093791"/>
                  <a:pt x="602444" y="1105219"/>
                </a:cubicBezTo>
                <a:cubicBezTo>
                  <a:pt x="602988" y="1116647"/>
                  <a:pt x="593193" y="1126986"/>
                  <a:pt x="581221" y="1127530"/>
                </a:cubicBezTo>
                <a:cubicBezTo>
                  <a:pt x="570338" y="1127530"/>
                  <a:pt x="558910" y="1116102"/>
                  <a:pt x="558910" y="1105219"/>
                </a:cubicBezTo>
                <a:cubicBezTo>
                  <a:pt x="558910" y="1094880"/>
                  <a:pt x="570338" y="1083996"/>
                  <a:pt x="580677" y="1083996"/>
                </a:cubicBezTo>
                <a:close/>
                <a:moveTo>
                  <a:pt x="743386" y="1079099"/>
                </a:moveTo>
                <a:cubicBezTo>
                  <a:pt x="756991" y="1079099"/>
                  <a:pt x="769507" y="1088894"/>
                  <a:pt x="770595" y="1105219"/>
                </a:cubicBezTo>
                <a:cubicBezTo>
                  <a:pt x="771683" y="1116103"/>
                  <a:pt x="760800" y="1131340"/>
                  <a:pt x="745019" y="1132428"/>
                </a:cubicBezTo>
                <a:cubicBezTo>
                  <a:pt x="734135" y="1134061"/>
                  <a:pt x="717810" y="1118280"/>
                  <a:pt x="717810" y="1106308"/>
                </a:cubicBezTo>
                <a:cubicBezTo>
                  <a:pt x="717810" y="1091071"/>
                  <a:pt x="731414" y="1079099"/>
                  <a:pt x="743386" y="1079099"/>
                </a:cubicBezTo>
                <a:close/>
                <a:moveTo>
                  <a:pt x="907727" y="1076378"/>
                </a:moveTo>
                <a:cubicBezTo>
                  <a:pt x="926773" y="1076378"/>
                  <a:pt x="937112" y="1087262"/>
                  <a:pt x="937112" y="1105219"/>
                </a:cubicBezTo>
                <a:cubicBezTo>
                  <a:pt x="937112" y="1121545"/>
                  <a:pt x="928950" y="1134061"/>
                  <a:pt x="908271" y="1134061"/>
                </a:cubicBezTo>
                <a:cubicBezTo>
                  <a:pt x="888681" y="1134605"/>
                  <a:pt x="878341" y="1122633"/>
                  <a:pt x="878885" y="1105764"/>
                </a:cubicBezTo>
                <a:cubicBezTo>
                  <a:pt x="878341" y="1086173"/>
                  <a:pt x="892490" y="1076378"/>
                  <a:pt x="907727" y="1076378"/>
                </a:cubicBezTo>
                <a:close/>
                <a:moveTo>
                  <a:pt x="1071524" y="1072569"/>
                </a:moveTo>
                <a:cubicBezTo>
                  <a:pt x="1089482" y="1072569"/>
                  <a:pt x="1104174" y="1087806"/>
                  <a:pt x="1104174" y="1105220"/>
                </a:cubicBezTo>
                <a:cubicBezTo>
                  <a:pt x="1104174" y="1123722"/>
                  <a:pt x="1090026" y="1137870"/>
                  <a:pt x="1070435" y="1137870"/>
                </a:cubicBezTo>
                <a:cubicBezTo>
                  <a:pt x="1054110" y="1140047"/>
                  <a:pt x="1037241" y="1121545"/>
                  <a:pt x="1038329" y="1105764"/>
                </a:cubicBezTo>
                <a:cubicBezTo>
                  <a:pt x="1039417" y="1086173"/>
                  <a:pt x="1052478" y="1072569"/>
                  <a:pt x="1071524" y="1072569"/>
                </a:cubicBezTo>
                <a:close/>
                <a:moveTo>
                  <a:pt x="1235865" y="1068760"/>
                </a:moveTo>
                <a:cubicBezTo>
                  <a:pt x="1254912" y="1070392"/>
                  <a:pt x="1272325" y="1088894"/>
                  <a:pt x="1271237" y="1106852"/>
                </a:cubicBezTo>
                <a:cubicBezTo>
                  <a:pt x="1270149" y="1124810"/>
                  <a:pt x="1252735" y="1142223"/>
                  <a:pt x="1234777" y="1142223"/>
                </a:cubicBezTo>
                <a:cubicBezTo>
                  <a:pt x="1215187" y="1142223"/>
                  <a:pt x="1197773" y="1124265"/>
                  <a:pt x="1198861" y="1105219"/>
                </a:cubicBezTo>
                <a:cubicBezTo>
                  <a:pt x="1199406" y="1085629"/>
                  <a:pt x="1217908" y="1067127"/>
                  <a:pt x="1235865" y="1068760"/>
                </a:cubicBezTo>
                <a:close/>
                <a:moveTo>
                  <a:pt x="1396397" y="1067127"/>
                </a:moveTo>
                <a:cubicBezTo>
                  <a:pt x="1416532" y="1065494"/>
                  <a:pt x="1437755" y="1087806"/>
                  <a:pt x="1435578" y="1105219"/>
                </a:cubicBezTo>
                <a:cubicBezTo>
                  <a:pt x="1437210" y="1125898"/>
                  <a:pt x="1413267" y="1144400"/>
                  <a:pt x="1396941" y="1143856"/>
                </a:cubicBezTo>
                <a:cubicBezTo>
                  <a:pt x="1377895" y="1143856"/>
                  <a:pt x="1358305" y="1122633"/>
                  <a:pt x="1358849" y="1105763"/>
                </a:cubicBezTo>
                <a:cubicBezTo>
                  <a:pt x="1359393" y="1085629"/>
                  <a:pt x="1376807" y="1068759"/>
                  <a:pt x="1396397" y="1067127"/>
                </a:cubicBezTo>
                <a:close/>
                <a:moveTo>
                  <a:pt x="1560738" y="1066582"/>
                </a:moveTo>
                <a:cubicBezTo>
                  <a:pt x="1581961" y="1063862"/>
                  <a:pt x="1599919" y="1083452"/>
                  <a:pt x="1599919" y="1105763"/>
                </a:cubicBezTo>
                <a:cubicBezTo>
                  <a:pt x="1599919" y="1127530"/>
                  <a:pt x="1581417" y="1144400"/>
                  <a:pt x="1560738" y="1144400"/>
                </a:cubicBezTo>
                <a:cubicBezTo>
                  <a:pt x="1538971" y="1144400"/>
                  <a:pt x="1521557" y="1125898"/>
                  <a:pt x="1521013" y="1105763"/>
                </a:cubicBezTo>
                <a:cubicBezTo>
                  <a:pt x="1521013" y="1085629"/>
                  <a:pt x="1538971" y="1063862"/>
                  <a:pt x="1560738" y="1066582"/>
                </a:cubicBezTo>
                <a:close/>
                <a:moveTo>
                  <a:pt x="1723447" y="1064406"/>
                </a:moveTo>
                <a:cubicBezTo>
                  <a:pt x="1744126" y="1063862"/>
                  <a:pt x="1763716" y="1076378"/>
                  <a:pt x="1764260" y="1104675"/>
                </a:cubicBezTo>
                <a:cubicBezTo>
                  <a:pt x="1764804" y="1130796"/>
                  <a:pt x="1745758" y="1145488"/>
                  <a:pt x="1724535" y="1146032"/>
                </a:cubicBezTo>
                <a:cubicBezTo>
                  <a:pt x="1703313" y="1147121"/>
                  <a:pt x="1683722" y="1130796"/>
                  <a:pt x="1683178" y="1105764"/>
                </a:cubicBezTo>
                <a:cubicBezTo>
                  <a:pt x="1684266" y="1082364"/>
                  <a:pt x="1698415" y="1064950"/>
                  <a:pt x="1723447" y="1064406"/>
                </a:cubicBezTo>
                <a:close/>
                <a:moveTo>
                  <a:pt x="2051041" y="1063318"/>
                </a:moveTo>
                <a:lnTo>
                  <a:pt x="2051041" y="1147740"/>
                </a:lnTo>
                <a:lnTo>
                  <a:pt x="2049952" y="1148210"/>
                </a:lnTo>
                <a:cubicBezTo>
                  <a:pt x="2028730" y="1147121"/>
                  <a:pt x="2008051" y="1128619"/>
                  <a:pt x="2008051" y="1105764"/>
                </a:cubicBezTo>
                <a:cubicBezTo>
                  <a:pt x="2008595" y="1081276"/>
                  <a:pt x="2027641" y="1063862"/>
                  <a:pt x="2051041" y="1063318"/>
                </a:cubicBezTo>
                <a:close/>
                <a:moveTo>
                  <a:pt x="1887787" y="1062773"/>
                </a:moveTo>
                <a:cubicBezTo>
                  <a:pt x="1909554" y="1063862"/>
                  <a:pt x="1930233" y="1084540"/>
                  <a:pt x="1929145" y="1105763"/>
                </a:cubicBezTo>
                <a:cubicBezTo>
                  <a:pt x="1928056" y="1130251"/>
                  <a:pt x="1908466" y="1147121"/>
                  <a:pt x="1886699" y="1147665"/>
                </a:cubicBezTo>
                <a:cubicBezTo>
                  <a:pt x="1862755" y="1145488"/>
                  <a:pt x="1845886" y="1127530"/>
                  <a:pt x="1844798" y="1105219"/>
                </a:cubicBezTo>
                <a:cubicBezTo>
                  <a:pt x="1844253" y="1083996"/>
                  <a:pt x="1867109" y="1061685"/>
                  <a:pt x="1887787" y="1062773"/>
                </a:cubicBezTo>
                <a:close/>
                <a:moveTo>
                  <a:pt x="335798" y="1011621"/>
                </a:moveTo>
                <a:cubicBezTo>
                  <a:pt x="343960" y="1011621"/>
                  <a:pt x="347770" y="1014886"/>
                  <a:pt x="348314" y="1023049"/>
                </a:cubicBezTo>
                <a:cubicBezTo>
                  <a:pt x="348314" y="1031755"/>
                  <a:pt x="344505" y="1036109"/>
                  <a:pt x="336886" y="1036109"/>
                </a:cubicBezTo>
                <a:cubicBezTo>
                  <a:pt x="329268" y="1036109"/>
                  <a:pt x="324914" y="1032300"/>
                  <a:pt x="324370" y="1024681"/>
                </a:cubicBezTo>
                <a:cubicBezTo>
                  <a:pt x="323826" y="1015974"/>
                  <a:pt x="327635" y="1011621"/>
                  <a:pt x="335798" y="1011621"/>
                </a:cubicBezTo>
                <a:close/>
                <a:moveTo>
                  <a:pt x="499051" y="1002914"/>
                </a:moveTo>
                <a:cubicBezTo>
                  <a:pt x="508846" y="1002370"/>
                  <a:pt x="520818" y="1014342"/>
                  <a:pt x="520818" y="1024137"/>
                </a:cubicBezTo>
                <a:cubicBezTo>
                  <a:pt x="520818" y="1032844"/>
                  <a:pt x="508846" y="1045360"/>
                  <a:pt x="499595" y="1045360"/>
                </a:cubicBezTo>
                <a:cubicBezTo>
                  <a:pt x="490888" y="1045360"/>
                  <a:pt x="478372" y="1032844"/>
                  <a:pt x="478372" y="1024137"/>
                </a:cubicBezTo>
                <a:cubicBezTo>
                  <a:pt x="478372" y="1014886"/>
                  <a:pt x="489800" y="1002914"/>
                  <a:pt x="499051" y="1002914"/>
                </a:cubicBezTo>
                <a:close/>
                <a:moveTo>
                  <a:pt x="663392" y="997473"/>
                </a:moveTo>
                <a:cubicBezTo>
                  <a:pt x="675908" y="998561"/>
                  <a:pt x="688968" y="1011622"/>
                  <a:pt x="688424" y="1024138"/>
                </a:cubicBezTo>
                <a:cubicBezTo>
                  <a:pt x="687880" y="1039374"/>
                  <a:pt x="676452" y="1050802"/>
                  <a:pt x="661759" y="1050258"/>
                </a:cubicBezTo>
                <a:cubicBezTo>
                  <a:pt x="647066" y="1049170"/>
                  <a:pt x="637271" y="1036109"/>
                  <a:pt x="636727" y="1023593"/>
                </a:cubicBezTo>
                <a:cubicBezTo>
                  <a:pt x="637271" y="1010533"/>
                  <a:pt x="651420" y="996929"/>
                  <a:pt x="663392" y="997473"/>
                </a:cubicBezTo>
                <a:close/>
                <a:moveTo>
                  <a:pt x="826645" y="995840"/>
                </a:moveTo>
                <a:cubicBezTo>
                  <a:pt x="845147" y="995296"/>
                  <a:pt x="855486" y="1007267"/>
                  <a:pt x="854942" y="1024137"/>
                </a:cubicBezTo>
                <a:cubicBezTo>
                  <a:pt x="855486" y="1039374"/>
                  <a:pt x="845147" y="1052978"/>
                  <a:pt x="825557" y="1052978"/>
                </a:cubicBezTo>
                <a:cubicBezTo>
                  <a:pt x="808143" y="1052434"/>
                  <a:pt x="796715" y="1041006"/>
                  <a:pt x="797260" y="1023593"/>
                </a:cubicBezTo>
                <a:cubicBezTo>
                  <a:pt x="797260" y="1005635"/>
                  <a:pt x="808687" y="995840"/>
                  <a:pt x="826645" y="995840"/>
                </a:cubicBezTo>
                <a:close/>
                <a:moveTo>
                  <a:pt x="990441" y="990942"/>
                </a:moveTo>
                <a:cubicBezTo>
                  <a:pt x="1008943" y="990942"/>
                  <a:pt x="1023092" y="1006179"/>
                  <a:pt x="1022548" y="1025225"/>
                </a:cubicBezTo>
                <a:cubicBezTo>
                  <a:pt x="1022004" y="1043183"/>
                  <a:pt x="1007311" y="1056243"/>
                  <a:pt x="988809" y="1056787"/>
                </a:cubicBezTo>
                <a:cubicBezTo>
                  <a:pt x="973028" y="1057332"/>
                  <a:pt x="956702" y="1041551"/>
                  <a:pt x="956702" y="1023593"/>
                </a:cubicBezTo>
                <a:cubicBezTo>
                  <a:pt x="956158" y="1006723"/>
                  <a:pt x="973572" y="988221"/>
                  <a:pt x="990441" y="990942"/>
                </a:cubicBezTo>
                <a:close/>
                <a:moveTo>
                  <a:pt x="1150974" y="987678"/>
                </a:moveTo>
                <a:cubicBezTo>
                  <a:pt x="1170020" y="986045"/>
                  <a:pt x="1189066" y="1004547"/>
                  <a:pt x="1189610" y="1023593"/>
                </a:cubicBezTo>
                <a:cubicBezTo>
                  <a:pt x="1190154" y="1042095"/>
                  <a:pt x="1170564" y="1061685"/>
                  <a:pt x="1152062" y="1061685"/>
                </a:cubicBezTo>
                <a:cubicBezTo>
                  <a:pt x="1134104" y="1061685"/>
                  <a:pt x="1115602" y="1042639"/>
                  <a:pt x="1115058" y="1024682"/>
                </a:cubicBezTo>
                <a:cubicBezTo>
                  <a:pt x="1115058" y="1006724"/>
                  <a:pt x="1133016" y="988222"/>
                  <a:pt x="1150974" y="987678"/>
                </a:cubicBezTo>
                <a:close/>
                <a:moveTo>
                  <a:pt x="1315314" y="985501"/>
                </a:moveTo>
                <a:cubicBezTo>
                  <a:pt x="1335993" y="983868"/>
                  <a:pt x="1354495" y="1005635"/>
                  <a:pt x="1354495" y="1023593"/>
                </a:cubicBezTo>
                <a:cubicBezTo>
                  <a:pt x="1355039" y="1042639"/>
                  <a:pt x="1333816" y="1065495"/>
                  <a:pt x="1315858" y="1062230"/>
                </a:cubicBezTo>
                <a:cubicBezTo>
                  <a:pt x="1294636" y="1062230"/>
                  <a:pt x="1277222" y="1045360"/>
                  <a:pt x="1277222" y="1024137"/>
                </a:cubicBezTo>
                <a:cubicBezTo>
                  <a:pt x="1277222" y="1002914"/>
                  <a:pt x="1294091" y="986589"/>
                  <a:pt x="1315314" y="985501"/>
                </a:cubicBezTo>
                <a:close/>
                <a:moveTo>
                  <a:pt x="1479656" y="984412"/>
                </a:moveTo>
                <a:cubicBezTo>
                  <a:pt x="1503055" y="984412"/>
                  <a:pt x="1519925" y="1000737"/>
                  <a:pt x="1519380" y="1025225"/>
                </a:cubicBezTo>
                <a:cubicBezTo>
                  <a:pt x="1518836" y="1045904"/>
                  <a:pt x="1502511" y="1065494"/>
                  <a:pt x="1478567" y="1063318"/>
                </a:cubicBezTo>
                <a:cubicBezTo>
                  <a:pt x="1454624" y="1064950"/>
                  <a:pt x="1438842" y="1044816"/>
                  <a:pt x="1439387" y="1023593"/>
                </a:cubicBezTo>
                <a:cubicBezTo>
                  <a:pt x="1439931" y="1000193"/>
                  <a:pt x="1455712" y="983868"/>
                  <a:pt x="1479656" y="984412"/>
                </a:cubicBezTo>
                <a:close/>
                <a:moveTo>
                  <a:pt x="1641820" y="981691"/>
                </a:moveTo>
                <a:cubicBezTo>
                  <a:pt x="1665220" y="981691"/>
                  <a:pt x="1683178" y="999649"/>
                  <a:pt x="1684810" y="1023592"/>
                </a:cubicBezTo>
                <a:cubicBezTo>
                  <a:pt x="1683722" y="1048625"/>
                  <a:pt x="1665220" y="1066038"/>
                  <a:pt x="1642909" y="1066038"/>
                </a:cubicBezTo>
                <a:cubicBezTo>
                  <a:pt x="1618421" y="1066038"/>
                  <a:pt x="1599919" y="1047536"/>
                  <a:pt x="1599919" y="1023592"/>
                </a:cubicBezTo>
                <a:cubicBezTo>
                  <a:pt x="1599919" y="1001281"/>
                  <a:pt x="1616788" y="982235"/>
                  <a:pt x="1641820" y="981691"/>
                </a:cubicBezTo>
                <a:close/>
                <a:moveTo>
                  <a:pt x="1806161" y="980603"/>
                </a:moveTo>
                <a:cubicBezTo>
                  <a:pt x="1829561" y="980603"/>
                  <a:pt x="1848607" y="1000737"/>
                  <a:pt x="1849151" y="1023592"/>
                </a:cubicBezTo>
                <a:cubicBezTo>
                  <a:pt x="1849151" y="1046992"/>
                  <a:pt x="1827928" y="1068215"/>
                  <a:pt x="1805617" y="1067127"/>
                </a:cubicBezTo>
                <a:cubicBezTo>
                  <a:pt x="1781673" y="1068215"/>
                  <a:pt x="1762083" y="1044815"/>
                  <a:pt x="1762083" y="1023592"/>
                </a:cubicBezTo>
                <a:cubicBezTo>
                  <a:pt x="1762083" y="1002370"/>
                  <a:pt x="1781673" y="980058"/>
                  <a:pt x="1806161" y="980603"/>
                </a:cubicBezTo>
                <a:close/>
                <a:moveTo>
                  <a:pt x="1969414" y="980059"/>
                </a:moveTo>
                <a:cubicBezTo>
                  <a:pt x="1993358" y="980603"/>
                  <a:pt x="2012404" y="1001282"/>
                  <a:pt x="2012404" y="1024137"/>
                </a:cubicBezTo>
                <a:cubicBezTo>
                  <a:pt x="2012404" y="1046449"/>
                  <a:pt x="1991726" y="1069304"/>
                  <a:pt x="1968870" y="1067127"/>
                </a:cubicBezTo>
                <a:cubicBezTo>
                  <a:pt x="1946015" y="1068760"/>
                  <a:pt x="1925336" y="1044272"/>
                  <a:pt x="1924792" y="1024137"/>
                </a:cubicBezTo>
                <a:cubicBezTo>
                  <a:pt x="1924792" y="1002914"/>
                  <a:pt x="1944382" y="980059"/>
                  <a:pt x="1969414" y="980059"/>
                </a:cubicBezTo>
                <a:close/>
                <a:moveTo>
                  <a:pt x="254171" y="931083"/>
                </a:moveTo>
                <a:cubicBezTo>
                  <a:pt x="260701" y="931083"/>
                  <a:pt x="265599" y="935437"/>
                  <a:pt x="265599" y="941967"/>
                </a:cubicBezTo>
                <a:cubicBezTo>
                  <a:pt x="265599" y="948497"/>
                  <a:pt x="260701" y="952850"/>
                  <a:pt x="254171" y="952850"/>
                </a:cubicBezTo>
                <a:cubicBezTo>
                  <a:pt x="247641" y="952850"/>
                  <a:pt x="243832" y="948497"/>
                  <a:pt x="243832" y="941967"/>
                </a:cubicBezTo>
                <a:cubicBezTo>
                  <a:pt x="243832" y="935437"/>
                  <a:pt x="247641" y="931627"/>
                  <a:pt x="254171" y="931083"/>
                </a:cubicBezTo>
                <a:close/>
                <a:moveTo>
                  <a:pt x="417968" y="922377"/>
                </a:moveTo>
                <a:cubicBezTo>
                  <a:pt x="427219" y="921833"/>
                  <a:pt x="437559" y="932716"/>
                  <a:pt x="437559" y="942511"/>
                </a:cubicBezTo>
                <a:cubicBezTo>
                  <a:pt x="437559" y="951762"/>
                  <a:pt x="427219" y="961557"/>
                  <a:pt x="417968" y="961557"/>
                </a:cubicBezTo>
                <a:cubicBezTo>
                  <a:pt x="409262" y="961557"/>
                  <a:pt x="397290" y="949585"/>
                  <a:pt x="397834" y="941423"/>
                </a:cubicBezTo>
                <a:cubicBezTo>
                  <a:pt x="398378" y="933260"/>
                  <a:pt x="409806" y="922377"/>
                  <a:pt x="417968" y="922377"/>
                </a:cubicBezTo>
                <a:close/>
                <a:moveTo>
                  <a:pt x="581222" y="916934"/>
                </a:moveTo>
                <a:cubicBezTo>
                  <a:pt x="593738" y="916934"/>
                  <a:pt x="607342" y="931082"/>
                  <a:pt x="606798" y="943054"/>
                </a:cubicBezTo>
                <a:cubicBezTo>
                  <a:pt x="606254" y="955570"/>
                  <a:pt x="593738" y="967542"/>
                  <a:pt x="581222" y="967542"/>
                </a:cubicBezTo>
                <a:cubicBezTo>
                  <a:pt x="567617" y="966454"/>
                  <a:pt x="557278" y="958291"/>
                  <a:pt x="556190" y="943054"/>
                </a:cubicBezTo>
                <a:cubicBezTo>
                  <a:pt x="555101" y="929994"/>
                  <a:pt x="568161" y="916934"/>
                  <a:pt x="581222" y="916934"/>
                </a:cubicBezTo>
                <a:close/>
                <a:moveTo>
                  <a:pt x="744474" y="913669"/>
                </a:moveTo>
                <a:cubicBezTo>
                  <a:pt x="765153" y="913669"/>
                  <a:pt x="773860" y="927273"/>
                  <a:pt x="773315" y="942510"/>
                </a:cubicBezTo>
                <a:cubicBezTo>
                  <a:pt x="772771" y="959924"/>
                  <a:pt x="761344" y="971352"/>
                  <a:pt x="743930" y="970807"/>
                </a:cubicBezTo>
                <a:cubicBezTo>
                  <a:pt x="727061" y="970807"/>
                  <a:pt x="716177" y="959380"/>
                  <a:pt x="716177" y="941966"/>
                </a:cubicBezTo>
                <a:cubicBezTo>
                  <a:pt x="716177" y="923464"/>
                  <a:pt x="727605" y="914213"/>
                  <a:pt x="744474" y="913669"/>
                </a:cubicBezTo>
                <a:close/>
                <a:moveTo>
                  <a:pt x="908271" y="908772"/>
                </a:moveTo>
                <a:cubicBezTo>
                  <a:pt x="927317" y="910405"/>
                  <a:pt x="940922" y="924553"/>
                  <a:pt x="940377" y="944144"/>
                </a:cubicBezTo>
                <a:cubicBezTo>
                  <a:pt x="939833" y="962101"/>
                  <a:pt x="925141" y="975162"/>
                  <a:pt x="906094" y="975162"/>
                </a:cubicBezTo>
                <a:cubicBezTo>
                  <a:pt x="890313" y="975162"/>
                  <a:pt x="873988" y="959925"/>
                  <a:pt x="874532" y="940879"/>
                </a:cubicBezTo>
                <a:cubicBezTo>
                  <a:pt x="874532" y="925641"/>
                  <a:pt x="891402" y="907684"/>
                  <a:pt x="908271" y="908772"/>
                </a:cubicBezTo>
                <a:close/>
                <a:moveTo>
                  <a:pt x="1072068" y="906051"/>
                </a:moveTo>
                <a:cubicBezTo>
                  <a:pt x="1093291" y="907683"/>
                  <a:pt x="1105807" y="921832"/>
                  <a:pt x="1107984" y="942511"/>
                </a:cubicBezTo>
                <a:cubicBezTo>
                  <a:pt x="1107984" y="961013"/>
                  <a:pt x="1088938" y="979515"/>
                  <a:pt x="1070980" y="979515"/>
                </a:cubicBezTo>
                <a:cubicBezTo>
                  <a:pt x="1053022" y="979515"/>
                  <a:pt x="1034520" y="960469"/>
                  <a:pt x="1034520" y="942511"/>
                </a:cubicBezTo>
                <a:cubicBezTo>
                  <a:pt x="1034520" y="923465"/>
                  <a:pt x="1053566" y="904419"/>
                  <a:pt x="1072068" y="906051"/>
                </a:cubicBezTo>
                <a:close/>
                <a:moveTo>
                  <a:pt x="1235321" y="903874"/>
                </a:moveTo>
                <a:cubicBezTo>
                  <a:pt x="1257088" y="903874"/>
                  <a:pt x="1272325" y="920199"/>
                  <a:pt x="1272325" y="943054"/>
                </a:cubicBezTo>
                <a:cubicBezTo>
                  <a:pt x="1275045" y="962645"/>
                  <a:pt x="1251646" y="982779"/>
                  <a:pt x="1233688" y="981147"/>
                </a:cubicBezTo>
                <a:cubicBezTo>
                  <a:pt x="1211921" y="979514"/>
                  <a:pt x="1195052" y="963189"/>
                  <a:pt x="1195596" y="940878"/>
                </a:cubicBezTo>
                <a:cubicBezTo>
                  <a:pt x="1196140" y="919111"/>
                  <a:pt x="1212465" y="903330"/>
                  <a:pt x="1235321" y="903874"/>
                </a:cubicBezTo>
                <a:close/>
                <a:moveTo>
                  <a:pt x="1397486" y="901153"/>
                </a:moveTo>
                <a:cubicBezTo>
                  <a:pt x="1420885" y="901698"/>
                  <a:pt x="1437755" y="917479"/>
                  <a:pt x="1438299" y="942511"/>
                </a:cubicBezTo>
                <a:cubicBezTo>
                  <a:pt x="1437210" y="966999"/>
                  <a:pt x="1420341" y="983324"/>
                  <a:pt x="1396941" y="983324"/>
                </a:cubicBezTo>
                <a:cubicBezTo>
                  <a:pt x="1371909" y="983324"/>
                  <a:pt x="1355584" y="963190"/>
                  <a:pt x="1356128" y="941967"/>
                </a:cubicBezTo>
                <a:cubicBezTo>
                  <a:pt x="1356128" y="919655"/>
                  <a:pt x="1373542" y="900609"/>
                  <a:pt x="1397486" y="901153"/>
                </a:cubicBezTo>
                <a:close/>
                <a:moveTo>
                  <a:pt x="1560738" y="898977"/>
                </a:moveTo>
                <a:cubicBezTo>
                  <a:pt x="1584138" y="899521"/>
                  <a:pt x="1603728" y="917479"/>
                  <a:pt x="1603728" y="942511"/>
                </a:cubicBezTo>
                <a:cubicBezTo>
                  <a:pt x="1603728" y="966999"/>
                  <a:pt x="1581961" y="985501"/>
                  <a:pt x="1560738" y="985501"/>
                </a:cubicBezTo>
                <a:cubicBezTo>
                  <a:pt x="1537883" y="985501"/>
                  <a:pt x="1516660" y="963734"/>
                  <a:pt x="1517204" y="941423"/>
                </a:cubicBezTo>
                <a:cubicBezTo>
                  <a:pt x="1517748" y="919656"/>
                  <a:pt x="1535706" y="898977"/>
                  <a:pt x="1560738" y="898977"/>
                </a:cubicBezTo>
                <a:close/>
                <a:moveTo>
                  <a:pt x="1723990" y="897888"/>
                </a:moveTo>
                <a:cubicBezTo>
                  <a:pt x="1747934" y="897888"/>
                  <a:pt x="1769701" y="919111"/>
                  <a:pt x="1768069" y="942510"/>
                </a:cubicBezTo>
                <a:cubicBezTo>
                  <a:pt x="1770245" y="965366"/>
                  <a:pt x="1746302" y="987133"/>
                  <a:pt x="1723990" y="986589"/>
                </a:cubicBezTo>
                <a:cubicBezTo>
                  <a:pt x="1701679" y="986589"/>
                  <a:pt x="1679912" y="964278"/>
                  <a:pt x="1679912" y="941422"/>
                </a:cubicBezTo>
                <a:cubicBezTo>
                  <a:pt x="1680456" y="919655"/>
                  <a:pt x="1700047" y="897888"/>
                  <a:pt x="1723990" y="897888"/>
                </a:cubicBezTo>
                <a:close/>
                <a:moveTo>
                  <a:pt x="2050497" y="897344"/>
                </a:moveTo>
                <a:lnTo>
                  <a:pt x="2051041" y="897453"/>
                </a:lnTo>
                <a:lnTo>
                  <a:pt x="2051041" y="986917"/>
                </a:lnTo>
                <a:lnTo>
                  <a:pt x="2049952" y="987133"/>
                </a:lnTo>
                <a:cubicBezTo>
                  <a:pt x="2026553" y="987133"/>
                  <a:pt x="2004786" y="965366"/>
                  <a:pt x="2005330" y="941422"/>
                </a:cubicBezTo>
                <a:cubicBezTo>
                  <a:pt x="2005874" y="918023"/>
                  <a:pt x="2026009" y="897344"/>
                  <a:pt x="2050497" y="897344"/>
                </a:cubicBezTo>
                <a:close/>
                <a:moveTo>
                  <a:pt x="1887243" y="897344"/>
                </a:moveTo>
                <a:cubicBezTo>
                  <a:pt x="1910099" y="897344"/>
                  <a:pt x="1931866" y="916390"/>
                  <a:pt x="1931866" y="942511"/>
                </a:cubicBezTo>
                <a:cubicBezTo>
                  <a:pt x="1931866" y="965910"/>
                  <a:pt x="1910099" y="986589"/>
                  <a:pt x="1887243" y="986589"/>
                </a:cubicBezTo>
                <a:cubicBezTo>
                  <a:pt x="1864932" y="987133"/>
                  <a:pt x="1839900" y="965910"/>
                  <a:pt x="1843165" y="941422"/>
                </a:cubicBezTo>
                <a:cubicBezTo>
                  <a:pt x="1840444" y="918567"/>
                  <a:pt x="1863299" y="897344"/>
                  <a:pt x="1887243" y="897344"/>
                </a:cubicBezTo>
                <a:close/>
                <a:moveTo>
                  <a:pt x="172545" y="854354"/>
                </a:moveTo>
                <a:cubicBezTo>
                  <a:pt x="176899" y="854354"/>
                  <a:pt x="179619" y="855442"/>
                  <a:pt x="179619" y="860884"/>
                </a:cubicBezTo>
                <a:cubicBezTo>
                  <a:pt x="180164" y="864693"/>
                  <a:pt x="177987" y="866870"/>
                  <a:pt x="173634" y="866870"/>
                </a:cubicBezTo>
                <a:cubicBezTo>
                  <a:pt x="169824" y="866870"/>
                  <a:pt x="166559" y="866870"/>
                  <a:pt x="166015" y="861973"/>
                </a:cubicBezTo>
                <a:cubicBezTo>
                  <a:pt x="165471" y="857075"/>
                  <a:pt x="167103" y="854354"/>
                  <a:pt x="172545" y="854354"/>
                </a:cubicBezTo>
                <a:close/>
                <a:moveTo>
                  <a:pt x="336342" y="843471"/>
                </a:moveTo>
                <a:cubicBezTo>
                  <a:pt x="346681" y="844015"/>
                  <a:pt x="353211" y="849457"/>
                  <a:pt x="353211" y="860340"/>
                </a:cubicBezTo>
                <a:cubicBezTo>
                  <a:pt x="353211" y="872312"/>
                  <a:pt x="348858" y="876665"/>
                  <a:pt x="336886" y="877210"/>
                </a:cubicBezTo>
                <a:cubicBezTo>
                  <a:pt x="324370" y="877210"/>
                  <a:pt x="320561" y="872856"/>
                  <a:pt x="320017" y="860884"/>
                </a:cubicBezTo>
                <a:cubicBezTo>
                  <a:pt x="319473" y="851089"/>
                  <a:pt x="327635" y="842927"/>
                  <a:pt x="336342" y="843471"/>
                </a:cubicBezTo>
                <a:close/>
                <a:moveTo>
                  <a:pt x="500139" y="837485"/>
                </a:moveTo>
                <a:cubicBezTo>
                  <a:pt x="514832" y="837485"/>
                  <a:pt x="522994" y="846735"/>
                  <a:pt x="522994" y="861428"/>
                </a:cubicBezTo>
                <a:cubicBezTo>
                  <a:pt x="522994" y="876121"/>
                  <a:pt x="513743" y="884284"/>
                  <a:pt x="499595" y="884284"/>
                </a:cubicBezTo>
                <a:cubicBezTo>
                  <a:pt x="485446" y="883740"/>
                  <a:pt x="475651" y="875033"/>
                  <a:pt x="476739" y="860340"/>
                </a:cubicBezTo>
                <a:cubicBezTo>
                  <a:pt x="476195" y="842926"/>
                  <a:pt x="489256" y="836940"/>
                  <a:pt x="500139" y="837485"/>
                </a:cubicBezTo>
                <a:close/>
                <a:moveTo>
                  <a:pt x="662848" y="832587"/>
                </a:moveTo>
                <a:cubicBezTo>
                  <a:pt x="677541" y="832587"/>
                  <a:pt x="691689" y="842926"/>
                  <a:pt x="690057" y="860340"/>
                </a:cubicBezTo>
                <a:cubicBezTo>
                  <a:pt x="691689" y="876121"/>
                  <a:pt x="679718" y="888637"/>
                  <a:pt x="662848" y="888637"/>
                </a:cubicBezTo>
                <a:cubicBezTo>
                  <a:pt x="644890" y="888637"/>
                  <a:pt x="634551" y="874489"/>
                  <a:pt x="634551" y="861428"/>
                </a:cubicBezTo>
                <a:cubicBezTo>
                  <a:pt x="634551" y="842926"/>
                  <a:pt x="647611" y="832587"/>
                  <a:pt x="662848" y="832587"/>
                </a:cubicBezTo>
                <a:close/>
                <a:moveTo>
                  <a:pt x="826101" y="827146"/>
                </a:moveTo>
                <a:cubicBezTo>
                  <a:pt x="840249" y="826602"/>
                  <a:pt x="859840" y="843471"/>
                  <a:pt x="859295" y="860885"/>
                </a:cubicBezTo>
                <a:cubicBezTo>
                  <a:pt x="858751" y="875033"/>
                  <a:pt x="844603" y="894624"/>
                  <a:pt x="825556" y="892991"/>
                </a:cubicBezTo>
                <a:cubicBezTo>
                  <a:pt x="808687" y="894079"/>
                  <a:pt x="793450" y="877754"/>
                  <a:pt x="793450" y="860885"/>
                </a:cubicBezTo>
                <a:cubicBezTo>
                  <a:pt x="793994" y="842927"/>
                  <a:pt x="808143" y="828234"/>
                  <a:pt x="826101" y="827146"/>
                </a:cubicBezTo>
                <a:close/>
                <a:moveTo>
                  <a:pt x="988809" y="824424"/>
                </a:moveTo>
                <a:cubicBezTo>
                  <a:pt x="1010576" y="825512"/>
                  <a:pt x="1024180" y="839661"/>
                  <a:pt x="1025813" y="860339"/>
                </a:cubicBezTo>
                <a:cubicBezTo>
                  <a:pt x="1026901" y="878842"/>
                  <a:pt x="1008399" y="896799"/>
                  <a:pt x="989897" y="897344"/>
                </a:cubicBezTo>
                <a:cubicBezTo>
                  <a:pt x="971939" y="897344"/>
                  <a:pt x="953982" y="880474"/>
                  <a:pt x="953437" y="861972"/>
                </a:cubicBezTo>
                <a:cubicBezTo>
                  <a:pt x="951805" y="842926"/>
                  <a:pt x="969763" y="824968"/>
                  <a:pt x="988809" y="824424"/>
                </a:cubicBezTo>
                <a:close/>
                <a:moveTo>
                  <a:pt x="1153695" y="821704"/>
                </a:moveTo>
                <a:cubicBezTo>
                  <a:pt x="1175462" y="822248"/>
                  <a:pt x="1191243" y="839118"/>
                  <a:pt x="1191243" y="861429"/>
                </a:cubicBezTo>
                <a:cubicBezTo>
                  <a:pt x="1193964" y="882107"/>
                  <a:pt x="1169476" y="900610"/>
                  <a:pt x="1152606" y="899521"/>
                </a:cubicBezTo>
                <a:cubicBezTo>
                  <a:pt x="1130839" y="898433"/>
                  <a:pt x="1114514" y="882107"/>
                  <a:pt x="1114514" y="859252"/>
                </a:cubicBezTo>
                <a:cubicBezTo>
                  <a:pt x="1115058" y="837485"/>
                  <a:pt x="1131928" y="821704"/>
                  <a:pt x="1153695" y="821704"/>
                </a:cubicBezTo>
                <a:close/>
                <a:moveTo>
                  <a:pt x="1316403" y="818982"/>
                </a:moveTo>
                <a:cubicBezTo>
                  <a:pt x="1341979" y="820071"/>
                  <a:pt x="1356128" y="838573"/>
                  <a:pt x="1357216" y="860884"/>
                </a:cubicBezTo>
                <a:cubicBezTo>
                  <a:pt x="1356128" y="884828"/>
                  <a:pt x="1337626" y="901697"/>
                  <a:pt x="1315315" y="901697"/>
                </a:cubicBezTo>
                <a:cubicBezTo>
                  <a:pt x="1293003" y="901697"/>
                  <a:pt x="1273957" y="884284"/>
                  <a:pt x="1274501" y="860340"/>
                </a:cubicBezTo>
                <a:cubicBezTo>
                  <a:pt x="1275046" y="835852"/>
                  <a:pt x="1291915" y="818438"/>
                  <a:pt x="1316403" y="818982"/>
                </a:cubicBezTo>
                <a:close/>
                <a:moveTo>
                  <a:pt x="1479112" y="816806"/>
                </a:moveTo>
                <a:cubicBezTo>
                  <a:pt x="1501423" y="816806"/>
                  <a:pt x="1523190" y="835852"/>
                  <a:pt x="1522646" y="860340"/>
                </a:cubicBezTo>
                <a:cubicBezTo>
                  <a:pt x="1523735" y="885372"/>
                  <a:pt x="1499791" y="904419"/>
                  <a:pt x="1479656" y="904419"/>
                </a:cubicBezTo>
                <a:cubicBezTo>
                  <a:pt x="1457889" y="904419"/>
                  <a:pt x="1436122" y="883740"/>
                  <a:pt x="1435578" y="860884"/>
                </a:cubicBezTo>
                <a:cubicBezTo>
                  <a:pt x="1435578" y="838573"/>
                  <a:pt x="1455713" y="816806"/>
                  <a:pt x="1479112" y="816806"/>
                </a:cubicBezTo>
                <a:close/>
                <a:moveTo>
                  <a:pt x="1642909" y="815718"/>
                </a:moveTo>
                <a:cubicBezTo>
                  <a:pt x="1665764" y="816262"/>
                  <a:pt x="1686987" y="835852"/>
                  <a:pt x="1686987" y="860885"/>
                </a:cubicBezTo>
                <a:cubicBezTo>
                  <a:pt x="1686987" y="884284"/>
                  <a:pt x="1666308" y="906051"/>
                  <a:pt x="1641276" y="905507"/>
                </a:cubicBezTo>
                <a:cubicBezTo>
                  <a:pt x="1619509" y="905507"/>
                  <a:pt x="1595021" y="884284"/>
                  <a:pt x="1597742" y="860340"/>
                </a:cubicBezTo>
                <a:cubicBezTo>
                  <a:pt x="1595021" y="836941"/>
                  <a:pt x="1619509" y="815174"/>
                  <a:pt x="1642909" y="815718"/>
                </a:cubicBezTo>
                <a:close/>
                <a:moveTo>
                  <a:pt x="1806161" y="815173"/>
                </a:moveTo>
                <a:cubicBezTo>
                  <a:pt x="1832282" y="815717"/>
                  <a:pt x="1854593" y="836396"/>
                  <a:pt x="1852416" y="860884"/>
                </a:cubicBezTo>
                <a:cubicBezTo>
                  <a:pt x="1850240" y="885372"/>
                  <a:pt x="1837179" y="906050"/>
                  <a:pt x="1805617" y="906594"/>
                </a:cubicBezTo>
                <a:cubicBezTo>
                  <a:pt x="1776776" y="906594"/>
                  <a:pt x="1759362" y="885916"/>
                  <a:pt x="1759906" y="860884"/>
                </a:cubicBezTo>
                <a:cubicBezTo>
                  <a:pt x="1759906" y="834219"/>
                  <a:pt x="1776776" y="815717"/>
                  <a:pt x="1806161" y="815173"/>
                </a:cubicBezTo>
                <a:close/>
                <a:moveTo>
                  <a:pt x="1968326" y="812453"/>
                </a:moveTo>
                <a:cubicBezTo>
                  <a:pt x="1979754" y="812453"/>
                  <a:pt x="1991726" y="817351"/>
                  <a:pt x="2000977" y="826057"/>
                </a:cubicBezTo>
                <a:cubicBezTo>
                  <a:pt x="2010772" y="835308"/>
                  <a:pt x="2016214" y="847280"/>
                  <a:pt x="2015670" y="859796"/>
                </a:cubicBezTo>
                <a:cubicBezTo>
                  <a:pt x="2014581" y="884828"/>
                  <a:pt x="2000977" y="904963"/>
                  <a:pt x="1969415" y="907684"/>
                </a:cubicBezTo>
                <a:cubicBezTo>
                  <a:pt x="1942206" y="906051"/>
                  <a:pt x="1923704" y="890270"/>
                  <a:pt x="1922071" y="860885"/>
                </a:cubicBezTo>
                <a:cubicBezTo>
                  <a:pt x="1920983" y="836397"/>
                  <a:pt x="1943294" y="812453"/>
                  <a:pt x="1968326" y="812453"/>
                </a:cubicBezTo>
                <a:close/>
                <a:moveTo>
                  <a:pt x="255260" y="762932"/>
                </a:moveTo>
                <a:cubicBezTo>
                  <a:pt x="261790" y="763476"/>
                  <a:pt x="271041" y="773271"/>
                  <a:pt x="270497" y="779802"/>
                </a:cubicBezTo>
                <a:cubicBezTo>
                  <a:pt x="270497" y="786332"/>
                  <a:pt x="261246" y="795038"/>
                  <a:pt x="254172" y="795038"/>
                </a:cubicBezTo>
                <a:cubicBezTo>
                  <a:pt x="246553" y="795038"/>
                  <a:pt x="238391" y="786332"/>
                  <a:pt x="238935" y="778713"/>
                </a:cubicBezTo>
                <a:cubicBezTo>
                  <a:pt x="239479" y="771095"/>
                  <a:pt x="248186" y="762388"/>
                  <a:pt x="255260" y="762932"/>
                </a:cubicBezTo>
                <a:close/>
                <a:moveTo>
                  <a:pt x="416881" y="756402"/>
                </a:moveTo>
                <a:cubicBezTo>
                  <a:pt x="430485" y="756402"/>
                  <a:pt x="439736" y="765109"/>
                  <a:pt x="440280" y="778713"/>
                </a:cubicBezTo>
                <a:cubicBezTo>
                  <a:pt x="440280" y="791229"/>
                  <a:pt x="431573" y="801024"/>
                  <a:pt x="419057" y="801024"/>
                </a:cubicBezTo>
                <a:cubicBezTo>
                  <a:pt x="405997" y="801569"/>
                  <a:pt x="396202" y="792317"/>
                  <a:pt x="396202" y="779257"/>
                </a:cubicBezTo>
                <a:cubicBezTo>
                  <a:pt x="396202" y="766741"/>
                  <a:pt x="404909" y="756946"/>
                  <a:pt x="416881" y="756402"/>
                </a:cubicBezTo>
                <a:close/>
                <a:moveTo>
                  <a:pt x="581766" y="751505"/>
                </a:moveTo>
                <a:cubicBezTo>
                  <a:pt x="598091" y="752594"/>
                  <a:pt x="607887" y="762933"/>
                  <a:pt x="608975" y="779802"/>
                </a:cubicBezTo>
                <a:cubicBezTo>
                  <a:pt x="608975" y="792318"/>
                  <a:pt x="596459" y="808644"/>
                  <a:pt x="580678" y="806467"/>
                </a:cubicBezTo>
                <a:cubicBezTo>
                  <a:pt x="565985" y="808100"/>
                  <a:pt x="553469" y="792318"/>
                  <a:pt x="553469" y="778714"/>
                </a:cubicBezTo>
                <a:cubicBezTo>
                  <a:pt x="553469" y="764021"/>
                  <a:pt x="567618" y="750417"/>
                  <a:pt x="581766" y="751505"/>
                </a:cubicBezTo>
                <a:close/>
                <a:moveTo>
                  <a:pt x="746107" y="746607"/>
                </a:moveTo>
                <a:cubicBezTo>
                  <a:pt x="762432" y="747695"/>
                  <a:pt x="778213" y="765653"/>
                  <a:pt x="777125" y="780346"/>
                </a:cubicBezTo>
                <a:cubicBezTo>
                  <a:pt x="776581" y="795038"/>
                  <a:pt x="762432" y="811908"/>
                  <a:pt x="742842" y="811364"/>
                </a:cubicBezTo>
                <a:cubicBezTo>
                  <a:pt x="725428" y="810276"/>
                  <a:pt x="712368" y="795583"/>
                  <a:pt x="712368" y="778713"/>
                </a:cubicBezTo>
                <a:cubicBezTo>
                  <a:pt x="712368" y="760755"/>
                  <a:pt x="730870" y="745519"/>
                  <a:pt x="746107" y="746607"/>
                </a:cubicBezTo>
                <a:close/>
                <a:moveTo>
                  <a:pt x="907727" y="741710"/>
                </a:moveTo>
                <a:cubicBezTo>
                  <a:pt x="925684" y="741710"/>
                  <a:pt x="944187" y="760756"/>
                  <a:pt x="944187" y="778714"/>
                </a:cubicBezTo>
                <a:cubicBezTo>
                  <a:pt x="944187" y="796672"/>
                  <a:pt x="926229" y="815174"/>
                  <a:pt x="907727" y="815174"/>
                </a:cubicBezTo>
                <a:cubicBezTo>
                  <a:pt x="889225" y="815174"/>
                  <a:pt x="872899" y="798848"/>
                  <a:pt x="872355" y="779258"/>
                </a:cubicBezTo>
                <a:cubicBezTo>
                  <a:pt x="871811" y="759668"/>
                  <a:pt x="888136" y="742254"/>
                  <a:pt x="907727" y="741710"/>
                </a:cubicBezTo>
                <a:close/>
                <a:moveTo>
                  <a:pt x="1070979" y="740621"/>
                </a:moveTo>
                <a:cubicBezTo>
                  <a:pt x="1091114" y="737357"/>
                  <a:pt x="1110704" y="761300"/>
                  <a:pt x="1110160" y="779258"/>
                </a:cubicBezTo>
                <a:cubicBezTo>
                  <a:pt x="1110160" y="798304"/>
                  <a:pt x="1089481" y="817894"/>
                  <a:pt x="1070979" y="817894"/>
                </a:cubicBezTo>
                <a:cubicBezTo>
                  <a:pt x="1049757" y="817894"/>
                  <a:pt x="1031255" y="797216"/>
                  <a:pt x="1031799" y="778714"/>
                </a:cubicBezTo>
                <a:cubicBezTo>
                  <a:pt x="1033431" y="756947"/>
                  <a:pt x="1049212" y="740621"/>
                  <a:pt x="1070979" y="740621"/>
                </a:cubicBezTo>
                <a:close/>
                <a:moveTo>
                  <a:pt x="1233688" y="736268"/>
                </a:moveTo>
                <a:cubicBezTo>
                  <a:pt x="1254367" y="735723"/>
                  <a:pt x="1276134" y="756402"/>
                  <a:pt x="1276134" y="777625"/>
                </a:cubicBezTo>
                <a:cubicBezTo>
                  <a:pt x="1276134" y="801025"/>
                  <a:pt x="1258720" y="819526"/>
                  <a:pt x="1235320" y="820615"/>
                </a:cubicBezTo>
                <a:cubicBezTo>
                  <a:pt x="1211377" y="821159"/>
                  <a:pt x="1193419" y="802657"/>
                  <a:pt x="1192331" y="779258"/>
                </a:cubicBezTo>
                <a:cubicBezTo>
                  <a:pt x="1190698" y="758579"/>
                  <a:pt x="1213009" y="736812"/>
                  <a:pt x="1233688" y="736268"/>
                </a:cubicBezTo>
                <a:close/>
                <a:moveTo>
                  <a:pt x="1397485" y="735724"/>
                </a:moveTo>
                <a:cubicBezTo>
                  <a:pt x="1421973" y="734091"/>
                  <a:pt x="1441564" y="757491"/>
                  <a:pt x="1441019" y="779802"/>
                </a:cubicBezTo>
                <a:cubicBezTo>
                  <a:pt x="1441019" y="803746"/>
                  <a:pt x="1418708" y="823336"/>
                  <a:pt x="1396397" y="823336"/>
                </a:cubicBezTo>
                <a:cubicBezTo>
                  <a:pt x="1374630" y="823336"/>
                  <a:pt x="1352863" y="802113"/>
                  <a:pt x="1352863" y="779258"/>
                </a:cubicBezTo>
                <a:cubicBezTo>
                  <a:pt x="1353407" y="758579"/>
                  <a:pt x="1372453" y="733547"/>
                  <a:pt x="1397485" y="735724"/>
                </a:cubicBezTo>
                <a:close/>
                <a:moveTo>
                  <a:pt x="1562371" y="734636"/>
                </a:moveTo>
                <a:cubicBezTo>
                  <a:pt x="1586314" y="732459"/>
                  <a:pt x="1605905" y="754226"/>
                  <a:pt x="1605905" y="779802"/>
                </a:cubicBezTo>
                <a:cubicBezTo>
                  <a:pt x="1605361" y="805923"/>
                  <a:pt x="1585226" y="823881"/>
                  <a:pt x="1560194" y="823881"/>
                </a:cubicBezTo>
                <a:cubicBezTo>
                  <a:pt x="1535706" y="823881"/>
                  <a:pt x="1515027" y="803202"/>
                  <a:pt x="1515572" y="777626"/>
                </a:cubicBezTo>
                <a:cubicBezTo>
                  <a:pt x="1516116" y="755859"/>
                  <a:pt x="1535162" y="731371"/>
                  <a:pt x="1562371" y="734636"/>
                </a:cubicBezTo>
                <a:close/>
                <a:moveTo>
                  <a:pt x="1724535" y="730827"/>
                </a:moveTo>
                <a:cubicBezTo>
                  <a:pt x="1748478" y="731371"/>
                  <a:pt x="1772422" y="755314"/>
                  <a:pt x="1772422" y="779258"/>
                </a:cubicBezTo>
                <a:cubicBezTo>
                  <a:pt x="1771878" y="804290"/>
                  <a:pt x="1748478" y="826602"/>
                  <a:pt x="1723446" y="826602"/>
                </a:cubicBezTo>
                <a:cubicBezTo>
                  <a:pt x="1696238" y="823881"/>
                  <a:pt x="1677736" y="807011"/>
                  <a:pt x="1676647" y="778714"/>
                </a:cubicBezTo>
                <a:cubicBezTo>
                  <a:pt x="1676103" y="753138"/>
                  <a:pt x="1699503" y="730282"/>
                  <a:pt x="1724535" y="730827"/>
                </a:cubicBezTo>
                <a:close/>
                <a:moveTo>
                  <a:pt x="1886699" y="730826"/>
                </a:moveTo>
                <a:cubicBezTo>
                  <a:pt x="1914452" y="730826"/>
                  <a:pt x="1934587" y="749872"/>
                  <a:pt x="1935131" y="778713"/>
                </a:cubicBezTo>
                <a:cubicBezTo>
                  <a:pt x="1936219" y="804834"/>
                  <a:pt x="1916085" y="826601"/>
                  <a:pt x="1887244" y="827145"/>
                </a:cubicBezTo>
                <a:cubicBezTo>
                  <a:pt x="1860579" y="826601"/>
                  <a:pt x="1838812" y="805922"/>
                  <a:pt x="1838812" y="778713"/>
                </a:cubicBezTo>
                <a:cubicBezTo>
                  <a:pt x="1839356" y="750416"/>
                  <a:pt x="1860035" y="730282"/>
                  <a:pt x="1886699" y="730826"/>
                </a:cubicBezTo>
                <a:close/>
                <a:moveTo>
                  <a:pt x="2050496" y="730282"/>
                </a:moveTo>
                <a:lnTo>
                  <a:pt x="2051041" y="730396"/>
                </a:lnTo>
                <a:lnTo>
                  <a:pt x="2051041" y="826942"/>
                </a:lnTo>
                <a:lnTo>
                  <a:pt x="2049952" y="827145"/>
                </a:lnTo>
                <a:cubicBezTo>
                  <a:pt x="2023832" y="827145"/>
                  <a:pt x="2001521" y="804290"/>
                  <a:pt x="2002065" y="778169"/>
                </a:cubicBezTo>
                <a:cubicBezTo>
                  <a:pt x="2002609" y="751505"/>
                  <a:pt x="2024376" y="730282"/>
                  <a:pt x="2050496" y="730282"/>
                </a:cubicBezTo>
                <a:close/>
                <a:moveTo>
                  <a:pt x="173634" y="685660"/>
                </a:moveTo>
                <a:cubicBezTo>
                  <a:pt x="181253" y="685660"/>
                  <a:pt x="185062" y="690013"/>
                  <a:pt x="184518" y="698176"/>
                </a:cubicBezTo>
                <a:cubicBezTo>
                  <a:pt x="183973" y="705250"/>
                  <a:pt x="180164" y="709059"/>
                  <a:pt x="172546" y="709059"/>
                </a:cubicBezTo>
                <a:cubicBezTo>
                  <a:pt x="164383" y="709059"/>
                  <a:pt x="160574" y="705250"/>
                  <a:pt x="161118" y="697088"/>
                </a:cubicBezTo>
                <a:cubicBezTo>
                  <a:pt x="161662" y="688925"/>
                  <a:pt x="164927" y="685660"/>
                  <a:pt x="173634" y="685660"/>
                </a:cubicBezTo>
                <a:close/>
                <a:moveTo>
                  <a:pt x="335798" y="675320"/>
                </a:moveTo>
                <a:cubicBezTo>
                  <a:pt x="345593" y="675320"/>
                  <a:pt x="357565" y="685115"/>
                  <a:pt x="357565" y="696543"/>
                </a:cubicBezTo>
                <a:cubicBezTo>
                  <a:pt x="357565" y="707426"/>
                  <a:pt x="346682" y="718854"/>
                  <a:pt x="336342" y="718854"/>
                </a:cubicBezTo>
                <a:cubicBezTo>
                  <a:pt x="327091" y="718854"/>
                  <a:pt x="315664" y="707426"/>
                  <a:pt x="315120" y="697631"/>
                </a:cubicBezTo>
                <a:cubicBezTo>
                  <a:pt x="314575" y="687292"/>
                  <a:pt x="325459" y="675864"/>
                  <a:pt x="335798" y="675320"/>
                </a:cubicBezTo>
                <a:close/>
                <a:moveTo>
                  <a:pt x="499051" y="670423"/>
                </a:moveTo>
                <a:cubicBezTo>
                  <a:pt x="512111" y="669335"/>
                  <a:pt x="526804" y="684027"/>
                  <a:pt x="526804" y="697088"/>
                </a:cubicBezTo>
                <a:cubicBezTo>
                  <a:pt x="526804" y="711236"/>
                  <a:pt x="513744" y="724296"/>
                  <a:pt x="499595" y="724296"/>
                </a:cubicBezTo>
                <a:cubicBezTo>
                  <a:pt x="486535" y="724296"/>
                  <a:pt x="472930" y="711236"/>
                  <a:pt x="472930" y="697632"/>
                </a:cubicBezTo>
                <a:cubicBezTo>
                  <a:pt x="472386" y="684027"/>
                  <a:pt x="485446" y="670423"/>
                  <a:pt x="499051" y="670423"/>
                </a:cubicBezTo>
                <a:close/>
                <a:moveTo>
                  <a:pt x="662848" y="665525"/>
                </a:moveTo>
                <a:cubicBezTo>
                  <a:pt x="678629" y="665525"/>
                  <a:pt x="694410" y="681306"/>
                  <a:pt x="694954" y="697087"/>
                </a:cubicBezTo>
                <a:cubicBezTo>
                  <a:pt x="695499" y="712868"/>
                  <a:pt x="679173" y="729194"/>
                  <a:pt x="663392" y="729194"/>
                </a:cubicBezTo>
                <a:cubicBezTo>
                  <a:pt x="647611" y="729194"/>
                  <a:pt x="632374" y="713957"/>
                  <a:pt x="632374" y="698176"/>
                </a:cubicBezTo>
                <a:cubicBezTo>
                  <a:pt x="631286" y="681850"/>
                  <a:pt x="647067" y="665525"/>
                  <a:pt x="662848" y="665525"/>
                </a:cubicBezTo>
                <a:close/>
                <a:moveTo>
                  <a:pt x="825013" y="663349"/>
                </a:moveTo>
                <a:cubicBezTo>
                  <a:pt x="844603" y="662260"/>
                  <a:pt x="861472" y="676953"/>
                  <a:pt x="860384" y="697632"/>
                </a:cubicBezTo>
                <a:cubicBezTo>
                  <a:pt x="861472" y="716134"/>
                  <a:pt x="846780" y="731915"/>
                  <a:pt x="826101" y="731915"/>
                </a:cubicBezTo>
                <a:cubicBezTo>
                  <a:pt x="806511" y="731915"/>
                  <a:pt x="791818" y="719399"/>
                  <a:pt x="791818" y="698176"/>
                </a:cubicBezTo>
                <a:cubicBezTo>
                  <a:pt x="791818" y="676409"/>
                  <a:pt x="805967" y="663893"/>
                  <a:pt x="825013" y="663349"/>
                </a:cubicBezTo>
                <a:close/>
                <a:moveTo>
                  <a:pt x="988809" y="658995"/>
                </a:moveTo>
                <a:cubicBezTo>
                  <a:pt x="1008400" y="657362"/>
                  <a:pt x="1028534" y="679129"/>
                  <a:pt x="1027446" y="697087"/>
                </a:cubicBezTo>
                <a:cubicBezTo>
                  <a:pt x="1026902" y="718310"/>
                  <a:pt x="1010576" y="735723"/>
                  <a:pt x="989353" y="735723"/>
                </a:cubicBezTo>
                <a:cubicBezTo>
                  <a:pt x="968675" y="735723"/>
                  <a:pt x="950717" y="718310"/>
                  <a:pt x="950717" y="697631"/>
                </a:cubicBezTo>
                <a:cubicBezTo>
                  <a:pt x="950717" y="676408"/>
                  <a:pt x="968131" y="660627"/>
                  <a:pt x="988809" y="658995"/>
                </a:cubicBezTo>
                <a:close/>
                <a:moveTo>
                  <a:pt x="1152607" y="655729"/>
                </a:moveTo>
                <a:cubicBezTo>
                  <a:pt x="1173829" y="654097"/>
                  <a:pt x="1194508" y="675864"/>
                  <a:pt x="1195052" y="697087"/>
                </a:cubicBezTo>
                <a:cubicBezTo>
                  <a:pt x="1195596" y="717766"/>
                  <a:pt x="1173829" y="739533"/>
                  <a:pt x="1153151" y="739533"/>
                </a:cubicBezTo>
                <a:cubicBezTo>
                  <a:pt x="1132472" y="740077"/>
                  <a:pt x="1110705" y="718310"/>
                  <a:pt x="1110705" y="697631"/>
                </a:cubicBezTo>
                <a:cubicBezTo>
                  <a:pt x="1112882" y="674231"/>
                  <a:pt x="1127574" y="657362"/>
                  <a:pt x="1152607" y="655729"/>
                </a:cubicBezTo>
                <a:close/>
                <a:moveTo>
                  <a:pt x="1316948" y="653554"/>
                </a:moveTo>
                <a:cubicBezTo>
                  <a:pt x="1340347" y="654098"/>
                  <a:pt x="1359937" y="674777"/>
                  <a:pt x="1359937" y="697632"/>
                </a:cubicBezTo>
                <a:cubicBezTo>
                  <a:pt x="1359937" y="718855"/>
                  <a:pt x="1339803" y="743343"/>
                  <a:pt x="1315315" y="740622"/>
                </a:cubicBezTo>
                <a:cubicBezTo>
                  <a:pt x="1293004" y="742799"/>
                  <a:pt x="1271237" y="718311"/>
                  <a:pt x="1271781" y="696544"/>
                </a:cubicBezTo>
                <a:cubicBezTo>
                  <a:pt x="1271781" y="675321"/>
                  <a:pt x="1292460" y="653010"/>
                  <a:pt x="1316948" y="653554"/>
                </a:cubicBezTo>
                <a:close/>
                <a:moveTo>
                  <a:pt x="1479112" y="651921"/>
                </a:moveTo>
                <a:cubicBezTo>
                  <a:pt x="1506321" y="651377"/>
                  <a:pt x="1524823" y="669335"/>
                  <a:pt x="1524823" y="697088"/>
                </a:cubicBezTo>
                <a:cubicBezTo>
                  <a:pt x="1524823" y="722664"/>
                  <a:pt x="1506865" y="743343"/>
                  <a:pt x="1479112" y="742254"/>
                </a:cubicBezTo>
                <a:cubicBezTo>
                  <a:pt x="1450815" y="743343"/>
                  <a:pt x="1433401" y="721031"/>
                  <a:pt x="1433945" y="697088"/>
                </a:cubicBezTo>
                <a:cubicBezTo>
                  <a:pt x="1434490" y="670423"/>
                  <a:pt x="1451903" y="652465"/>
                  <a:pt x="1479112" y="651921"/>
                </a:cubicBezTo>
                <a:close/>
                <a:moveTo>
                  <a:pt x="1642909" y="649744"/>
                </a:moveTo>
                <a:cubicBezTo>
                  <a:pt x="1671750" y="650288"/>
                  <a:pt x="1690252" y="668790"/>
                  <a:pt x="1690796" y="697087"/>
                </a:cubicBezTo>
                <a:cubicBezTo>
                  <a:pt x="1691340" y="723752"/>
                  <a:pt x="1672294" y="743342"/>
                  <a:pt x="1642909" y="745519"/>
                </a:cubicBezTo>
                <a:cubicBezTo>
                  <a:pt x="1614067" y="743887"/>
                  <a:pt x="1594477" y="725384"/>
                  <a:pt x="1594477" y="697632"/>
                </a:cubicBezTo>
                <a:cubicBezTo>
                  <a:pt x="1594477" y="668790"/>
                  <a:pt x="1614611" y="649200"/>
                  <a:pt x="1642909" y="649744"/>
                </a:cubicBezTo>
                <a:close/>
                <a:moveTo>
                  <a:pt x="1805617" y="648112"/>
                </a:moveTo>
                <a:cubicBezTo>
                  <a:pt x="1829561" y="648112"/>
                  <a:pt x="1857314" y="672055"/>
                  <a:pt x="1854593" y="698176"/>
                </a:cubicBezTo>
                <a:cubicBezTo>
                  <a:pt x="1856770" y="719399"/>
                  <a:pt x="1832826" y="747151"/>
                  <a:pt x="1805073" y="746607"/>
                </a:cubicBezTo>
                <a:cubicBezTo>
                  <a:pt x="1779497" y="746063"/>
                  <a:pt x="1756097" y="721575"/>
                  <a:pt x="1756097" y="697087"/>
                </a:cubicBezTo>
                <a:cubicBezTo>
                  <a:pt x="1756097" y="670423"/>
                  <a:pt x="1782218" y="647567"/>
                  <a:pt x="1805617" y="648112"/>
                </a:cubicBezTo>
                <a:close/>
                <a:moveTo>
                  <a:pt x="1969414" y="647023"/>
                </a:moveTo>
                <a:cubicBezTo>
                  <a:pt x="1992814" y="647023"/>
                  <a:pt x="2020567" y="672055"/>
                  <a:pt x="2018934" y="698176"/>
                </a:cubicBezTo>
                <a:cubicBezTo>
                  <a:pt x="2017302" y="725384"/>
                  <a:pt x="1996623" y="746063"/>
                  <a:pt x="1968326" y="746063"/>
                </a:cubicBezTo>
                <a:cubicBezTo>
                  <a:pt x="1941661" y="748784"/>
                  <a:pt x="1919350" y="721031"/>
                  <a:pt x="1918806" y="697087"/>
                </a:cubicBezTo>
                <a:cubicBezTo>
                  <a:pt x="1918806" y="669878"/>
                  <a:pt x="1945471" y="647023"/>
                  <a:pt x="1969414" y="647023"/>
                </a:cubicBezTo>
                <a:close/>
                <a:moveTo>
                  <a:pt x="90919" y="606754"/>
                </a:moveTo>
                <a:cubicBezTo>
                  <a:pt x="94728" y="608386"/>
                  <a:pt x="99626" y="612195"/>
                  <a:pt x="99626" y="615460"/>
                </a:cubicBezTo>
                <a:cubicBezTo>
                  <a:pt x="100170" y="618181"/>
                  <a:pt x="95816" y="621990"/>
                  <a:pt x="92007" y="627976"/>
                </a:cubicBezTo>
                <a:cubicBezTo>
                  <a:pt x="87654" y="623079"/>
                  <a:pt x="84389" y="619814"/>
                  <a:pt x="82756" y="616005"/>
                </a:cubicBezTo>
                <a:cubicBezTo>
                  <a:pt x="81668" y="613284"/>
                  <a:pt x="88198" y="605665"/>
                  <a:pt x="90919" y="606754"/>
                </a:cubicBezTo>
                <a:close/>
                <a:moveTo>
                  <a:pt x="254172" y="598047"/>
                </a:moveTo>
                <a:cubicBezTo>
                  <a:pt x="265599" y="597503"/>
                  <a:pt x="273218" y="606210"/>
                  <a:pt x="272674" y="614917"/>
                </a:cubicBezTo>
                <a:cubicBezTo>
                  <a:pt x="272674" y="625800"/>
                  <a:pt x="266688" y="632874"/>
                  <a:pt x="255260" y="633419"/>
                </a:cubicBezTo>
                <a:cubicBezTo>
                  <a:pt x="244376" y="633963"/>
                  <a:pt x="237302" y="626889"/>
                  <a:pt x="236758" y="616005"/>
                </a:cubicBezTo>
                <a:cubicBezTo>
                  <a:pt x="236758" y="605122"/>
                  <a:pt x="243832" y="598047"/>
                  <a:pt x="254172" y="598047"/>
                </a:cubicBezTo>
                <a:close/>
                <a:moveTo>
                  <a:pt x="418513" y="590429"/>
                </a:moveTo>
                <a:cubicBezTo>
                  <a:pt x="431029" y="590429"/>
                  <a:pt x="442457" y="601857"/>
                  <a:pt x="443001" y="614917"/>
                </a:cubicBezTo>
                <a:cubicBezTo>
                  <a:pt x="443545" y="627977"/>
                  <a:pt x="432118" y="640493"/>
                  <a:pt x="419058" y="640493"/>
                </a:cubicBezTo>
                <a:cubicBezTo>
                  <a:pt x="404365" y="640493"/>
                  <a:pt x="394570" y="630698"/>
                  <a:pt x="392937" y="616005"/>
                </a:cubicBezTo>
                <a:cubicBezTo>
                  <a:pt x="391849" y="604033"/>
                  <a:pt x="405997" y="590429"/>
                  <a:pt x="418513" y="590429"/>
                </a:cubicBezTo>
                <a:close/>
                <a:moveTo>
                  <a:pt x="581222" y="587163"/>
                </a:moveTo>
                <a:cubicBezTo>
                  <a:pt x="600812" y="588252"/>
                  <a:pt x="610063" y="598047"/>
                  <a:pt x="610063" y="616549"/>
                </a:cubicBezTo>
                <a:cubicBezTo>
                  <a:pt x="610063" y="634507"/>
                  <a:pt x="599179" y="644846"/>
                  <a:pt x="580677" y="645390"/>
                </a:cubicBezTo>
                <a:cubicBezTo>
                  <a:pt x="565440" y="644846"/>
                  <a:pt x="551836" y="634507"/>
                  <a:pt x="551836" y="615461"/>
                </a:cubicBezTo>
                <a:cubicBezTo>
                  <a:pt x="551836" y="594782"/>
                  <a:pt x="567073" y="586075"/>
                  <a:pt x="581222" y="587163"/>
                </a:cubicBezTo>
                <a:close/>
                <a:moveTo>
                  <a:pt x="743930" y="582266"/>
                </a:moveTo>
                <a:cubicBezTo>
                  <a:pt x="761344" y="581178"/>
                  <a:pt x="779301" y="599136"/>
                  <a:pt x="779301" y="616005"/>
                </a:cubicBezTo>
                <a:cubicBezTo>
                  <a:pt x="779301" y="632874"/>
                  <a:pt x="762976" y="649744"/>
                  <a:pt x="745563" y="649744"/>
                </a:cubicBezTo>
                <a:cubicBezTo>
                  <a:pt x="728149" y="649200"/>
                  <a:pt x="710191" y="635595"/>
                  <a:pt x="711824" y="616549"/>
                </a:cubicBezTo>
                <a:cubicBezTo>
                  <a:pt x="711824" y="596415"/>
                  <a:pt x="724340" y="583355"/>
                  <a:pt x="743930" y="582266"/>
                </a:cubicBezTo>
                <a:close/>
                <a:moveTo>
                  <a:pt x="907183" y="577913"/>
                </a:moveTo>
                <a:cubicBezTo>
                  <a:pt x="927318" y="576825"/>
                  <a:pt x="947452" y="598592"/>
                  <a:pt x="945276" y="615461"/>
                </a:cubicBezTo>
                <a:cubicBezTo>
                  <a:pt x="945276" y="635596"/>
                  <a:pt x="927318" y="653554"/>
                  <a:pt x="907727" y="654098"/>
                </a:cubicBezTo>
                <a:cubicBezTo>
                  <a:pt x="890314" y="654642"/>
                  <a:pt x="869091" y="635052"/>
                  <a:pt x="869091" y="616006"/>
                </a:cubicBezTo>
                <a:cubicBezTo>
                  <a:pt x="869635" y="595871"/>
                  <a:pt x="887049" y="578457"/>
                  <a:pt x="907183" y="577913"/>
                </a:cubicBezTo>
                <a:close/>
                <a:moveTo>
                  <a:pt x="1069891" y="574648"/>
                </a:moveTo>
                <a:cubicBezTo>
                  <a:pt x="1092202" y="574648"/>
                  <a:pt x="1111793" y="589885"/>
                  <a:pt x="1111248" y="615461"/>
                </a:cubicBezTo>
                <a:cubicBezTo>
                  <a:pt x="1111793" y="639405"/>
                  <a:pt x="1093835" y="656274"/>
                  <a:pt x="1070435" y="656274"/>
                </a:cubicBezTo>
                <a:cubicBezTo>
                  <a:pt x="1045403" y="656274"/>
                  <a:pt x="1029622" y="635052"/>
                  <a:pt x="1029622" y="614917"/>
                </a:cubicBezTo>
                <a:cubicBezTo>
                  <a:pt x="1030166" y="593150"/>
                  <a:pt x="1046491" y="574648"/>
                  <a:pt x="1069891" y="574648"/>
                </a:cubicBezTo>
                <a:close/>
                <a:moveTo>
                  <a:pt x="1235321" y="572472"/>
                </a:moveTo>
                <a:cubicBezTo>
                  <a:pt x="1256543" y="572472"/>
                  <a:pt x="1279399" y="590973"/>
                  <a:pt x="1277222" y="616550"/>
                </a:cubicBezTo>
                <a:cubicBezTo>
                  <a:pt x="1278855" y="639949"/>
                  <a:pt x="1255455" y="660084"/>
                  <a:pt x="1233688" y="660084"/>
                </a:cubicBezTo>
                <a:cubicBezTo>
                  <a:pt x="1211377" y="660084"/>
                  <a:pt x="1189610" y="637773"/>
                  <a:pt x="1190154" y="614917"/>
                </a:cubicBezTo>
                <a:cubicBezTo>
                  <a:pt x="1190698" y="594783"/>
                  <a:pt x="1209200" y="571927"/>
                  <a:pt x="1235321" y="572472"/>
                </a:cubicBezTo>
                <a:close/>
                <a:moveTo>
                  <a:pt x="1397485" y="569206"/>
                </a:moveTo>
                <a:cubicBezTo>
                  <a:pt x="1423606" y="569750"/>
                  <a:pt x="1443196" y="587708"/>
                  <a:pt x="1443196" y="616005"/>
                </a:cubicBezTo>
                <a:cubicBezTo>
                  <a:pt x="1443196" y="642670"/>
                  <a:pt x="1424150" y="661716"/>
                  <a:pt x="1396941" y="661172"/>
                </a:cubicBezTo>
                <a:cubicBezTo>
                  <a:pt x="1369188" y="661172"/>
                  <a:pt x="1350686" y="638860"/>
                  <a:pt x="1351775" y="614373"/>
                </a:cubicBezTo>
                <a:cubicBezTo>
                  <a:pt x="1352319" y="587164"/>
                  <a:pt x="1371365" y="569206"/>
                  <a:pt x="1397485" y="569206"/>
                </a:cubicBezTo>
                <a:close/>
                <a:moveTo>
                  <a:pt x="1560738" y="567029"/>
                </a:moveTo>
                <a:cubicBezTo>
                  <a:pt x="1586859" y="567029"/>
                  <a:pt x="1608082" y="587708"/>
                  <a:pt x="1609714" y="615461"/>
                </a:cubicBezTo>
                <a:cubicBezTo>
                  <a:pt x="1608082" y="641581"/>
                  <a:pt x="1589580" y="663892"/>
                  <a:pt x="1561283" y="663892"/>
                </a:cubicBezTo>
                <a:cubicBezTo>
                  <a:pt x="1534074" y="663892"/>
                  <a:pt x="1512851" y="642669"/>
                  <a:pt x="1512851" y="616005"/>
                </a:cubicBezTo>
                <a:cubicBezTo>
                  <a:pt x="1512851" y="587163"/>
                  <a:pt x="1535706" y="567029"/>
                  <a:pt x="1560738" y="567029"/>
                </a:cubicBezTo>
                <a:close/>
                <a:moveTo>
                  <a:pt x="1725624" y="565397"/>
                </a:moveTo>
                <a:cubicBezTo>
                  <a:pt x="1747935" y="565941"/>
                  <a:pt x="1775144" y="590429"/>
                  <a:pt x="1774599" y="616005"/>
                </a:cubicBezTo>
                <a:cubicBezTo>
                  <a:pt x="1774055" y="638317"/>
                  <a:pt x="1751744" y="668246"/>
                  <a:pt x="1723447" y="664981"/>
                </a:cubicBezTo>
                <a:cubicBezTo>
                  <a:pt x="1700592" y="667158"/>
                  <a:pt x="1674471" y="643758"/>
                  <a:pt x="1674471" y="615461"/>
                </a:cubicBezTo>
                <a:cubicBezTo>
                  <a:pt x="1674471" y="588797"/>
                  <a:pt x="1700592" y="565397"/>
                  <a:pt x="1725624" y="565397"/>
                </a:cubicBezTo>
                <a:close/>
                <a:moveTo>
                  <a:pt x="1886699" y="564853"/>
                </a:moveTo>
                <a:cubicBezTo>
                  <a:pt x="1914996" y="564309"/>
                  <a:pt x="1938396" y="589341"/>
                  <a:pt x="1938396" y="614917"/>
                </a:cubicBezTo>
                <a:cubicBezTo>
                  <a:pt x="1938396" y="640493"/>
                  <a:pt x="1917717" y="667702"/>
                  <a:pt x="1887787" y="665525"/>
                </a:cubicBezTo>
                <a:cubicBezTo>
                  <a:pt x="1860034" y="667702"/>
                  <a:pt x="1837723" y="644302"/>
                  <a:pt x="1837179" y="615461"/>
                </a:cubicBezTo>
                <a:cubicBezTo>
                  <a:pt x="1837179" y="586620"/>
                  <a:pt x="1861667" y="565397"/>
                  <a:pt x="1886699" y="564853"/>
                </a:cubicBezTo>
                <a:close/>
                <a:moveTo>
                  <a:pt x="2050496" y="564852"/>
                </a:moveTo>
                <a:lnTo>
                  <a:pt x="2051041" y="564962"/>
                </a:lnTo>
                <a:lnTo>
                  <a:pt x="2051041" y="665899"/>
                </a:lnTo>
                <a:lnTo>
                  <a:pt x="2049952" y="666069"/>
                </a:lnTo>
                <a:cubicBezTo>
                  <a:pt x="2018934" y="667157"/>
                  <a:pt x="1999344" y="642669"/>
                  <a:pt x="1999344" y="615460"/>
                </a:cubicBezTo>
                <a:cubicBezTo>
                  <a:pt x="1999344" y="587163"/>
                  <a:pt x="2021655" y="564852"/>
                  <a:pt x="2050496" y="564852"/>
                </a:cubicBezTo>
                <a:close/>
                <a:moveTo>
                  <a:pt x="173090" y="517509"/>
                </a:moveTo>
                <a:cubicBezTo>
                  <a:pt x="181252" y="517509"/>
                  <a:pt x="189415" y="525672"/>
                  <a:pt x="189959" y="533834"/>
                </a:cubicBezTo>
                <a:cubicBezTo>
                  <a:pt x="189959" y="542541"/>
                  <a:pt x="182341" y="550160"/>
                  <a:pt x="173634" y="550160"/>
                </a:cubicBezTo>
                <a:cubicBezTo>
                  <a:pt x="165471" y="550160"/>
                  <a:pt x="157853" y="543085"/>
                  <a:pt x="157308" y="534923"/>
                </a:cubicBezTo>
                <a:cubicBezTo>
                  <a:pt x="156764" y="526216"/>
                  <a:pt x="164383" y="518053"/>
                  <a:pt x="173090" y="517509"/>
                </a:cubicBezTo>
                <a:close/>
                <a:moveTo>
                  <a:pt x="335798" y="511523"/>
                </a:moveTo>
                <a:cubicBezTo>
                  <a:pt x="349947" y="512067"/>
                  <a:pt x="357565" y="519686"/>
                  <a:pt x="358654" y="533834"/>
                </a:cubicBezTo>
                <a:cubicBezTo>
                  <a:pt x="359742" y="547439"/>
                  <a:pt x="348314" y="557778"/>
                  <a:pt x="336343" y="556689"/>
                </a:cubicBezTo>
                <a:cubicBezTo>
                  <a:pt x="324371" y="558322"/>
                  <a:pt x="312943" y="545806"/>
                  <a:pt x="312943" y="534378"/>
                </a:cubicBezTo>
                <a:cubicBezTo>
                  <a:pt x="312943" y="522951"/>
                  <a:pt x="322738" y="510979"/>
                  <a:pt x="335798" y="511523"/>
                </a:cubicBezTo>
                <a:close/>
                <a:moveTo>
                  <a:pt x="500139" y="506626"/>
                </a:moveTo>
                <a:cubicBezTo>
                  <a:pt x="517553" y="507170"/>
                  <a:pt x="527892" y="517509"/>
                  <a:pt x="527348" y="535467"/>
                </a:cubicBezTo>
                <a:cubicBezTo>
                  <a:pt x="526804" y="552880"/>
                  <a:pt x="515920" y="562131"/>
                  <a:pt x="497963" y="561587"/>
                </a:cubicBezTo>
                <a:cubicBezTo>
                  <a:pt x="481093" y="561043"/>
                  <a:pt x="472386" y="550704"/>
                  <a:pt x="471842" y="533290"/>
                </a:cubicBezTo>
                <a:cubicBezTo>
                  <a:pt x="471298" y="516965"/>
                  <a:pt x="485447" y="506081"/>
                  <a:pt x="500139" y="506626"/>
                </a:cubicBezTo>
                <a:close/>
                <a:moveTo>
                  <a:pt x="662304" y="500639"/>
                </a:moveTo>
                <a:cubicBezTo>
                  <a:pt x="677540" y="497919"/>
                  <a:pt x="696587" y="518597"/>
                  <a:pt x="696042" y="533290"/>
                </a:cubicBezTo>
                <a:cubicBezTo>
                  <a:pt x="694954" y="551792"/>
                  <a:pt x="681894" y="565396"/>
                  <a:pt x="663392" y="566485"/>
                </a:cubicBezTo>
                <a:cubicBezTo>
                  <a:pt x="643802" y="567573"/>
                  <a:pt x="629653" y="549615"/>
                  <a:pt x="630197" y="534378"/>
                </a:cubicBezTo>
                <a:cubicBezTo>
                  <a:pt x="630741" y="515876"/>
                  <a:pt x="644346" y="501184"/>
                  <a:pt x="662304" y="500639"/>
                </a:cubicBezTo>
                <a:close/>
                <a:moveTo>
                  <a:pt x="825557" y="496830"/>
                </a:moveTo>
                <a:cubicBezTo>
                  <a:pt x="846780" y="496286"/>
                  <a:pt x="862561" y="513700"/>
                  <a:pt x="863649" y="534923"/>
                </a:cubicBezTo>
                <a:cubicBezTo>
                  <a:pt x="862017" y="556690"/>
                  <a:pt x="845147" y="571927"/>
                  <a:pt x="825557" y="571383"/>
                </a:cubicBezTo>
                <a:cubicBezTo>
                  <a:pt x="805422" y="570838"/>
                  <a:pt x="788553" y="555057"/>
                  <a:pt x="788553" y="534379"/>
                </a:cubicBezTo>
                <a:cubicBezTo>
                  <a:pt x="788553" y="514244"/>
                  <a:pt x="804334" y="497375"/>
                  <a:pt x="825557" y="496830"/>
                </a:cubicBezTo>
                <a:close/>
                <a:moveTo>
                  <a:pt x="989898" y="494110"/>
                </a:moveTo>
                <a:cubicBezTo>
                  <a:pt x="1012209" y="494654"/>
                  <a:pt x="1029622" y="513156"/>
                  <a:pt x="1029078" y="534923"/>
                </a:cubicBezTo>
                <a:cubicBezTo>
                  <a:pt x="1028534" y="556146"/>
                  <a:pt x="1010576" y="574104"/>
                  <a:pt x="989353" y="574104"/>
                </a:cubicBezTo>
                <a:cubicBezTo>
                  <a:pt x="969763" y="574648"/>
                  <a:pt x="947452" y="556690"/>
                  <a:pt x="949629" y="533835"/>
                </a:cubicBezTo>
                <a:cubicBezTo>
                  <a:pt x="947996" y="512068"/>
                  <a:pt x="968675" y="494110"/>
                  <a:pt x="989898" y="494110"/>
                </a:cubicBezTo>
                <a:close/>
                <a:moveTo>
                  <a:pt x="1152062" y="490301"/>
                </a:moveTo>
                <a:cubicBezTo>
                  <a:pt x="1174917" y="490301"/>
                  <a:pt x="1196140" y="509347"/>
                  <a:pt x="1196140" y="533835"/>
                </a:cubicBezTo>
                <a:cubicBezTo>
                  <a:pt x="1197228" y="558867"/>
                  <a:pt x="1173829" y="577913"/>
                  <a:pt x="1152606" y="577369"/>
                </a:cubicBezTo>
                <a:cubicBezTo>
                  <a:pt x="1130839" y="577369"/>
                  <a:pt x="1109616" y="556690"/>
                  <a:pt x="1109072" y="534379"/>
                </a:cubicBezTo>
                <a:cubicBezTo>
                  <a:pt x="1108528" y="510980"/>
                  <a:pt x="1128662" y="490301"/>
                  <a:pt x="1152062" y="490301"/>
                </a:cubicBezTo>
                <a:close/>
                <a:moveTo>
                  <a:pt x="1316947" y="489212"/>
                </a:moveTo>
                <a:cubicBezTo>
                  <a:pt x="1343612" y="489756"/>
                  <a:pt x="1361570" y="510435"/>
                  <a:pt x="1361570" y="534923"/>
                </a:cubicBezTo>
                <a:cubicBezTo>
                  <a:pt x="1361570" y="560499"/>
                  <a:pt x="1341980" y="580090"/>
                  <a:pt x="1315859" y="580090"/>
                </a:cubicBezTo>
                <a:cubicBezTo>
                  <a:pt x="1291915" y="580090"/>
                  <a:pt x="1269060" y="560499"/>
                  <a:pt x="1270693" y="533835"/>
                </a:cubicBezTo>
                <a:cubicBezTo>
                  <a:pt x="1269604" y="508258"/>
                  <a:pt x="1291371" y="488124"/>
                  <a:pt x="1316947" y="489212"/>
                </a:cubicBezTo>
                <a:close/>
                <a:moveTo>
                  <a:pt x="1479112" y="484315"/>
                </a:moveTo>
                <a:cubicBezTo>
                  <a:pt x="1503599" y="484315"/>
                  <a:pt x="1528087" y="508259"/>
                  <a:pt x="1528087" y="533835"/>
                </a:cubicBezTo>
                <a:cubicBezTo>
                  <a:pt x="1528087" y="558867"/>
                  <a:pt x="1506865" y="582267"/>
                  <a:pt x="1479656" y="582267"/>
                </a:cubicBezTo>
                <a:cubicBezTo>
                  <a:pt x="1453535" y="582267"/>
                  <a:pt x="1431224" y="560500"/>
                  <a:pt x="1431224" y="533835"/>
                </a:cubicBezTo>
                <a:cubicBezTo>
                  <a:pt x="1430680" y="506626"/>
                  <a:pt x="1454624" y="485403"/>
                  <a:pt x="1479112" y="484315"/>
                </a:cubicBezTo>
                <a:close/>
                <a:moveTo>
                  <a:pt x="1643452" y="484314"/>
                </a:moveTo>
                <a:cubicBezTo>
                  <a:pt x="1667396" y="481049"/>
                  <a:pt x="1693517" y="509891"/>
                  <a:pt x="1692973" y="534923"/>
                </a:cubicBezTo>
                <a:cubicBezTo>
                  <a:pt x="1692428" y="558867"/>
                  <a:pt x="1669573" y="584987"/>
                  <a:pt x="1641276" y="583898"/>
                </a:cubicBezTo>
                <a:cubicBezTo>
                  <a:pt x="1616788" y="583354"/>
                  <a:pt x="1592300" y="562676"/>
                  <a:pt x="1592300" y="532202"/>
                </a:cubicBezTo>
                <a:cubicBezTo>
                  <a:pt x="1592300" y="509891"/>
                  <a:pt x="1615155" y="481049"/>
                  <a:pt x="1643452" y="484314"/>
                </a:cubicBezTo>
                <a:close/>
                <a:moveTo>
                  <a:pt x="1806162" y="481594"/>
                </a:moveTo>
                <a:cubicBezTo>
                  <a:pt x="1839901" y="484859"/>
                  <a:pt x="1858947" y="504993"/>
                  <a:pt x="1857858" y="536011"/>
                </a:cubicBezTo>
                <a:cubicBezTo>
                  <a:pt x="1855682" y="568662"/>
                  <a:pt x="1834459" y="584987"/>
                  <a:pt x="1803441" y="586075"/>
                </a:cubicBezTo>
                <a:cubicBezTo>
                  <a:pt x="1775144" y="584443"/>
                  <a:pt x="1751744" y="559955"/>
                  <a:pt x="1753377" y="533290"/>
                </a:cubicBezTo>
                <a:cubicBezTo>
                  <a:pt x="1755009" y="504993"/>
                  <a:pt x="1780041" y="479417"/>
                  <a:pt x="1806162" y="481594"/>
                </a:cubicBezTo>
                <a:close/>
                <a:moveTo>
                  <a:pt x="1968326" y="480505"/>
                </a:moveTo>
                <a:cubicBezTo>
                  <a:pt x="1998256" y="483226"/>
                  <a:pt x="2020023" y="501728"/>
                  <a:pt x="2022200" y="534379"/>
                </a:cubicBezTo>
                <a:cubicBezTo>
                  <a:pt x="2023832" y="560499"/>
                  <a:pt x="1996079" y="588252"/>
                  <a:pt x="1969415" y="588252"/>
                </a:cubicBezTo>
                <a:cubicBezTo>
                  <a:pt x="1943294" y="588796"/>
                  <a:pt x="1916085" y="561587"/>
                  <a:pt x="1915541" y="534923"/>
                </a:cubicBezTo>
                <a:cubicBezTo>
                  <a:pt x="1914453" y="508258"/>
                  <a:pt x="1941117" y="480505"/>
                  <a:pt x="1968326" y="480505"/>
                </a:cubicBezTo>
                <a:close/>
                <a:moveTo>
                  <a:pt x="91464" y="440780"/>
                </a:moveTo>
                <a:cubicBezTo>
                  <a:pt x="99082" y="440780"/>
                  <a:pt x="102347" y="443501"/>
                  <a:pt x="102891" y="451664"/>
                </a:cubicBezTo>
                <a:cubicBezTo>
                  <a:pt x="102891" y="460915"/>
                  <a:pt x="100171" y="464179"/>
                  <a:pt x="92008" y="464179"/>
                </a:cubicBezTo>
                <a:cubicBezTo>
                  <a:pt x="83301" y="464179"/>
                  <a:pt x="80036" y="461459"/>
                  <a:pt x="80036" y="452752"/>
                </a:cubicBezTo>
                <a:cubicBezTo>
                  <a:pt x="80036" y="444045"/>
                  <a:pt x="83301" y="440780"/>
                  <a:pt x="91464" y="440780"/>
                </a:cubicBezTo>
                <a:close/>
                <a:moveTo>
                  <a:pt x="254172" y="430441"/>
                </a:moveTo>
                <a:cubicBezTo>
                  <a:pt x="263967" y="430441"/>
                  <a:pt x="276483" y="440236"/>
                  <a:pt x="275939" y="452208"/>
                </a:cubicBezTo>
                <a:cubicBezTo>
                  <a:pt x="275939" y="463092"/>
                  <a:pt x="265600" y="473975"/>
                  <a:pt x="254716" y="473975"/>
                </a:cubicBezTo>
                <a:cubicBezTo>
                  <a:pt x="244377" y="473975"/>
                  <a:pt x="232949" y="463092"/>
                  <a:pt x="232405" y="452752"/>
                </a:cubicBezTo>
                <a:cubicBezTo>
                  <a:pt x="232405" y="442413"/>
                  <a:pt x="243833" y="430985"/>
                  <a:pt x="254172" y="430441"/>
                </a:cubicBezTo>
                <a:close/>
                <a:moveTo>
                  <a:pt x="417969" y="424999"/>
                </a:moveTo>
                <a:cubicBezTo>
                  <a:pt x="432118" y="424999"/>
                  <a:pt x="444634" y="438059"/>
                  <a:pt x="444634" y="452752"/>
                </a:cubicBezTo>
                <a:cubicBezTo>
                  <a:pt x="445178" y="464180"/>
                  <a:pt x="432662" y="481049"/>
                  <a:pt x="417425" y="479417"/>
                </a:cubicBezTo>
                <a:cubicBezTo>
                  <a:pt x="405453" y="481049"/>
                  <a:pt x="389672" y="465268"/>
                  <a:pt x="390760" y="452208"/>
                </a:cubicBezTo>
                <a:cubicBezTo>
                  <a:pt x="391849" y="437515"/>
                  <a:pt x="403276" y="424999"/>
                  <a:pt x="417969" y="424999"/>
                </a:cubicBezTo>
                <a:close/>
                <a:moveTo>
                  <a:pt x="580677" y="419558"/>
                </a:moveTo>
                <a:cubicBezTo>
                  <a:pt x="596458" y="419013"/>
                  <a:pt x="612783" y="434795"/>
                  <a:pt x="612783" y="452208"/>
                </a:cubicBezTo>
                <a:cubicBezTo>
                  <a:pt x="612783" y="469622"/>
                  <a:pt x="599723" y="483226"/>
                  <a:pt x="581221" y="484315"/>
                </a:cubicBezTo>
                <a:cubicBezTo>
                  <a:pt x="561087" y="482138"/>
                  <a:pt x="549659" y="470710"/>
                  <a:pt x="549115" y="452208"/>
                </a:cubicBezTo>
                <a:cubicBezTo>
                  <a:pt x="548571" y="433162"/>
                  <a:pt x="564352" y="420102"/>
                  <a:pt x="580677" y="419558"/>
                </a:cubicBezTo>
                <a:close/>
                <a:moveTo>
                  <a:pt x="743931" y="415748"/>
                </a:moveTo>
                <a:cubicBezTo>
                  <a:pt x="761888" y="414660"/>
                  <a:pt x="779846" y="432618"/>
                  <a:pt x="780390" y="452208"/>
                </a:cubicBezTo>
                <a:cubicBezTo>
                  <a:pt x="780934" y="471254"/>
                  <a:pt x="764065" y="488668"/>
                  <a:pt x="744475" y="489212"/>
                </a:cubicBezTo>
                <a:cubicBezTo>
                  <a:pt x="727061" y="489212"/>
                  <a:pt x="709103" y="472342"/>
                  <a:pt x="708559" y="453840"/>
                </a:cubicBezTo>
                <a:cubicBezTo>
                  <a:pt x="707471" y="435883"/>
                  <a:pt x="725428" y="416836"/>
                  <a:pt x="743931" y="415748"/>
                </a:cubicBezTo>
                <a:close/>
                <a:moveTo>
                  <a:pt x="908271" y="414116"/>
                </a:moveTo>
                <a:cubicBezTo>
                  <a:pt x="927861" y="411395"/>
                  <a:pt x="946907" y="431529"/>
                  <a:pt x="946363" y="453296"/>
                </a:cubicBezTo>
                <a:cubicBezTo>
                  <a:pt x="946363" y="473975"/>
                  <a:pt x="927317" y="491933"/>
                  <a:pt x="906638" y="491933"/>
                </a:cubicBezTo>
                <a:cubicBezTo>
                  <a:pt x="887048" y="491933"/>
                  <a:pt x="866913" y="473431"/>
                  <a:pt x="868546" y="452208"/>
                </a:cubicBezTo>
                <a:cubicBezTo>
                  <a:pt x="870179" y="428808"/>
                  <a:pt x="884871" y="413571"/>
                  <a:pt x="908271" y="414116"/>
                </a:cubicBezTo>
                <a:close/>
                <a:moveTo>
                  <a:pt x="1072068" y="409218"/>
                </a:moveTo>
                <a:cubicBezTo>
                  <a:pt x="1097100" y="410307"/>
                  <a:pt x="1113970" y="427720"/>
                  <a:pt x="1113970" y="452752"/>
                </a:cubicBezTo>
                <a:cubicBezTo>
                  <a:pt x="1113970" y="478329"/>
                  <a:pt x="1092203" y="495198"/>
                  <a:pt x="1070436" y="495198"/>
                </a:cubicBezTo>
                <a:cubicBezTo>
                  <a:pt x="1048124" y="494654"/>
                  <a:pt x="1027446" y="475063"/>
                  <a:pt x="1028534" y="451120"/>
                </a:cubicBezTo>
                <a:cubicBezTo>
                  <a:pt x="1029622" y="427720"/>
                  <a:pt x="1048669" y="408130"/>
                  <a:pt x="1072068" y="409218"/>
                </a:cubicBezTo>
                <a:close/>
                <a:moveTo>
                  <a:pt x="1235865" y="408130"/>
                </a:moveTo>
                <a:cubicBezTo>
                  <a:pt x="1258721" y="405953"/>
                  <a:pt x="1279400" y="427176"/>
                  <a:pt x="1279400" y="453296"/>
                </a:cubicBezTo>
                <a:cubicBezTo>
                  <a:pt x="1278855" y="478328"/>
                  <a:pt x="1258177" y="497374"/>
                  <a:pt x="1233689" y="497374"/>
                </a:cubicBezTo>
                <a:cubicBezTo>
                  <a:pt x="1209745" y="496830"/>
                  <a:pt x="1189066" y="476151"/>
                  <a:pt x="1189611" y="451664"/>
                </a:cubicBezTo>
                <a:cubicBezTo>
                  <a:pt x="1189611" y="429352"/>
                  <a:pt x="1209201" y="404864"/>
                  <a:pt x="1235865" y="408130"/>
                </a:cubicBezTo>
                <a:close/>
                <a:moveTo>
                  <a:pt x="1396941" y="403776"/>
                </a:moveTo>
                <a:cubicBezTo>
                  <a:pt x="1425238" y="403232"/>
                  <a:pt x="1445373" y="423911"/>
                  <a:pt x="1446461" y="450575"/>
                </a:cubicBezTo>
                <a:cubicBezTo>
                  <a:pt x="1447005" y="476696"/>
                  <a:pt x="1426327" y="500096"/>
                  <a:pt x="1399118" y="500640"/>
                </a:cubicBezTo>
                <a:cubicBezTo>
                  <a:pt x="1372453" y="501184"/>
                  <a:pt x="1349598" y="479961"/>
                  <a:pt x="1349598" y="453296"/>
                </a:cubicBezTo>
                <a:cubicBezTo>
                  <a:pt x="1349598" y="424999"/>
                  <a:pt x="1370277" y="404865"/>
                  <a:pt x="1396941" y="403776"/>
                </a:cubicBezTo>
                <a:close/>
                <a:moveTo>
                  <a:pt x="1560738" y="402144"/>
                </a:moveTo>
                <a:cubicBezTo>
                  <a:pt x="1588491" y="402144"/>
                  <a:pt x="1611347" y="427176"/>
                  <a:pt x="1611347" y="453297"/>
                </a:cubicBezTo>
                <a:cubicBezTo>
                  <a:pt x="1610803" y="476152"/>
                  <a:pt x="1590668" y="502817"/>
                  <a:pt x="1560194" y="502272"/>
                </a:cubicBezTo>
                <a:cubicBezTo>
                  <a:pt x="1534074" y="501728"/>
                  <a:pt x="1508498" y="479961"/>
                  <a:pt x="1511218" y="451664"/>
                </a:cubicBezTo>
                <a:cubicBezTo>
                  <a:pt x="1508498" y="425544"/>
                  <a:pt x="1534618" y="402144"/>
                  <a:pt x="1560738" y="402144"/>
                </a:cubicBezTo>
                <a:close/>
                <a:moveTo>
                  <a:pt x="1723991" y="399423"/>
                </a:moveTo>
                <a:cubicBezTo>
                  <a:pt x="1756097" y="402688"/>
                  <a:pt x="1777320" y="422278"/>
                  <a:pt x="1776776" y="452752"/>
                </a:cubicBezTo>
                <a:cubicBezTo>
                  <a:pt x="1776232" y="483226"/>
                  <a:pt x="1757730" y="501728"/>
                  <a:pt x="1725079" y="504993"/>
                </a:cubicBezTo>
                <a:cubicBezTo>
                  <a:pt x="1697870" y="507714"/>
                  <a:pt x="1670117" y="479961"/>
                  <a:pt x="1671750" y="452752"/>
                </a:cubicBezTo>
                <a:cubicBezTo>
                  <a:pt x="1673382" y="420102"/>
                  <a:pt x="1692428" y="403232"/>
                  <a:pt x="1723991" y="399423"/>
                </a:cubicBezTo>
                <a:close/>
                <a:moveTo>
                  <a:pt x="2051040" y="398335"/>
                </a:moveTo>
                <a:lnTo>
                  <a:pt x="2051041" y="398335"/>
                </a:lnTo>
                <a:lnTo>
                  <a:pt x="2051041" y="506936"/>
                </a:lnTo>
                <a:lnTo>
                  <a:pt x="2049952" y="507170"/>
                </a:lnTo>
                <a:cubicBezTo>
                  <a:pt x="2020566" y="506626"/>
                  <a:pt x="1995534" y="481593"/>
                  <a:pt x="1995534" y="452208"/>
                </a:cubicBezTo>
                <a:cubicBezTo>
                  <a:pt x="1996078" y="424455"/>
                  <a:pt x="2021655" y="397246"/>
                  <a:pt x="2051040" y="398335"/>
                </a:cubicBezTo>
                <a:close/>
                <a:moveTo>
                  <a:pt x="1888332" y="398335"/>
                </a:moveTo>
                <a:cubicBezTo>
                  <a:pt x="1915541" y="398879"/>
                  <a:pt x="1941661" y="423911"/>
                  <a:pt x="1941661" y="452208"/>
                </a:cubicBezTo>
                <a:cubicBezTo>
                  <a:pt x="1941661" y="481594"/>
                  <a:pt x="1916085" y="507170"/>
                  <a:pt x="1886699" y="506082"/>
                </a:cubicBezTo>
                <a:cubicBezTo>
                  <a:pt x="1857314" y="505538"/>
                  <a:pt x="1833914" y="481594"/>
                  <a:pt x="1833370" y="452208"/>
                </a:cubicBezTo>
                <a:cubicBezTo>
                  <a:pt x="1833370" y="423911"/>
                  <a:pt x="1860035" y="398335"/>
                  <a:pt x="1888332" y="398335"/>
                </a:cubicBezTo>
                <a:close/>
                <a:moveTo>
                  <a:pt x="12014" y="364052"/>
                </a:moveTo>
                <a:cubicBezTo>
                  <a:pt x="13102" y="365140"/>
                  <a:pt x="15279" y="367317"/>
                  <a:pt x="15823" y="370038"/>
                </a:cubicBezTo>
                <a:cubicBezTo>
                  <a:pt x="16911" y="374391"/>
                  <a:pt x="14191" y="377656"/>
                  <a:pt x="9293" y="377656"/>
                </a:cubicBezTo>
                <a:cubicBezTo>
                  <a:pt x="4940" y="377656"/>
                  <a:pt x="3307" y="374936"/>
                  <a:pt x="3307" y="371126"/>
                </a:cubicBezTo>
                <a:cubicBezTo>
                  <a:pt x="3307" y="367317"/>
                  <a:pt x="4940" y="364052"/>
                  <a:pt x="12014" y="364052"/>
                </a:cubicBezTo>
                <a:close/>
                <a:moveTo>
                  <a:pt x="172545" y="353713"/>
                </a:moveTo>
                <a:cubicBezTo>
                  <a:pt x="184517" y="353713"/>
                  <a:pt x="190503" y="359154"/>
                  <a:pt x="190503" y="370582"/>
                </a:cubicBezTo>
                <a:cubicBezTo>
                  <a:pt x="190503" y="381466"/>
                  <a:pt x="184517" y="387996"/>
                  <a:pt x="173090" y="387996"/>
                </a:cubicBezTo>
                <a:cubicBezTo>
                  <a:pt x="163839" y="388540"/>
                  <a:pt x="155676" y="381466"/>
                  <a:pt x="155676" y="371126"/>
                </a:cubicBezTo>
                <a:cubicBezTo>
                  <a:pt x="155676" y="362419"/>
                  <a:pt x="161662" y="352080"/>
                  <a:pt x="172545" y="353713"/>
                </a:cubicBezTo>
                <a:close/>
                <a:moveTo>
                  <a:pt x="336886" y="345550"/>
                </a:moveTo>
                <a:cubicBezTo>
                  <a:pt x="350490" y="346094"/>
                  <a:pt x="362462" y="358610"/>
                  <a:pt x="361374" y="371670"/>
                </a:cubicBezTo>
                <a:cubicBezTo>
                  <a:pt x="360286" y="385275"/>
                  <a:pt x="348858" y="395614"/>
                  <a:pt x="335798" y="395070"/>
                </a:cubicBezTo>
                <a:cubicBezTo>
                  <a:pt x="319472" y="394526"/>
                  <a:pt x="311854" y="381466"/>
                  <a:pt x="311854" y="370038"/>
                </a:cubicBezTo>
                <a:cubicBezTo>
                  <a:pt x="311854" y="356978"/>
                  <a:pt x="324370" y="345550"/>
                  <a:pt x="336886" y="345550"/>
                </a:cubicBezTo>
                <a:close/>
                <a:moveTo>
                  <a:pt x="499596" y="342284"/>
                </a:moveTo>
                <a:cubicBezTo>
                  <a:pt x="518642" y="341196"/>
                  <a:pt x="528437" y="354256"/>
                  <a:pt x="528437" y="370582"/>
                </a:cubicBezTo>
                <a:cubicBezTo>
                  <a:pt x="528437" y="386363"/>
                  <a:pt x="518642" y="399967"/>
                  <a:pt x="499051" y="399423"/>
                </a:cubicBezTo>
                <a:cubicBezTo>
                  <a:pt x="481094" y="399423"/>
                  <a:pt x="470210" y="387995"/>
                  <a:pt x="470210" y="370037"/>
                </a:cubicBezTo>
                <a:cubicBezTo>
                  <a:pt x="470754" y="352624"/>
                  <a:pt x="481638" y="341740"/>
                  <a:pt x="499596" y="342284"/>
                </a:cubicBezTo>
                <a:close/>
                <a:moveTo>
                  <a:pt x="663392" y="337387"/>
                </a:moveTo>
                <a:cubicBezTo>
                  <a:pt x="680262" y="337387"/>
                  <a:pt x="697675" y="354801"/>
                  <a:pt x="697131" y="371126"/>
                </a:cubicBezTo>
                <a:cubicBezTo>
                  <a:pt x="696043" y="390172"/>
                  <a:pt x="682982" y="404321"/>
                  <a:pt x="662304" y="404321"/>
                </a:cubicBezTo>
                <a:cubicBezTo>
                  <a:pt x="643258" y="405953"/>
                  <a:pt x="629109" y="389084"/>
                  <a:pt x="629109" y="371126"/>
                </a:cubicBezTo>
                <a:cubicBezTo>
                  <a:pt x="629109" y="352624"/>
                  <a:pt x="645434" y="337387"/>
                  <a:pt x="663392" y="337387"/>
                </a:cubicBezTo>
                <a:close/>
                <a:moveTo>
                  <a:pt x="825556" y="332489"/>
                </a:moveTo>
                <a:cubicBezTo>
                  <a:pt x="847323" y="333577"/>
                  <a:pt x="864193" y="349358"/>
                  <a:pt x="864737" y="370037"/>
                </a:cubicBezTo>
                <a:cubicBezTo>
                  <a:pt x="864193" y="391260"/>
                  <a:pt x="847323" y="409218"/>
                  <a:pt x="826645" y="409218"/>
                </a:cubicBezTo>
                <a:cubicBezTo>
                  <a:pt x="808687" y="412483"/>
                  <a:pt x="788008" y="387995"/>
                  <a:pt x="787464" y="371126"/>
                </a:cubicBezTo>
                <a:cubicBezTo>
                  <a:pt x="787464" y="353712"/>
                  <a:pt x="808687" y="331945"/>
                  <a:pt x="825556" y="332489"/>
                </a:cubicBezTo>
                <a:close/>
                <a:moveTo>
                  <a:pt x="989898" y="328680"/>
                </a:moveTo>
                <a:cubicBezTo>
                  <a:pt x="1013297" y="329224"/>
                  <a:pt x="1030167" y="347182"/>
                  <a:pt x="1031255" y="371126"/>
                </a:cubicBezTo>
                <a:cubicBezTo>
                  <a:pt x="1029623" y="396702"/>
                  <a:pt x="1010576" y="413027"/>
                  <a:pt x="989354" y="413027"/>
                </a:cubicBezTo>
                <a:cubicBezTo>
                  <a:pt x="964866" y="412483"/>
                  <a:pt x="946908" y="393981"/>
                  <a:pt x="947452" y="370037"/>
                </a:cubicBezTo>
                <a:cubicBezTo>
                  <a:pt x="947996" y="346094"/>
                  <a:pt x="964866" y="328680"/>
                  <a:pt x="989898" y="328680"/>
                </a:cubicBezTo>
                <a:close/>
                <a:moveTo>
                  <a:pt x="1153150" y="326504"/>
                </a:moveTo>
                <a:cubicBezTo>
                  <a:pt x="1177094" y="326504"/>
                  <a:pt x="1197228" y="347727"/>
                  <a:pt x="1197228" y="370582"/>
                </a:cubicBezTo>
                <a:cubicBezTo>
                  <a:pt x="1197228" y="392894"/>
                  <a:pt x="1176550" y="417925"/>
                  <a:pt x="1152606" y="414661"/>
                </a:cubicBezTo>
                <a:cubicBezTo>
                  <a:pt x="1130295" y="417925"/>
                  <a:pt x="1107984" y="393982"/>
                  <a:pt x="1108528" y="370038"/>
                </a:cubicBezTo>
                <a:cubicBezTo>
                  <a:pt x="1109072" y="347727"/>
                  <a:pt x="1129751" y="326504"/>
                  <a:pt x="1153150" y="326504"/>
                </a:cubicBezTo>
                <a:close/>
                <a:moveTo>
                  <a:pt x="1317492" y="323239"/>
                </a:moveTo>
                <a:cubicBezTo>
                  <a:pt x="1341979" y="322151"/>
                  <a:pt x="1367012" y="348271"/>
                  <a:pt x="1364835" y="372215"/>
                </a:cubicBezTo>
                <a:cubicBezTo>
                  <a:pt x="1361026" y="399968"/>
                  <a:pt x="1344700" y="416837"/>
                  <a:pt x="1314771" y="419014"/>
                </a:cubicBezTo>
                <a:cubicBezTo>
                  <a:pt x="1286474" y="415205"/>
                  <a:pt x="1267972" y="398879"/>
                  <a:pt x="1268516" y="370582"/>
                </a:cubicBezTo>
                <a:cubicBezTo>
                  <a:pt x="1268516" y="341197"/>
                  <a:pt x="1288650" y="324327"/>
                  <a:pt x="1317492" y="323239"/>
                </a:cubicBezTo>
                <a:close/>
                <a:moveTo>
                  <a:pt x="1479112" y="320517"/>
                </a:moveTo>
                <a:cubicBezTo>
                  <a:pt x="1503600" y="319973"/>
                  <a:pt x="1530265" y="343917"/>
                  <a:pt x="1529720" y="371670"/>
                </a:cubicBezTo>
                <a:cubicBezTo>
                  <a:pt x="1528632" y="395069"/>
                  <a:pt x="1506321" y="423366"/>
                  <a:pt x="1478568" y="420101"/>
                </a:cubicBezTo>
                <a:cubicBezTo>
                  <a:pt x="1452447" y="422822"/>
                  <a:pt x="1429592" y="397246"/>
                  <a:pt x="1429592" y="370037"/>
                </a:cubicBezTo>
                <a:cubicBezTo>
                  <a:pt x="1429592" y="342284"/>
                  <a:pt x="1455713" y="320517"/>
                  <a:pt x="1479112" y="320517"/>
                </a:cubicBezTo>
                <a:close/>
                <a:moveTo>
                  <a:pt x="1642364" y="318341"/>
                </a:moveTo>
                <a:cubicBezTo>
                  <a:pt x="1670661" y="318341"/>
                  <a:pt x="1692973" y="339020"/>
                  <a:pt x="1695694" y="370582"/>
                </a:cubicBezTo>
                <a:cubicBezTo>
                  <a:pt x="1696238" y="397791"/>
                  <a:pt x="1671206" y="423367"/>
                  <a:pt x="1643453" y="424455"/>
                </a:cubicBezTo>
                <a:cubicBezTo>
                  <a:pt x="1616788" y="425544"/>
                  <a:pt x="1589035" y="398335"/>
                  <a:pt x="1589035" y="371670"/>
                </a:cubicBezTo>
                <a:cubicBezTo>
                  <a:pt x="1589035" y="345006"/>
                  <a:pt x="1615155" y="317797"/>
                  <a:pt x="1642364" y="318341"/>
                </a:cubicBezTo>
                <a:close/>
                <a:moveTo>
                  <a:pt x="90919" y="273718"/>
                </a:moveTo>
                <a:cubicBezTo>
                  <a:pt x="96361" y="273174"/>
                  <a:pt x="106156" y="282425"/>
                  <a:pt x="106700" y="288411"/>
                </a:cubicBezTo>
                <a:cubicBezTo>
                  <a:pt x="106700" y="294941"/>
                  <a:pt x="97993" y="303648"/>
                  <a:pt x="91463" y="303648"/>
                </a:cubicBezTo>
                <a:cubicBezTo>
                  <a:pt x="84933" y="303648"/>
                  <a:pt x="76226" y="294941"/>
                  <a:pt x="76770" y="288411"/>
                </a:cubicBezTo>
                <a:cubicBezTo>
                  <a:pt x="76770" y="283513"/>
                  <a:pt x="86021" y="274262"/>
                  <a:pt x="90919" y="273718"/>
                </a:cubicBezTo>
                <a:close/>
                <a:moveTo>
                  <a:pt x="254716" y="267733"/>
                </a:moveTo>
                <a:cubicBezTo>
                  <a:pt x="267776" y="267733"/>
                  <a:pt x="276483" y="276440"/>
                  <a:pt x="276483" y="288956"/>
                </a:cubicBezTo>
                <a:cubicBezTo>
                  <a:pt x="276483" y="301472"/>
                  <a:pt x="266688" y="311811"/>
                  <a:pt x="254172" y="311811"/>
                </a:cubicBezTo>
                <a:cubicBezTo>
                  <a:pt x="243289" y="311811"/>
                  <a:pt x="232405" y="300384"/>
                  <a:pt x="232405" y="289500"/>
                </a:cubicBezTo>
                <a:cubicBezTo>
                  <a:pt x="232405" y="276984"/>
                  <a:pt x="242744" y="267733"/>
                  <a:pt x="254716" y="267733"/>
                </a:cubicBezTo>
                <a:close/>
                <a:moveTo>
                  <a:pt x="1941117" y="263202"/>
                </a:moveTo>
                <a:cubicBezTo>
                  <a:pt x="1937852" y="261570"/>
                  <a:pt x="1936219" y="263202"/>
                  <a:pt x="1936219" y="266467"/>
                </a:cubicBezTo>
                <a:cubicBezTo>
                  <a:pt x="1936763" y="268644"/>
                  <a:pt x="1937852" y="270276"/>
                  <a:pt x="1938396" y="272453"/>
                </a:cubicBezTo>
                <a:cubicBezTo>
                  <a:pt x="1944382" y="290955"/>
                  <a:pt x="1943838" y="308913"/>
                  <a:pt x="1932954" y="325782"/>
                </a:cubicBezTo>
                <a:cubicBezTo>
                  <a:pt x="1931866" y="327415"/>
                  <a:pt x="1931866" y="329047"/>
                  <a:pt x="1930777" y="331224"/>
                </a:cubicBezTo>
                <a:cubicBezTo>
                  <a:pt x="1932410" y="331224"/>
                  <a:pt x="1935131" y="331224"/>
                  <a:pt x="1936219" y="330136"/>
                </a:cubicBezTo>
                <a:cubicBezTo>
                  <a:pt x="1945470" y="323061"/>
                  <a:pt x="1955265" y="320885"/>
                  <a:pt x="1966693" y="320340"/>
                </a:cubicBezTo>
                <a:cubicBezTo>
                  <a:pt x="1978121" y="319796"/>
                  <a:pt x="1989004" y="323061"/>
                  <a:pt x="1998799" y="328503"/>
                </a:cubicBezTo>
                <a:cubicBezTo>
                  <a:pt x="2000432" y="329047"/>
                  <a:pt x="2001520" y="329592"/>
                  <a:pt x="2003153" y="330136"/>
                </a:cubicBezTo>
                <a:cubicBezTo>
                  <a:pt x="2002609" y="328503"/>
                  <a:pt x="2002609" y="326326"/>
                  <a:pt x="2001520" y="324694"/>
                </a:cubicBezTo>
                <a:cubicBezTo>
                  <a:pt x="1999344" y="319796"/>
                  <a:pt x="1995534" y="314899"/>
                  <a:pt x="1994446" y="309457"/>
                </a:cubicBezTo>
                <a:cubicBezTo>
                  <a:pt x="1992269" y="295308"/>
                  <a:pt x="1990093" y="281160"/>
                  <a:pt x="1998255" y="267555"/>
                </a:cubicBezTo>
                <a:cubicBezTo>
                  <a:pt x="2000432" y="267555"/>
                  <a:pt x="2000432" y="265923"/>
                  <a:pt x="2000976" y="263746"/>
                </a:cubicBezTo>
                <a:cubicBezTo>
                  <a:pt x="1998799" y="263746"/>
                  <a:pt x="1996623" y="262658"/>
                  <a:pt x="1995534" y="263746"/>
                </a:cubicBezTo>
                <a:cubicBezTo>
                  <a:pt x="1977577" y="272997"/>
                  <a:pt x="1959075" y="272997"/>
                  <a:pt x="1941117" y="263202"/>
                </a:cubicBezTo>
                <a:close/>
                <a:moveTo>
                  <a:pt x="417425" y="262291"/>
                </a:moveTo>
                <a:cubicBezTo>
                  <a:pt x="434839" y="262291"/>
                  <a:pt x="445178" y="272086"/>
                  <a:pt x="445178" y="288956"/>
                </a:cubicBezTo>
                <a:cubicBezTo>
                  <a:pt x="445178" y="305825"/>
                  <a:pt x="434839" y="316164"/>
                  <a:pt x="417969" y="317253"/>
                </a:cubicBezTo>
                <a:cubicBezTo>
                  <a:pt x="404909" y="317797"/>
                  <a:pt x="389672" y="306369"/>
                  <a:pt x="390216" y="290044"/>
                </a:cubicBezTo>
                <a:cubicBezTo>
                  <a:pt x="391305" y="272086"/>
                  <a:pt x="400011" y="262291"/>
                  <a:pt x="417425" y="262291"/>
                </a:cubicBezTo>
                <a:close/>
                <a:moveTo>
                  <a:pt x="580678" y="256304"/>
                </a:moveTo>
                <a:cubicBezTo>
                  <a:pt x="596459" y="255760"/>
                  <a:pt x="616049" y="273174"/>
                  <a:pt x="613872" y="288955"/>
                </a:cubicBezTo>
                <a:cubicBezTo>
                  <a:pt x="615505" y="304736"/>
                  <a:pt x="598635" y="322150"/>
                  <a:pt x="581222" y="322150"/>
                </a:cubicBezTo>
                <a:cubicBezTo>
                  <a:pt x="564352" y="322150"/>
                  <a:pt x="548571" y="308001"/>
                  <a:pt x="548027" y="289499"/>
                </a:cubicBezTo>
                <a:cubicBezTo>
                  <a:pt x="547483" y="272086"/>
                  <a:pt x="565441" y="256849"/>
                  <a:pt x="580678" y="256304"/>
                </a:cubicBezTo>
                <a:close/>
                <a:moveTo>
                  <a:pt x="743930" y="251951"/>
                </a:moveTo>
                <a:cubicBezTo>
                  <a:pt x="764609" y="251951"/>
                  <a:pt x="782566" y="268820"/>
                  <a:pt x="782022" y="289499"/>
                </a:cubicBezTo>
                <a:cubicBezTo>
                  <a:pt x="781478" y="311266"/>
                  <a:pt x="765153" y="326503"/>
                  <a:pt x="744474" y="326503"/>
                </a:cubicBezTo>
                <a:cubicBezTo>
                  <a:pt x="723795" y="326503"/>
                  <a:pt x="708014" y="311266"/>
                  <a:pt x="707470" y="289499"/>
                </a:cubicBezTo>
                <a:cubicBezTo>
                  <a:pt x="706926" y="271541"/>
                  <a:pt x="722163" y="252495"/>
                  <a:pt x="743930" y="251951"/>
                </a:cubicBezTo>
                <a:close/>
                <a:moveTo>
                  <a:pt x="907183" y="249775"/>
                </a:moveTo>
                <a:cubicBezTo>
                  <a:pt x="929494" y="249775"/>
                  <a:pt x="946908" y="263924"/>
                  <a:pt x="947452" y="289500"/>
                </a:cubicBezTo>
                <a:cubicBezTo>
                  <a:pt x="947996" y="311811"/>
                  <a:pt x="931127" y="330313"/>
                  <a:pt x="908271" y="329225"/>
                </a:cubicBezTo>
                <a:cubicBezTo>
                  <a:pt x="885960" y="330857"/>
                  <a:pt x="868002" y="312355"/>
                  <a:pt x="867458" y="290044"/>
                </a:cubicBezTo>
                <a:cubicBezTo>
                  <a:pt x="867458" y="266100"/>
                  <a:pt x="884872" y="249775"/>
                  <a:pt x="907183" y="249775"/>
                </a:cubicBezTo>
                <a:close/>
                <a:moveTo>
                  <a:pt x="1070435" y="245965"/>
                </a:moveTo>
                <a:cubicBezTo>
                  <a:pt x="1093291" y="245421"/>
                  <a:pt x="1116146" y="264467"/>
                  <a:pt x="1114513" y="290043"/>
                </a:cubicBezTo>
                <a:cubicBezTo>
                  <a:pt x="1115602" y="312899"/>
                  <a:pt x="1092202" y="334122"/>
                  <a:pt x="1069347" y="333578"/>
                </a:cubicBezTo>
                <a:cubicBezTo>
                  <a:pt x="1047036" y="333034"/>
                  <a:pt x="1026357" y="311266"/>
                  <a:pt x="1026357" y="288955"/>
                </a:cubicBezTo>
                <a:cubicBezTo>
                  <a:pt x="1026901" y="268276"/>
                  <a:pt x="1045403" y="245965"/>
                  <a:pt x="1070435" y="245965"/>
                </a:cubicBezTo>
                <a:close/>
                <a:moveTo>
                  <a:pt x="1233689" y="241613"/>
                </a:moveTo>
                <a:cubicBezTo>
                  <a:pt x="1257632" y="241068"/>
                  <a:pt x="1281032" y="263924"/>
                  <a:pt x="1282120" y="288412"/>
                </a:cubicBezTo>
                <a:cubicBezTo>
                  <a:pt x="1282665" y="312900"/>
                  <a:pt x="1260898" y="336299"/>
                  <a:pt x="1235321" y="335755"/>
                </a:cubicBezTo>
                <a:cubicBezTo>
                  <a:pt x="1206480" y="335211"/>
                  <a:pt x="1190155" y="318886"/>
                  <a:pt x="1187434" y="289500"/>
                </a:cubicBezTo>
                <a:cubicBezTo>
                  <a:pt x="1184713" y="266100"/>
                  <a:pt x="1208657" y="242701"/>
                  <a:pt x="1233689" y="241613"/>
                </a:cubicBezTo>
                <a:close/>
                <a:moveTo>
                  <a:pt x="1397485" y="238891"/>
                </a:moveTo>
                <a:cubicBezTo>
                  <a:pt x="1421973" y="237259"/>
                  <a:pt x="1448638" y="264467"/>
                  <a:pt x="1448094" y="288955"/>
                </a:cubicBezTo>
                <a:cubicBezTo>
                  <a:pt x="1447005" y="312355"/>
                  <a:pt x="1424150" y="341196"/>
                  <a:pt x="1398029" y="338475"/>
                </a:cubicBezTo>
                <a:cubicBezTo>
                  <a:pt x="1372453" y="340652"/>
                  <a:pt x="1347421" y="315620"/>
                  <a:pt x="1348509" y="289499"/>
                </a:cubicBezTo>
                <a:cubicBezTo>
                  <a:pt x="1349598" y="261202"/>
                  <a:pt x="1369732" y="240524"/>
                  <a:pt x="1397485" y="238891"/>
                </a:cubicBezTo>
                <a:close/>
                <a:moveTo>
                  <a:pt x="1559650" y="237258"/>
                </a:moveTo>
                <a:cubicBezTo>
                  <a:pt x="1590668" y="236170"/>
                  <a:pt x="1611891" y="259570"/>
                  <a:pt x="1613523" y="288955"/>
                </a:cubicBezTo>
                <a:cubicBezTo>
                  <a:pt x="1613523" y="316164"/>
                  <a:pt x="1587403" y="342829"/>
                  <a:pt x="1560738" y="342829"/>
                </a:cubicBezTo>
                <a:cubicBezTo>
                  <a:pt x="1534618" y="342829"/>
                  <a:pt x="1505776" y="315620"/>
                  <a:pt x="1507953" y="289499"/>
                </a:cubicBezTo>
                <a:cubicBezTo>
                  <a:pt x="1510130" y="261202"/>
                  <a:pt x="1526455" y="238347"/>
                  <a:pt x="1559650" y="237258"/>
                </a:cubicBezTo>
                <a:close/>
                <a:moveTo>
                  <a:pt x="9837" y="198078"/>
                </a:moveTo>
                <a:cubicBezTo>
                  <a:pt x="14190" y="198078"/>
                  <a:pt x="19632" y="202976"/>
                  <a:pt x="19632" y="207873"/>
                </a:cubicBezTo>
                <a:cubicBezTo>
                  <a:pt x="19632" y="212227"/>
                  <a:pt x="14190" y="217668"/>
                  <a:pt x="10381" y="218213"/>
                </a:cubicBezTo>
                <a:cubicBezTo>
                  <a:pt x="5483" y="218757"/>
                  <a:pt x="-503" y="212771"/>
                  <a:pt x="42" y="207873"/>
                </a:cubicBezTo>
                <a:cubicBezTo>
                  <a:pt x="42" y="202976"/>
                  <a:pt x="5483" y="198078"/>
                  <a:pt x="9837" y="198078"/>
                </a:cubicBezTo>
                <a:close/>
                <a:moveTo>
                  <a:pt x="173090" y="187739"/>
                </a:moveTo>
                <a:cubicBezTo>
                  <a:pt x="183429" y="188283"/>
                  <a:pt x="192136" y="196990"/>
                  <a:pt x="192136" y="207329"/>
                </a:cubicBezTo>
                <a:cubicBezTo>
                  <a:pt x="192136" y="217669"/>
                  <a:pt x="182341" y="228008"/>
                  <a:pt x="172546" y="227464"/>
                </a:cubicBezTo>
                <a:cubicBezTo>
                  <a:pt x="163839" y="226920"/>
                  <a:pt x="154588" y="217669"/>
                  <a:pt x="154044" y="208418"/>
                </a:cubicBezTo>
                <a:cubicBezTo>
                  <a:pt x="153500" y="198078"/>
                  <a:pt x="162751" y="187739"/>
                  <a:pt x="173090" y="187739"/>
                </a:cubicBezTo>
                <a:close/>
                <a:moveTo>
                  <a:pt x="336887" y="182297"/>
                </a:moveTo>
                <a:cubicBezTo>
                  <a:pt x="350491" y="182841"/>
                  <a:pt x="361919" y="191548"/>
                  <a:pt x="363007" y="207329"/>
                </a:cubicBezTo>
                <a:cubicBezTo>
                  <a:pt x="363551" y="219845"/>
                  <a:pt x="349947" y="233449"/>
                  <a:pt x="336887" y="233994"/>
                </a:cubicBezTo>
                <a:cubicBezTo>
                  <a:pt x="324371" y="233994"/>
                  <a:pt x="311311" y="221478"/>
                  <a:pt x="310766" y="208961"/>
                </a:cubicBezTo>
                <a:cubicBezTo>
                  <a:pt x="310222" y="195357"/>
                  <a:pt x="323282" y="181753"/>
                  <a:pt x="336887" y="182297"/>
                </a:cubicBezTo>
                <a:close/>
                <a:moveTo>
                  <a:pt x="1856225" y="180487"/>
                </a:moveTo>
                <a:cubicBezTo>
                  <a:pt x="1856225" y="182664"/>
                  <a:pt x="1855137" y="184841"/>
                  <a:pt x="1855681" y="185929"/>
                </a:cubicBezTo>
                <a:cubicBezTo>
                  <a:pt x="1863844" y="206064"/>
                  <a:pt x="1863844" y="226198"/>
                  <a:pt x="1851872" y="244700"/>
                </a:cubicBezTo>
                <a:cubicBezTo>
                  <a:pt x="1851328" y="245788"/>
                  <a:pt x="1851328" y="246877"/>
                  <a:pt x="1851328" y="247965"/>
                </a:cubicBezTo>
                <a:cubicBezTo>
                  <a:pt x="1852416" y="247965"/>
                  <a:pt x="1854049" y="247965"/>
                  <a:pt x="1854593" y="247421"/>
                </a:cubicBezTo>
                <a:cubicBezTo>
                  <a:pt x="1868197" y="237082"/>
                  <a:pt x="1883434" y="237082"/>
                  <a:pt x="1899215" y="238714"/>
                </a:cubicBezTo>
                <a:cubicBezTo>
                  <a:pt x="1904113" y="239258"/>
                  <a:pt x="1909010" y="241979"/>
                  <a:pt x="1913908" y="243067"/>
                </a:cubicBezTo>
                <a:cubicBezTo>
                  <a:pt x="1915541" y="243612"/>
                  <a:pt x="1917173" y="242523"/>
                  <a:pt x="1918806" y="242523"/>
                </a:cubicBezTo>
                <a:cubicBezTo>
                  <a:pt x="1918806" y="240891"/>
                  <a:pt x="1918806" y="239258"/>
                  <a:pt x="1918261" y="238170"/>
                </a:cubicBezTo>
                <a:cubicBezTo>
                  <a:pt x="1908466" y="220756"/>
                  <a:pt x="1910099" y="203887"/>
                  <a:pt x="1917173" y="185929"/>
                </a:cubicBezTo>
                <a:cubicBezTo>
                  <a:pt x="1917717" y="184297"/>
                  <a:pt x="1917717" y="183208"/>
                  <a:pt x="1918261" y="181576"/>
                </a:cubicBezTo>
                <a:cubicBezTo>
                  <a:pt x="1916629" y="182120"/>
                  <a:pt x="1914996" y="182120"/>
                  <a:pt x="1913908" y="182664"/>
                </a:cubicBezTo>
                <a:cubicBezTo>
                  <a:pt x="1895950" y="189738"/>
                  <a:pt x="1877992" y="190827"/>
                  <a:pt x="1860579" y="180487"/>
                </a:cubicBezTo>
                <a:cubicBezTo>
                  <a:pt x="1858946" y="181031"/>
                  <a:pt x="1857858" y="181031"/>
                  <a:pt x="1856225" y="180487"/>
                </a:cubicBezTo>
                <a:close/>
                <a:moveTo>
                  <a:pt x="499595" y="175767"/>
                </a:moveTo>
                <a:cubicBezTo>
                  <a:pt x="514832" y="175767"/>
                  <a:pt x="531702" y="193181"/>
                  <a:pt x="531158" y="207874"/>
                </a:cubicBezTo>
                <a:cubicBezTo>
                  <a:pt x="530613" y="223110"/>
                  <a:pt x="513744" y="239980"/>
                  <a:pt x="498507" y="238347"/>
                </a:cubicBezTo>
                <a:cubicBezTo>
                  <a:pt x="479461" y="236715"/>
                  <a:pt x="469666" y="224743"/>
                  <a:pt x="468033" y="207329"/>
                </a:cubicBezTo>
                <a:cubicBezTo>
                  <a:pt x="466945" y="192636"/>
                  <a:pt x="484903" y="175767"/>
                  <a:pt x="499595" y="175767"/>
                </a:cubicBezTo>
                <a:close/>
                <a:moveTo>
                  <a:pt x="662304" y="173046"/>
                </a:moveTo>
                <a:cubicBezTo>
                  <a:pt x="683527" y="171958"/>
                  <a:pt x="698220" y="189916"/>
                  <a:pt x="697676" y="207873"/>
                </a:cubicBezTo>
                <a:cubicBezTo>
                  <a:pt x="697131" y="227464"/>
                  <a:pt x="684615" y="243245"/>
                  <a:pt x="662304" y="242156"/>
                </a:cubicBezTo>
                <a:cubicBezTo>
                  <a:pt x="639993" y="241612"/>
                  <a:pt x="628565" y="229096"/>
                  <a:pt x="628021" y="207873"/>
                </a:cubicBezTo>
                <a:cubicBezTo>
                  <a:pt x="628021" y="187739"/>
                  <a:pt x="642714" y="172502"/>
                  <a:pt x="662304" y="173046"/>
                </a:cubicBezTo>
                <a:close/>
                <a:moveTo>
                  <a:pt x="826645" y="168148"/>
                </a:moveTo>
                <a:cubicBezTo>
                  <a:pt x="844602" y="168148"/>
                  <a:pt x="867458" y="187194"/>
                  <a:pt x="864737" y="207329"/>
                </a:cubicBezTo>
                <a:cubicBezTo>
                  <a:pt x="867458" y="229096"/>
                  <a:pt x="844058" y="247054"/>
                  <a:pt x="826100" y="247054"/>
                </a:cubicBezTo>
                <a:cubicBezTo>
                  <a:pt x="808687" y="247054"/>
                  <a:pt x="787464" y="228552"/>
                  <a:pt x="787464" y="207873"/>
                </a:cubicBezTo>
                <a:cubicBezTo>
                  <a:pt x="787464" y="187194"/>
                  <a:pt x="807054" y="168148"/>
                  <a:pt x="826645" y="168148"/>
                </a:cubicBezTo>
                <a:close/>
                <a:moveTo>
                  <a:pt x="987721" y="164883"/>
                </a:moveTo>
                <a:cubicBezTo>
                  <a:pt x="1012209" y="164339"/>
                  <a:pt x="1030711" y="181753"/>
                  <a:pt x="1031799" y="207329"/>
                </a:cubicBezTo>
                <a:cubicBezTo>
                  <a:pt x="1031255" y="232361"/>
                  <a:pt x="1011665" y="250319"/>
                  <a:pt x="988809" y="250319"/>
                </a:cubicBezTo>
                <a:cubicBezTo>
                  <a:pt x="965954" y="250319"/>
                  <a:pt x="946364" y="231273"/>
                  <a:pt x="945819" y="208417"/>
                </a:cubicBezTo>
                <a:cubicBezTo>
                  <a:pt x="945275" y="185018"/>
                  <a:pt x="962689" y="165428"/>
                  <a:pt x="987721" y="164883"/>
                </a:cubicBezTo>
                <a:close/>
                <a:moveTo>
                  <a:pt x="1153150" y="162707"/>
                </a:moveTo>
                <a:cubicBezTo>
                  <a:pt x="1177638" y="161619"/>
                  <a:pt x="1197772" y="180665"/>
                  <a:pt x="1197772" y="207874"/>
                </a:cubicBezTo>
                <a:cubicBezTo>
                  <a:pt x="1197772" y="235083"/>
                  <a:pt x="1176005" y="253584"/>
                  <a:pt x="1151517" y="253584"/>
                </a:cubicBezTo>
                <a:cubicBezTo>
                  <a:pt x="1128118" y="253040"/>
                  <a:pt x="1106895" y="234538"/>
                  <a:pt x="1107439" y="207329"/>
                </a:cubicBezTo>
                <a:cubicBezTo>
                  <a:pt x="1107983" y="179576"/>
                  <a:pt x="1129206" y="161075"/>
                  <a:pt x="1153150" y="162707"/>
                </a:cubicBezTo>
                <a:close/>
                <a:moveTo>
                  <a:pt x="1315315" y="158353"/>
                </a:moveTo>
                <a:cubicBezTo>
                  <a:pt x="1341435" y="156177"/>
                  <a:pt x="1365923" y="184474"/>
                  <a:pt x="1365379" y="206785"/>
                </a:cubicBezTo>
                <a:cubicBezTo>
                  <a:pt x="1365379" y="229640"/>
                  <a:pt x="1344156" y="256849"/>
                  <a:pt x="1315859" y="256305"/>
                </a:cubicBezTo>
                <a:cubicBezTo>
                  <a:pt x="1290283" y="256305"/>
                  <a:pt x="1267427" y="233994"/>
                  <a:pt x="1266883" y="207873"/>
                </a:cubicBezTo>
                <a:cubicBezTo>
                  <a:pt x="1265795" y="181209"/>
                  <a:pt x="1292460" y="157265"/>
                  <a:pt x="1315315" y="158353"/>
                </a:cubicBezTo>
                <a:close/>
                <a:moveTo>
                  <a:pt x="1478567" y="156721"/>
                </a:moveTo>
                <a:cubicBezTo>
                  <a:pt x="1510129" y="156721"/>
                  <a:pt x="1530264" y="180665"/>
                  <a:pt x="1529720" y="207329"/>
                </a:cubicBezTo>
                <a:cubicBezTo>
                  <a:pt x="1530264" y="236715"/>
                  <a:pt x="1510129" y="258482"/>
                  <a:pt x="1478567" y="258482"/>
                </a:cubicBezTo>
                <a:cubicBezTo>
                  <a:pt x="1449182" y="257938"/>
                  <a:pt x="1428503" y="238892"/>
                  <a:pt x="1427959" y="207874"/>
                </a:cubicBezTo>
                <a:cubicBezTo>
                  <a:pt x="1427415" y="179576"/>
                  <a:pt x="1447549" y="156721"/>
                  <a:pt x="1478567" y="156721"/>
                </a:cubicBezTo>
                <a:close/>
                <a:moveTo>
                  <a:pt x="1644541" y="153456"/>
                </a:moveTo>
                <a:cubicBezTo>
                  <a:pt x="1672294" y="154544"/>
                  <a:pt x="1697870" y="180665"/>
                  <a:pt x="1697326" y="209506"/>
                </a:cubicBezTo>
                <a:cubicBezTo>
                  <a:pt x="1696782" y="238347"/>
                  <a:pt x="1669573" y="263924"/>
                  <a:pt x="1641276" y="262835"/>
                </a:cubicBezTo>
                <a:cubicBezTo>
                  <a:pt x="1612979" y="261203"/>
                  <a:pt x="1587402" y="236715"/>
                  <a:pt x="1587947" y="206785"/>
                </a:cubicBezTo>
                <a:cubicBezTo>
                  <a:pt x="1587947" y="180121"/>
                  <a:pt x="1613523" y="152368"/>
                  <a:pt x="1644541" y="153456"/>
                </a:cubicBezTo>
                <a:close/>
                <a:moveTo>
                  <a:pt x="91463" y="109922"/>
                </a:moveTo>
                <a:cubicBezTo>
                  <a:pt x="97993" y="109922"/>
                  <a:pt x="107244" y="119173"/>
                  <a:pt x="107244" y="126247"/>
                </a:cubicBezTo>
                <a:cubicBezTo>
                  <a:pt x="107788" y="132777"/>
                  <a:pt x="98537" y="142028"/>
                  <a:pt x="91463" y="142028"/>
                </a:cubicBezTo>
                <a:cubicBezTo>
                  <a:pt x="83845" y="142028"/>
                  <a:pt x="75682" y="133866"/>
                  <a:pt x="75682" y="126247"/>
                </a:cubicBezTo>
                <a:cubicBezTo>
                  <a:pt x="75682" y="118629"/>
                  <a:pt x="84389" y="109922"/>
                  <a:pt x="91463" y="109922"/>
                </a:cubicBezTo>
                <a:close/>
                <a:moveTo>
                  <a:pt x="1942341" y="104915"/>
                </a:moveTo>
                <a:cubicBezTo>
                  <a:pt x="1941389" y="105799"/>
                  <a:pt x="1941389" y="107840"/>
                  <a:pt x="1942205" y="111377"/>
                </a:cubicBezTo>
                <a:cubicBezTo>
                  <a:pt x="1943294" y="118451"/>
                  <a:pt x="1944926" y="124437"/>
                  <a:pt x="1946559" y="131511"/>
                </a:cubicBezTo>
                <a:cubicBezTo>
                  <a:pt x="1944382" y="139674"/>
                  <a:pt x="1941661" y="148381"/>
                  <a:pt x="1939484" y="157088"/>
                </a:cubicBezTo>
                <a:cubicBezTo>
                  <a:pt x="1939484" y="158176"/>
                  <a:pt x="1941117" y="160353"/>
                  <a:pt x="1941117" y="160353"/>
                </a:cubicBezTo>
                <a:cubicBezTo>
                  <a:pt x="1955810" y="154367"/>
                  <a:pt x="1971046" y="150558"/>
                  <a:pt x="1986828" y="157088"/>
                </a:cubicBezTo>
                <a:cubicBezTo>
                  <a:pt x="1987372" y="157088"/>
                  <a:pt x="1987916" y="157088"/>
                  <a:pt x="1987916" y="157088"/>
                </a:cubicBezTo>
                <a:cubicBezTo>
                  <a:pt x="1994990" y="157632"/>
                  <a:pt x="1996623" y="155999"/>
                  <a:pt x="1993902" y="150013"/>
                </a:cubicBezTo>
                <a:cubicBezTo>
                  <a:pt x="1988460" y="136409"/>
                  <a:pt x="1988460" y="123349"/>
                  <a:pt x="1993902" y="109744"/>
                </a:cubicBezTo>
                <a:cubicBezTo>
                  <a:pt x="1995534" y="105935"/>
                  <a:pt x="1994446" y="103214"/>
                  <a:pt x="1989004" y="105391"/>
                </a:cubicBezTo>
                <a:cubicBezTo>
                  <a:pt x="1975400" y="109744"/>
                  <a:pt x="1961796" y="109744"/>
                  <a:pt x="1948191" y="105391"/>
                </a:cubicBezTo>
                <a:cubicBezTo>
                  <a:pt x="1945198" y="104303"/>
                  <a:pt x="1943294" y="104031"/>
                  <a:pt x="1942341" y="104915"/>
                </a:cubicBezTo>
                <a:close/>
                <a:moveTo>
                  <a:pt x="255804" y="103392"/>
                </a:moveTo>
                <a:cubicBezTo>
                  <a:pt x="269409" y="103392"/>
                  <a:pt x="277571" y="112643"/>
                  <a:pt x="277571" y="126791"/>
                </a:cubicBezTo>
                <a:cubicBezTo>
                  <a:pt x="277027" y="139852"/>
                  <a:pt x="267776" y="148558"/>
                  <a:pt x="254172" y="148014"/>
                </a:cubicBezTo>
                <a:cubicBezTo>
                  <a:pt x="241112" y="148014"/>
                  <a:pt x="231861" y="138763"/>
                  <a:pt x="232405" y="125159"/>
                </a:cubicBezTo>
                <a:cubicBezTo>
                  <a:pt x="232405" y="112099"/>
                  <a:pt x="242200" y="102848"/>
                  <a:pt x="255804" y="103392"/>
                </a:cubicBezTo>
                <a:close/>
                <a:moveTo>
                  <a:pt x="1773511" y="99405"/>
                </a:moveTo>
                <a:cubicBezTo>
                  <a:pt x="1773511" y="102126"/>
                  <a:pt x="1772966" y="104303"/>
                  <a:pt x="1773511" y="107023"/>
                </a:cubicBezTo>
                <a:cubicBezTo>
                  <a:pt x="1776232" y="114098"/>
                  <a:pt x="1778408" y="121716"/>
                  <a:pt x="1780585" y="130423"/>
                </a:cubicBezTo>
                <a:cubicBezTo>
                  <a:pt x="1778408" y="139130"/>
                  <a:pt x="1775687" y="147293"/>
                  <a:pt x="1773511" y="155999"/>
                </a:cubicBezTo>
                <a:cubicBezTo>
                  <a:pt x="1772966" y="157632"/>
                  <a:pt x="1772966" y="160897"/>
                  <a:pt x="1774055" y="161985"/>
                </a:cubicBezTo>
                <a:cubicBezTo>
                  <a:pt x="1775143" y="163074"/>
                  <a:pt x="1778408" y="163074"/>
                  <a:pt x="1780041" y="162529"/>
                </a:cubicBezTo>
                <a:cubicBezTo>
                  <a:pt x="1789836" y="155455"/>
                  <a:pt x="1800719" y="157632"/>
                  <a:pt x="1811059" y="157632"/>
                </a:cubicBezTo>
                <a:cubicBezTo>
                  <a:pt x="1817589" y="157632"/>
                  <a:pt x="1824119" y="156543"/>
                  <a:pt x="1829561" y="161985"/>
                </a:cubicBezTo>
                <a:cubicBezTo>
                  <a:pt x="1830649" y="163074"/>
                  <a:pt x="1834458" y="161985"/>
                  <a:pt x="1836635" y="161985"/>
                </a:cubicBezTo>
                <a:cubicBezTo>
                  <a:pt x="1835547" y="160353"/>
                  <a:pt x="1835002" y="158720"/>
                  <a:pt x="1833914" y="157088"/>
                </a:cubicBezTo>
                <a:cubicBezTo>
                  <a:pt x="1826840" y="139674"/>
                  <a:pt x="1826296" y="121716"/>
                  <a:pt x="1834458" y="104303"/>
                </a:cubicBezTo>
                <a:cubicBezTo>
                  <a:pt x="1835002" y="102670"/>
                  <a:pt x="1835547" y="101038"/>
                  <a:pt x="1835547" y="99405"/>
                </a:cubicBezTo>
                <a:cubicBezTo>
                  <a:pt x="1833914" y="99949"/>
                  <a:pt x="1832282" y="99949"/>
                  <a:pt x="1831193" y="101038"/>
                </a:cubicBezTo>
                <a:cubicBezTo>
                  <a:pt x="1814324" y="109200"/>
                  <a:pt x="1797454" y="109200"/>
                  <a:pt x="1780041" y="101582"/>
                </a:cubicBezTo>
                <a:cubicBezTo>
                  <a:pt x="1777864" y="100493"/>
                  <a:pt x="1775687" y="100493"/>
                  <a:pt x="1773511" y="99405"/>
                </a:cubicBezTo>
                <a:close/>
                <a:moveTo>
                  <a:pt x="417424" y="97950"/>
                </a:moveTo>
                <a:cubicBezTo>
                  <a:pt x="435382" y="97950"/>
                  <a:pt x="445721" y="108289"/>
                  <a:pt x="445721" y="126247"/>
                </a:cubicBezTo>
                <a:cubicBezTo>
                  <a:pt x="445721" y="143661"/>
                  <a:pt x="435382" y="153456"/>
                  <a:pt x="417424" y="153456"/>
                </a:cubicBezTo>
                <a:cubicBezTo>
                  <a:pt x="402187" y="155088"/>
                  <a:pt x="389127" y="141484"/>
                  <a:pt x="390215" y="125159"/>
                </a:cubicBezTo>
                <a:cubicBezTo>
                  <a:pt x="391304" y="107745"/>
                  <a:pt x="400555" y="97950"/>
                  <a:pt x="417424" y="97950"/>
                </a:cubicBezTo>
                <a:close/>
                <a:moveTo>
                  <a:pt x="580677" y="92508"/>
                </a:moveTo>
                <a:cubicBezTo>
                  <a:pt x="599724" y="92508"/>
                  <a:pt x="613328" y="106112"/>
                  <a:pt x="614960" y="125159"/>
                </a:cubicBezTo>
                <a:cubicBezTo>
                  <a:pt x="616049" y="141484"/>
                  <a:pt x="598091" y="161618"/>
                  <a:pt x="581766" y="158353"/>
                </a:cubicBezTo>
                <a:cubicBezTo>
                  <a:pt x="561631" y="158353"/>
                  <a:pt x="548571" y="145293"/>
                  <a:pt x="548571" y="125703"/>
                </a:cubicBezTo>
                <a:cubicBezTo>
                  <a:pt x="548571" y="106657"/>
                  <a:pt x="562175" y="92508"/>
                  <a:pt x="580677" y="92508"/>
                </a:cubicBezTo>
                <a:close/>
                <a:moveTo>
                  <a:pt x="745019" y="88154"/>
                </a:moveTo>
                <a:cubicBezTo>
                  <a:pt x="763521" y="87610"/>
                  <a:pt x="783111" y="107745"/>
                  <a:pt x="782567" y="126791"/>
                </a:cubicBezTo>
                <a:cubicBezTo>
                  <a:pt x="782023" y="147469"/>
                  <a:pt x="761344" y="164339"/>
                  <a:pt x="743930" y="164339"/>
                </a:cubicBezTo>
                <a:cubicBezTo>
                  <a:pt x="723796" y="163795"/>
                  <a:pt x="705838" y="144204"/>
                  <a:pt x="706382" y="125702"/>
                </a:cubicBezTo>
                <a:cubicBezTo>
                  <a:pt x="706926" y="109377"/>
                  <a:pt x="723252" y="87066"/>
                  <a:pt x="745019" y="88154"/>
                </a:cubicBezTo>
                <a:close/>
                <a:moveTo>
                  <a:pt x="1685898" y="84712"/>
                </a:moveTo>
                <a:lnTo>
                  <a:pt x="1685681" y="85147"/>
                </a:lnTo>
                <a:lnTo>
                  <a:pt x="1685354" y="85256"/>
                </a:lnTo>
                <a:cubicBezTo>
                  <a:pt x="1685354" y="85256"/>
                  <a:pt x="1685898" y="84712"/>
                  <a:pt x="1685898" y="84712"/>
                </a:cubicBezTo>
                <a:close/>
                <a:moveTo>
                  <a:pt x="907183" y="84345"/>
                </a:moveTo>
                <a:cubicBezTo>
                  <a:pt x="916978" y="84345"/>
                  <a:pt x="926773" y="87610"/>
                  <a:pt x="934935" y="95228"/>
                </a:cubicBezTo>
                <a:cubicBezTo>
                  <a:pt x="944187" y="103935"/>
                  <a:pt x="946907" y="114819"/>
                  <a:pt x="949628" y="125158"/>
                </a:cubicBezTo>
                <a:cubicBezTo>
                  <a:pt x="946907" y="150190"/>
                  <a:pt x="932759" y="166515"/>
                  <a:pt x="908271" y="167060"/>
                </a:cubicBezTo>
                <a:cubicBezTo>
                  <a:pt x="884871" y="167604"/>
                  <a:pt x="867458" y="150734"/>
                  <a:pt x="866369" y="125702"/>
                </a:cubicBezTo>
                <a:cubicBezTo>
                  <a:pt x="865825" y="103935"/>
                  <a:pt x="884871" y="83801"/>
                  <a:pt x="907183" y="84345"/>
                </a:cubicBezTo>
                <a:close/>
                <a:moveTo>
                  <a:pt x="1070979" y="82169"/>
                </a:moveTo>
                <a:cubicBezTo>
                  <a:pt x="1095467" y="79448"/>
                  <a:pt x="1115602" y="103936"/>
                  <a:pt x="1115602" y="126247"/>
                </a:cubicBezTo>
                <a:cubicBezTo>
                  <a:pt x="1115602" y="148014"/>
                  <a:pt x="1094923" y="170325"/>
                  <a:pt x="1071524" y="170325"/>
                </a:cubicBezTo>
                <a:cubicBezTo>
                  <a:pt x="1047580" y="170325"/>
                  <a:pt x="1026357" y="148558"/>
                  <a:pt x="1026357" y="125703"/>
                </a:cubicBezTo>
                <a:cubicBezTo>
                  <a:pt x="1026357" y="103936"/>
                  <a:pt x="1047036" y="79448"/>
                  <a:pt x="1070979" y="82169"/>
                </a:cubicBezTo>
                <a:close/>
                <a:moveTo>
                  <a:pt x="1684811" y="82168"/>
                </a:moveTo>
                <a:cubicBezTo>
                  <a:pt x="1684811" y="82168"/>
                  <a:pt x="1684266" y="82713"/>
                  <a:pt x="1684266" y="82713"/>
                </a:cubicBezTo>
                <a:lnTo>
                  <a:pt x="1684469" y="82365"/>
                </a:lnTo>
                <a:close/>
                <a:moveTo>
                  <a:pt x="1234777" y="78360"/>
                </a:moveTo>
                <a:cubicBezTo>
                  <a:pt x="1259809" y="76727"/>
                  <a:pt x="1284297" y="101759"/>
                  <a:pt x="1282664" y="126791"/>
                </a:cubicBezTo>
                <a:cubicBezTo>
                  <a:pt x="1280487" y="152912"/>
                  <a:pt x="1264162" y="171958"/>
                  <a:pt x="1234232" y="174135"/>
                </a:cubicBezTo>
                <a:cubicBezTo>
                  <a:pt x="1205935" y="172502"/>
                  <a:pt x="1186345" y="153456"/>
                  <a:pt x="1186889" y="126791"/>
                </a:cubicBezTo>
                <a:cubicBezTo>
                  <a:pt x="1187433" y="96318"/>
                  <a:pt x="1207024" y="79992"/>
                  <a:pt x="1234777" y="78360"/>
                </a:cubicBezTo>
                <a:close/>
                <a:moveTo>
                  <a:pt x="1398574" y="76182"/>
                </a:moveTo>
                <a:cubicBezTo>
                  <a:pt x="1424150" y="74006"/>
                  <a:pt x="1448638" y="99582"/>
                  <a:pt x="1448094" y="127335"/>
                </a:cubicBezTo>
                <a:cubicBezTo>
                  <a:pt x="1447549" y="151823"/>
                  <a:pt x="1426327" y="176311"/>
                  <a:pt x="1396941" y="175766"/>
                </a:cubicBezTo>
                <a:cubicBezTo>
                  <a:pt x="1367011" y="175222"/>
                  <a:pt x="1347421" y="151278"/>
                  <a:pt x="1347421" y="125702"/>
                </a:cubicBezTo>
                <a:cubicBezTo>
                  <a:pt x="1347421" y="99038"/>
                  <a:pt x="1369732" y="74006"/>
                  <a:pt x="1398574" y="76182"/>
                </a:cubicBezTo>
                <a:close/>
                <a:moveTo>
                  <a:pt x="1561282" y="72373"/>
                </a:moveTo>
                <a:cubicBezTo>
                  <a:pt x="1588491" y="72373"/>
                  <a:pt x="1614611" y="96861"/>
                  <a:pt x="1614611" y="126247"/>
                </a:cubicBezTo>
                <a:cubicBezTo>
                  <a:pt x="1614067" y="155632"/>
                  <a:pt x="1590667" y="180120"/>
                  <a:pt x="1560738" y="179576"/>
                </a:cubicBezTo>
                <a:cubicBezTo>
                  <a:pt x="1530808" y="179576"/>
                  <a:pt x="1507953" y="156176"/>
                  <a:pt x="1507409" y="126247"/>
                </a:cubicBezTo>
                <a:cubicBezTo>
                  <a:pt x="1506864" y="96861"/>
                  <a:pt x="1532441" y="72373"/>
                  <a:pt x="1561282" y="72373"/>
                </a:cubicBezTo>
                <a:close/>
                <a:moveTo>
                  <a:pt x="10381" y="33737"/>
                </a:moveTo>
                <a:cubicBezTo>
                  <a:pt x="15822" y="33737"/>
                  <a:pt x="20720" y="39179"/>
                  <a:pt x="20720" y="45165"/>
                </a:cubicBezTo>
                <a:cubicBezTo>
                  <a:pt x="20176" y="50606"/>
                  <a:pt x="14734" y="55504"/>
                  <a:pt x="9292" y="54960"/>
                </a:cubicBezTo>
                <a:cubicBezTo>
                  <a:pt x="4395" y="54416"/>
                  <a:pt x="41" y="49518"/>
                  <a:pt x="41" y="44621"/>
                </a:cubicBezTo>
                <a:cubicBezTo>
                  <a:pt x="-503" y="38635"/>
                  <a:pt x="4395" y="33737"/>
                  <a:pt x="10381" y="33737"/>
                </a:cubicBezTo>
                <a:close/>
                <a:moveTo>
                  <a:pt x="172546" y="23942"/>
                </a:moveTo>
                <a:cubicBezTo>
                  <a:pt x="181796" y="22854"/>
                  <a:pt x="193224" y="34826"/>
                  <a:pt x="193224" y="44621"/>
                </a:cubicBezTo>
                <a:cubicBezTo>
                  <a:pt x="193224" y="53872"/>
                  <a:pt x="182341" y="64755"/>
                  <a:pt x="173090" y="64755"/>
                </a:cubicBezTo>
                <a:cubicBezTo>
                  <a:pt x="164383" y="64755"/>
                  <a:pt x="152411" y="52784"/>
                  <a:pt x="152411" y="44621"/>
                </a:cubicBezTo>
                <a:cubicBezTo>
                  <a:pt x="152411" y="36458"/>
                  <a:pt x="164927" y="24486"/>
                  <a:pt x="172546" y="23942"/>
                </a:cubicBezTo>
                <a:close/>
                <a:moveTo>
                  <a:pt x="1861123" y="22132"/>
                </a:moveTo>
                <a:cubicBezTo>
                  <a:pt x="1861123" y="26485"/>
                  <a:pt x="1860035" y="31383"/>
                  <a:pt x="1861123" y="35737"/>
                </a:cubicBezTo>
                <a:cubicBezTo>
                  <a:pt x="1863844" y="44443"/>
                  <a:pt x="1864932" y="52606"/>
                  <a:pt x="1861123" y="61313"/>
                </a:cubicBezTo>
                <a:cubicBezTo>
                  <a:pt x="1860035" y="64034"/>
                  <a:pt x="1860035" y="67299"/>
                  <a:pt x="1858946" y="72740"/>
                </a:cubicBezTo>
                <a:cubicBezTo>
                  <a:pt x="1858402" y="76550"/>
                  <a:pt x="1861123" y="77638"/>
                  <a:pt x="1866021" y="76550"/>
                </a:cubicBezTo>
                <a:cubicBezTo>
                  <a:pt x="1868741" y="76006"/>
                  <a:pt x="1871462" y="76006"/>
                  <a:pt x="1873639" y="74917"/>
                </a:cubicBezTo>
                <a:cubicBezTo>
                  <a:pt x="1882346" y="71108"/>
                  <a:pt x="1891053" y="71108"/>
                  <a:pt x="1900304" y="74373"/>
                </a:cubicBezTo>
                <a:cubicBezTo>
                  <a:pt x="1902480" y="75461"/>
                  <a:pt x="1905201" y="76006"/>
                  <a:pt x="1907922" y="76006"/>
                </a:cubicBezTo>
                <a:cubicBezTo>
                  <a:pt x="1912276" y="76550"/>
                  <a:pt x="1914996" y="75461"/>
                  <a:pt x="1912820" y="70020"/>
                </a:cubicBezTo>
                <a:cubicBezTo>
                  <a:pt x="1907378" y="55871"/>
                  <a:pt x="1906834" y="41178"/>
                  <a:pt x="1912820" y="27030"/>
                </a:cubicBezTo>
                <a:cubicBezTo>
                  <a:pt x="1914996" y="22132"/>
                  <a:pt x="1911731" y="21588"/>
                  <a:pt x="1908466" y="22132"/>
                </a:cubicBezTo>
                <a:cubicBezTo>
                  <a:pt x="1906290" y="22676"/>
                  <a:pt x="1904657" y="24309"/>
                  <a:pt x="1902480" y="24309"/>
                </a:cubicBezTo>
                <a:cubicBezTo>
                  <a:pt x="1892685" y="24309"/>
                  <a:pt x="1882890" y="24853"/>
                  <a:pt x="1873095" y="24309"/>
                </a:cubicBezTo>
                <a:cubicBezTo>
                  <a:pt x="1868741" y="24309"/>
                  <a:pt x="1864932" y="22676"/>
                  <a:pt x="1861123" y="22132"/>
                </a:cubicBezTo>
                <a:close/>
                <a:moveTo>
                  <a:pt x="336886" y="17412"/>
                </a:moveTo>
                <a:cubicBezTo>
                  <a:pt x="347770" y="17412"/>
                  <a:pt x="363551" y="31016"/>
                  <a:pt x="363007" y="44077"/>
                </a:cubicBezTo>
                <a:cubicBezTo>
                  <a:pt x="363007" y="57681"/>
                  <a:pt x="350491" y="70741"/>
                  <a:pt x="337431" y="71285"/>
                </a:cubicBezTo>
                <a:cubicBezTo>
                  <a:pt x="324370" y="71830"/>
                  <a:pt x="310766" y="58769"/>
                  <a:pt x="310222" y="45165"/>
                </a:cubicBezTo>
                <a:cubicBezTo>
                  <a:pt x="309678" y="31016"/>
                  <a:pt x="323282" y="17956"/>
                  <a:pt x="336886" y="17412"/>
                </a:cubicBezTo>
                <a:close/>
                <a:moveTo>
                  <a:pt x="498507" y="13059"/>
                </a:moveTo>
                <a:cubicBezTo>
                  <a:pt x="514832" y="11970"/>
                  <a:pt x="531702" y="28296"/>
                  <a:pt x="531702" y="44621"/>
                </a:cubicBezTo>
                <a:cubicBezTo>
                  <a:pt x="531702" y="60402"/>
                  <a:pt x="515376" y="76183"/>
                  <a:pt x="499595" y="76727"/>
                </a:cubicBezTo>
                <a:cubicBezTo>
                  <a:pt x="483270" y="76727"/>
                  <a:pt x="467489" y="61490"/>
                  <a:pt x="467489" y="45165"/>
                </a:cubicBezTo>
                <a:cubicBezTo>
                  <a:pt x="467489" y="28840"/>
                  <a:pt x="482182" y="13059"/>
                  <a:pt x="498507" y="13059"/>
                </a:cubicBezTo>
                <a:close/>
                <a:moveTo>
                  <a:pt x="662303" y="7616"/>
                </a:moveTo>
                <a:cubicBezTo>
                  <a:pt x="680805" y="7072"/>
                  <a:pt x="698763" y="25030"/>
                  <a:pt x="698763" y="44076"/>
                </a:cubicBezTo>
                <a:cubicBezTo>
                  <a:pt x="698763" y="62578"/>
                  <a:pt x="680261" y="81624"/>
                  <a:pt x="662303" y="81080"/>
                </a:cubicBezTo>
                <a:cubicBezTo>
                  <a:pt x="644346" y="80536"/>
                  <a:pt x="626932" y="62578"/>
                  <a:pt x="626932" y="44076"/>
                </a:cubicBezTo>
                <a:cubicBezTo>
                  <a:pt x="626932" y="25574"/>
                  <a:pt x="643257" y="8160"/>
                  <a:pt x="662303" y="7616"/>
                </a:cubicBezTo>
                <a:close/>
                <a:moveTo>
                  <a:pt x="825557" y="5440"/>
                </a:moveTo>
                <a:cubicBezTo>
                  <a:pt x="847868" y="5440"/>
                  <a:pt x="865281" y="23942"/>
                  <a:pt x="865281" y="44621"/>
                </a:cubicBezTo>
                <a:cubicBezTo>
                  <a:pt x="865281" y="63667"/>
                  <a:pt x="847324" y="85978"/>
                  <a:pt x="826101" y="83257"/>
                </a:cubicBezTo>
                <a:cubicBezTo>
                  <a:pt x="805422" y="85978"/>
                  <a:pt x="786920" y="64211"/>
                  <a:pt x="786920" y="44621"/>
                </a:cubicBezTo>
                <a:cubicBezTo>
                  <a:pt x="786920" y="22854"/>
                  <a:pt x="805422" y="5440"/>
                  <a:pt x="825557" y="5440"/>
                </a:cubicBezTo>
                <a:close/>
                <a:moveTo>
                  <a:pt x="989353" y="1086"/>
                </a:moveTo>
                <a:cubicBezTo>
                  <a:pt x="1013297" y="1086"/>
                  <a:pt x="1032343" y="21220"/>
                  <a:pt x="1032343" y="43532"/>
                </a:cubicBezTo>
                <a:cubicBezTo>
                  <a:pt x="1032887" y="66931"/>
                  <a:pt x="1012753" y="88698"/>
                  <a:pt x="989897" y="87610"/>
                </a:cubicBezTo>
                <a:cubicBezTo>
                  <a:pt x="967042" y="88698"/>
                  <a:pt x="945819" y="65843"/>
                  <a:pt x="945819" y="44620"/>
                </a:cubicBezTo>
                <a:cubicBezTo>
                  <a:pt x="945819" y="23941"/>
                  <a:pt x="964321" y="1086"/>
                  <a:pt x="989353" y="1086"/>
                </a:cubicBezTo>
                <a:close/>
                <a:moveTo>
                  <a:pt x="1614056" y="0"/>
                </a:moveTo>
                <a:lnTo>
                  <a:pt x="1675529" y="0"/>
                </a:lnTo>
                <a:lnTo>
                  <a:pt x="1682905" y="4720"/>
                </a:lnTo>
                <a:lnTo>
                  <a:pt x="1933639" y="4720"/>
                </a:lnTo>
                <a:cubicBezTo>
                  <a:pt x="1966059" y="4720"/>
                  <a:pt x="1995409" y="17861"/>
                  <a:pt x="2016655" y="39107"/>
                </a:cubicBezTo>
                <a:lnTo>
                  <a:pt x="2028934" y="57318"/>
                </a:lnTo>
                <a:lnTo>
                  <a:pt x="2026008" y="71108"/>
                </a:lnTo>
                <a:cubicBezTo>
                  <a:pt x="2023832" y="74917"/>
                  <a:pt x="2026552" y="77094"/>
                  <a:pt x="2030906" y="75461"/>
                </a:cubicBezTo>
                <a:lnTo>
                  <a:pt x="2039929" y="73627"/>
                </a:lnTo>
                <a:lnTo>
                  <a:pt x="2041815" y="76424"/>
                </a:lnTo>
                <a:cubicBezTo>
                  <a:pt x="2047756" y="90470"/>
                  <a:pt x="2051041" y="105912"/>
                  <a:pt x="2051041" y="122122"/>
                </a:cubicBezTo>
                <a:lnTo>
                  <a:pt x="2051041" y="186473"/>
                </a:lnTo>
                <a:lnTo>
                  <a:pt x="2029818" y="186473"/>
                </a:lnTo>
                <a:cubicBezTo>
                  <a:pt x="2023832" y="184297"/>
                  <a:pt x="2022743" y="185929"/>
                  <a:pt x="2023287" y="192459"/>
                </a:cubicBezTo>
                <a:cubicBezTo>
                  <a:pt x="2023287" y="193548"/>
                  <a:pt x="2023287" y="195180"/>
                  <a:pt x="2023832" y="196268"/>
                </a:cubicBezTo>
                <a:cubicBezTo>
                  <a:pt x="2028185" y="210961"/>
                  <a:pt x="2026008" y="225110"/>
                  <a:pt x="2019478" y="239258"/>
                </a:cubicBezTo>
                <a:cubicBezTo>
                  <a:pt x="2018934" y="240347"/>
                  <a:pt x="2019478" y="241979"/>
                  <a:pt x="2020022" y="242523"/>
                </a:cubicBezTo>
                <a:cubicBezTo>
                  <a:pt x="2020566" y="243067"/>
                  <a:pt x="2022743" y="243612"/>
                  <a:pt x="2023287" y="243067"/>
                </a:cubicBezTo>
                <a:cubicBezTo>
                  <a:pt x="2032266" y="238986"/>
                  <a:pt x="2041245" y="237082"/>
                  <a:pt x="2050224" y="237150"/>
                </a:cubicBezTo>
                <a:lnTo>
                  <a:pt x="2051041" y="237329"/>
                </a:lnTo>
                <a:lnTo>
                  <a:pt x="2051041" y="348996"/>
                </a:lnTo>
                <a:lnTo>
                  <a:pt x="2036552" y="347754"/>
                </a:lnTo>
                <a:cubicBezTo>
                  <a:pt x="2031178" y="346733"/>
                  <a:pt x="2026009" y="344829"/>
                  <a:pt x="2021111" y="341019"/>
                </a:cubicBezTo>
                <a:cubicBezTo>
                  <a:pt x="2020022" y="339931"/>
                  <a:pt x="2018390" y="339387"/>
                  <a:pt x="2016757" y="338842"/>
                </a:cubicBezTo>
                <a:cubicBezTo>
                  <a:pt x="2016757" y="340475"/>
                  <a:pt x="2016757" y="343196"/>
                  <a:pt x="2017301" y="344284"/>
                </a:cubicBezTo>
                <a:cubicBezTo>
                  <a:pt x="2022743" y="354079"/>
                  <a:pt x="2026008" y="364419"/>
                  <a:pt x="2025464" y="376391"/>
                </a:cubicBezTo>
                <a:cubicBezTo>
                  <a:pt x="2024376" y="398702"/>
                  <a:pt x="2014580" y="413939"/>
                  <a:pt x="1994446" y="424278"/>
                </a:cubicBezTo>
                <a:cubicBezTo>
                  <a:pt x="1972135" y="435706"/>
                  <a:pt x="1950912" y="431352"/>
                  <a:pt x="1933498" y="416115"/>
                </a:cubicBezTo>
                <a:cubicBezTo>
                  <a:pt x="1917173" y="401967"/>
                  <a:pt x="1908466" y="378567"/>
                  <a:pt x="1920438" y="352447"/>
                </a:cubicBezTo>
                <a:cubicBezTo>
                  <a:pt x="1922615" y="348093"/>
                  <a:pt x="1923703" y="343196"/>
                  <a:pt x="1925336" y="338298"/>
                </a:cubicBezTo>
                <a:cubicBezTo>
                  <a:pt x="1920982" y="339931"/>
                  <a:pt x="1916085" y="341563"/>
                  <a:pt x="1911731" y="343196"/>
                </a:cubicBezTo>
                <a:cubicBezTo>
                  <a:pt x="1907378" y="344828"/>
                  <a:pt x="1903024" y="347005"/>
                  <a:pt x="1898671" y="347005"/>
                </a:cubicBezTo>
                <a:cubicBezTo>
                  <a:pt x="1882890" y="348638"/>
                  <a:pt x="1867653" y="348638"/>
                  <a:pt x="1854593" y="336666"/>
                </a:cubicBezTo>
                <a:lnTo>
                  <a:pt x="1847690" y="333480"/>
                </a:lnTo>
                <a:lnTo>
                  <a:pt x="1852961" y="344461"/>
                </a:lnTo>
                <a:cubicBezTo>
                  <a:pt x="1868742" y="372214"/>
                  <a:pt x="1855137" y="408674"/>
                  <a:pt x="1826840" y="420646"/>
                </a:cubicBezTo>
                <a:cubicBezTo>
                  <a:pt x="1803441" y="430985"/>
                  <a:pt x="1777864" y="422278"/>
                  <a:pt x="1765893" y="408130"/>
                </a:cubicBezTo>
                <a:cubicBezTo>
                  <a:pt x="1749567" y="388539"/>
                  <a:pt x="1744126" y="368405"/>
                  <a:pt x="1759362" y="342829"/>
                </a:cubicBezTo>
                <a:cubicBezTo>
                  <a:pt x="1771199" y="322422"/>
                  <a:pt x="1795584" y="313341"/>
                  <a:pt x="1815991" y="317193"/>
                </a:cubicBezTo>
                <a:cubicBezTo>
                  <a:pt x="1822793" y="318477"/>
                  <a:pt x="1829153" y="321198"/>
                  <a:pt x="1834459" y="325415"/>
                </a:cubicBezTo>
                <a:lnTo>
                  <a:pt x="1845023" y="330169"/>
                </a:lnTo>
                <a:lnTo>
                  <a:pt x="1840444" y="321429"/>
                </a:lnTo>
                <a:cubicBezTo>
                  <a:pt x="1831193" y="306736"/>
                  <a:pt x="1832282" y="290955"/>
                  <a:pt x="1834458" y="275174"/>
                </a:cubicBezTo>
                <a:cubicBezTo>
                  <a:pt x="1835002" y="269732"/>
                  <a:pt x="1838812" y="265379"/>
                  <a:pt x="1840988" y="259937"/>
                </a:cubicBezTo>
                <a:cubicBezTo>
                  <a:pt x="1841533" y="258849"/>
                  <a:pt x="1842077" y="257216"/>
                  <a:pt x="1842077" y="255584"/>
                </a:cubicBezTo>
                <a:cubicBezTo>
                  <a:pt x="1840444" y="256128"/>
                  <a:pt x="1838812" y="256672"/>
                  <a:pt x="1837723" y="257216"/>
                </a:cubicBezTo>
                <a:cubicBezTo>
                  <a:pt x="1831193" y="259937"/>
                  <a:pt x="1824663" y="263746"/>
                  <a:pt x="1817589" y="264834"/>
                </a:cubicBezTo>
                <a:cubicBezTo>
                  <a:pt x="1799631" y="268100"/>
                  <a:pt x="1782762" y="264290"/>
                  <a:pt x="1768069" y="251774"/>
                </a:cubicBezTo>
                <a:lnTo>
                  <a:pt x="1764740" y="250110"/>
                </a:lnTo>
                <a:lnTo>
                  <a:pt x="1773510" y="267189"/>
                </a:lnTo>
                <a:cubicBezTo>
                  <a:pt x="1786571" y="292765"/>
                  <a:pt x="1773510" y="323239"/>
                  <a:pt x="1750655" y="336843"/>
                </a:cubicBezTo>
                <a:cubicBezTo>
                  <a:pt x="1721270" y="354257"/>
                  <a:pt x="1685354" y="337388"/>
                  <a:pt x="1673926" y="310723"/>
                </a:cubicBezTo>
                <a:cubicBezTo>
                  <a:pt x="1664675" y="289500"/>
                  <a:pt x="1669029" y="271542"/>
                  <a:pt x="1681545" y="254673"/>
                </a:cubicBezTo>
                <a:cubicBezTo>
                  <a:pt x="1694605" y="237803"/>
                  <a:pt x="1712563" y="231817"/>
                  <a:pt x="1733786" y="235083"/>
                </a:cubicBezTo>
                <a:cubicBezTo>
                  <a:pt x="1739771" y="236171"/>
                  <a:pt x="1745757" y="239980"/>
                  <a:pt x="1751743" y="242157"/>
                </a:cubicBezTo>
                <a:lnTo>
                  <a:pt x="1762506" y="246769"/>
                </a:lnTo>
                <a:lnTo>
                  <a:pt x="1757185" y="236537"/>
                </a:lnTo>
                <a:cubicBezTo>
                  <a:pt x="1747934" y="219668"/>
                  <a:pt x="1747390" y="203343"/>
                  <a:pt x="1756097" y="185929"/>
                </a:cubicBezTo>
                <a:cubicBezTo>
                  <a:pt x="1757185" y="183752"/>
                  <a:pt x="1756641" y="180487"/>
                  <a:pt x="1757185" y="177766"/>
                </a:cubicBezTo>
                <a:cubicBezTo>
                  <a:pt x="1754464" y="177766"/>
                  <a:pt x="1751199" y="177222"/>
                  <a:pt x="1749023" y="178311"/>
                </a:cubicBezTo>
                <a:cubicBezTo>
                  <a:pt x="1722358" y="193003"/>
                  <a:pt x="1688075" y="178855"/>
                  <a:pt x="1676103" y="154911"/>
                </a:cubicBezTo>
                <a:cubicBezTo>
                  <a:pt x="1665220" y="133688"/>
                  <a:pt x="1667396" y="113554"/>
                  <a:pt x="1681001" y="94507"/>
                </a:cubicBezTo>
                <a:lnTo>
                  <a:pt x="1685681" y="85147"/>
                </a:lnTo>
                <a:lnTo>
                  <a:pt x="1693517" y="82536"/>
                </a:lnTo>
                <a:cubicBezTo>
                  <a:pt x="1710930" y="71108"/>
                  <a:pt x="1728888" y="71108"/>
                  <a:pt x="1747934" y="77638"/>
                </a:cubicBezTo>
                <a:cubicBezTo>
                  <a:pt x="1750655" y="78726"/>
                  <a:pt x="1753920" y="78726"/>
                  <a:pt x="1756641" y="79271"/>
                </a:cubicBezTo>
                <a:cubicBezTo>
                  <a:pt x="1756097" y="76550"/>
                  <a:pt x="1755553" y="74373"/>
                  <a:pt x="1754464" y="71652"/>
                </a:cubicBezTo>
                <a:cubicBezTo>
                  <a:pt x="1753920" y="70564"/>
                  <a:pt x="1753376" y="69475"/>
                  <a:pt x="1752832" y="68387"/>
                </a:cubicBezTo>
                <a:cubicBezTo>
                  <a:pt x="1747934" y="52062"/>
                  <a:pt x="1747390" y="35737"/>
                  <a:pt x="1756097" y="20500"/>
                </a:cubicBezTo>
                <a:cubicBezTo>
                  <a:pt x="1756641" y="19411"/>
                  <a:pt x="1757185" y="16690"/>
                  <a:pt x="1756641" y="16146"/>
                </a:cubicBezTo>
                <a:cubicBezTo>
                  <a:pt x="1755553" y="15058"/>
                  <a:pt x="1753376" y="14514"/>
                  <a:pt x="1751744" y="15058"/>
                </a:cubicBezTo>
                <a:cubicBezTo>
                  <a:pt x="1747934" y="16146"/>
                  <a:pt x="1744669" y="19411"/>
                  <a:pt x="1741404" y="19955"/>
                </a:cubicBezTo>
                <a:cubicBezTo>
                  <a:pt x="1724535" y="21588"/>
                  <a:pt x="1707121" y="23765"/>
                  <a:pt x="1691884" y="11249"/>
                </a:cubicBezTo>
                <a:lnTo>
                  <a:pt x="1685645" y="8369"/>
                </a:lnTo>
                <a:lnTo>
                  <a:pt x="1688620" y="14691"/>
                </a:lnTo>
                <a:cubicBezTo>
                  <a:pt x="1700048" y="32648"/>
                  <a:pt x="1700048" y="50606"/>
                  <a:pt x="1691885" y="69652"/>
                </a:cubicBezTo>
                <a:lnTo>
                  <a:pt x="1684469" y="82365"/>
                </a:lnTo>
                <a:lnTo>
                  <a:pt x="1663044" y="94684"/>
                </a:lnTo>
                <a:cubicBezTo>
                  <a:pt x="1651072" y="101759"/>
                  <a:pt x="1638556" y="100126"/>
                  <a:pt x="1626584" y="96861"/>
                </a:cubicBezTo>
                <a:cubicBezTo>
                  <a:pt x="1608082" y="91419"/>
                  <a:pt x="1595566" y="78359"/>
                  <a:pt x="1590124" y="60401"/>
                </a:cubicBezTo>
                <a:cubicBezTo>
                  <a:pt x="1586315" y="48974"/>
                  <a:pt x="1586315" y="37002"/>
                  <a:pt x="1591757" y="25030"/>
                </a:cubicBezTo>
                <a:close/>
                <a:moveTo>
                  <a:pt x="1460066" y="0"/>
                </a:moveTo>
                <a:lnTo>
                  <a:pt x="1498513" y="0"/>
                </a:lnTo>
                <a:lnTo>
                  <a:pt x="1517204" y="8092"/>
                </a:lnTo>
                <a:cubicBezTo>
                  <a:pt x="1526183" y="17411"/>
                  <a:pt x="1531352" y="30199"/>
                  <a:pt x="1531896" y="45164"/>
                </a:cubicBezTo>
                <a:cubicBezTo>
                  <a:pt x="1532985" y="71829"/>
                  <a:pt x="1505776" y="97949"/>
                  <a:pt x="1479111" y="97949"/>
                </a:cubicBezTo>
                <a:cubicBezTo>
                  <a:pt x="1451902" y="97949"/>
                  <a:pt x="1425238" y="71829"/>
                  <a:pt x="1426870" y="45164"/>
                </a:cubicBezTo>
                <a:cubicBezTo>
                  <a:pt x="1427687" y="29655"/>
                  <a:pt x="1432720" y="16867"/>
                  <a:pt x="1441631" y="7684"/>
                </a:cubicBezTo>
                <a:close/>
                <a:moveTo>
                  <a:pt x="1296749" y="0"/>
                </a:moveTo>
                <a:lnTo>
                  <a:pt x="1335755" y="0"/>
                </a:lnTo>
                <a:lnTo>
                  <a:pt x="1350278" y="10270"/>
                </a:lnTo>
                <a:cubicBezTo>
                  <a:pt x="1359937" y="19861"/>
                  <a:pt x="1366467" y="32649"/>
                  <a:pt x="1365923" y="45165"/>
                </a:cubicBezTo>
                <a:cubicBezTo>
                  <a:pt x="1364291" y="71829"/>
                  <a:pt x="1343068" y="93052"/>
                  <a:pt x="1315315" y="93052"/>
                </a:cubicBezTo>
                <a:cubicBezTo>
                  <a:pt x="1290283" y="95229"/>
                  <a:pt x="1266339" y="69109"/>
                  <a:pt x="1266339" y="44076"/>
                </a:cubicBezTo>
                <a:cubicBezTo>
                  <a:pt x="1266339" y="30472"/>
                  <a:pt x="1273141" y="18228"/>
                  <a:pt x="1282732" y="9317"/>
                </a:cubicBezTo>
                <a:close/>
                <a:moveTo>
                  <a:pt x="1148085" y="0"/>
                </a:moveTo>
                <a:lnTo>
                  <a:pt x="1161802" y="0"/>
                </a:lnTo>
                <a:lnTo>
                  <a:pt x="1169637" y="1315"/>
                </a:lnTo>
                <a:cubicBezTo>
                  <a:pt x="1186447" y="8432"/>
                  <a:pt x="1199813" y="26798"/>
                  <a:pt x="1199405" y="45164"/>
                </a:cubicBezTo>
                <a:cubicBezTo>
                  <a:pt x="1198861" y="69652"/>
                  <a:pt x="1175462" y="93596"/>
                  <a:pt x="1151518" y="91419"/>
                </a:cubicBezTo>
                <a:cubicBezTo>
                  <a:pt x="1123765" y="88154"/>
                  <a:pt x="1109072" y="72373"/>
                  <a:pt x="1105807" y="44620"/>
                </a:cubicBezTo>
                <a:cubicBezTo>
                  <a:pt x="1107440" y="30472"/>
                  <a:pt x="1111657" y="19588"/>
                  <a:pt x="1119139" y="11902"/>
                </a:cubicBezTo>
                <a:close/>
              </a:path>
            </a:pathLst>
          </a:custGeom>
          <a:solidFill>
            <a:srgbClr val="9AA8C5">
              <a:alpha val="17000"/>
            </a:srgbClr>
          </a:solidFill>
          <a:ln w="5432" cap="flat">
            <a:noFill/>
            <a:prstDash val="solid"/>
            <a:miter/>
          </a:ln>
        </p:spPr>
        <p:txBody>
          <a:bodyPr rtlCol="0" anchor="ctr"/>
          <a:lstStyle/>
          <a:p>
            <a:endParaRPr lang="en-IN"/>
          </a:p>
        </p:txBody>
      </p:sp>
    </p:spTree>
    <p:extLst>
      <p:ext uri="{BB962C8B-B14F-4D97-AF65-F5344CB8AC3E}">
        <p14:creationId xmlns:p14="http://schemas.microsoft.com/office/powerpoint/2010/main" val="280780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3_content slide">
    <p:spTree>
      <p:nvGrpSpPr>
        <p:cNvPr id="1" name=""/>
        <p:cNvGrpSpPr/>
        <p:nvPr/>
      </p:nvGrpSpPr>
      <p:grpSpPr>
        <a:xfrm>
          <a:off x="0" y="0"/>
          <a:ext cx="0" cy="0"/>
          <a:chOff x="0" y="0"/>
          <a:chExt cx="0" cy="0"/>
        </a:xfrm>
      </p:grpSpPr>
      <p:sp>
        <p:nvSpPr>
          <p:cNvPr id="41" name="Title 11">
            <a:extLst>
              <a:ext uri="{FF2B5EF4-FFF2-40B4-BE49-F238E27FC236}">
                <a16:creationId xmlns:a16="http://schemas.microsoft.com/office/drawing/2014/main" id="{DDA87447-1017-4301-A6CE-4D2A98BB0C96}"/>
              </a:ext>
            </a:extLst>
          </p:cNvPr>
          <p:cNvSpPr>
            <a:spLocks noGrp="1"/>
          </p:cNvSpPr>
          <p:nvPr>
            <p:ph type="title" hasCustomPrompt="1"/>
          </p:nvPr>
        </p:nvSpPr>
        <p:spPr>
          <a:xfrm>
            <a:off x="374011" y="185817"/>
            <a:ext cx="10515600" cy="608663"/>
          </a:xfrm>
          <a:prstGeom prst="rect">
            <a:avLst/>
          </a:prstGeom>
        </p:spPr>
        <p:txBody>
          <a:bodyPr/>
          <a:lstStyle>
            <a:lvl1pPr>
              <a:defRPr sz="2600" b="1">
                <a:solidFill>
                  <a:srgbClr val="334D8B"/>
                </a:solidFill>
                <a:latin typeface="+mn-lt"/>
              </a:defRPr>
            </a:lvl1pPr>
          </a:lstStyle>
          <a:p>
            <a:r>
              <a:rPr lang="en-US"/>
              <a:t>Write your Heading here</a:t>
            </a:r>
          </a:p>
        </p:txBody>
      </p:sp>
      <p:sp>
        <p:nvSpPr>
          <p:cNvPr id="12" name="TextBox 11">
            <a:extLst>
              <a:ext uri="{FF2B5EF4-FFF2-40B4-BE49-F238E27FC236}">
                <a16:creationId xmlns:a16="http://schemas.microsoft.com/office/drawing/2014/main" id="{A57AC222-5CA2-9643-BE24-E5546A0E887D}"/>
              </a:ext>
            </a:extLst>
          </p:cNvPr>
          <p:cNvSpPr txBox="1">
            <a:spLocks/>
          </p:cNvSpPr>
          <p:nvPr>
            <p:custDataLst>
              <p:tags r:id="rId1"/>
            </p:custDataLst>
          </p:nvPr>
        </p:nvSpPr>
        <p:spPr>
          <a:xfrm>
            <a:off x="371474" y="4706521"/>
            <a:ext cx="8241581" cy="1384854"/>
          </a:xfrm>
          <a:prstGeom prst="roundRect">
            <a:avLst>
              <a:gd name="adj" fmla="val 5268"/>
            </a:avLst>
          </a:prstGeom>
          <a:solidFill>
            <a:schemeClr val="bg1">
              <a:lumMod val="95000"/>
            </a:schemeClr>
          </a:solidFill>
          <a:ln w="19050">
            <a:noFill/>
          </a:ln>
          <a:effectLst/>
        </p:spPr>
        <p:txBody>
          <a:bodyPr vert="horz" wrap="square" lIns="45720" tIns="137160" rIns="45720" bIns="45720" rtlCol="0" anchor="t">
            <a:noAutofit/>
          </a:bodyPr>
          <a:lstStyle/>
          <a:p>
            <a:pPr marL="0" marR="0" lvl="0" indent="0" algn="l" defTabSz="457200" rtl="0" eaLnBrk="1" fontAlgn="auto" latinLnBrk="0" hangingPunct="1">
              <a:lnSpc>
                <a:spcPct val="100000"/>
              </a:lnSpc>
              <a:spcBef>
                <a:spcPts val="326"/>
              </a:spcBef>
              <a:spcAft>
                <a:spcPts val="0"/>
              </a:spcAft>
              <a:buClr>
                <a:srgbClr val="46AAC5"/>
              </a:buClr>
              <a:buSzPct val="100000"/>
              <a:buFont typeface="Wingdings" pitchFamily="2" charset="2"/>
              <a:buNone/>
              <a:tabLst/>
              <a:defRPr/>
            </a:pPr>
            <a:endParaRPr kumimoji="0" lang="en-US" sz="1100" b="0" i="0" u="none" strike="noStrike" kern="1200" cap="none" spc="0" normalizeH="0" baseline="0" noProof="0">
              <a:ln>
                <a:noFill/>
              </a:ln>
              <a:solidFill>
                <a:prstClr val="white">
                  <a:lumMod val="50000"/>
                </a:prstClr>
              </a:solidFill>
              <a:effectLst/>
              <a:uLnTx/>
              <a:uFillTx/>
              <a:latin typeface="Calibri" panose="020F0502020204030204"/>
              <a:ea typeface="+mn-ea"/>
              <a:cs typeface="+mn-cs"/>
            </a:endParaRPr>
          </a:p>
        </p:txBody>
      </p:sp>
      <p:sp>
        <p:nvSpPr>
          <p:cNvPr id="13" name="Text Placeholder 2">
            <a:extLst>
              <a:ext uri="{FF2B5EF4-FFF2-40B4-BE49-F238E27FC236}">
                <a16:creationId xmlns:a16="http://schemas.microsoft.com/office/drawing/2014/main" id="{CA902570-1A72-F84A-8FFF-0626F1D8C696}"/>
              </a:ext>
            </a:extLst>
          </p:cNvPr>
          <p:cNvSpPr>
            <a:spLocks noGrp="1"/>
          </p:cNvSpPr>
          <p:nvPr>
            <p:ph type="body" idx="1"/>
          </p:nvPr>
        </p:nvSpPr>
        <p:spPr>
          <a:xfrm>
            <a:off x="389061" y="1041325"/>
            <a:ext cx="10070031" cy="328882"/>
          </a:xfrm>
          <a:prstGeom prst="rect">
            <a:avLst/>
          </a:prstGeom>
        </p:spPr>
        <p:txBody>
          <a:bodyPr anchor="t"/>
          <a:lstStyle>
            <a:lvl1pPr marL="0" indent="0">
              <a:buNone/>
              <a:defRPr sz="1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4" name="Text Placeholder 3">
            <a:extLst>
              <a:ext uri="{FF2B5EF4-FFF2-40B4-BE49-F238E27FC236}">
                <a16:creationId xmlns:a16="http://schemas.microsoft.com/office/drawing/2014/main" id="{8CDBB207-7ED8-064A-B08D-4B1C5E711CFC}"/>
              </a:ext>
            </a:extLst>
          </p:cNvPr>
          <p:cNvSpPr>
            <a:spLocks noGrp="1"/>
          </p:cNvSpPr>
          <p:nvPr>
            <p:ph type="body" sz="half" idx="2"/>
          </p:nvPr>
        </p:nvSpPr>
        <p:spPr>
          <a:xfrm>
            <a:off x="371474" y="1714651"/>
            <a:ext cx="7806755" cy="2651866"/>
          </a:xfrm>
          <a:prstGeom prst="rect">
            <a:avLst/>
          </a:prstGeom>
        </p:spPr>
        <p:txBody>
          <a:bodyPr/>
          <a:lstStyle>
            <a:lvl1pPr marL="285750" indent="-285750">
              <a:buClr>
                <a:srgbClr val="17BEB7"/>
              </a:buClr>
              <a:buSzPct val="120000"/>
              <a:buFont typeface="System Font Regular"/>
              <a:buChar char="▸"/>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15" name="Text Placeholder 3">
            <a:extLst>
              <a:ext uri="{FF2B5EF4-FFF2-40B4-BE49-F238E27FC236}">
                <a16:creationId xmlns:a16="http://schemas.microsoft.com/office/drawing/2014/main" id="{E09503B7-A99B-914B-A7C3-C81CFA338835}"/>
              </a:ext>
            </a:extLst>
          </p:cNvPr>
          <p:cNvSpPr>
            <a:spLocks noGrp="1"/>
          </p:cNvSpPr>
          <p:nvPr>
            <p:ph type="body" sz="half" idx="10"/>
          </p:nvPr>
        </p:nvSpPr>
        <p:spPr>
          <a:xfrm>
            <a:off x="402297" y="4850260"/>
            <a:ext cx="7775932" cy="1097376"/>
          </a:xfrm>
          <a:prstGeom prst="rect">
            <a:avLst/>
          </a:prstGeom>
        </p:spPr>
        <p:txBody>
          <a:bodyPr/>
          <a:lstStyle>
            <a:lvl1pPr marL="285750" indent="-285750">
              <a:buClr>
                <a:srgbClr val="17BEB7"/>
              </a:buClr>
              <a:buSzPct val="120000"/>
              <a:buFont typeface="Arial" panose="020B0604020202020204" pitchFamily="34" charset="0"/>
              <a:buChar char="•"/>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17" name="Slide Number Placeholder 5">
            <a:extLst>
              <a:ext uri="{FF2B5EF4-FFF2-40B4-BE49-F238E27FC236}">
                <a16:creationId xmlns:a16="http://schemas.microsoft.com/office/drawing/2014/main" id="{CE160395-7E00-4CD3-B690-2336CCD43E08}"/>
              </a:ext>
            </a:extLst>
          </p:cNvPr>
          <p:cNvSpPr txBox="1">
            <a:spLocks/>
          </p:cNvSpPr>
          <p:nvPr userDrawn="1"/>
        </p:nvSpPr>
        <p:spPr>
          <a:xfrm>
            <a:off x="11373135" y="6506785"/>
            <a:ext cx="609600" cy="261610"/>
          </a:xfrm>
          <a:prstGeom prst="rect">
            <a:avLst/>
          </a:prstGeom>
          <a:noFill/>
        </p:spPr>
        <p:txBody>
          <a:bodyPr>
            <a:spAutoFit/>
          </a:bodyPr>
          <a:lstStyle>
            <a:defPPr>
              <a:defRPr lang="en-US"/>
            </a:defPPr>
            <a:lvl1pPr marL="0" algn="ctr" defTabSz="914400" rtl="0" eaLnBrk="1" latinLnBrk="0" hangingPunct="1">
              <a:defRPr lang="en-US" sz="1800" kern="1200" smtClean="0">
                <a:solidFill>
                  <a:schemeClr val="bg1"/>
                </a:solidFill>
                <a:latin typeface="Tahoma" pitchFamily="34" charset="0"/>
                <a:ea typeface="Tahoma" pitchFamily="34" charset="0"/>
                <a:cs typeface="Tahoma"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fld id="{3413C1ED-5599-4BB6-878F-244F2E6B8E4A}" type="slidenum">
              <a:rPr lang="en-IN" sz="1100">
                <a:solidFill>
                  <a:prstClr val="black">
                    <a:lumMod val="50000"/>
                    <a:lumOff val="50000"/>
                  </a:prstClr>
                </a:solidFill>
              </a:rPr>
              <a:pPr fontAlgn="auto">
                <a:spcBef>
                  <a:spcPts val="0"/>
                </a:spcBef>
                <a:spcAft>
                  <a:spcPts val="0"/>
                </a:spcAft>
                <a:defRPr/>
              </a:pPr>
              <a:t>‹#›</a:t>
            </a:fld>
            <a:endParaRPr lang="en-IN" sz="1100">
              <a:solidFill>
                <a:prstClr val="black">
                  <a:lumMod val="50000"/>
                  <a:lumOff val="50000"/>
                </a:prstClr>
              </a:solidFill>
            </a:endParaRPr>
          </a:p>
        </p:txBody>
      </p:sp>
      <p:pic>
        <p:nvPicPr>
          <p:cNvPr id="18" name="Picture 17">
            <a:extLst>
              <a:ext uri="{FF2B5EF4-FFF2-40B4-BE49-F238E27FC236}">
                <a16:creationId xmlns:a16="http://schemas.microsoft.com/office/drawing/2014/main" id="{6D8FF98C-9652-4545-94E5-66AF7CCAB278}"/>
              </a:ext>
            </a:extLst>
          </p:cNvPr>
          <p:cNvPicPr>
            <a:picLocks noChangeAspect="1"/>
          </p:cNvPicPr>
          <p:nvPr userDrawn="1"/>
        </p:nvPicPr>
        <p:blipFill>
          <a:blip r:embed="rId3"/>
          <a:stretch>
            <a:fillRect/>
          </a:stretch>
        </p:blipFill>
        <p:spPr>
          <a:xfrm>
            <a:off x="464908" y="6506785"/>
            <a:ext cx="1148260" cy="138938"/>
          </a:xfrm>
          <a:prstGeom prst="rect">
            <a:avLst/>
          </a:prstGeom>
        </p:spPr>
      </p:pic>
      <p:sp>
        <p:nvSpPr>
          <p:cNvPr id="19" name="Freeform: Shape 14">
            <a:extLst>
              <a:ext uri="{FF2B5EF4-FFF2-40B4-BE49-F238E27FC236}">
                <a16:creationId xmlns:a16="http://schemas.microsoft.com/office/drawing/2014/main" id="{D5A1AD81-91BC-4A9E-A840-91AFEEDFF9A3}"/>
              </a:ext>
            </a:extLst>
          </p:cNvPr>
          <p:cNvSpPr/>
          <p:nvPr userDrawn="1"/>
        </p:nvSpPr>
        <p:spPr>
          <a:xfrm rot="5400000" flipH="1">
            <a:off x="10650813" y="-6388"/>
            <a:ext cx="1528833" cy="1553542"/>
          </a:xfrm>
          <a:custGeom>
            <a:avLst/>
            <a:gdLst>
              <a:gd name="connsiteX0" fmla="*/ 2051041 w 2051041"/>
              <a:gd name="connsiteY0" fmla="*/ 2080382 h 2084191"/>
              <a:gd name="connsiteX1" fmla="*/ 2051041 w 2051041"/>
              <a:gd name="connsiteY1" fmla="*/ 2083967 h 2084191"/>
              <a:gd name="connsiteX2" fmla="*/ 2047231 w 2051041"/>
              <a:gd name="connsiteY2" fmla="*/ 2084191 h 2084191"/>
              <a:gd name="connsiteX3" fmla="*/ 2045599 w 2051041"/>
              <a:gd name="connsiteY3" fmla="*/ 2081470 h 2084191"/>
              <a:gd name="connsiteX4" fmla="*/ 1478568 w 2051041"/>
              <a:gd name="connsiteY4" fmla="*/ 1997668 h 2084191"/>
              <a:gd name="connsiteX5" fmla="*/ 1484554 w 2051041"/>
              <a:gd name="connsiteY5" fmla="*/ 2004743 h 2084191"/>
              <a:gd name="connsiteX6" fmla="*/ 1478568 w 2051041"/>
              <a:gd name="connsiteY6" fmla="*/ 2009096 h 2084191"/>
              <a:gd name="connsiteX7" fmla="*/ 1473126 w 2051041"/>
              <a:gd name="connsiteY7" fmla="*/ 2003654 h 2084191"/>
              <a:gd name="connsiteX8" fmla="*/ 1478568 w 2051041"/>
              <a:gd name="connsiteY8" fmla="*/ 1997668 h 2084191"/>
              <a:gd name="connsiteX9" fmla="*/ 1641820 w 2051041"/>
              <a:gd name="connsiteY9" fmla="*/ 1993859 h 2084191"/>
              <a:gd name="connsiteX10" fmla="*/ 1652160 w 2051041"/>
              <a:gd name="connsiteY10" fmla="*/ 2003654 h 2084191"/>
              <a:gd name="connsiteX11" fmla="*/ 1641820 w 2051041"/>
              <a:gd name="connsiteY11" fmla="*/ 2013449 h 2084191"/>
              <a:gd name="connsiteX12" fmla="*/ 1632025 w 2051041"/>
              <a:gd name="connsiteY12" fmla="*/ 2003654 h 2084191"/>
              <a:gd name="connsiteX13" fmla="*/ 1641820 w 2051041"/>
              <a:gd name="connsiteY13" fmla="*/ 1993859 h 2084191"/>
              <a:gd name="connsiteX14" fmla="*/ 1969414 w 2051041"/>
              <a:gd name="connsiteY14" fmla="*/ 1992226 h 2084191"/>
              <a:gd name="connsiteX15" fmla="*/ 1979753 w 2051041"/>
              <a:gd name="connsiteY15" fmla="*/ 2003654 h 2084191"/>
              <a:gd name="connsiteX16" fmla="*/ 1968325 w 2051041"/>
              <a:gd name="connsiteY16" fmla="*/ 2014537 h 2084191"/>
              <a:gd name="connsiteX17" fmla="*/ 1957986 w 2051041"/>
              <a:gd name="connsiteY17" fmla="*/ 2003110 h 2084191"/>
              <a:gd name="connsiteX18" fmla="*/ 1969414 w 2051041"/>
              <a:gd name="connsiteY18" fmla="*/ 1992226 h 2084191"/>
              <a:gd name="connsiteX19" fmla="*/ 1805073 w 2051041"/>
              <a:gd name="connsiteY19" fmla="*/ 1992226 h 2084191"/>
              <a:gd name="connsiteX20" fmla="*/ 1815956 w 2051041"/>
              <a:gd name="connsiteY20" fmla="*/ 2002565 h 2084191"/>
              <a:gd name="connsiteX21" fmla="*/ 1805073 w 2051041"/>
              <a:gd name="connsiteY21" fmla="*/ 2014537 h 2084191"/>
              <a:gd name="connsiteX22" fmla="*/ 1794189 w 2051041"/>
              <a:gd name="connsiteY22" fmla="*/ 2004198 h 2084191"/>
              <a:gd name="connsiteX23" fmla="*/ 1805073 w 2051041"/>
              <a:gd name="connsiteY23" fmla="*/ 1992226 h 2084191"/>
              <a:gd name="connsiteX24" fmla="*/ 1234233 w 2051041"/>
              <a:gd name="connsiteY24" fmla="*/ 1916042 h 2084191"/>
              <a:gd name="connsiteX25" fmla="*/ 1240219 w 2051041"/>
              <a:gd name="connsiteY25" fmla="*/ 1923660 h 2084191"/>
              <a:gd name="connsiteX26" fmla="*/ 1236953 w 2051041"/>
              <a:gd name="connsiteY26" fmla="*/ 1926381 h 2084191"/>
              <a:gd name="connsiteX27" fmla="*/ 1229335 w 2051041"/>
              <a:gd name="connsiteY27" fmla="*/ 1918762 h 2084191"/>
              <a:gd name="connsiteX28" fmla="*/ 1234233 w 2051041"/>
              <a:gd name="connsiteY28" fmla="*/ 1916042 h 2084191"/>
              <a:gd name="connsiteX29" fmla="*/ 1397486 w 2051041"/>
              <a:gd name="connsiteY29" fmla="*/ 1911144 h 2084191"/>
              <a:gd name="connsiteX30" fmla="*/ 1408369 w 2051041"/>
              <a:gd name="connsiteY30" fmla="*/ 1921483 h 2084191"/>
              <a:gd name="connsiteX31" fmla="*/ 1399118 w 2051041"/>
              <a:gd name="connsiteY31" fmla="*/ 1931823 h 2084191"/>
              <a:gd name="connsiteX32" fmla="*/ 1387146 w 2051041"/>
              <a:gd name="connsiteY32" fmla="*/ 1922028 h 2084191"/>
              <a:gd name="connsiteX33" fmla="*/ 1397486 w 2051041"/>
              <a:gd name="connsiteY33" fmla="*/ 1911144 h 2084191"/>
              <a:gd name="connsiteX34" fmla="*/ 1560194 w 2051041"/>
              <a:gd name="connsiteY34" fmla="*/ 1906790 h 2084191"/>
              <a:gd name="connsiteX35" fmla="*/ 1574342 w 2051041"/>
              <a:gd name="connsiteY35" fmla="*/ 1921482 h 2084191"/>
              <a:gd name="connsiteX36" fmla="*/ 1560738 w 2051041"/>
              <a:gd name="connsiteY36" fmla="*/ 1935631 h 2084191"/>
              <a:gd name="connsiteX37" fmla="*/ 1547134 w 2051041"/>
              <a:gd name="connsiteY37" fmla="*/ 1922027 h 2084191"/>
              <a:gd name="connsiteX38" fmla="*/ 1560194 w 2051041"/>
              <a:gd name="connsiteY38" fmla="*/ 1906790 h 2084191"/>
              <a:gd name="connsiteX39" fmla="*/ 2049952 w 2051041"/>
              <a:gd name="connsiteY39" fmla="*/ 1905702 h 2084191"/>
              <a:gd name="connsiteX40" fmla="*/ 2051041 w 2051041"/>
              <a:gd name="connsiteY40" fmla="*/ 1906027 h 2084191"/>
              <a:gd name="connsiteX41" fmla="*/ 2051041 w 2051041"/>
              <a:gd name="connsiteY41" fmla="*/ 1938133 h 2084191"/>
              <a:gd name="connsiteX42" fmla="*/ 2050496 w 2051041"/>
              <a:gd name="connsiteY42" fmla="*/ 1938353 h 2084191"/>
              <a:gd name="connsiteX43" fmla="*/ 2034171 w 2051041"/>
              <a:gd name="connsiteY43" fmla="*/ 1922572 h 2084191"/>
              <a:gd name="connsiteX44" fmla="*/ 2049952 w 2051041"/>
              <a:gd name="connsiteY44" fmla="*/ 1905702 h 2084191"/>
              <a:gd name="connsiteX45" fmla="*/ 1723447 w 2051041"/>
              <a:gd name="connsiteY45" fmla="*/ 1905702 h 2084191"/>
              <a:gd name="connsiteX46" fmla="*/ 1739772 w 2051041"/>
              <a:gd name="connsiteY46" fmla="*/ 1920939 h 2084191"/>
              <a:gd name="connsiteX47" fmla="*/ 1724535 w 2051041"/>
              <a:gd name="connsiteY47" fmla="*/ 1937264 h 2084191"/>
              <a:gd name="connsiteX48" fmla="*/ 1708210 w 2051041"/>
              <a:gd name="connsiteY48" fmla="*/ 1922027 h 2084191"/>
              <a:gd name="connsiteX49" fmla="*/ 1723447 w 2051041"/>
              <a:gd name="connsiteY49" fmla="*/ 1905702 h 2084191"/>
              <a:gd name="connsiteX50" fmla="*/ 1887787 w 2051041"/>
              <a:gd name="connsiteY50" fmla="*/ 1905158 h 2084191"/>
              <a:gd name="connsiteX51" fmla="*/ 1904113 w 2051041"/>
              <a:gd name="connsiteY51" fmla="*/ 1922028 h 2084191"/>
              <a:gd name="connsiteX52" fmla="*/ 1886699 w 2051041"/>
              <a:gd name="connsiteY52" fmla="*/ 1937809 h 2084191"/>
              <a:gd name="connsiteX53" fmla="*/ 1870918 w 2051041"/>
              <a:gd name="connsiteY53" fmla="*/ 1921483 h 2084191"/>
              <a:gd name="connsiteX54" fmla="*/ 1887787 w 2051041"/>
              <a:gd name="connsiteY54" fmla="*/ 1905158 h 2084191"/>
              <a:gd name="connsiteX55" fmla="*/ 1152606 w 2051041"/>
              <a:gd name="connsiteY55" fmla="*/ 1831693 h 2084191"/>
              <a:gd name="connsiteX56" fmla="*/ 1161313 w 2051041"/>
              <a:gd name="connsiteY56" fmla="*/ 1839312 h 2084191"/>
              <a:gd name="connsiteX57" fmla="*/ 1153694 w 2051041"/>
              <a:gd name="connsiteY57" fmla="*/ 1852916 h 2084191"/>
              <a:gd name="connsiteX58" fmla="*/ 1144988 w 2051041"/>
              <a:gd name="connsiteY58" fmla="*/ 1841489 h 2084191"/>
              <a:gd name="connsiteX59" fmla="*/ 1152606 w 2051041"/>
              <a:gd name="connsiteY59" fmla="*/ 1831693 h 2084191"/>
              <a:gd name="connsiteX60" fmla="*/ 1315315 w 2051041"/>
              <a:gd name="connsiteY60" fmla="*/ 1825708 h 2084191"/>
              <a:gd name="connsiteX61" fmla="*/ 1330552 w 2051041"/>
              <a:gd name="connsiteY61" fmla="*/ 1840401 h 2084191"/>
              <a:gd name="connsiteX62" fmla="*/ 1316404 w 2051041"/>
              <a:gd name="connsiteY62" fmla="*/ 1854549 h 2084191"/>
              <a:gd name="connsiteX63" fmla="*/ 1301711 w 2051041"/>
              <a:gd name="connsiteY63" fmla="*/ 1840945 h 2084191"/>
              <a:gd name="connsiteX64" fmla="*/ 1315315 w 2051041"/>
              <a:gd name="connsiteY64" fmla="*/ 1825708 h 2084191"/>
              <a:gd name="connsiteX65" fmla="*/ 1479656 w 2051041"/>
              <a:gd name="connsiteY65" fmla="*/ 1822987 h 2084191"/>
              <a:gd name="connsiteX66" fmla="*/ 1495981 w 2051041"/>
              <a:gd name="connsiteY66" fmla="*/ 1840401 h 2084191"/>
              <a:gd name="connsiteX67" fmla="*/ 1478567 w 2051041"/>
              <a:gd name="connsiteY67" fmla="*/ 1856182 h 2084191"/>
              <a:gd name="connsiteX68" fmla="*/ 1462242 w 2051041"/>
              <a:gd name="connsiteY68" fmla="*/ 1839312 h 2084191"/>
              <a:gd name="connsiteX69" fmla="*/ 1479656 w 2051041"/>
              <a:gd name="connsiteY69" fmla="*/ 1822987 h 2084191"/>
              <a:gd name="connsiteX70" fmla="*/ 1642365 w 2051041"/>
              <a:gd name="connsiteY70" fmla="*/ 1821355 h 2084191"/>
              <a:gd name="connsiteX71" fmla="*/ 1660867 w 2051041"/>
              <a:gd name="connsiteY71" fmla="*/ 1840401 h 2084191"/>
              <a:gd name="connsiteX72" fmla="*/ 1642365 w 2051041"/>
              <a:gd name="connsiteY72" fmla="*/ 1857270 h 2084191"/>
              <a:gd name="connsiteX73" fmla="*/ 1624407 w 2051041"/>
              <a:gd name="connsiteY73" fmla="*/ 1839857 h 2084191"/>
              <a:gd name="connsiteX74" fmla="*/ 1642365 w 2051041"/>
              <a:gd name="connsiteY74" fmla="*/ 1821355 h 2084191"/>
              <a:gd name="connsiteX75" fmla="*/ 1806162 w 2051041"/>
              <a:gd name="connsiteY75" fmla="*/ 1819723 h 2084191"/>
              <a:gd name="connsiteX76" fmla="*/ 1826840 w 2051041"/>
              <a:gd name="connsiteY76" fmla="*/ 1840945 h 2084191"/>
              <a:gd name="connsiteX77" fmla="*/ 1804529 w 2051041"/>
              <a:gd name="connsiteY77" fmla="*/ 1861080 h 2084191"/>
              <a:gd name="connsiteX78" fmla="*/ 1784395 w 2051041"/>
              <a:gd name="connsiteY78" fmla="*/ 1839313 h 2084191"/>
              <a:gd name="connsiteX79" fmla="*/ 1806162 w 2051041"/>
              <a:gd name="connsiteY79" fmla="*/ 1819723 h 2084191"/>
              <a:gd name="connsiteX80" fmla="*/ 1968870 w 2051041"/>
              <a:gd name="connsiteY80" fmla="*/ 1819178 h 2084191"/>
              <a:gd name="connsiteX81" fmla="*/ 1990093 w 2051041"/>
              <a:gd name="connsiteY81" fmla="*/ 1840401 h 2084191"/>
              <a:gd name="connsiteX82" fmla="*/ 1968870 w 2051041"/>
              <a:gd name="connsiteY82" fmla="*/ 1861624 h 2084191"/>
              <a:gd name="connsiteX83" fmla="*/ 1947647 w 2051041"/>
              <a:gd name="connsiteY83" fmla="*/ 1840401 h 2084191"/>
              <a:gd name="connsiteX84" fmla="*/ 1968870 w 2051041"/>
              <a:gd name="connsiteY84" fmla="*/ 1819178 h 2084191"/>
              <a:gd name="connsiteX85" fmla="*/ 1070436 w 2051041"/>
              <a:gd name="connsiteY85" fmla="*/ 1747347 h 2084191"/>
              <a:gd name="connsiteX86" fmla="*/ 1081863 w 2051041"/>
              <a:gd name="connsiteY86" fmla="*/ 1758231 h 2084191"/>
              <a:gd name="connsiteX87" fmla="*/ 1070980 w 2051041"/>
              <a:gd name="connsiteY87" fmla="*/ 1769658 h 2084191"/>
              <a:gd name="connsiteX88" fmla="*/ 1059552 w 2051041"/>
              <a:gd name="connsiteY88" fmla="*/ 1758775 h 2084191"/>
              <a:gd name="connsiteX89" fmla="*/ 1070436 w 2051041"/>
              <a:gd name="connsiteY89" fmla="*/ 1747347 h 2084191"/>
              <a:gd name="connsiteX90" fmla="*/ 1233688 w 2051041"/>
              <a:gd name="connsiteY90" fmla="*/ 1742449 h 2084191"/>
              <a:gd name="connsiteX91" fmla="*/ 1250558 w 2051041"/>
              <a:gd name="connsiteY91" fmla="*/ 1758774 h 2084191"/>
              <a:gd name="connsiteX92" fmla="*/ 1233688 w 2051041"/>
              <a:gd name="connsiteY92" fmla="*/ 1775099 h 2084191"/>
              <a:gd name="connsiteX93" fmla="*/ 1217907 w 2051041"/>
              <a:gd name="connsiteY93" fmla="*/ 1759318 h 2084191"/>
              <a:gd name="connsiteX94" fmla="*/ 1233688 w 2051041"/>
              <a:gd name="connsiteY94" fmla="*/ 1742449 h 2084191"/>
              <a:gd name="connsiteX95" fmla="*/ 1399662 w 2051041"/>
              <a:gd name="connsiteY95" fmla="*/ 1739728 h 2084191"/>
              <a:gd name="connsiteX96" fmla="*/ 1417076 w 2051041"/>
              <a:gd name="connsiteY96" fmla="*/ 1760407 h 2084191"/>
              <a:gd name="connsiteX97" fmla="*/ 1396941 w 2051041"/>
              <a:gd name="connsiteY97" fmla="*/ 1779453 h 2084191"/>
              <a:gd name="connsiteX98" fmla="*/ 1377895 w 2051041"/>
              <a:gd name="connsiteY98" fmla="*/ 1757686 h 2084191"/>
              <a:gd name="connsiteX99" fmla="*/ 1399662 w 2051041"/>
              <a:gd name="connsiteY99" fmla="*/ 1739728 h 2084191"/>
              <a:gd name="connsiteX100" fmla="*/ 1723991 w 2051041"/>
              <a:gd name="connsiteY100" fmla="*/ 1735919 h 2084191"/>
              <a:gd name="connsiteX101" fmla="*/ 1746847 w 2051041"/>
              <a:gd name="connsiteY101" fmla="*/ 1758774 h 2084191"/>
              <a:gd name="connsiteX102" fmla="*/ 1723991 w 2051041"/>
              <a:gd name="connsiteY102" fmla="*/ 1781086 h 2084191"/>
              <a:gd name="connsiteX103" fmla="*/ 1701680 w 2051041"/>
              <a:gd name="connsiteY103" fmla="*/ 1758774 h 2084191"/>
              <a:gd name="connsiteX104" fmla="*/ 1723991 w 2051041"/>
              <a:gd name="connsiteY104" fmla="*/ 1735919 h 2084191"/>
              <a:gd name="connsiteX105" fmla="*/ 1560194 w 2051041"/>
              <a:gd name="connsiteY105" fmla="*/ 1735919 h 2084191"/>
              <a:gd name="connsiteX106" fmla="*/ 1582505 w 2051041"/>
              <a:gd name="connsiteY106" fmla="*/ 1758230 h 2084191"/>
              <a:gd name="connsiteX107" fmla="*/ 1560738 w 2051041"/>
              <a:gd name="connsiteY107" fmla="*/ 1779997 h 2084191"/>
              <a:gd name="connsiteX108" fmla="*/ 1538427 w 2051041"/>
              <a:gd name="connsiteY108" fmla="*/ 1758230 h 2084191"/>
              <a:gd name="connsiteX109" fmla="*/ 1560194 w 2051041"/>
              <a:gd name="connsiteY109" fmla="*/ 1735919 h 2084191"/>
              <a:gd name="connsiteX110" fmla="*/ 2051041 w 2051041"/>
              <a:gd name="connsiteY110" fmla="*/ 1734831 h 2084191"/>
              <a:gd name="connsiteX111" fmla="*/ 2051041 w 2051041"/>
              <a:gd name="connsiteY111" fmla="*/ 1781438 h 2084191"/>
              <a:gd name="connsiteX112" fmla="*/ 2050496 w 2051041"/>
              <a:gd name="connsiteY112" fmla="*/ 1781630 h 2084191"/>
              <a:gd name="connsiteX113" fmla="*/ 2027097 w 2051041"/>
              <a:gd name="connsiteY113" fmla="*/ 1758775 h 2084191"/>
              <a:gd name="connsiteX114" fmla="*/ 2051041 w 2051041"/>
              <a:gd name="connsiteY114" fmla="*/ 1734831 h 2084191"/>
              <a:gd name="connsiteX115" fmla="*/ 1887788 w 2051041"/>
              <a:gd name="connsiteY115" fmla="*/ 1734831 h 2084191"/>
              <a:gd name="connsiteX116" fmla="*/ 1910099 w 2051041"/>
              <a:gd name="connsiteY116" fmla="*/ 1758775 h 2084191"/>
              <a:gd name="connsiteX117" fmla="*/ 1886699 w 2051041"/>
              <a:gd name="connsiteY117" fmla="*/ 1781086 h 2084191"/>
              <a:gd name="connsiteX118" fmla="*/ 1863844 w 2051041"/>
              <a:gd name="connsiteY118" fmla="*/ 1757687 h 2084191"/>
              <a:gd name="connsiteX119" fmla="*/ 1887788 w 2051041"/>
              <a:gd name="connsiteY119" fmla="*/ 1734831 h 2084191"/>
              <a:gd name="connsiteX120" fmla="*/ 826100 w 2051041"/>
              <a:gd name="connsiteY120" fmla="*/ 1671706 h 2084191"/>
              <a:gd name="connsiteX121" fmla="*/ 832086 w 2051041"/>
              <a:gd name="connsiteY121" fmla="*/ 1677692 h 2084191"/>
              <a:gd name="connsiteX122" fmla="*/ 825556 w 2051041"/>
              <a:gd name="connsiteY122" fmla="*/ 1683134 h 2084191"/>
              <a:gd name="connsiteX123" fmla="*/ 820658 w 2051041"/>
              <a:gd name="connsiteY123" fmla="*/ 1676603 h 2084191"/>
              <a:gd name="connsiteX124" fmla="*/ 826100 w 2051041"/>
              <a:gd name="connsiteY124" fmla="*/ 1671706 h 2084191"/>
              <a:gd name="connsiteX125" fmla="*/ 989354 w 2051041"/>
              <a:gd name="connsiteY125" fmla="*/ 1661912 h 2084191"/>
              <a:gd name="connsiteX126" fmla="*/ 1004046 w 2051041"/>
              <a:gd name="connsiteY126" fmla="*/ 1676604 h 2084191"/>
              <a:gd name="connsiteX127" fmla="*/ 989354 w 2051041"/>
              <a:gd name="connsiteY127" fmla="*/ 1690209 h 2084191"/>
              <a:gd name="connsiteX128" fmla="*/ 975205 w 2051041"/>
              <a:gd name="connsiteY128" fmla="*/ 1677693 h 2084191"/>
              <a:gd name="connsiteX129" fmla="*/ 989354 w 2051041"/>
              <a:gd name="connsiteY129" fmla="*/ 1661912 h 2084191"/>
              <a:gd name="connsiteX130" fmla="*/ 1153151 w 2051041"/>
              <a:gd name="connsiteY130" fmla="*/ 1659734 h 2084191"/>
              <a:gd name="connsiteX131" fmla="*/ 1170564 w 2051041"/>
              <a:gd name="connsiteY131" fmla="*/ 1677692 h 2084191"/>
              <a:gd name="connsiteX132" fmla="*/ 1152062 w 2051041"/>
              <a:gd name="connsiteY132" fmla="*/ 1694562 h 2084191"/>
              <a:gd name="connsiteX133" fmla="*/ 1135737 w 2051041"/>
              <a:gd name="connsiteY133" fmla="*/ 1677148 h 2084191"/>
              <a:gd name="connsiteX134" fmla="*/ 1153151 w 2051041"/>
              <a:gd name="connsiteY134" fmla="*/ 1659734 h 2084191"/>
              <a:gd name="connsiteX135" fmla="*/ 1315315 w 2051041"/>
              <a:gd name="connsiteY135" fmla="*/ 1655381 h 2084191"/>
              <a:gd name="connsiteX136" fmla="*/ 1337082 w 2051041"/>
              <a:gd name="connsiteY136" fmla="*/ 1676603 h 2084191"/>
              <a:gd name="connsiteX137" fmla="*/ 1315315 w 2051041"/>
              <a:gd name="connsiteY137" fmla="*/ 1698915 h 2084191"/>
              <a:gd name="connsiteX138" fmla="*/ 1294092 w 2051041"/>
              <a:gd name="connsiteY138" fmla="*/ 1677148 h 2084191"/>
              <a:gd name="connsiteX139" fmla="*/ 1315315 w 2051041"/>
              <a:gd name="connsiteY139" fmla="*/ 1655381 h 2084191"/>
              <a:gd name="connsiteX140" fmla="*/ 1479111 w 2051041"/>
              <a:gd name="connsiteY140" fmla="*/ 1654293 h 2084191"/>
              <a:gd name="connsiteX141" fmla="*/ 1501967 w 2051041"/>
              <a:gd name="connsiteY141" fmla="*/ 1677692 h 2084191"/>
              <a:gd name="connsiteX142" fmla="*/ 1479111 w 2051041"/>
              <a:gd name="connsiteY142" fmla="*/ 1700548 h 2084191"/>
              <a:gd name="connsiteX143" fmla="*/ 1455712 w 2051041"/>
              <a:gd name="connsiteY143" fmla="*/ 1676604 h 2084191"/>
              <a:gd name="connsiteX144" fmla="*/ 1479111 w 2051041"/>
              <a:gd name="connsiteY144" fmla="*/ 1654293 h 2084191"/>
              <a:gd name="connsiteX145" fmla="*/ 1643452 w 2051041"/>
              <a:gd name="connsiteY145" fmla="*/ 1650483 h 2084191"/>
              <a:gd name="connsiteX146" fmla="*/ 1668484 w 2051041"/>
              <a:gd name="connsiteY146" fmla="*/ 1676603 h 2084191"/>
              <a:gd name="connsiteX147" fmla="*/ 1643452 w 2051041"/>
              <a:gd name="connsiteY147" fmla="*/ 1703268 h 2084191"/>
              <a:gd name="connsiteX148" fmla="*/ 1617332 w 2051041"/>
              <a:gd name="connsiteY148" fmla="*/ 1677692 h 2084191"/>
              <a:gd name="connsiteX149" fmla="*/ 1643452 w 2051041"/>
              <a:gd name="connsiteY149" fmla="*/ 1650483 h 2084191"/>
              <a:gd name="connsiteX150" fmla="*/ 1968326 w 2051041"/>
              <a:gd name="connsiteY150" fmla="*/ 1649940 h 2084191"/>
              <a:gd name="connsiteX151" fmla="*/ 1995535 w 2051041"/>
              <a:gd name="connsiteY151" fmla="*/ 1676604 h 2084191"/>
              <a:gd name="connsiteX152" fmla="*/ 1968870 w 2051041"/>
              <a:gd name="connsiteY152" fmla="*/ 1704357 h 2084191"/>
              <a:gd name="connsiteX153" fmla="*/ 1941661 w 2051041"/>
              <a:gd name="connsiteY153" fmla="*/ 1677148 h 2084191"/>
              <a:gd name="connsiteX154" fmla="*/ 1968326 w 2051041"/>
              <a:gd name="connsiteY154" fmla="*/ 1649940 h 2084191"/>
              <a:gd name="connsiteX155" fmla="*/ 1805617 w 2051041"/>
              <a:gd name="connsiteY155" fmla="*/ 1649939 h 2084191"/>
              <a:gd name="connsiteX156" fmla="*/ 1832826 w 2051041"/>
              <a:gd name="connsiteY156" fmla="*/ 1677148 h 2084191"/>
              <a:gd name="connsiteX157" fmla="*/ 1805073 w 2051041"/>
              <a:gd name="connsiteY157" fmla="*/ 1704357 h 2084191"/>
              <a:gd name="connsiteX158" fmla="*/ 1778409 w 2051041"/>
              <a:gd name="connsiteY158" fmla="*/ 1677148 h 2084191"/>
              <a:gd name="connsiteX159" fmla="*/ 1805617 w 2051041"/>
              <a:gd name="connsiteY159" fmla="*/ 1649939 h 2084191"/>
              <a:gd name="connsiteX160" fmla="*/ 744474 w 2051041"/>
              <a:gd name="connsiteY160" fmla="*/ 1588992 h 2084191"/>
              <a:gd name="connsiteX161" fmla="*/ 751004 w 2051041"/>
              <a:gd name="connsiteY161" fmla="*/ 1594978 h 2084191"/>
              <a:gd name="connsiteX162" fmla="*/ 745562 w 2051041"/>
              <a:gd name="connsiteY162" fmla="*/ 1602052 h 2084191"/>
              <a:gd name="connsiteX163" fmla="*/ 738488 w 2051041"/>
              <a:gd name="connsiteY163" fmla="*/ 1594978 h 2084191"/>
              <a:gd name="connsiteX164" fmla="*/ 744474 w 2051041"/>
              <a:gd name="connsiteY164" fmla="*/ 1588992 h 2084191"/>
              <a:gd name="connsiteX165" fmla="*/ 907183 w 2051041"/>
              <a:gd name="connsiteY165" fmla="*/ 1579741 h 2084191"/>
              <a:gd name="connsiteX166" fmla="*/ 923508 w 2051041"/>
              <a:gd name="connsiteY166" fmla="*/ 1594978 h 2084191"/>
              <a:gd name="connsiteX167" fmla="*/ 908815 w 2051041"/>
              <a:gd name="connsiteY167" fmla="*/ 1610759 h 2084191"/>
              <a:gd name="connsiteX168" fmla="*/ 892490 w 2051041"/>
              <a:gd name="connsiteY168" fmla="*/ 1595522 h 2084191"/>
              <a:gd name="connsiteX169" fmla="*/ 907183 w 2051041"/>
              <a:gd name="connsiteY169" fmla="*/ 1579741 h 2084191"/>
              <a:gd name="connsiteX170" fmla="*/ 1071524 w 2051041"/>
              <a:gd name="connsiteY170" fmla="*/ 1574843 h 2084191"/>
              <a:gd name="connsiteX171" fmla="*/ 1091114 w 2051041"/>
              <a:gd name="connsiteY171" fmla="*/ 1595522 h 2084191"/>
              <a:gd name="connsiteX172" fmla="*/ 1070980 w 2051041"/>
              <a:gd name="connsiteY172" fmla="*/ 1615656 h 2084191"/>
              <a:gd name="connsiteX173" fmla="*/ 1050301 w 2051041"/>
              <a:gd name="connsiteY173" fmla="*/ 1595522 h 2084191"/>
              <a:gd name="connsiteX174" fmla="*/ 1071524 w 2051041"/>
              <a:gd name="connsiteY174" fmla="*/ 1574843 h 2084191"/>
              <a:gd name="connsiteX175" fmla="*/ 1233688 w 2051041"/>
              <a:gd name="connsiteY175" fmla="*/ 1573210 h 2084191"/>
              <a:gd name="connsiteX176" fmla="*/ 1256544 w 2051041"/>
              <a:gd name="connsiteY176" fmla="*/ 1595522 h 2084191"/>
              <a:gd name="connsiteX177" fmla="*/ 1233688 w 2051041"/>
              <a:gd name="connsiteY177" fmla="*/ 1618377 h 2084191"/>
              <a:gd name="connsiteX178" fmla="*/ 1211377 w 2051041"/>
              <a:gd name="connsiteY178" fmla="*/ 1596610 h 2084191"/>
              <a:gd name="connsiteX179" fmla="*/ 1233688 w 2051041"/>
              <a:gd name="connsiteY179" fmla="*/ 1573210 h 2084191"/>
              <a:gd name="connsiteX180" fmla="*/ 1398030 w 2051041"/>
              <a:gd name="connsiteY180" fmla="*/ 1569402 h 2084191"/>
              <a:gd name="connsiteX181" fmla="*/ 1423062 w 2051041"/>
              <a:gd name="connsiteY181" fmla="*/ 1595522 h 2084191"/>
              <a:gd name="connsiteX182" fmla="*/ 1397485 w 2051041"/>
              <a:gd name="connsiteY182" fmla="*/ 1621099 h 2084191"/>
              <a:gd name="connsiteX183" fmla="*/ 1371365 w 2051041"/>
              <a:gd name="connsiteY183" fmla="*/ 1595522 h 2084191"/>
              <a:gd name="connsiteX184" fmla="*/ 1398030 w 2051041"/>
              <a:gd name="connsiteY184" fmla="*/ 1569402 h 2084191"/>
              <a:gd name="connsiteX185" fmla="*/ 1560194 w 2051041"/>
              <a:gd name="connsiteY185" fmla="*/ 1568313 h 2084191"/>
              <a:gd name="connsiteX186" fmla="*/ 1587947 w 2051041"/>
              <a:gd name="connsiteY186" fmla="*/ 1594433 h 2084191"/>
              <a:gd name="connsiteX187" fmla="*/ 1560194 w 2051041"/>
              <a:gd name="connsiteY187" fmla="*/ 1622730 h 2084191"/>
              <a:gd name="connsiteX188" fmla="*/ 1532985 w 2051041"/>
              <a:gd name="connsiteY188" fmla="*/ 1594977 h 2084191"/>
              <a:gd name="connsiteX189" fmla="*/ 1560194 w 2051041"/>
              <a:gd name="connsiteY189" fmla="*/ 1568313 h 2084191"/>
              <a:gd name="connsiteX190" fmla="*/ 1887244 w 2051041"/>
              <a:gd name="connsiteY190" fmla="*/ 1567225 h 2084191"/>
              <a:gd name="connsiteX191" fmla="*/ 1915541 w 2051041"/>
              <a:gd name="connsiteY191" fmla="*/ 1594978 h 2084191"/>
              <a:gd name="connsiteX192" fmla="*/ 1886699 w 2051041"/>
              <a:gd name="connsiteY192" fmla="*/ 1623819 h 2084191"/>
              <a:gd name="connsiteX193" fmla="*/ 1858947 w 2051041"/>
              <a:gd name="connsiteY193" fmla="*/ 1594978 h 2084191"/>
              <a:gd name="connsiteX194" fmla="*/ 1887244 w 2051041"/>
              <a:gd name="connsiteY194" fmla="*/ 1567225 h 2084191"/>
              <a:gd name="connsiteX195" fmla="*/ 1724535 w 2051041"/>
              <a:gd name="connsiteY195" fmla="*/ 1567225 h 2084191"/>
              <a:gd name="connsiteX196" fmla="*/ 1752288 w 2051041"/>
              <a:gd name="connsiteY196" fmla="*/ 1594978 h 2084191"/>
              <a:gd name="connsiteX197" fmla="*/ 1724535 w 2051041"/>
              <a:gd name="connsiteY197" fmla="*/ 1623275 h 2084191"/>
              <a:gd name="connsiteX198" fmla="*/ 1696238 w 2051041"/>
              <a:gd name="connsiteY198" fmla="*/ 1594978 h 2084191"/>
              <a:gd name="connsiteX199" fmla="*/ 1724535 w 2051041"/>
              <a:gd name="connsiteY199" fmla="*/ 1567225 h 2084191"/>
              <a:gd name="connsiteX200" fmla="*/ 2050496 w 2051041"/>
              <a:gd name="connsiteY200" fmla="*/ 1566680 h 2084191"/>
              <a:gd name="connsiteX201" fmla="*/ 2051041 w 2051041"/>
              <a:gd name="connsiteY201" fmla="*/ 1566888 h 2084191"/>
              <a:gd name="connsiteX202" fmla="*/ 2051041 w 2051041"/>
              <a:gd name="connsiteY202" fmla="*/ 1623794 h 2084191"/>
              <a:gd name="connsiteX203" fmla="*/ 2049408 w 2051041"/>
              <a:gd name="connsiteY203" fmla="*/ 1624363 h 2084191"/>
              <a:gd name="connsiteX204" fmla="*/ 2021655 w 2051041"/>
              <a:gd name="connsiteY204" fmla="*/ 1594977 h 2084191"/>
              <a:gd name="connsiteX205" fmla="*/ 2050496 w 2051041"/>
              <a:gd name="connsiteY205" fmla="*/ 1566680 h 2084191"/>
              <a:gd name="connsiteX206" fmla="*/ 663392 w 2051041"/>
              <a:gd name="connsiteY206" fmla="*/ 1505188 h 2084191"/>
              <a:gd name="connsiteX207" fmla="*/ 674819 w 2051041"/>
              <a:gd name="connsiteY207" fmla="*/ 1513895 h 2084191"/>
              <a:gd name="connsiteX208" fmla="*/ 662848 w 2051041"/>
              <a:gd name="connsiteY208" fmla="*/ 1522058 h 2084191"/>
              <a:gd name="connsiteX209" fmla="*/ 654685 w 2051041"/>
              <a:gd name="connsiteY209" fmla="*/ 1513351 h 2084191"/>
              <a:gd name="connsiteX210" fmla="*/ 663392 w 2051041"/>
              <a:gd name="connsiteY210" fmla="*/ 1505188 h 2084191"/>
              <a:gd name="connsiteX211" fmla="*/ 826101 w 2051041"/>
              <a:gd name="connsiteY211" fmla="*/ 1497570 h 2084191"/>
              <a:gd name="connsiteX212" fmla="*/ 842970 w 2051041"/>
              <a:gd name="connsiteY212" fmla="*/ 1513351 h 2084191"/>
              <a:gd name="connsiteX213" fmla="*/ 826645 w 2051041"/>
              <a:gd name="connsiteY213" fmla="*/ 1529676 h 2084191"/>
              <a:gd name="connsiteX214" fmla="*/ 810319 w 2051041"/>
              <a:gd name="connsiteY214" fmla="*/ 1514983 h 2084191"/>
              <a:gd name="connsiteX215" fmla="*/ 826101 w 2051041"/>
              <a:gd name="connsiteY215" fmla="*/ 1497570 h 2084191"/>
              <a:gd name="connsiteX216" fmla="*/ 988265 w 2051041"/>
              <a:gd name="connsiteY216" fmla="*/ 1492128 h 2084191"/>
              <a:gd name="connsiteX217" fmla="*/ 1010577 w 2051041"/>
              <a:gd name="connsiteY217" fmla="*/ 1513351 h 2084191"/>
              <a:gd name="connsiteX218" fmla="*/ 989354 w 2051041"/>
              <a:gd name="connsiteY218" fmla="*/ 1534574 h 2084191"/>
              <a:gd name="connsiteX219" fmla="*/ 968131 w 2051041"/>
              <a:gd name="connsiteY219" fmla="*/ 1513895 h 2084191"/>
              <a:gd name="connsiteX220" fmla="*/ 988265 w 2051041"/>
              <a:gd name="connsiteY220" fmla="*/ 1492128 h 2084191"/>
              <a:gd name="connsiteX221" fmla="*/ 1152606 w 2051041"/>
              <a:gd name="connsiteY221" fmla="*/ 1490496 h 2084191"/>
              <a:gd name="connsiteX222" fmla="*/ 1176006 w 2051041"/>
              <a:gd name="connsiteY222" fmla="*/ 1513351 h 2084191"/>
              <a:gd name="connsiteX223" fmla="*/ 1152606 w 2051041"/>
              <a:gd name="connsiteY223" fmla="*/ 1537839 h 2084191"/>
              <a:gd name="connsiteX224" fmla="*/ 1129207 w 2051041"/>
              <a:gd name="connsiteY224" fmla="*/ 1514984 h 2084191"/>
              <a:gd name="connsiteX225" fmla="*/ 1152606 w 2051041"/>
              <a:gd name="connsiteY225" fmla="*/ 1490496 h 2084191"/>
              <a:gd name="connsiteX226" fmla="*/ 1316403 w 2051041"/>
              <a:gd name="connsiteY226" fmla="*/ 1487231 h 2084191"/>
              <a:gd name="connsiteX227" fmla="*/ 1342523 w 2051041"/>
              <a:gd name="connsiteY227" fmla="*/ 1513896 h 2084191"/>
              <a:gd name="connsiteX228" fmla="*/ 1315314 w 2051041"/>
              <a:gd name="connsiteY228" fmla="*/ 1540560 h 2084191"/>
              <a:gd name="connsiteX229" fmla="*/ 1288650 w 2051041"/>
              <a:gd name="connsiteY229" fmla="*/ 1513896 h 2084191"/>
              <a:gd name="connsiteX230" fmla="*/ 1316403 w 2051041"/>
              <a:gd name="connsiteY230" fmla="*/ 1487231 h 2084191"/>
              <a:gd name="connsiteX231" fmla="*/ 1479656 w 2051041"/>
              <a:gd name="connsiteY231" fmla="*/ 1485054 h 2084191"/>
              <a:gd name="connsiteX232" fmla="*/ 1507409 w 2051041"/>
              <a:gd name="connsiteY232" fmla="*/ 1513895 h 2084191"/>
              <a:gd name="connsiteX233" fmla="*/ 1479112 w 2051041"/>
              <a:gd name="connsiteY233" fmla="*/ 1541648 h 2084191"/>
              <a:gd name="connsiteX234" fmla="*/ 1451359 w 2051041"/>
              <a:gd name="connsiteY234" fmla="*/ 1513351 h 2084191"/>
              <a:gd name="connsiteX235" fmla="*/ 1479656 w 2051041"/>
              <a:gd name="connsiteY235" fmla="*/ 1485054 h 2084191"/>
              <a:gd name="connsiteX236" fmla="*/ 1641820 w 2051041"/>
              <a:gd name="connsiteY236" fmla="*/ 1482334 h 2084191"/>
              <a:gd name="connsiteX237" fmla="*/ 1673382 w 2051041"/>
              <a:gd name="connsiteY237" fmla="*/ 1512807 h 2084191"/>
              <a:gd name="connsiteX238" fmla="*/ 1642909 w 2051041"/>
              <a:gd name="connsiteY238" fmla="*/ 1544370 h 2084191"/>
              <a:gd name="connsiteX239" fmla="*/ 1612435 w 2051041"/>
              <a:gd name="connsiteY239" fmla="*/ 1513351 h 2084191"/>
              <a:gd name="connsiteX240" fmla="*/ 1641820 w 2051041"/>
              <a:gd name="connsiteY240" fmla="*/ 1482334 h 2084191"/>
              <a:gd name="connsiteX241" fmla="*/ 1804529 w 2051041"/>
              <a:gd name="connsiteY241" fmla="*/ 1481788 h 2084191"/>
              <a:gd name="connsiteX242" fmla="*/ 1837180 w 2051041"/>
              <a:gd name="connsiteY242" fmla="*/ 1513351 h 2084191"/>
              <a:gd name="connsiteX243" fmla="*/ 1805617 w 2051041"/>
              <a:gd name="connsiteY243" fmla="*/ 1545457 h 2084191"/>
              <a:gd name="connsiteX244" fmla="*/ 1773511 w 2051041"/>
              <a:gd name="connsiteY244" fmla="*/ 1514983 h 2084191"/>
              <a:gd name="connsiteX245" fmla="*/ 1804529 w 2051041"/>
              <a:gd name="connsiteY245" fmla="*/ 1481788 h 2084191"/>
              <a:gd name="connsiteX246" fmla="*/ 1968870 w 2051041"/>
              <a:gd name="connsiteY246" fmla="*/ 1480700 h 2084191"/>
              <a:gd name="connsiteX247" fmla="*/ 2000977 w 2051041"/>
              <a:gd name="connsiteY247" fmla="*/ 1513351 h 2084191"/>
              <a:gd name="connsiteX248" fmla="*/ 1968870 w 2051041"/>
              <a:gd name="connsiteY248" fmla="*/ 1545457 h 2084191"/>
              <a:gd name="connsiteX249" fmla="*/ 1936764 w 2051041"/>
              <a:gd name="connsiteY249" fmla="*/ 1513351 h 2084191"/>
              <a:gd name="connsiteX250" fmla="*/ 1968870 w 2051041"/>
              <a:gd name="connsiteY250" fmla="*/ 1480700 h 2084191"/>
              <a:gd name="connsiteX251" fmla="*/ 581221 w 2051041"/>
              <a:gd name="connsiteY251" fmla="*/ 1423562 h 2084191"/>
              <a:gd name="connsiteX252" fmla="*/ 588840 w 2051041"/>
              <a:gd name="connsiteY252" fmla="*/ 1431725 h 2084191"/>
              <a:gd name="connsiteX253" fmla="*/ 581765 w 2051041"/>
              <a:gd name="connsiteY253" fmla="*/ 1443153 h 2084191"/>
              <a:gd name="connsiteX254" fmla="*/ 573059 w 2051041"/>
              <a:gd name="connsiteY254" fmla="*/ 1432813 h 2084191"/>
              <a:gd name="connsiteX255" fmla="*/ 581221 w 2051041"/>
              <a:gd name="connsiteY255" fmla="*/ 1423562 h 2084191"/>
              <a:gd name="connsiteX256" fmla="*/ 745562 w 2051041"/>
              <a:gd name="connsiteY256" fmla="*/ 1414855 h 2084191"/>
              <a:gd name="connsiteX257" fmla="*/ 761344 w 2051041"/>
              <a:gd name="connsiteY257" fmla="*/ 1432269 h 2084191"/>
              <a:gd name="connsiteX258" fmla="*/ 745018 w 2051041"/>
              <a:gd name="connsiteY258" fmla="*/ 1448050 h 2084191"/>
              <a:gd name="connsiteX259" fmla="*/ 728693 w 2051041"/>
              <a:gd name="connsiteY259" fmla="*/ 1431725 h 2084191"/>
              <a:gd name="connsiteX260" fmla="*/ 745562 w 2051041"/>
              <a:gd name="connsiteY260" fmla="*/ 1414855 h 2084191"/>
              <a:gd name="connsiteX261" fmla="*/ 908815 w 2051041"/>
              <a:gd name="connsiteY261" fmla="*/ 1409958 h 2084191"/>
              <a:gd name="connsiteX262" fmla="*/ 930038 w 2051041"/>
              <a:gd name="connsiteY262" fmla="*/ 1431725 h 2084191"/>
              <a:gd name="connsiteX263" fmla="*/ 907183 w 2051041"/>
              <a:gd name="connsiteY263" fmla="*/ 1453492 h 2084191"/>
              <a:gd name="connsiteX264" fmla="*/ 885960 w 2051041"/>
              <a:gd name="connsiteY264" fmla="*/ 1431725 h 2084191"/>
              <a:gd name="connsiteX265" fmla="*/ 908815 w 2051041"/>
              <a:gd name="connsiteY265" fmla="*/ 1409958 h 2084191"/>
              <a:gd name="connsiteX266" fmla="*/ 1070436 w 2051041"/>
              <a:gd name="connsiteY266" fmla="*/ 1406693 h 2084191"/>
              <a:gd name="connsiteX267" fmla="*/ 1096012 w 2051041"/>
              <a:gd name="connsiteY267" fmla="*/ 1432269 h 2084191"/>
              <a:gd name="connsiteX268" fmla="*/ 1070436 w 2051041"/>
              <a:gd name="connsiteY268" fmla="*/ 1457846 h 2084191"/>
              <a:gd name="connsiteX269" fmla="*/ 1045404 w 2051041"/>
              <a:gd name="connsiteY269" fmla="*/ 1431181 h 2084191"/>
              <a:gd name="connsiteX270" fmla="*/ 1070436 w 2051041"/>
              <a:gd name="connsiteY270" fmla="*/ 1406693 h 2084191"/>
              <a:gd name="connsiteX271" fmla="*/ 1235865 w 2051041"/>
              <a:gd name="connsiteY271" fmla="*/ 1404516 h 2084191"/>
              <a:gd name="connsiteX272" fmla="*/ 1261986 w 2051041"/>
              <a:gd name="connsiteY272" fmla="*/ 1433358 h 2084191"/>
              <a:gd name="connsiteX273" fmla="*/ 1233689 w 2051041"/>
              <a:gd name="connsiteY273" fmla="*/ 1459478 h 2084191"/>
              <a:gd name="connsiteX274" fmla="*/ 1206480 w 2051041"/>
              <a:gd name="connsiteY274" fmla="*/ 1432269 h 2084191"/>
              <a:gd name="connsiteX275" fmla="*/ 1235865 w 2051041"/>
              <a:gd name="connsiteY275" fmla="*/ 1404516 h 2084191"/>
              <a:gd name="connsiteX276" fmla="*/ 1397485 w 2051041"/>
              <a:gd name="connsiteY276" fmla="*/ 1400162 h 2084191"/>
              <a:gd name="connsiteX277" fmla="*/ 1427959 w 2051041"/>
              <a:gd name="connsiteY277" fmla="*/ 1431724 h 2084191"/>
              <a:gd name="connsiteX278" fmla="*/ 1398029 w 2051041"/>
              <a:gd name="connsiteY278" fmla="*/ 1463287 h 2084191"/>
              <a:gd name="connsiteX279" fmla="*/ 1366467 w 2051041"/>
              <a:gd name="connsiteY279" fmla="*/ 1432813 h 2084191"/>
              <a:gd name="connsiteX280" fmla="*/ 1397485 w 2051041"/>
              <a:gd name="connsiteY280" fmla="*/ 1400162 h 2084191"/>
              <a:gd name="connsiteX281" fmla="*/ 1561282 w 2051041"/>
              <a:gd name="connsiteY281" fmla="*/ 1399618 h 2084191"/>
              <a:gd name="connsiteX282" fmla="*/ 1593388 w 2051041"/>
              <a:gd name="connsiteY282" fmla="*/ 1432269 h 2084191"/>
              <a:gd name="connsiteX283" fmla="*/ 1560738 w 2051041"/>
              <a:gd name="connsiteY283" fmla="*/ 1464375 h 2084191"/>
              <a:gd name="connsiteX284" fmla="*/ 1528631 w 2051041"/>
              <a:gd name="connsiteY284" fmla="*/ 1432813 h 2084191"/>
              <a:gd name="connsiteX285" fmla="*/ 1561282 w 2051041"/>
              <a:gd name="connsiteY285" fmla="*/ 1399618 h 2084191"/>
              <a:gd name="connsiteX286" fmla="*/ 1723446 w 2051041"/>
              <a:gd name="connsiteY286" fmla="*/ 1399074 h 2084191"/>
              <a:gd name="connsiteX287" fmla="*/ 1757185 w 2051041"/>
              <a:gd name="connsiteY287" fmla="*/ 1432269 h 2084191"/>
              <a:gd name="connsiteX288" fmla="*/ 1723991 w 2051041"/>
              <a:gd name="connsiteY288" fmla="*/ 1465464 h 2084191"/>
              <a:gd name="connsiteX289" fmla="*/ 1691340 w 2051041"/>
              <a:gd name="connsiteY289" fmla="*/ 1433357 h 2084191"/>
              <a:gd name="connsiteX290" fmla="*/ 1723446 w 2051041"/>
              <a:gd name="connsiteY290" fmla="*/ 1399074 h 2084191"/>
              <a:gd name="connsiteX291" fmla="*/ 1886700 w 2051041"/>
              <a:gd name="connsiteY291" fmla="*/ 1398530 h 2084191"/>
              <a:gd name="connsiteX292" fmla="*/ 1920439 w 2051041"/>
              <a:gd name="connsiteY292" fmla="*/ 1432269 h 2084191"/>
              <a:gd name="connsiteX293" fmla="*/ 1887788 w 2051041"/>
              <a:gd name="connsiteY293" fmla="*/ 1464920 h 2084191"/>
              <a:gd name="connsiteX294" fmla="*/ 1854049 w 2051041"/>
              <a:gd name="connsiteY294" fmla="*/ 1433358 h 2084191"/>
              <a:gd name="connsiteX295" fmla="*/ 1886700 w 2051041"/>
              <a:gd name="connsiteY295" fmla="*/ 1398530 h 2084191"/>
              <a:gd name="connsiteX296" fmla="*/ 2051041 w 2051041"/>
              <a:gd name="connsiteY296" fmla="*/ 1398217 h 2084191"/>
              <a:gd name="connsiteX297" fmla="*/ 2051041 w 2051041"/>
              <a:gd name="connsiteY297" fmla="*/ 1464535 h 2084191"/>
              <a:gd name="connsiteX298" fmla="*/ 2049953 w 2051041"/>
              <a:gd name="connsiteY298" fmla="*/ 1464920 h 2084191"/>
              <a:gd name="connsiteX299" fmla="*/ 2017302 w 2051041"/>
              <a:gd name="connsiteY299" fmla="*/ 1431725 h 2084191"/>
              <a:gd name="connsiteX300" fmla="*/ 2027709 w 2051041"/>
              <a:gd name="connsiteY300" fmla="*/ 1408121 h 2084191"/>
              <a:gd name="connsiteX301" fmla="*/ 500139 w 2051041"/>
              <a:gd name="connsiteY301" fmla="*/ 1341936 h 2084191"/>
              <a:gd name="connsiteX302" fmla="*/ 511023 w 2051041"/>
              <a:gd name="connsiteY302" fmla="*/ 1350643 h 2084191"/>
              <a:gd name="connsiteX303" fmla="*/ 499595 w 2051041"/>
              <a:gd name="connsiteY303" fmla="*/ 1358261 h 2084191"/>
              <a:gd name="connsiteX304" fmla="*/ 491432 w 2051041"/>
              <a:gd name="connsiteY304" fmla="*/ 1349010 h 2084191"/>
              <a:gd name="connsiteX305" fmla="*/ 500139 w 2051041"/>
              <a:gd name="connsiteY305" fmla="*/ 1341936 h 2084191"/>
              <a:gd name="connsiteX306" fmla="*/ 662848 w 2051041"/>
              <a:gd name="connsiteY306" fmla="*/ 1333773 h 2084191"/>
              <a:gd name="connsiteX307" fmla="*/ 679173 w 2051041"/>
              <a:gd name="connsiteY307" fmla="*/ 1350643 h 2084191"/>
              <a:gd name="connsiteX308" fmla="*/ 662848 w 2051041"/>
              <a:gd name="connsiteY308" fmla="*/ 1366424 h 2084191"/>
              <a:gd name="connsiteX309" fmla="*/ 647067 w 2051041"/>
              <a:gd name="connsiteY309" fmla="*/ 1350098 h 2084191"/>
              <a:gd name="connsiteX310" fmla="*/ 662848 w 2051041"/>
              <a:gd name="connsiteY310" fmla="*/ 1333773 h 2084191"/>
              <a:gd name="connsiteX311" fmla="*/ 826645 w 2051041"/>
              <a:gd name="connsiteY311" fmla="*/ 1328331 h 2084191"/>
              <a:gd name="connsiteX312" fmla="*/ 847868 w 2051041"/>
              <a:gd name="connsiteY312" fmla="*/ 1350642 h 2084191"/>
              <a:gd name="connsiteX313" fmla="*/ 825556 w 2051041"/>
              <a:gd name="connsiteY313" fmla="*/ 1372409 h 2084191"/>
              <a:gd name="connsiteX314" fmla="*/ 804334 w 2051041"/>
              <a:gd name="connsiteY314" fmla="*/ 1349554 h 2084191"/>
              <a:gd name="connsiteX315" fmla="*/ 826645 w 2051041"/>
              <a:gd name="connsiteY315" fmla="*/ 1328331 h 2084191"/>
              <a:gd name="connsiteX316" fmla="*/ 989353 w 2051041"/>
              <a:gd name="connsiteY316" fmla="*/ 1323978 h 2084191"/>
              <a:gd name="connsiteX317" fmla="*/ 1015473 w 2051041"/>
              <a:gd name="connsiteY317" fmla="*/ 1350098 h 2084191"/>
              <a:gd name="connsiteX318" fmla="*/ 989353 w 2051041"/>
              <a:gd name="connsiteY318" fmla="*/ 1376763 h 2084191"/>
              <a:gd name="connsiteX319" fmla="*/ 963777 w 2051041"/>
              <a:gd name="connsiteY319" fmla="*/ 1350642 h 2084191"/>
              <a:gd name="connsiteX320" fmla="*/ 989353 w 2051041"/>
              <a:gd name="connsiteY320" fmla="*/ 1323978 h 2084191"/>
              <a:gd name="connsiteX321" fmla="*/ 1152606 w 2051041"/>
              <a:gd name="connsiteY321" fmla="*/ 1322889 h 2084191"/>
              <a:gd name="connsiteX322" fmla="*/ 1181447 w 2051041"/>
              <a:gd name="connsiteY322" fmla="*/ 1350098 h 2084191"/>
              <a:gd name="connsiteX323" fmla="*/ 1152606 w 2051041"/>
              <a:gd name="connsiteY323" fmla="*/ 1379483 h 2084191"/>
              <a:gd name="connsiteX324" fmla="*/ 1124853 w 2051041"/>
              <a:gd name="connsiteY324" fmla="*/ 1350642 h 2084191"/>
              <a:gd name="connsiteX325" fmla="*/ 1152606 w 2051041"/>
              <a:gd name="connsiteY325" fmla="*/ 1322889 h 2084191"/>
              <a:gd name="connsiteX326" fmla="*/ 1315315 w 2051041"/>
              <a:gd name="connsiteY326" fmla="*/ 1318536 h 2084191"/>
              <a:gd name="connsiteX327" fmla="*/ 1347966 w 2051041"/>
              <a:gd name="connsiteY327" fmla="*/ 1350098 h 2084191"/>
              <a:gd name="connsiteX328" fmla="*/ 1315315 w 2051041"/>
              <a:gd name="connsiteY328" fmla="*/ 1381661 h 2084191"/>
              <a:gd name="connsiteX329" fmla="*/ 1284297 w 2051041"/>
              <a:gd name="connsiteY329" fmla="*/ 1350098 h 2084191"/>
              <a:gd name="connsiteX330" fmla="*/ 1315315 w 2051041"/>
              <a:gd name="connsiteY330" fmla="*/ 1318536 h 2084191"/>
              <a:gd name="connsiteX331" fmla="*/ 1480744 w 2051041"/>
              <a:gd name="connsiteY331" fmla="*/ 1317448 h 2084191"/>
              <a:gd name="connsiteX332" fmla="*/ 1512306 w 2051041"/>
              <a:gd name="connsiteY332" fmla="*/ 1351731 h 2084191"/>
              <a:gd name="connsiteX333" fmla="*/ 1477479 w 2051041"/>
              <a:gd name="connsiteY333" fmla="*/ 1383293 h 2084191"/>
              <a:gd name="connsiteX334" fmla="*/ 1446461 w 2051041"/>
              <a:gd name="connsiteY334" fmla="*/ 1349554 h 2084191"/>
              <a:gd name="connsiteX335" fmla="*/ 1480744 w 2051041"/>
              <a:gd name="connsiteY335" fmla="*/ 1317448 h 2084191"/>
              <a:gd name="connsiteX336" fmla="*/ 1642908 w 2051041"/>
              <a:gd name="connsiteY336" fmla="*/ 1315815 h 2084191"/>
              <a:gd name="connsiteX337" fmla="*/ 1676647 w 2051041"/>
              <a:gd name="connsiteY337" fmla="*/ 1351731 h 2084191"/>
              <a:gd name="connsiteX338" fmla="*/ 1640732 w 2051041"/>
              <a:gd name="connsiteY338" fmla="*/ 1383837 h 2084191"/>
              <a:gd name="connsiteX339" fmla="*/ 1608081 w 2051041"/>
              <a:gd name="connsiteY339" fmla="*/ 1349554 h 2084191"/>
              <a:gd name="connsiteX340" fmla="*/ 1642908 w 2051041"/>
              <a:gd name="connsiteY340" fmla="*/ 1315815 h 2084191"/>
              <a:gd name="connsiteX341" fmla="*/ 1968870 w 2051041"/>
              <a:gd name="connsiteY341" fmla="*/ 1314183 h 2084191"/>
              <a:gd name="connsiteX342" fmla="*/ 2005329 w 2051041"/>
              <a:gd name="connsiteY342" fmla="*/ 1351187 h 2084191"/>
              <a:gd name="connsiteX343" fmla="*/ 1967781 w 2051041"/>
              <a:gd name="connsiteY343" fmla="*/ 1388191 h 2084191"/>
              <a:gd name="connsiteX344" fmla="*/ 1931866 w 2051041"/>
              <a:gd name="connsiteY344" fmla="*/ 1350098 h 2084191"/>
              <a:gd name="connsiteX345" fmla="*/ 1968870 w 2051041"/>
              <a:gd name="connsiteY345" fmla="*/ 1314183 h 2084191"/>
              <a:gd name="connsiteX346" fmla="*/ 1806161 w 2051041"/>
              <a:gd name="connsiteY346" fmla="*/ 1313639 h 2084191"/>
              <a:gd name="connsiteX347" fmla="*/ 1841533 w 2051041"/>
              <a:gd name="connsiteY347" fmla="*/ 1351187 h 2084191"/>
              <a:gd name="connsiteX348" fmla="*/ 1830105 w 2051041"/>
              <a:gd name="connsiteY348" fmla="*/ 1376763 h 2084191"/>
              <a:gd name="connsiteX349" fmla="*/ 1803984 w 2051041"/>
              <a:gd name="connsiteY349" fmla="*/ 1387102 h 2084191"/>
              <a:gd name="connsiteX350" fmla="*/ 1768613 w 2051041"/>
              <a:gd name="connsiteY350" fmla="*/ 1350098 h 2084191"/>
              <a:gd name="connsiteX351" fmla="*/ 1806161 w 2051041"/>
              <a:gd name="connsiteY351" fmla="*/ 1313639 h 2084191"/>
              <a:gd name="connsiteX352" fmla="*/ 419057 w 2051041"/>
              <a:gd name="connsiteY352" fmla="*/ 1262486 h 2084191"/>
              <a:gd name="connsiteX353" fmla="*/ 424499 w 2051041"/>
              <a:gd name="connsiteY353" fmla="*/ 1269016 h 2084191"/>
              <a:gd name="connsiteX354" fmla="*/ 417969 w 2051041"/>
              <a:gd name="connsiteY354" fmla="*/ 1278811 h 2084191"/>
              <a:gd name="connsiteX355" fmla="*/ 411983 w 2051041"/>
              <a:gd name="connsiteY355" fmla="*/ 1269016 h 2084191"/>
              <a:gd name="connsiteX356" fmla="*/ 419057 w 2051041"/>
              <a:gd name="connsiteY356" fmla="*/ 1262486 h 2084191"/>
              <a:gd name="connsiteX357" fmla="*/ 581221 w 2051041"/>
              <a:gd name="connsiteY357" fmla="*/ 1252147 h 2084191"/>
              <a:gd name="connsiteX358" fmla="*/ 597547 w 2051041"/>
              <a:gd name="connsiteY358" fmla="*/ 1269017 h 2084191"/>
              <a:gd name="connsiteX359" fmla="*/ 580133 w 2051041"/>
              <a:gd name="connsiteY359" fmla="*/ 1284254 h 2084191"/>
              <a:gd name="connsiteX360" fmla="*/ 564896 w 2051041"/>
              <a:gd name="connsiteY360" fmla="*/ 1268472 h 2084191"/>
              <a:gd name="connsiteX361" fmla="*/ 581221 w 2051041"/>
              <a:gd name="connsiteY361" fmla="*/ 1252147 h 2084191"/>
              <a:gd name="connsiteX362" fmla="*/ 745018 w 2051041"/>
              <a:gd name="connsiteY362" fmla="*/ 1246705 h 2084191"/>
              <a:gd name="connsiteX363" fmla="*/ 766241 w 2051041"/>
              <a:gd name="connsiteY363" fmla="*/ 1269560 h 2084191"/>
              <a:gd name="connsiteX364" fmla="*/ 744474 w 2051041"/>
              <a:gd name="connsiteY364" fmla="*/ 1290783 h 2084191"/>
              <a:gd name="connsiteX365" fmla="*/ 722707 w 2051041"/>
              <a:gd name="connsiteY365" fmla="*/ 1267928 h 2084191"/>
              <a:gd name="connsiteX366" fmla="*/ 745018 w 2051041"/>
              <a:gd name="connsiteY366" fmla="*/ 1246705 h 2084191"/>
              <a:gd name="connsiteX367" fmla="*/ 907727 w 2051041"/>
              <a:gd name="connsiteY367" fmla="*/ 1241807 h 2084191"/>
              <a:gd name="connsiteX368" fmla="*/ 933847 w 2051041"/>
              <a:gd name="connsiteY368" fmla="*/ 1269016 h 2084191"/>
              <a:gd name="connsiteX369" fmla="*/ 907183 w 2051041"/>
              <a:gd name="connsiteY369" fmla="*/ 1295136 h 2084191"/>
              <a:gd name="connsiteX370" fmla="*/ 880518 w 2051041"/>
              <a:gd name="connsiteY370" fmla="*/ 1267927 h 2084191"/>
              <a:gd name="connsiteX371" fmla="*/ 907727 w 2051041"/>
              <a:gd name="connsiteY371" fmla="*/ 1241807 h 2084191"/>
              <a:gd name="connsiteX372" fmla="*/ 1070979 w 2051041"/>
              <a:gd name="connsiteY372" fmla="*/ 1240719 h 2084191"/>
              <a:gd name="connsiteX373" fmla="*/ 1099821 w 2051041"/>
              <a:gd name="connsiteY373" fmla="*/ 1268472 h 2084191"/>
              <a:gd name="connsiteX374" fmla="*/ 1070435 w 2051041"/>
              <a:gd name="connsiteY374" fmla="*/ 1297858 h 2084191"/>
              <a:gd name="connsiteX375" fmla="*/ 1042138 w 2051041"/>
              <a:gd name="connsiteY375" fmla="*/ 1269560 h 2084191"/>
              <a:gd name="connsiteX376" fmla="*/ 1070979 w 2051041"/>
              <a:gd name="connsiteY376" fmla="*/ 1240719 h 2084191"/>
              <a:gd name="connsiteX377" fmla="*/ 1234233 w 2051041"/>
              <a:gd name="connsiteY377" fmla="*/ 1235821 h 2084191"/>
              <a:gd name="connsiteX378" fmla="*/ 1266883 w 2051041"/>
              <a:gd name="connsiteY378" fmla="*/ 1269016 h 2084191"/>
              <a:gd name="connsiteX379" fmla="*/ 1234233 w 2051041"/>
              <a:gd name="connsiteY379" fmla="*/ 1300578 h 2084191"/>
              <a:gd name="connsiteX380" fmla="*/ 1201582 w 2051041"/>
              <a:gd name="connsiteY380" fmla="*/ 1267383 h 2084191"/>
              <a:gd name="connsiteX381" fmla="*/ 1234233 w 2051041"/>
              <a:gd name="connsiteY381" fmla="*/ 1235821 h 2084191"/>
              <a:gd name="connsiteX382" fmla="*/ 1396397 w 2051041"/>
              <a:gd name="connsiteY382" fmla="*/ 1234733 h 2084191"/>
              <a:gd name="connsiteX383" fmla="*/ 1431224 w 2051041"/>
              <a:gd name="connsiteY383" fmla="*/ 1268472 h 2084191"/>
              <a:gd name="connsiteX384" fmla="*/ 1396941 w 2051041"/>
              <a:gd name="connsiteY384" fmla="*/ 1302755 h 2084191"/>
              <a:gd name="connsiteX385" fmla="*/ 1363746 w 2051041"/>
              <a:gd name="connsiteY385" fmla="*/ 1269016 h 2084191"/>
              <a:gd name="connsiteX386" fmla="*/ 1396397 w 2051041"/>
              <a:gd name="connsiteY386" fmla="*/ 1234733 h 2084191"/>
              <a:gd name="connsiteX387" fmla="*/ 1559649 w 2051041"/>
              <a:gd name="connsiteY387" fmla="*/ 1232557 h 2084191"/>
              <a:gd name="connsiteX388" fmla="*/ 1597742 w 2051041"/>
              <a:gd name="connsiteY388" fmla="*/ 1268472 h 2084191"/>
              <a:gd name="connsiteX389" fmla="*/ 1561826 w 2051041"/>
              <a:gd name="connsiteY389" fmla="*/ 1305476 h 2084191"/>
              <a:gd name="connsiteX390" fmla="*/ 1523734 w 2051041"/>
              <a:gd name="connsiteY390" fmla="*/ 1269561 h 2084191"/>
              <a:gd name="connsiteX391" fmla="*/ 1559649 w 2051041"/>
              <a:gd name="connsiteY391" fmla="*/ 1232557 h 2084191"/>
              <a:gd name="connsiteX392" fmla="*/ 1723990 w 2051041"/>
              <a:gd name="connsiteY392" fmla="*/ 1231468 h 2084191"/>
              <a:gd name="connsiteX393" fmla="*/ 1762083 w 2051041"/>
              <a:gd name="connsiteY393" fmla="*/ 1268472 h 2084191"/>
              <a:gd name="connsiteX394" fmla="*/ 1724535 w 2051041"/>
              <a:gd name="connsiteY394" fmla="*/ 1307109 h 2084191"/>
              <a:gd name="connsiteX395" fmla="*/ 1686442 w 2051041"/>
              <a:gd name="connsiteY395" fmla="*/ 1270105 h 2084191"/>
              <a:gd name="connsiteX396" fmla="*/ 1723990 w 2051041"/>
              <a:gd name="connsiteY396" fmla="*/ 1231468 h 2084191"/>
              <a:gd name="connsiteX397" fmla="*/ 1888332 w 2051041"/>
              <a:gd name="connsiteY397" fmla="*/ 1230924 h 2084191"/>
              <a:gd name="connsiteX398" fmla="*/ 1925336 w 2051041"/>
              <a:gd name="connsiteY398" fmla="*/ 1269561 h 2084191"/>
              <a:gd name="connsiteX399" fmla="*/ 1887243 w 2051041"/>
              <a:gd name="connsiteY399" fmla="*/ 1307653 h 2084191"/>
              <a:gd name="connsiteX400" fmla="*/ 1849151 w 2051041"/>
              <a:gd name="connsiteY400" fmla="*/ 1267928 h 2084191"/>
              <a:gd name="connsiteX401" fmla="*/ 1888332 w 2051041"/>
              <a:gd name="connsiteY401" fmla="*/ 1230924 h 2084191"/>
              <a:gd name="connsiteX402" fmla="*/ 2049952 w 2051041"/>
              <a:gd name="connsiteY402" fmla="*/ 1230380 h 2084191"/>
              <a:gd name="connsiteX403" fmla="*/ 2051041 w 2051041"/>
              <a:gd name="connsiteY403" fmla="*/ 1230805 h 2084191"/>
              <a:gd name="connsiteX404" fmla="*/ 2051041 w 2051041"/>
              <a:gd name="connsiteY404" fmla="*/ 1307109 h 2084191"/>
              <a:gd name="connsiteX405" fmla="*/ 2012404 w 2051041"/>
              <a:gd name="connsiteY405" fmla="*/ 1268472 h 2084191"/>
              <a:gd name="connsiteX406" fmla="*/ 2049952 w 2051041"/>
              <a:gd name="connsiteY406" fmla="*/ 1230380 h 2084191"/>
              <a:gd name="connsiteX407" fmla="*/ 337431 w 2051041"/>
              <a:gd name="connsiteY407" fmla="*/ 1181404 h 2084191"/>
              <a:gd name="connsiteX408" fmla="*/ 345050 w 2051041"/>
              <a:gd name="connsiteY408" fmla="*/ 1187934 h 2084191"/>
              <a:gd name="connsiteX409" fmla="*/ 336343 w 2051041"/>
              <a:gd name="connsiteY409" fmla="*/ 1192288 h 2084191"/>
              <a:gd name="connsiteX410" fmla="*/ 330901 w 2051041"/>
              <a:gd name="connsiteY410" fmla="*/ 1185758 h 2084191"/>
              <a:gd name="connsiteX411" fmla="*/ 337431 w 2051041"/>
              <a:gd name="connsiteY411" fmla="*/ 1181404 h 2084191"/>
              <a:gd name="connsiteX412" fmla="*/ 499051 w 2051041"/>
              <a:gd name="connsiteY412" fmla="*/ 1171065 h 2084191"/>
              <a:gd name="connsiteX413" fmla="*/ 516465 w 2051041"/>
              <a:gd name="connsiteY413" fmla="*/ 1187390 h 2084191"/>
              <a:gd name="connsiteX414" fmla="*/ 500140 w 2051041"/>
              <a:gd name="connsiteY414" fmla="*/ 1202627 h 2084191"/>
              <a:gd name="connsiteX415" fmla="*/ 483814 w 2051041"/>
              <a:gd name="connsiteY415" fmla="*/ 1187390 h 2084191"/>
              <a:gd name="connsiteX416" fmla="*/ 499051 w 2051041"/>
              <a:gd name="connsiteY416" fmla="*/ 1171065 h 2084191"/>
              <a:gd name="connsiteX417" fmla="*/ 662848 w 2051041"/>
              <a:gd name="connsiteY417" fmla="*/ 1165623 h 2084191"/>
              <a:gd name="connsiteX418" fmla="*/ 684615 w 2051041"/>
              <a:gd name="connsiteY418" fmla="*/ 1187390 h 2084191"/>
              <a:gd name="connsiteX419" fmla="*/ 662848 w 2051041"/>
              <a:gd name="connsiteY419" fmla="*/ 1209157 h 2084191"/>
              <a:gd name="connsiteX420" fmla="*/ 641081 w 2051041"/>
              <a:gd name="connsiteY420" fmla="*/ 1186846 h 2084191"/>
              <a:gd name="connsiteX421" fmla="*/ 662848 w 2051041"/>
              <a:gd name="connsiteY421" fmla="*/ 1165623 h 2084191"/>
              <a:gd name="connsiteX422" fmla="*/ 825556 w 2051041"/>
              <a:gd name="connsiteY422" fmla="*/ 1160725 h 2084191"/>
              <a:gd name="connsiteX423" fmla="*/ 852765 w 2051041"/>
              <a:gd name="connsiteY423" fmla="*/ 1186846 h 2084191"/>
              <a:gd name="connsiteX424" fmla="*/ 826645 w 2051041"/>
              <a:gd name="connsiteY424" fmla="*/ 1213511 h 2084191"/>
              <a:gd name="connsiteX425" fmla="*/ 798892 w 2051041"/>
              <a:gd name="connsiteY425" fmla="*/ 1188479 h 2084191"/>
              <a:gd name="connsiteX426" fmla="*/ 825556 w 2051041"/>
              <a:gd name="connsiteY426" fmla="*/ 1160725 h 2084191"/>
              <a:gd name="connsiteX427" fmla="*/ 989353 w 2051041"/>
              <a:gd name="connsiteY427" fmla="*/ 1158004 h 2084191"/>
              <a:gd name="connsiteX428" fmla="*/ 1018195 w 2051041"/>
              <a:gd name="connsiteY428" fmla="*/ 1187934 h 2084191"/>
              <a:gd name="connsiteX429" fmla="*/ 988809 w 2051041"/>
              <a:gd name="connsiteY429" fmla="*/ 1216775 h 2084191"/>
              <a:gd name="connsiteX430" fmla="*/ 959968 w 2051041"/>
              <a:gd name="connsiteY430" fmla="*/ 1187934 h 2084191"/>
              <a:gd name="connsiteX431" fmla="*/ 989353 w 2051041"/>
              <a:gd name="connsiteY431" fmla="*/ 1158004 h 2084191"/>
              <a:gd name="connsiteX432" fmla="*/ 1152062 w 2051041"/>
              <a:gd name="connsiteY432" fmla="*/ 1153651 h 2084191"/>
              <a:gd name="connsiteX433" fmla="*/ 1185801 w 2051041"/>
              <a:gd name="connsiteY433" fmla="*/ 1186301 h 2084191"/>
              <a:gd name="connsiteX434" fmla="*/ 1153150 w 2051041"/>
              <a:gd name="connsiteY434" fmla="*/ 1219496 h 2084191"/>
              <a:gd name="connsiteX435" fmla="*/ 1119956 w 2051041"/>
              <a:gd name="connsiteY435" fmla="*/ 1187390 h 2084191"/>
              <a:gd name="connsiteX436" fmla="*/ 1152062 w 2051041"/>
              <a:gd name="connsiteY436" fmla="*/ 1153651 h 2084191"/>
              <a:gd name="connsiteX437" fmla="*/ 1315315 w 2051041"/>
              <a:gd name="connsiteY437" fmla="*/ 1152018 h 2084191"/>
              <a:gd name="connsiteX438" fmla="*/ 1351230 w 2051041"/>
              <a:gd name="connsiteY438" fmla="*/ 1186845 h 2084191"/>
              <a:gd name="connsiteX439" fmla="*/ 1315859 w 2051041"/>
              <a:gd name="connsiteY439" fmla="*/ 1221673 h 2084191"/>
              <a:gd name="connsiteX440" fmla="*/ 1281576 w 2051041"/>
              <a:gd name="connsiteY440" fmla="*/ 1187390 h 2084191"/>
              <a:gd name="connsiteX441" fmla="*/ 1315315 w 2051041"/>
              <a:gd name="connsiteY441" fmla="*/ 1152018 h 2084191"/>
              <a:gd name="connsiteX442" fmla="*/ 1479656 w 2051041"/>
              <a:gd name="connsiteY442" fmla="*/ 1149298 h 2084191"/>
              <a:gd name="connsiteX443" fmla="*/ 1516660 w 2051041"/>
              <a:gd name="connsiteY443" fmla="*/ 1188479 h 2084191"/>
              <a:gd name="connsiteX444" fmla="*/ 1478023 w 2051041"/>
              <a:gd name="connsiteY444" fmla="*/ 1224394 h 2084191"/>
              <a:gd name="connsiteX445" fmla="*/ 1441563 w 2051041"/>
              <a:gd name="connsiteY445" fmla="*/ 1185758 h 2084191"/>
              <a:gd name="connsiteX446" fmla="*/ 1479656 w 2051041"/>
              <a:gd name="connsiteY446" fmla="*/ 1149298 h 2084191"/>
              <a:gd name="connsiteX447" fmla="*/ 1642365 w 2051041"/>
              <a:gd name="connsiteY447" fmla="*/ 1148209 h 2084191"/>
              <a:gd name="connsiteX448" fmla="*/ 1681001 w 2051041"/>
              <a:gd name="connsiteY448" fmla="*/ 1187390 h 2084191"/>
              <a:gd name="connsiteX449" fmla="*/ 1641821 w 2051041"/>
              <a:gd name="connsiteY449" fmla="*/ 1226026 h 2084191"/>
              <a:gd name="connsiteX450" fmla="*/ 1603728 w 2051041"/>
              <a:gd name="connsiteY450" fmla="*/ 1186846 h 2084191"/>
              <a:gd name="connsiteX451" fmla="*/ 1642365 w 2051041"/>
              <a:gd name="connsiteY451" fmla="*/ 1148209 h 2084191"/>
              <a:gd name="connsiteX452" fmla="*/ 1969414 w 2051041"/>
              <a:gd name="connsiteY452" fmla="*/ 1147665 h 2084191"/>
              <a:gd name="connsiteX453" fmla="*/ 2009139 w 2051041"/>
              <a:gd name="connsiteY453" fmla="*/ 1187934 h 2084191"/>
              <a:gd name="connsiteX454" fmla="*/ 1968870 w 2051041"/>
              <a:gd name="connsiteY454" fmla="*/ 1227114 h 2084191"/>
              <a:gd name="connsiteX455" fmla="*/ 1929145 w 2051041"/>
              <a:gd name="connsiteY455" fmla="*/ 1186301 h 2084191"/>
              <a:gd name="connsiteX456" fmla="*/ 1969414 w 2051041"/>
              <a:gd name="connsiteY456" fmla="*/ 1147665 h 2084191"/>
              <a:gd name="connsiteX457" fmla="*/ 1805617 w 2051041"/>
              <a:gd name="connsiteY457" fmla="*/ 1147665 h 2084191"/>
              <a:gd name="connsiteX458" fmla="*/ 1844798 w 2051041"/>
              <a:gd name="connsiteY458" fmla="*/ 1187934 h 2084191"/>
              <a:gd name="connsiteX459" fmla="*/ 1805073 w 2051041"/>
              <a:gd name="connsiteY459" fmla="*/ 1226571 h 2084191"/>
              <a:gd name="connsiteX460" fmla="*/ 1766981 w 2051041"/>
              <a:gd name="connsiteY460" fmla="*/ 1186845 h 2084191"/>
              <a:gd name="connsiteX461" fmla="*/ 1805617 w 2051041"/>
              <a:gd name="connsiteY461" fmla="*/ 1147665 h 2084191"/>
              <a:gd name="connsiteX462" fmla="*/ 417425 w 2051041"/>
              <a:gd name="connsiteY462" fmla="*/ 1090527 h 2084191"/>
              <a:gd name="connsiteX463" fmla="*/ 432662 w 2051041"/>
              <a:gd name="connsiteY463" fmla="*/ 1105764 h 2084191"/>
              <a:gd name="connsiteX464" fmla="*/ 417969 w 2051041"/>
              <a:gd name="connsiteY464" fmla="*/ 1120457 h 2084191"/>
              <a:gd name="connsiteX465" fmla="*/ 402732 w 2051041"/>
              <a:gd name="connsiteY465" fmla="*/ 1105219 h 2084191"/>
              <a:gd name="connsiteX466" fmla="*/ 417425 w 2051041"/>
              <a:gd name="connsiteY466" fmla="*/ 1090527 h 2084191"/>
              <a:gd name="connsiteX467" fmla="*/ 580677 w 2051041"/>
              <a:gd name="connsiteY467" fmla="*/ 1083996 h 2084191"/>
              <a:gd name="connsiteX468" fmla="*/ 602444 w 2051041"/>
              <a:gd name="connsiteY468" fmla="*/ 1105219 h 2084191"/>
              <a:gd name="connsiteX469" fmla="*/ 581221 w 2051041"/>
              <a:gd name="connsiteY469" fmla="*/ 1127530 h 2084191"/>
              <a:gd name="connsiteX470" fmla="*/ 558910 w 2051041"/>
              <a:gd name="connsiteY470" fmla="*/ 1105219 h 2084191"/>
              <a:gd name="connsiteX471" fmla="*/ 580677 w 2051041"/>
              <a:gd name="connsiteY471" fmla="*/ 1083996 h 2084191"/>
              <a:gd name="connsiteX472" fmla="*/ 743386 w 2051041"/>
              <a:gd name="connsiteY472" fmla="*/ 1079099 h 2084191"/>
              <a:gd name="connsiteX473" fmla="*/ 770595 w 2051041"/>
              <a:gd name="connsiteY473" fmla="*/ 1105219 h 2084191"/>
              <a:gd name="connsiteX474" fmla="*/ 745019 w 2051041"/>
              <a:gd name="connsiteY474" fmla="*/ 1132428 h 2084191"/>
              <a:gd name="connsiteX475" fmla="*/ 717810 w 2051041"/>
              <a:gd name="connsiteY475" fmla="*/ 1106308 h 2084191"/>
              <a:gd name="connsiteX476" fmla="*/ 743386 w 2051041"/>
              <a:gd name="connsiteY476" fmla="*/ 1079099 h 2084191"/>
              <a:gd name="connsiteX477" fmla="*/ 907727 w 2051041"/>
              <a:gd name="connsiteY477" fmla="*/ 1076378 h 2084191"/>
              <a:gd name="connsiteX478" fmla="*/ 937112 w 2051041"/>
              <a:gd name="connsiteY478" fmla="*/ 1105219 h 2084191"/>
              <a:gd name="connsiteX479" fmla="*/ 908271 w 2051041"/>
              <a:gd name="connsiteY479" fmla="*/ 1134061 h 2084191"/>
              <a:gd name="connsiteX480" fmla="*/ 878885 w 2051041"/>
              <a:gd name="connsiteY480" fmla="*/ 1105764 h 2084191"/>
              <a:gd name="connsiteX481" fmla="*/ 907727 w 2051041"/>
              <a:gd name="connsiteY481" fmla="*/ 1076378 h 2084191"/>
              <a:gd name="connsiteX482" fmla="*/ 1071524 w 2051041"/>
              <a:gd name="connsiteY482" fmla="*/ 1072569 h 2084191"/>
              <a:gd name="connsiteX483" fmla="*/ 1104174 w 2051041"/>
              <a:gd name="connsiteY483" fmla="*/ 1105220 h 2084191"/>
              <a:gd name="connsiteX484" fmla="*/ 1070435 w 2051041"/>
              <a:gd name="connsiteY484" fmla="*/ 1137870 h 2084191"/>
              <a:gd name="connsiteX485" fmla="*/ 1038329 w 2051041"/>
              <a:gd name="connsiteY485" fmla="*/ 1105764 h 2084191"/>
              <a:gd name="connsiteX486" fmla="*/ 1071524 w 2051041"/>
              <a:gd name="connsiteY486" fmla="*/ 1072569 h 2084191"/>
              <a:gd name="connsiteX487" fmla="*/ 1235865 w 2051041"/>
              <a:gd name="connsiteY487" fmla="*/ 1068760 h 2084191"/>
              <a:gd name="connsiteX488" fmla="*/ 1271237 w 2051041"/>
              <a:gd name="connsiteY488" fmla="*/ 1106852 h 2084191"/>
              <a:gd name="connsiteX489" fmla="*/ 1234777 w 2051041"/>
              <a:gd name="connsiteY489" fmla="*/ 1142223 h 2084191"/>
              <a:gd name="connsiteX490" fmla="*/ 1198861 w 2051041"/>
              <a:gd name="connsiteY490" fmla="*/ 1105219 h 2084191"/>
              <a:gd name="connsiteX491" fmla="*/ 1235865 w 2051041"/>
              <a:gd name="connsiteY491" fmla="*/ 1068760 h 2084191"/>
              <a:gd name="connsiteX492" fmla="*/ 1396397 w 2051041"/>
              <a:gd name="connsiteY492" fmla="*/ 1067127 h 2084191"/>
              <a:gd name="connsiteX493" fmla="*/ 1435578 w 2051041"/>
              <a:gd name="connsiteY493" fmla="*/ 1105219 h 2084191"/>
              <a:gd name="connsiteX494" fmla="*/ 1396941 w 2051041"/>
              <a:gd name="connsiteY494" fmla="*/ 1143856 h 2084191"/>
              <a:gd name="connsiteX495" fmla="*/ 1358849 w 2051041"/>
              <a:gd name="connsiteY495" fmla="*/ 1105763 h 2084191"/>
              <a:gd name="connsiteX496" fmla="*/ 1396397 w 2051041"/>
              <a:gd name="connsiteY496" fmla="*/ 1067127 h 2084191"/>
              <a:gd name="connsiteX497" fmla="*/ 1560738 w 2051041"/>
              <a:gd name="connsiteY497" fmla="*/ 1066582 h 2084191"/>
              <a:gd name="connsiteX498" fmla="*/ 1599919 w 2051041"/>
              <a:gd name="connsiteY498" fmla="*/ 1105763 h 2084191"/>
              <a:gd name="connsiteX499" fmla="*/ 1560738 w 2051041"/>
              <a:gd name="connsiteY499" fmla="*/ 1144400 h 2084191"/>
              <a:gd name="connsiteX500" fmla="*/ 1521013 w 2051041"/>
              <a:gd name="connsiteY500" fmla="*/ 1105763 h 2084191"/>
              <a:gd name="connsiteX501" fmla="*/ 1560738 w 2051041"/>
              <a:gd name="connsiteY501" fmla="*/ 1066582 h 2084191"/>
              <a:gd name="connsiteX502" fmla="*/ 1723447 w 2051041"/>
              <a:gd name="connsiteY502" fmla="*/ 1064406 h 2084191"/>
              <a:gd name="connsiteX503" fmla="*/ 1764260 w 2051041"/>
              <a:gd name="connsiteY503" fmla="*/ 1104675 h 2084191"/>
              <a:gd name="connsiteX504" fmla="*/ 1724535 w 2051041"/>
              <a:gd name="connsiteY504" fmla="*/ 1146032 h 2084191"/>
              <a:gd name="connsiteX505" fmla="*/ 1683178 w 2051041"/>
              <a:gd name="connsiteY505" fmla="*/ 1105764 h 2084191"/>
              <a:gd name="connsiteX506" fmla="*/ 1723447 w 2051041"/>
              <a:gd name="connsiteY506" fmla="*/ 1064406 h 2084191"/>
              <a:gd name="connsiteX507" fmla="*/ 2051041 w 2051041"/>
              <a:gd name="connsiteY507" fmla="*/ 1063318 h 2084191"/>
              <a:gd name="connsiteX508" fmla="*/ 2051041 w 2051041"/>
              <a:gd name="connsiteY508" fmla="*/ 1147740 h 2084191"/>
              <a:gd name="connsiteX509" fmla="*/ 2049952 w 2051041"/>
              <a:gd name="connsiteY509" fmla="*/ 1148210 h 2084191"/>
              <a:gd name="connsiteX510" fmla="*/ 2008051 w 2051041"/>
              <a:gd name="connsiteY510" fmla="*/ 1105764 h 2084191"/>
              <a:gd name="connsiteX511" fmla="*/ 2051041 w 2051041"/>
              <a:gd name="connsiteY511" fmla="*/ 1063318 h 2084191"/>
              <a:gd name="connsiteX512" fmla="*/ 1887787 w 2051041"/>
              <a:gd name="connsiteY512" fmla="*/ 1062773 h 2084191"/>
              <a:gd name="connsiteX513" fmla="*/ 1929145 w 2051041"/>
              <a:gd name="connsiteY513" fmla="*/ 1105763 h 2084191"/>
              <a:gd name="connsiteX514" fmla="*/ 1886699 w 2051041"/>
              <a:gd name="connsiteY514" fmla="*/ 1147665 h 2084191"/>
              <a:gd name="connsiteX515" fmla="*/ 1844798 w 2051041"/>
              <a:gd name="connsiteY515" fmla="*/ 1105219 h 2084191"/>
              <a:gd name="connsiteX516" fmla="*/ 1887787 w 2051041"/>
              <a:gd name="connsiteY516" fmla="*/ 1062773 h 2084191"/>
              <a:gd name="connsiteX517" fmla="*/ 335798 w 2051041"/>
              <a:gd name="connsiteY517" fmla="*/ 1011621 h 2084191"/>
              <a:gd name="connsiteX518" fmla="*/ 348314 w 2051041"/>
              <a:gd name="connsiteY518" fmla="*/ 1023049 h 2084191"/>
              <a:gd name="connsiteX519" fmla="*/ 336886 w 2051041"/>
              <a:gd name="connsiteY519" fmla="*/ 1036109 h 2084191"/>
              <a:gd name="connsiteX520" fmla="*/ 324370 w 2051041"/>
              <a:gd name="connsiteY520" fmla="*/ 1024681 h 2084191"/>
              <a:gd name="connsiteX521" fmla="*/ 335798 w 2051041"/>
              <a:gd name="connsiteY521" fmla="*/ 1011621 h 2084191"/>
              <a:gd name="connsiteX522" fmla="*/ 499051 w 2051041"/>
              <a:gd name="connsiteY522" fmla="*/ 1002914 h 2084191"/>
              <a:gd name="connsiteX523" fmla="*/ 520818 w 2051041"/>
              <a:gd name="connsiteY523" fmla="*/ 1024137 h 2084191"/>
              <a:gd name="connsiteX524" fmla="*/ 499595 w 2051041"/>
              <a:gd name="connsiteY524" fmla="*/ 1045360 h 2084191"/>
              <a:gd name="connsiteX525" fmla="*/ 478372 w 2051041"/>
              <a:gd name="connsiteY525" fmla="*/ 1024137 h 2084191"/>
              <a:gd name="connsiteX526" fmla="*/ 499051 w 2051041"/>
              <a:gd name="connsiteY526" fmla="*/ 1002914 h 2084191"/>
              <a:gd name="connsiteX527" fmla="*/ 663392 w 2051041"/>
              <a:gd name="connsiteY527" fmla="*/ 997473 h 2084191"/>
              <a:gd name="connsiteX528" fmla="*/ 688424 w 2051041"/>
              <a:gd name="connsiteY528" fmla="*/ 1024138 h 2084191"/>
              <a:gd name="connsiteX529" fmla="*/ 661759 w 2051041"/>
              <a:gd name="connsiteY529" fmla="*/ 1050258 h 2084191"/>
              <a:gd name="connsiteX530" fmla="*/ 636727 w 2051041"/>
              <a:gd name="connsiteY530" fmla="*/ 1023593 h 2084191"/>
              <a:gd name="connsiteX531" fmla="*/ 663392 w 2051041"/>
              <a:gd name="connsiteY531" fmla="*/ 997473 h 2084191"/>
              <a:gd name="connsiteX532" fmla="*/ 826645 w 2051041"/>
              <a:gd name="connsiteY532" fmla="*/ 995840 h 2084191"/>
              <a:gd name="connsiteX533" fmla="*/ 854942 w 2051041"/>
              <a:gd name="connsiteY533" fmla="*/ 1024137 h 2084191"/>
              <a:gd name="connsiteX534" fmla="*/ 825557 w 2051041"/>
              <a:gd name="connsiteY534" fmla="*/ 1052978 h 2084191"/>
              <a:gd name="connsiteX535" fmla="*/ 797260 w 2051041"/>
              <a:gd name="connsiteY535" fmla="*/ 1023593 h 2084191"/>
              <a:gd name="connsiteX536" fmla="*/ 826645 w 2051041"/>
              <a:gd name="connsiteY536" fmla="*/ 995840 h 2084191"/>
              <a:gd name="connsiteX537" fmla="*/ 990441 w 2051041"/>
              <a:gd name="connsiteY537" fmla="*/ 990942 h 2084191"/>
              <a:gd name="connsiteX538" fmla="*/ 1022548 w 2051041"/>
              <a:gd name="connsiteY538" fmla="*/ 1025225 h 2084191"/>
              <a:gd name="connsiteX539" fmla="*/ 988809 w 2051041"/>
              <a:gd name="connsiteY539" fmla="*/ 1056787 h 2084191"/>
              <a:gd name="connsiteX540" fmla="*/ 956702 w 2051041"/>
              <a:gd name="connsiteY540" fmla="*/ 1023593 h 2084191"/>
              <a:gd name="connsiteX541" fmla="*/ 990441 w 2051041"/>
              <a:gd name="connsiteY541" fmla="*/ 990942 h 2084191"/>
              <a:gd name="connsiteX542" fmla="*/ 1150974 w 2051041"/>
              <a:gd name="connsiteY542" fmla="*/ 987678 h 2084191"/>
              <a:gd name="connsiteX543" fmla="*/ 1189610 w 2051041"/>
              <a:gd name="connsiteY543" fmla="*/ 1023593 h 2084191"/>
              <a:gd name="connsiteX544" fmla="*/ 1152062 w 2051041"/>
              <a:gd name="connsiteY544" fmla="*/ 1061685 h 2084191"/>
              <a:gd name="connsiteX545" fmla="*/ 1115058 w 2051041"/>
              <a:gd name="connsiteY545" fmla="*/ 1024682 h 2084191"/>
              <a:gd name="connsiteX546" fmla="*/ 1150974 w 2051041"/>
              <a:gd name="connsiteY546" fmla="*/ 987678 h 2084191"/>
              <a:gd name="connsiteX547" fmla="*/ 1315314 w 2051041"/>
              <a:gd name="connsiteY547" fmla="*/ 985501 h 2084191"/>
              <a:gd name="connsiteX548" fmla="*/ 1354495 w 2051041"/>
              <a:gd name="connsiteY548" fmla="*/ 1023593 h 2084191"/>
              <a:gd name="connsiteX549" fmla="*/ 1315858 w 2051041"/>
              <a:gd name="connsiteY549" fmla="*/ 1062230 h 2084191"/>
              <a:gd name="connsiteX550" fmla="*/ 1277222 w 2051041"/>
              <a:gd name="connsiteY550" fmla="*/ 1024137 h 2084191"/>
              <a:gd name="connsiteX551" fmla="*/ 1315314 w 2051041"/>
              <a:gd name="connsiteY551" fmla="*/ 985501 h 2084191"/>
              <a:gd name="connsiteX552" fmla="*/ 1479656 w 2051041"/>
              <a:gd name="connsiteY552" fmla="*/ 984412 h 2084191"/>
              <a:gd name="connsiteX553" fmla="*/ 1519380 w 2051041"/>
              <a:gd name="connsiteY553" fmla="*/ 1025225 h 2084191"/>
              <a:gd name="connsiteX554" fmla="*/ 1478567 w 2051041"/>
              <a:gd name="connsiteY554" fmla="*/ 1063318 h 2084191"/>
              <a:gd name="connsiteX555" fmla="*/ 1439387 w 2051041"/>
              <a:gd name="connsiteY555" fmla="*/ 1023593 h 2084191"/>
              <a:gd name="connsiteX556" fmla="*/ 1479656 w 2051041"/>
              <a:gd name="connsiteY556" fmla="*/ 984412 h 2084191"/>
              <a:gd name="connsiteX557" fmla="*/ 1641820 w 2051041"/>
              <a:gd name="connsiteY557" fmla="*/ 981691 h 2084191"/>
              <a:gd name="connsiteX558" fmla="*/ 1684810 w 2051041"/>
              <a:gd name="connsiteY558" fmla="*/ 1023592 h 2084191"/>
              <a:gd name="connsiteX559" fmla="*/ 1642909 w 2051041"/>
              <a:gd name="connsiteY559" fmla="*/ 1066038 h 2084191"/>
              <a:gd name="connsiteX560" fmla="*/ 1599919 w 2051041"/>
              <a:gd name="connsiteY560" fmla="*/ 1023592 h 2084191"/>
              <a:gd name="connsiteX561" fmla="*/ 1641820 w 2051041"/>
              <a:gd name="connsiteY561" fmla="*/ 981691 h 2084191"/>
              <a:gd name="connsiteX562" fmla="*/ 1806161 w 2051041"/>
              <a:gd name="connsiteY562" fmla="*/ 980603 h 2084191"/>
              <a:gd name="connsiteX563" fmla="*/ 1849151 w 2051041"/>
              <a:gd name="connsiteY563" fmla="*/ 1023592 h 2084191"/>
              <a:gd name="connsiteX564" fmla="*/ 1805617 w 2051041"/>
              <a:gd name="connsiteY564" fmla="*/ 1067127 h 2084191"/>
              <a:gd name="connsiteX565" fmla="*/ 1762083 w 2051041"/>
              <a:gd name="connsiteY565" fmla="*/ 1023592 h 2084191"/>
              <a:gd name="connsiteX566" fmla="*/ 1806161 w 2051041"/>
              <a:gd name="connsiteY566" fmla="*/ 980603 h 2084191"/>
              <a:gd name="connsiteX567" fmla="*/ 1969414 w 2051041"/>
              <a:gd name="connsiteY567" fmla="*/ 980059 h 2084191"/>
              <a:gd name="connsiteX568" fmla="*/ 2012404 w 2051041"/>
              <a:gd name="connsiteY568" fmla="*/ 1024137 h 2084191"/>
              <a:gd name="connsiteX569" fmla="*/ 1968870 w 2051041"/>
              <a:gd name="connsiteY569" fmla="*/ 1067127 h 2084191"/>
              <a:gd name="connsiteX570" fmla="*/ 1924792 w 2051041"/>
              <a:gd name="connsiteY570" fmla="*/ 1024137 h 2084191"/>
              <a:gd name="connsiteX571" fmla="*/ 1969414 w 2051041"/>
              <a:gd name="connsiteY571" fmla="*/ 980059 h 2084191"/>
              <a:gd name="connsiteX572" fmla="*/ 254171 w 2051041"/>
              <a:gd name="connsiteY572" fmla="*/ 931083 h 2084191"/>
              <a:gd name="connsiteX573" fmla="*/ 265599 w 2051041"/>
              <a:gd name="connsiteY573" fmla="*/ 941967 h 2084191"/>
              <a:gd name="connsiteX574" fmla="*/ 254171 w 2051041"/>
              <a:gd name="connsiteY574" fmla="*/ 952850 h 2084191"/>
              <a:gd name="connsiteX575" fmla="*/ 243832 w 2051041"/>
              <a:gd name="connsiteY575" fmla="*/ 941967 h 2084191"/>
              <a:gd name="connsiteX576" fmla="*/ 254171 w 2051041"/>
              <a:gd name="connsiteY576" fmla="*/ 931083 h 2084191"/>
              <a:gd name="connsiteX577" fmla="*/ 417968 w 2051041"/>
              <a:gd name="connsiteY577" fmla="*/ 922377 h 2084191"/>
              <a:gd name="connsiteX578" fmla="*/ 437559 w 2051041"/>
              <a:gd name="connsiteY578" fmla="*/ 942511 h 2084191"/>
              <a:gd name="connsiteX579" fmla="*/ 417968 w 2051041"/>
              <a:gd name="connsiteY579" fmla="*/ 961557 h 2084191"/>
              <a:gd name="connsiteX580" fmla="*/ 397834 w 2051041"/>
              <a:gd name="connsiteY580" fmla="*/ 941423 h 2084191"/>
              <a:gd name="connsiteX581" fmla="*/ 417968 w 2051041"/>
              <a:gd name="connsiteY581" fmla="*/ 922377 h 2084191"/>
              <a:gd name="connsiteX582" fmla="*/ 581222 w 2051041"/>
              <a:gd name="connsiteY582" fmla="*/ 916934 h 2084191"/>
              <a:gd name="connsiteX583" fmla="*/ 606798 w 2051041"/>
              <a:gd name="connsiteY583" fmla="*/ 943054 h 2084191"/>
              <a:gd name="connsiteX584" fmla="*/ 581222 w 2051041"/>
              <a:gd name="connsiteY584" fmla="*/ 967542 h 2084191"/>
              <a:gd name="connsiteX585" fmla="*/ 556190 w 2051041"/>
              <a:gd name="connsiteY585" fmla="*/ 943054 h 2084191"/>
              <a:gd name="connsiteX586" fmla="*/ 581222 w 2051041"/>
              <a:gd name="connsiteY586" fmla="*/ 916934 h 2084191"/>
              <a:gd name="connsiteX587" fmla="*/ 744474 w 2051041"/>
              <a:gd name="connsiteY587" fmla="*/ 913669 h 2084191"/>
              <a:gd name="connsiteX588" fmla="*/ 773315 w 2051041"/>
              <a:gd name="connsiteY588" fmla="*/ 942510 h 2084191"/>
              <a:gd name="connsiteX589" fmla="*/ 743930 w 2051041"/>
              <a:gd name="connsiteY589" fmla="*/ 970807 h 2084191"/>
              <a:gd name="connsiteX590" fmla="*/ 716177 w 2051041"/>
              <a:gd name="connsiteY590" fmla="*/ 941966 h 2084191"/>
              <a:gd name="connsiteX591" fmla="*/ 744474 w 2051041"/>
              <a:gd name="connsiteY591" fmla="*/ 913669 h 2084191"/>
              <a:gd name="connsiteX592" fmla="*/ 908271 w 2051041"/>
              <a:gd name="connsiteY592" fmla="*/ 908772 h 2084191"/>
              <a:gd name="connsiteX593" fmla="*/ 940377 w 2051041"/>
              <a:gd name="connsiteY593" fmla="*/ 944144 h 2084191"/>
              <a:gd name="connsiteX594" fmla="*/ 906094 w 2051041"/>
              <a:gd name="connsiteY594" fmla="*/ 975162 h 2084191"/>
              <a:gd name="connsiteX595" fmla="*/ 874532 w 2051041"/>
              <a:gd name="connsiteY595" fmla="*/ 940879 h 2084191"/>
              <a:gd name="connsiteX596" fmla="*/ 908271 w 2051041"/>
              <a:gd name="connsiteY596" fmla="*/ 908772 h 2084191"/>
              <a:gd name="connsiteX597" fmla="*/ 1072068 w 2051041"/>
              <a:gd name="connsiteY597" fmla="*/ 906051 h 2084191"/>
              <a:gd name="connsiteX598" fmla="*/ 1107984 w 2051041"/>
              <a:gd name="connsiteY598" fmla="*/ 942511 h 2084191"/>
              <a:gd name="connsiteX599" fmla="*/ 1070980 w 2051041"/>
              <a:gd name="connsiteY599" fmla="*/ 979515 h 2084191"/>
              <a:gd name="connsiteX600" fmla="*/ 1034520 w 2051041"/>
              <a:gd name="connsiteY600" fmla="*/ 942511 h 2084191"/>
              <a:gd name="connsiteX601" fmla="*/ 1072068 w 2051041"/>
              <a:gd name="connsiteY601" fmla="*/ 906051 h 2084191"/>
              <a:gd name="connsiteX602" fmla="*/ 1235321 w 2051041"/>
              <a:gd name="connsiteY602" fmla="*/ 903874 h 2084191"/>
              <a:gd name="connsiteX603" fmla="*/ 1272325 w 2051041"/>
              <a:gd name="connsiteY603" fmla="*/ 943054 h 2084191"/>
              <a:gd name="connsiteX604" fmla="*/ 1233688 w 2051041"/>
              <a:gd name="connsiteY604" fmla="*/ 981147 h 2084191"/>
              <a:gd name="connsiteX605" fmla="*/ 1195596 w 2051041"/>
              <a:gd name="connsiteY605" fmla="*/ 940878 h 2084191"/>
              <a:gd name="connsiteX606" fmla="*/ 1235321 w 2051041"/>
              <a:gd name="connsiteY606" fmla="*/ 903874 h 2084191"/>
              <a:gd name="connsiteX607" fmla="*/ 1397486 w 2051041"/>
              <a:gd name="connsiteY607" fmla="*/ 901153 h 2084191"/>
              <a:gd name="connsiteX608" fmla="*/ 1438299 w 2051041"/>
              <a:gd name="connsiteY608" fmla="*/ 942511 h 2084191"/>
              <a:gd name="connsiteX609" fmla="*/ 1396941 w 2051041"/>
              <a:gd name="connsiteY609" fmla="*/ 983324 h 2084191"/>
              <a:gd name="connsiteX610" fmla="*/ 1356128 w 2051041"/>
              <a:gd name="connsiteY610" fmla="*/ 941967 h 2084191"/>
              <a:gd name="connsiteX611" fmla="*/ 1397486 w 2051041"/>
              <a:gd name="connsiteY611" fmla="*/ 901153 h 2084191"/>
              <a:gd name="connsiteX612" fmla="*/ 1560738 w 2051041"/>
              <a:gd name="connsiteY612" fmla="*/ 898977 h 2084191"/>
              <a:gd name="connsiteX613" fmla="*/ 1603728 w 2051041"/>
              <a:gd name="connsiteY613" fmla="*/ 942511 h 2084191"/>
              <a:gd name="connsiteX614" fmla="*/ 1560738 w 2051041"/>
              <a:gd name="connsiteY614" fmla="*/ 985501 h 2084191"/>
              <a:gd name="connsiteX615" fmla="*/ 1517204 w 2051041"/>
              <a:gd name="connsiteY615" fmla="*/ 941423 h 2084191"/>
              <a:gd name="connsiteX616" fmla="*/ 1560738 w 2051041"/>
              <a:gd name="connsiteY616" fmla="*/ 898977 h 2084191"/>
              <a:gd name="connsiteX617" fmla="*/ 1723990 w 2051041"/>
              <a:gd name="connsiteY617" fmla="*/ 897888 h 2084191"/>
              <a:gd name="connsiteX618" fmla="*/ 1768069 w 2051041"/>
              <a:gd name="connsiteY618" fmla="*/ 942510 h 2084191"/>
              <a:gd name="connsiteX619" fmla="*/ 1723990 w 2051041"/>
              <a:gd name="connsiteY619" fmla="*/ 986589 h 2084191"/>
              <a:gd name="connsiteX620" fmla="*/ 1679912 w 2051041"/>
              <a:gd name="connsiteY620" fmla="*/ 941422 h 2084191"/>
              <a:gd name="connsiteX621" fmla="*/ 1723990 w 2051041"/>
              <a:gd name="connsiteY621" fmla="*/ 897888 h 2084191"/>
              <a:gd name="connsiteX622" fmla="*/ 2050497 w 2051041"/>
              <a:gd name="connsiteY622" fmla="*/ 897344 h 2084191"/>
              <a:gd name="connsiteX623" fmla="*/ 2051041 w 2051041"/>
              <a:gd name="connsiteY623" fmla="*/ 897453 h 2084191"/>
              <a:gd name="connsiteX624" fmla="*/ 2051041 w 2051041"/>
              <a:gd name="connsiteY624" fmla="*/ 986917 h 2084191"/>
              <a:gd name="connsiteX625" fmla="*/ 2049952 w 2051041"/>
              <a:gd name="connsiteY625" fmla="*/ 987133 h 2084191"/>
              <a:gd name="connsiteX626" fmla="*/ 2005330 w 2051041"/>
              <a:gd name="connsiteY626" fmla="*/ 941422 h 2084191"/>
              <a:gd name="connsiteX627" fmla="*/ 2050497 w 2051041"/>
              <a:gd name="connsiteY627" fmla="*/ 897344 h 2084191"/>
              <a:gd name="connsiteX628" fmla="*/ 1887243 w 2051041"/>
              <a:gd name="connsiteY628" fmla="*/ 897344 h 2084191"/>
              <a:gd name="connsiteX629" fmla="*/ 1931866 w 2051041"/>
              <a:gd name="connsiteY629" fmla="*/ 942511 h 2084191"/>
              <a:gd name="connsiteX630" fmla="*/ 1887243 w 2051041"/>
              <a:gd name="connsiteY630" fmla="*/ 986589 h 2084191"/>
              <a:gd name="connsiteX631" fmla="*/ 1843165 w 2051041"/>
              <a:gd name="connsiteY631" fmla="*/ 941422 h 2084191"/>
              <a:gd name="connsiteX632" fmla="*/ 1887243 w 2051041"/>
              <a:gd name="connsiteY632" fmla="*/ 897344 h 2084191"/>
              <a:gd name="connsiteX633" fmla="*/ 172545 w 2051041"/>
              <a:gd name="connsiteY633" fmla="*/ 854354 h 2084191"/>
              <a:gd name="connsiteX634" fmla="*/ 179619 w 2051041"/>
              <a:gd name="connsiteY634" fmla="*/ 860884 h 2084191"/>
              <a:gd name="connsiteX635" fmla="*/ 173634 w 2051041"/>
              <a:gd name="connsiteY635" fmla="*/ 866870 h 2084191"/>
              <a:gd name="connsiteX636" fmla="*/ 166015 w 2051041"/>
              <a:gd name="connsiteY636" fmla="*/ 861973 h 2084191"/>
              <a:gd name="connsiteX637" fmla="*/ 172545 w 2051041"/>
              <a:gd name="connsiteY637" fmla="*/ 854354 h 2084191"/>
              <a:gd name="connsiteX638" fmla="*/ 336342 w 2051041"/>
              <a:gd name="connsiteY638" fmla="*/ 843471 h 2084191"/>
              <a:gd name="connsiteX639" fmla="*/ 353211 w 2051041"/>
              <a:gd name="connsiteY639" fmla="*/ 860340 h 2084191"/>
              <a:gd name="connsiteX640" fmla="*/ 336886 w 2051041"/>
              <a:gd name="connsiteY640" fmla="*/ 877210 h 2084191"/>
              <a:gd name="connsiteX641" fmla="*/ 320017 w 2051041"/>
              <a:gd name="connsiteY641" fmla="*/ 860884 h 2084191"/>
              <a:gd name="connsiteX642" fmla="*/ 336342 w 2051041"/>
              <a:gd name="connsiteY642" fmla="*/ 843471 h 2084191"/>
              <a:gd name="connsiteX643" fmla="*/ 500139 w 2051041"/>
              <a:gd name="connsiteY643" fmla="*/ 837485 h 2084191"/>
              <a:gd name="connsiteX644" fmla="*/ 522994 w 2051041"/>
              <a:gd name="connsiteY644" fmla="*/ 861428 h 2084191"/>
              <a:gd name="connsiteX645" fmla="*/ 499595 w 2051041"/>
              <a:gd name="connsiteY645" fmla="*/ 884284 h 2084191"/>
              <a:gd name="connsiteX646" fmla="*/ 476739 w 2051041"/>
              <a:gd name="connsiteY646" fmla="*/ 860340 h 2084191"/>
              <a:gd name="connsiteX647" fmla="*/ 500139 w 2051041"/>
              <a:gd name="connsiteY647" fmla="*/ 837485 h 2084191"/>
              <a:gd name="connsiteX648" fmla="*/ 662848 w 2051041"/>
              <a:gd name="connsiteY648" fmla="*/ 832587 h 2084191"/>
              <a:gd name="connsiteX649" fmla="*/ 690057 w 2051041"/>
              <a:gd name="connsiteY649" fmla="*/ 860340 h 2084191"/>
              <a:gd name="connsiteX650" fmla="*/ 662848 w 2051041"/>
              <a:gd name="connsiteY650" fmla="*/ 888637 h 2084191"/>
              <a:gd name="connsiteX651" fmla="*/ 634551 w 2051041"/>
              <a:gd name="connsiteY651" fmla="*/ 861428 h 2084191"/>
              <a:gd name="connsiteX652" fmla="*/ 662848 w 2051041"/>
              <a:gd name="connsiteY652" fmla="*/ 832587 h 2084191"/>
              <a:gd name="connsiteX653" fmla="*/ 826101 w 2051041"/>
              <a:gd name="connsiteY653" fmla="*/ 827146 h 2084191"/>
              <a:gd name="connsiteX654" fmla="*/ 859295 w 2051041"/>
              <a:gd name="connsiteY654" fmla="*/ 860885 h 2084191"/>
              <a:gd name="connsiteX655" fmla="*/ 825556 w 2051041"/>
              <a:gd name="connsiteY655" fmla="*/ 892991 h 2084191"/>
              <a:gd name="connsiteX656" fmla="*/ 793450 w 2051041"/>
              <a:gd name="connsiteY656" fmla="*/ 860885 h 2084191"/>
              <a:gd name="connsiteX657" fmla="*/ 826101 w 2051041"/>
              <a:gd name="connsiteY657" fmla="*/ 827146 h 2084191"/>
              <a:gd name="connsiteX658" fmla="*/ 988809 w 2051041"/>
              <a:gd name="connsiteY658" fmla="*/ 824424 h 2084191"/>
              <a:gd name="connsiteX659" fmla="*/ 1025813 w 2051041"/>
              <a:gd name="connsiteY659" fmla="*/ 860339 h 2084191"/>
              <a:gd name="connsiteX660" fmla="*/ 989897 w 2051041"/>
              <a:gd name="connsiteY660" fmla="*/ 897344 h 2084191"/>
              <a:gd name="connsiteX661" fmla="*/ 953437 w 2051041"/>
              <a:gd name="connsiteY661" fmla="*/ 861972 h 2084191"/>
              <a:gd name="connsiteX662" fmla="*/ 988809 w 2051041"/>
              <a:gd name="connsiteY662" fmla="*/ 824424 h 2084191"/>
              <a:gd name="connsiteX663" fmla="*/ 1153695 w 2051041"/>
              <a:gd name="connsiteY663" fmla="*/ 821704 h 2084191"/>
              <a:gd name="connsiteX664" fmla="*/ 1191243 w 2051041"/>
              <a:gd name="connsiteY664" fmla="*/ 861429 h 2084191"/>
              <a:gd name="connsiteX665" fmla="*/ 1152606 w 2051041"/>
              <a:gd name="connsiteY665" fmla="*/ 899521 h 2084191"/>
              <a:gd name="connsiteX666" fmla="*/ 1114514 w 2051041"/>
              <a:gd name="connsiteY666" fmla="*/ 859252 h 2084191"/>
              <a:gd name="connsiteX667" fmla="*/ 1153695 w 2051041"/>
              <a:gd name="connsiteY667" fmla="*/ 821704 h 2084191"/>
              <a:gd name="connsiteX668" fmla="*/ 1316403 w 2051041"/>
              <a:gd name="connsiteY668" fmla="*/ 818982 h 2084191"/>
              <a:gd name="connsiteX669" fmla="*/ 1357216 w 2051041"/>
              <a:gd name="connsiteY669" fmla="*/ 860884 h 2084191"/>
              <a:gd name="connsiteX670" fmla="*/ 1315315 w 2051041"/>
              <a:gd name="connsiteY670" fmla="*/ 901697 h 2084191"/>
              <a:gd name="connsiteX671" fmla="*/ 1274501 w 2051041"/>
              <a:gd name="connsiteY671" fmla="*/ 860340 h 2084191"/>
              <a:gd name="connsiteX672" fmla="*/ 1316403 w 2051041"/>
              <a:gd name="connsiteY672" fmla="*/ 818982 h 2084191"/>
              <a:gd name="connsiteX673" fmla="*/ 1479112 w 2051041"/>
              <a:gd name="connsiteY673" fmla="*/ 816806 h 2084191"/>
              <a:gd name="connsiteX674" fmla="*/ 1522646 w 2051041"/>
              <a:gd name="connsiteY674" fmla="*/ 860340 h 2084191"/>
              <a:gd name="connsiteX675" fmla="*/ 1479656 w 2051041"/>
              <a:gd name="connsiteY675" fmla="*/ 904419 h 2084191"/>
              <a:gd name="connsiteX676" fmla="*/ 1435578 w 2051041"/>
              <a:gd name="connsiteY676" fmla="*/ 860884 h 2084191"/>
              <a:gd name="connsiteX677" fmla="*/ 1479112 w 2051041"/>
              <a:gd name="connsiteY677" fmla="*/ 816806 h 2084191"/>
              <a:gd name="connsiteX678" fmla="*/ 1642909 w 2051041"/>
              <a:gd name="connsiteY678" fmla="*/ 815718 h 2084191"/>
              <a:gd name="connsiteX679" fmla="*/ 1686987 w 2051041"/>
              <a:gd name="connsiteY679" fmla="*/ 860885 h 2084191"/>
              <a:gd name="connsiteX680" fmla="*/ 1641276 w 2051041"/>
              <a:gd name="connsiteY680" fmla="*/ 905507 h 2084191"/>
              <a:gd name="connsiteX681" fmla="*/ 1597742 w 2051041"/>
              <a:gd name="connsiteY681" fmla="*/ 860340 h 2084191"/>
              <a:gd name="connsiteX682" fmla="*/ 1642909 w 2051041"/>
              <a:gd name="connsiteY682" fmla="*/ 815718 h 2084191"/>
              <a:gd name="connsiteX683" fmla="*/ 1806161 w 2051041"/>
              <a:gd name="connsiteY683" fmla="*/ 815173 h 2084191"/>
              <a:gd name="connsiteX684" fmla="*/ 1852416 w 2051041"/>
              <a:gd name="connsiteY684" fmla="*/ 860884 h 2084191"/>
              <a:gd name="connsiteX685" fmla="*/ 1805617 w 2051041"/>
              <a:gd name="connsiteY685" fmla="*/ 906594 h 2084191"/>
              <a:gd name="connsiteX686" fmla="*/ 1759906 w 2051041"/>
              <a:gd name="connsiteY686" fmla="*/ 860884 h 2084191"/>
              <a:gd name="connsiteX687" fmla="*/ 1806161 w 2051041"/>
              <a:gd name="connsiteY687" fmla="*/ 815173 h 2084191"/>
              <a:gd name="connsiteX688" fmla="*/ 1968326 w 2051041"/>
              <a:gd name="connsiteY688" fmla="*/ 812453 h 2084191"/>
              <a:gd name="connsiteX689" fmla="*/ 2000977 w 2051041"/>
              <a:gd name="connsiteY689" fmla="*/ 826057 h 2084191"/>
              <a:gd name="connsiteX690" fmla="*/ 2015670 w 2051041"/>
              <a:gd name="connsiteY690" fmla="*/ 859796 h 2084191"/>
              <a:gd name="connsiteX691" fmla="*/ 1969415 w 2051041"/>
              <a:gd name="connsiteY691" fmla="*/ 907684 h 2084191"/>
              <a:gd name="connsiteX692" fmla="*/ 1922071 w 2051041"/>
              <a:gd name="connsiteY692" fmla="*/ 860885 h 2084191"/>
              <a:gd name="connsiteX693" fmla="*/ 1968326 w 2051041"/>
              <a:gd name="connsiteY693" fmla="*/ 812453 h 2084191"/>
              <a:gd name="connsiteX694" fmla="*/ 255260 w 2051041"/>
              <a:gd name="connsiteY694" fmla="*/ 762932 h 2084191"/>
              <a:gd name="connsiteX695" fmla="*/ 270497 w 2051041"/>
              <a:gd name="connsiteY695" fmla="*/ 779802 h 2084191"/>
              <a:gd name="connsiteX696" fmla="*/ 254172 w 2051041"/>
              <a:gd name="connsiteY696" fmla="*/ 795038 h 2084191"/>
              <a:gd name="connsiteX697" fmla="*/ 238935 w 2051041"/>
              <a:gd name="connsiteY697" fmla="*/ 778713 h 2084191"/>
              <a:gd name="connsiteX698" fmla="*/ 255260 w 2051041"/>
              <a:gd name="connsiteY698" fmla="*/ 762932 h 2084191"/>
              <a:gd name="connsiteX699" fmla="*/ 416881 w 2051041"/>
              <a:gd name="connsiteY699" fmla="*/ 756402 h 2084191"/>
              <a:gd name="connsiteX700" fmla="*/ 440280 w 2051041"/>
              <a:gd name="connsiteY700" fmla="*/ 778713 h 2084191"/>
              <a:gd name="connsiteX701" fmla="*/ 419057 w 2051041"/>
              <a:gd name="connsiteY701" fmla="*/ 801024 h 2084191"/>
              <a:gd name="connsiteX702" fmla="*/ 396202 w 2051041"/>
              <a:gd name="connsiteY702" fmla="*/ 779257 h 2084191"/>
              <a:gd name="connsiteX703" fmla="*/ 416881 w 2051041"/>
              <a:gd name="connsiteY703" fmla="*/ 756402 h 2084191"/>
              <a:gd name="connsiteX704" fmla="*/ 581766 w 2051041"/>
              <a:gd name="connsiteY704" fmla="*/ 751505 h 2084191"/>
              <a:gd name="connsiteX705" fmla="*/ 608975 w 2051041"/>
              <a:gd name="connsiteY705" fmla="*/ 779802 h 2084191"/>
              <a:gd name="connsiteX706" fmla="*/ 580678 w 2051041"/>
              <a:gd name="connsiteY706" fmla="*/ 806467 h 2084191"/>
              <a:gd name="connsiteX707" fmla="*/ 553469 w 2051041"/>
              <a:gd name="connsiteY707" fmla="*/ 778714 h 2084191"/>
              <a:gd name="connsiteX708" fmla="*/ 581766 w 2051041"/>
              <a:gd name="connsiteY708" fmla="*/ 751505 h 2084191"/>
              <a:gd name="connsiteX709" fmla="*/ 746107 w 2051041"/>
              <a:gd name="connsiteY709" fmla="*/ 746607 h 2084191"/>
              <a:gd name="connsiteX710" fmla="*/ 777125 w 2051041"/>
              <a:gd name="connsiteY710" fmla="*/ 780346 h 2084191"/>
              <a:gd name="connsiteX711" fmla="*/ 742842 w 2051041"/>
              <a:gd name="connsiteY711" fmla="*/ 811364 h 2084191"/>
              <a:gd name="connsiteX712" fmla="*/ 712368 w 2051041"/>
              <a:gd name="connsiteY712" fmla="*/ 778713 h 2084191"/>
              <a:gd name="connsiteX713" fmla="*/ 746107 w 2051041"/>
              <a:gd name="connsiteY713" fmla="*/ 746607 h 2084191"/>
              <a:gd name="connsiteX714" fmla="*/ 907727 w 2051041"/>
              <a:gd name="connsiteY714" fmla="*/ 741710 h 2084191"/>
              <a:gd name="connsiteX715" fmla="*/ 944187 w 2051041"/>
              <a:gd name="connsiteY715" fmla="*/ 778714 h 2084191"/>
              <a:gd name="connsiteX716" fmla="*/ 907727 w 2051041"/>
              <a:gd name="connsiteY716" fmla="*/ 815174 h 2084191"/>
              <a:gd name="connsiteX717" fmla="*/ 872355 w 2051041"/>
              <a:gd name="connsiteY717" fmla="*/ 779258 h 2084191"/>
              <a:gd name="connsiteX718" fmla="*/ 907727 w 2051041"/>
              <a:gd name="connsiteY718" fmla="*/ 741710 h 2084191"/>
              <a:gd name="connsiteX719" fmla="*/ 1070979 w 2051041"/>
              <a:gd name="connsiteY719" fmla="*/ 740621 h 2084191"/>
              <a:gd name="connsiteX720" fmla="*/ 1110160 w 2051041"/>
              <a:gd name="connsiteY720" fmla="*/ 779258 h 2084191"/>
              <a:gd name="connsiteX721" fmla="*/ 1070979 w 2051041"/>
              <a:gd name="connsiteY721" fmla="*/ 817894 h 2084191"/>
              <a:gd name="connsiteX722" fmla="*/ 1031799 w 2051041"/>
              <a:gd name="connsiteY722" fmla="*/ 778714 h 2084191"/>
              <a:gd name="connsiteX723" fmla="*/ 1070979 w 2051041"/>
              <a:gd name="connsiteY723" fmla="*/ 740621 h 2084191"/>
              <a:gd name="connsiteX724" fmla="*/ 1233688 w 2051041"/>
              <a:gd name="connsiteY724" fmla="*/ 736268 h 2084191"/>
              <a:gd name="connsiteX725" fmla="*/ 1276134 w 2051041"/>
              <a:gd name="connsiteY725" fmla="*/ 777625 h 2084191"/>
              <a:gd name="connsiteX726" fmla="*/ 1235320 w 2051041"/>
              <a:gd name="connsiteY726" fmla="*/ 820615 h 2084191"/>
              <a:gd name="connsiteX727" fmla="*/ 1192331 w 2051041"/>
              <a:gd name="connsiteY727" fmla="*/ 779258 h 2084191"/>
              <a:gd name="connsiteX728" fmla="*/ 1233688 w 2051041"/>
              <a:gd name="connsiteY728" fmla="*/ 736268 h 2084191"/>
              <a:gd name="connsiteX729" fmla="*/ 1397485 w 2051041"/>
              <a:gd name="connsiteY729" fmla="*/ 735724 h 2084191"/>
              <a:gd name="connsiteX730" fmla="*/ 1441019 w 2051041"/>
              <a:gd name="connsiteY730" fmla="*/ 779802 h 2084191"/>
              <a:gd name="connsiteX731" fmla="*/ 1396397 w 2051041"/>
              <a:gd name="connsiteY731" fmla="*/ 823336 h 2084191"/>
              <a:gd name="connsiteX732" fmla="*/ 1352863 w 2051041"/>
              <a:gd name="connsiteY732" fmla="*/ 779258 h 2084191"/>
              <a:gd name="connsiteX733" fmla="*/ 1397485 w 2051041"/>
              <a:gd name="connsiteY733" fmla="*/ 735724 h 2084191"/>
              <a:gd name="connsiteX734" fmla="*/ 1562371 w 2051041"/>
              <a:gd name="connsiteY734" fmla="*/ 734636 h 2084191"/>
              <a:gd name="connsiteX735" fmla="*/ 1605905 w 2051041"/>
              <a:gd name="connsiteY735" fmla="*/ 779802 h 2084191"/>
              <a:gd name="connsiteX736" fmla="*/ 1560194 w 2051041"/>
              <a:gd name="connsiteY736" fmla="*/ 823881 h 2084191"/>
              <a:gd name="connsiteX737" fmla="*/ 1515572 w 2051041"/>
              <a:gd name="connsiteY737" fmla="*/ 777626 h 2084191"/>
              <a:gd name="connsiteX738" fmla="*/ 1562371 w 2051041"/>
              <a:gd name="connsiteY738" fmla="*/ 734636 h 2084191"/>
              <a:gd name="connsiteX739" fmla="*/ 1724535 w 2051041"/>
              <a:gd name="connsiteY739" fmla="*/ 730827 h 2084191"/>
              <a:gd name="connsiteX740" fmla="*/ 1772422 w 2051041"/>
              <a:gd name="connsiteY740" fmla="*/ 779258 h 2084191"/>
              <a:gd name="connsiteX741" fmla="*/ 1723446 w 2051041"/>
              <a:gd name="connsiteY741" fmla="*/ 826602 h 2084191"/>
              <a:gd name="connsiteX742" fmla="*/ 1676647 w 2051041"/>
              <a:gd name="connsiteY742" fmla="*/ 778714 h 2084191"/>
              <a:gd name="connsiteX743" fmla="*/ 1724535 w 2051041"/>
              <a:gd name="connsiteY743" fmla="*/ 730827 h 2084191"/>
              <a:gd name="connsiteX744" fmla="*/ 1886699 w 2051041"/>
              <a:gd name="connsiteY744" fmla="*/ 730826 h 2084191"/>
              <a:gd name="connsiteX745" fmla="*/ 1935131 w 2051041"/>
              <a:gd name="connsiteY745" fmla="*/ 778713 h 2084191"/>
              <a:gd name="connsiteX746" fmla="*/ 1887244 w 2051041"/>
              <a:gd name="connsiteY746" fmla="*/ 827145 h 2084191"/>
              <a:gd name="connsiteX747" fmla="*/ 1838812 w 2051041"/>
              <a:gd name="connsiteY747" fmla="*/ 778713 h 2084191"/>
              <a:gd name="connsiteX748" fmla="*/ 1886699 w 2051041"/>
              <a:gd name="connsiteY748" fmla="*/ 730826 h 2084191"/>
              <a:gd name="connsiteX749" fmla="*/ 2050496 w 2051041"/>
              <a:gd name="connsiteY749" fmla="*/ 730282 h 2084191"/>
              <a:gd name="connsiteX750" fmla="*/ 2051041 w 2051041"/>
              <a:gd name="connsiteY750" fmla="*/ 730396 h 2084191"/>
              <a:gd name="connsiteX751" fmla="*/ 2051041 w 2051041"/>
              <a:gd name="connsiteY751" fmla="*/ 826942 h 2084191"/>
              <a:gd name="connsiteX752" fmla="*/ 2049952 w 2051041"/>
              <a:gd name="connsiteY752" fmla="*/ 827145 h 2084191"/>
              <a:gd name="connsiteX753" fmla="*/ 2002065 w 2051041"/>
              <a:gd name="connsiteY753" fmla="*/ 778169 h 2084191"/>
              <a:gd name="connsiteX754" fmla="*/ 2050496 w 2051041"/>
              <a:gd name="connsiteY754" fmla="*/ 730282 h 2084191"/>
              <a:gd name="connsiteX755" fmla="*/ 173634 w 2051041"/>
              <a:gd name="connsiteY755" fmla="*/ 685660 h 2084191"/>
              <a:gd name="connsiteX756" fmla="*/ 184518 w 2051041"/>
              <a:gd name="connsiteY756" fmla="*/ 698176 h 2084191"/>
              <a:gd name="connsiteX757" fmla="*/ 172546 w 2051041"/>
              <a:gd name="connsiteY757" fmla="*/ 709059 h 2084191"/>
              <a:gd name="connsiteX758" fmla="*/ 161118 w 2051041"/>
              <a:gd name="connsiteY758" fmla="*/ 697088 h 2084191"/>
              <a:gd name="connsiteX759" fmla="*/ 173634 w 2051041"/>
              <a:gd name="connsiteY759" fmla="*/ 685660 h 2084191"/>
              <a:gd name="connsiteX760" fmla="*/ 335798 w 2051041"/>
              <a:gd name="connsiteY760" fmla="*/ 675320 h 2084191"/>
              <a:gd name="connsiteX761" fmla="*/ 357565 w 2051041"/>
              <a:gd name="connsiteY761" fmla="*/ 696543 h 2084191"/>
              <a:gd name="connsiteX762" fmla="*/ 336342 w 2051041"/>
              <a:gd name="connsiteY762" fmla="*/ 718854 h 2084191"/>
              <a:gd name="connsiteX763" fmla="*/ 315120 w 2051041"/>
              <a:gd name="connsiteY763" fmla="*/ 697631 h 2084191"/>
              <a:gd name="connsiteX764" fmla="*/ 335798 w 2051041"/>
              <a:gd name="connsiteY764" fmla="*/ 675320 h 2084191"/>
              <a:gd name="connsiteX765" fmla="*/ 499051 w 2051041"/>
              <a:gd name="connsiteY765" fmla="*/ 670423 h 2084191"/>
              <a:gd name="connsiteX766" fmla="*/ 526804 w 2051041"/>
              <a:gd name="connsiteY766" fmla="*/ 697088 h 2084191"/>
              <a:gd name="connsiteX767" fmla="*/ 499595 w 2051041"/>
              <a:gd name="connsiteY767" fmla="*/ 724296 h 2084191"/>
              <a:gd name="connsiteX768" fmla="*/ 472930 w 2051041"/>
              <a:gd name="connsiteY768" fmla="*/ 697632 h 2084191"/>
              <a:gd name="connsiteX769" fmla="*/ 499051 w 2051041"/>
              <a:gd name="connsiteY769" fmla="*/ 670423 h 2084191"/>
              <a:gd name="connsiteX770" fmla="*/ 662848 w 2051041"/>
              <a:gd name="connsiteY770" fmla="*/ 665525 h 2084191"/>
              <a:gd name="connsiteX771" fmla="*/ 694954 w 2051041"/>
              <a:gd name="connsiteY771" fmla="*/ 697087 h 2084191"/>
              <a:gd name="connsiteX772" fmla="*/ 663392 w 2051041"/>
              <a:gd name="connsiteY772" fmla="*/ 729194 h 2084191"/>
              <a:gd name="connsiteX773" fmla="*/ 632374 w 2051041"/>
              <a:gd name="connsiteY773" fmla="*/ 698176 h 2084191"/>
              <a:gd name="connsiteX774" fmla="*/ 662848 w 2051041"/>
              <a:gd name="connsiteY774" fmla="*/ 665525 h 2084191"/>
              <a:gd name="connsiteX775" fmla="*/ 825013 w 2051041"/>
              <a:gd name="connsiteY775" fmla="*/ 663349 h 2084191"/>
              <a:gd name="connsiteX776" fmla="*/ 860384 w 2051041"/>
              <a:gd name="connsiteY776" fmla="*/ 697632 h 2084191"/>
              <a:gd name="connsiteX777" fmla="*/ 826101 w 2051041"/>
              <a:gd name="connsiteY777" fmla="*/ 731915 h 2084191"/>
              <a:gd name="connsiteX778" fmla="*/ 791818 w 2051041"/>
              <a:gd name="connsiteY778" fmla="*/ 698176 h 2084191"/>
              <a:gd name="connsiteX779" fmla="*/ 825013 w 2051041"/>
              <a:gd name="connsiteY779" fmla="*/ 663349 h 2084191"/>
              <a:gd name="connsiteX780" fmla="*/ 988809 w 2051041"/>
              <a:gd name="connsiteY780" fmla="*/ 658995 h 2084191"/>
              <a:gd name="connsiteX781" fmla="*/ 1027446 w 2051041"/>
              <a:gd name="connsiteY781" fmla="*/ 697087 h 2084191"/>
              <a:gd name="connsiteX782" fmla="*/ 989353 w 2051041"/>
              <a:gd name="connsiteY782" fmla="*/ 735723 h 2084191"/>
              <a:gd name="connsiteX783" fmla="*/ 950717 w 2051041"/>
              <a:gd name="connsiteY783" fmla="*/ 697631 h 2084191"/>
              <a:gd name="connsiteX784" fmla="*/ 988809 w 2051041"/>
              <a:gd name="connsiteY784" fmla="*/ 658995 h 2084191"/>
              <a:gd name="connsiteX785" fmla="*/ 1152607 w 2051041"/>
              <a:gd name="connsiteY785" fmla="*/ 655729 h 2084191"/>
              <a:gd name="connsiteX786" fmla="*/ 1195052 w 2051041"/>
              <a:gd name="connsiteY786" fmla="*/ 697087 h 2084191"/>
              <a:gd name="connsiteX787" fmla="*/ 1153151 w 2051041"/>
              <a:gd name="connsiteY787" fmla="*/ 739533 h 2084191"/>
              <a:gd name="connsiteX788" fmla="*/ 1110705 w 2051041"/>
              <a:gd name="connsiteY788" fmla="*/ 697631 h 2084191"/>
              <a:gd name="connsiteX789" fmla="*/ 1152607 w 2051041"/>
              <a:gd name="connsiteY789" fmla="*/ 655729 h 2084191"/>
              <a:gd name="connsiteX790" fmla="*/ 1316948 w 2051041"/>
              <a:gd name="connsiteY790" fmla="*/ 653554 h 2084191"/>
              <a:gd name="connsiteX791" fmla="*/ 1359937 w 2051041"/>
              <a:gd name="connsiteY791" fmla="*/ 697632 h 2084191"/>
              <a:gd name="connsiteX792" fmla="*/ 1315315 w 2051041"/>
              <a:gd name="connsiteY792" fmla="*/ 740622 h 2084191"/>
              <a:gd name="connsiteX793" fmla="*/ 1271781 w 2051041"/>
              <a:gd name="connsiteY793" fmla="*/ 696544 h 2084191"/>
              <a:gd name="connsiteX794" fmla="*/ 1316948 w 2051041"/>
              <a:gd name="connsiteY794" fmla="*/ 653554 h 2084191"/>
              <a:gd name="connsiteX795" fmla="*/ 1479112 w 2051041"/>
              <a:gd name="connsiteY795" fmla="*/ 651921 h 2084191"/>
              <a:gd name="connsiteX796" fmla="*/ 1524823 w 2051041"/>
              <a:gd name="connsiteY796" fmla="*/ 697088 h 2084191"/>
              <a:gd name="connsiteX797" fmla="*/ 1479112 w 2051041"/>
              <a:gd name="connsiteY797" fmla="*/ 742254 h 2084191"/>
              <a:gd name="connsiteX798" fmla="*/ 1433945 w 2051041"/>
              <a:gd name="connsiteY798" fmla="*/ 697088 h 2084191"/>
              <a:gd name="connsiteX799" fmla="*/ 1479112 w 2051041"/>
              <a:gd name="connsiteY799" fmla="*/ 651921 h 2084191"/>
              <a:gd name="connsiteX800" fmla="*/ 1642909 w 2051041"/>
              <a:gd name="connsiteY800" fmla="*/ 649744 h 2084191"/>
              <a:gd name="connsiteX801" fmla="*/ 1690796 w 2051041"/>
              <a:gd name="connsiteY801" fmla="*/ 697087 h 2084191"/>
              <a:gd name="connsiteX802" fmla="*/ 1642909 w 2051041"/>
              <a:gd name="connsiteY802" fmla="*/ 745519 h 2084191"/>
              <a:gd name="connsiteX803" fmla="*/ 1594477 w 2051041"/>
              <a:gd name="connsiteY803" fmla="*/ 697632 h 2084191"/>
              <a:gd name="connsiteX804" fmla="*/ 1642909 w 2051041"/>
              <a:gd name="connsiteY804" fmla="*/ 649744 h 2084191"/>
              <a:gd name="connsiteX805" fmla="*/ 1805617 w 2051041"/>
              <a:gd name="connsiteY805" fmla="*/ 648112 h 2084191"/>
              <a:gd name="connsiteX806" fmla="*/ 1854593 w 2051041"/>
              <a:gd name="connsiteY806" fmla="*/ 698176 h 2084191"/>
              <a:gd name="connsiteX807" fmla="*/ 1805073 w 2051041"/>
              <a:gd name="connsiteY807" fmla="*/ 746607 h 2084191"/>
              <a:gd name="connsiteX808" fmla="*/ 1756097 w 2051041"/>
              <a:gd name="connsiteY808" fmla="*/ 697087 h 2084191"/>
              <a:gd name="connsiteX809" fmla="*/ 1805617 w 2051041"/>
              <a:gd name="connsiteY809" fmla="*/ 648112 h 2084191"/>
              <a:gd name="connsiteX810" fmla="*/ 1969414 w 2051041"/>
              <a:gd name="connsiteY810" fmla="*/ 647023 h 2084191"/>
              <a:gd name="connsiteX811" fmla="*/ 2018934 w 2051041"/>
              <a:gd name="connsiteY811" fmla="*/ 698176 h 2084191"/>
              <a:gd name="connsiteX812" fmla="*/ 1968326 w 2051041"/>
              <a:gd name="connsiteY812" fmla="*/ 746063 h 2084191"/>
              <a:gd name="connsiteX813" fmla="*/ 1918806 w 2051041"/>
              <a:gd name="connsiteY813" fmla="*/ 697087 h 2084191"/>
              <a:gd name="connsiteX814" fmla="*/ 1969414 w 2051041"/>
              <a:gd name="connsiteY814" fmla="*/ 647023 h 2084191"/>
              <a:gd name="connsiteX815" fmla="*/ 90919 w 2051041"/>
              <a:gd name="connsiteY815" fmla="*/ 606754 h 2084191"/>
              <a:gd name="connsiteX816" fmla="*/ 99626 w 2051041"/>
              <a:gd name="connsiteY816" fmla="*/ 615460 h 2084191"/>
              <a:gd name="connsiteX817" fmla="*/ 92007 w 2051041"/>
              <a:gd name="connsiteY817" fmla="*/ 627976 h 2084191"/>
              <a:gd name="connsiteX818" fmla="*/ 82756 w 2051041"/>
              <a:gd name="connsiteY818" fmla="*/ 616005 h 2084191"/>
              <a:gd name="connsiteX819" fmla="*/ 90919 w 2051041"/>
              <a:gd name="connsiteY819" fmla="*/ 606754 h 2084191"/>
              <a:gd name="connsiteX820" fmla="*/ 254172 w 2051041"/>
              <a:gd name="connsiteY820" fmla="*/ 598047 h 2084191"/>
              <a:gd name="connsiteX821" fmla="*/ 272674 w 2051041"/>
              <a:gd name="connsiteY821" fmla="*/ 614917 h 2084191"/>
              <a:gd name="connsiteX822" fmla="*/ 255260 w 2051041"/>
              <a:gd name="connsiteY822" fmla="*/ 633419 h 2084191"/>
              <a:gd name="connsiteX823" fmla="*/ 236758 w 2051041"/>
              <a:gd name="connsiteY823" fmla="*/ 616005 h 2084191"/>
              <a:gd name="connsiteX824" fmla="*/ 254172 w 2051041"/>
              <a:gd name="connsiteY824" fmla="*/ 598047 h 2084191"/>
              <a:gd name="connsiteX825" fmla="*/ 418513 w 2051041"/>
              <a:gd name="connsiteY825" fmla="*/ 590429 h 2084191"/>
              <a:gd name="connsiteX826" fmla="*/ 443001 w 2051041"/>
              <a:gd name="connsiteY826" fmla="*/ 614917 h 2084191"/>
              <a:gd name="connsiteX827" fmla="*/ 419058 w 2051041"/>
              <a:gd name="connsiteY827" fmla="*/ 640493 h 2084191"/>
              <a:gd name="connsiteX828" fmla="*/ 392937 w 2051041"/>
              <a:gd name="connsiteY828" fmla="*/ 616005 h 2084191"/>
              <a:gd name="connsiteX829" fmla="*/ 418513 w 2051041"/>
              <a:gd name="connsiteY829" fmla="*/ 590429 h 2084191"/>
              <a:gd name="connsiteX830" fmla="*/ 581222 w 2051041"/>
              <a:gd name="connsiteY830" fmla="*/ 587163 h 2084191"/>
              <a:gd name="connsiteX831" fmla="*/ 610063 w 2051041"/>
              <a:gd name="connsiteY831" fmla="*/ 616549 h 2084191"/>
              <a:gd name="connsiteX832" fmla="*/ 580677 w 2051041"/>
              <a:gd name="connsiteY832" fmla="*/ 645390 h 2084191"/>
              <a:gd name="connsiteX833" fmla="*/ 551836 w 2051041"/>
              <a:gd name="connsiteY833" fmla="*/ 615461 h 2084191"/>
              <a:gd name="connsiteX834" fmla="*/ 581222 w 2051041"/>
              <a:gd name="connsiteY834" fmla="*/ 587163 h 2084191"/>
              <a:gd name="connsiteX835" fmla="*/ 743930 w 2051041"/>
              <a:gd name="connsiteY835" fmla="*/ 582266 h 2084191"/>
              <a:gd name="connsiteX836" fmla="*/ 779301 w 2051041"/>
              <a:gd name="connsiteY836" fmla="*/ 616005 h 2084191"/>
              <a:gd name="connsiteX837" fmla="*/ 745563 w 2051041"/>
              <a:gd name="connsiteY837" fmla="*/ 649744 h 2084191"/>
              <a:gd name="connsiteX838" fmla="*/ 711824 w 2051041"/>
              <a:gd name="connsiteY838" fmla="*/ 616549 h 2084191"/>
              <a:gd name="connsiteX839" fmla="*/ 743930 w 2051041"/>
              <a:gd name="connsiteY839" fmla="*/ 582266 h 2084191"/>
              <a:gd name="connsiteX840" fmla="*/ 907183 w 2051041"/>
              <a:gd name="connsiteY840" fmla="*/ 577913 h 2084191"/>
              <a:gd name="connsiteX841" fmla="*/ 945276 w 2051041"/>
              <a:gd name="connsiteY841" fmla="*/ 615461 h 2084191"/>
              <a:gd name="connsiteX842" fmla="*/ 907727 w 2051041"/>
              <a:gd name="connsiteY842" fmla="*/ 654098 h 2084191"/>
              <a:gd name="connsiteX843" fmla="*/ 869091 w 2051041"/>
              <a:gd name="connsiteY843" fmla="*/ 616006 h 2084191"/>
              <a:gd name="connsiteX844" fmla="*/ 907183 w 2051041"/>
              <a:gd name="connsiteY844" fmla="*/ 577913 h 2084191"/>
              <a:gd name="connsiteX845" fmla="*/ 1069891 w 2051041"/>
              <a:gd name="connsiteY845" fmla="*/ 574648 h 2084191"/>
              <a:gd name="connsiteX846" fmla="*/ 1111248 w 2051041"/>
              <a:gd name="connsiteY846" fmla="*/ 615461 h 2084191"/>
              <a:gd name="connsiteX847" fmla="*/ 1070435 w 2051041"/>
              <a:gd name="connsiteY847" fmla="*/ 656274 h 2084191"/>
              <a:gd name="connsiteX848" fmla="*/ 1029622 w 2051041"/>
              <a:gd name="connsiteY848" fmla="*/ 614917 h 2084191"/>
              <a:gd name="connsiteX849" fmla="*/ 1069891 w 2051041"/>
              <a:gd name="connsiteY849" fmla="*/ 574648 h 2084191"/>
              <a:gd name="connsiteX850" fmla="*/ 1235321 w 2051041"/>
              <a:gd name="connsiteY850" fmla="*/ 572472 h 2084191"/>
              <a:gd name="connsiteX851" fmla="*/ 1277222 w 2051041"/>
              <a:gd name="connsiteY851" fmla="*/ 616550 h 2084191"/>
              <a:gd name="connsiteX852" fmla="*/ 1233688 w 2051041"/>
              <a:gd name="connsiteY852" fmla="*/ 660084 h 2084191"/>
              <a:gd name="connsiteX853" fmla="*/ 1190154 w 2051041"/>
              <a:gd name="connsiteY853" fmla="*/ 614917 h 2084191"/>
              <a:gd name="connsiteX854" fmla="*/ 1235321 w 2051041"/>
              <a:gd name="connsiteY854" fmla="*/ 572472 h 2084191"/>
              <a:gd name="connsiteX855" fmla="*/ 1397485 w 2051041"/>
              <a:gd name="connsiteY855" fmla="*/ 569206 h 2084191"/>
              <a:gd name="connsiteX856" fmla="*/ 1443196 w 2051041"/>
              <a:gd name="connsiteY856" fmla="*/ 616005 h 2084191"/>
              <a:gd name="connsiteX857" fmla="*/ 1396941 w 2051041"/>
              <a:gd name="connsiteY857" fmla="*/ 661172 h 2084191"/>
              <a:gd name="connsiteX858" fmla="*/ 1351775 w 2051041"/>
              <a:gd name="connsiteY858" fmla="*/ 614373 h 2084191"/>
              <a:gd name="connsiteX859" fmla="*/ 1397485 w 2051041"/>
              <a:gd name="connsiteY859" fmla="*/ 569206 h 2084191"/>
              <a:gd name="connsiteX860" fmla="*/ 1560738 w 2051041"/>
              <a:gd name="connsiteY860" fmla="*/ 567029 h 2084191"/>
              <a:gd name="connsiteX861" fmla="*/ 1609714 w 2051041"/>
              <a:gd name="connsiteY861" fmla="*/ 615461 h 2084191"/>
              <a:gd name="connsiteX862" fmla="*/ 1561283 w 2051041"/>
              <a:gd name="connsiteY862" fmla="*/ 663892 h 2084191"/>
              <a:gd name="connsiteX863" fmla="*/ 1512851 w 2051041"/>
              <a:gd name="connsiteY863" fmla="*/ 616005 h 2084191"/>
              <a:gd name="connsiteX864" fmla="*/ 1560738 w 2051041"/>
              <a:gd name="connsiteY864" fmla="*/ 567029 h 2084191"/>
              <a:gd name="connsiteX865" fmla="*/ 1725624 w 2051041"/>
              <a:gd name="connsiteY865" fmla="*/ 565397 h 2084191"/>
              <a:gd name="connsiteX866" fmla="*/ 1774599 w 2051041"/>
              <a:gd name="connsiteY866" fmla="*/ 616005 h 2084191"/>
              <a:gd name="connsiteX867" fmla="*/ 1723447 w 2051041"/>
              <a:gd name="connsiteY867" fmla="*/ 664981 h 2084191"/>
              <a:gd name="connsiteX868" fmla="*/ 1674471 w 2051041"/>
              <a:gd name="connsiteY868" fmla="*/ 615461 h 2084191"/>
              <a:gd name="connsiteX869" fmla="*/ 1725624 w 2051041"/>
              <a:gd name="connsiteY869" fmla="*/ 565397 h 2084191"/>
              <a:gd name="connsiteX870" fmla="*/ 1886699 w 2051041"/>
              <a:gd name="connsiteY870" fmla="*/ 564853 h 2084191"/>
              <a:gd name="connsiteX871" fmla="*/ 1938396 w 2051041"/>
              <a:gd name="connsiteY871" fmla="*/ 614917 h 2084191"/>
              <a:gd name="connsiteX872" fmla="*/ 1887787 w 2051041"/>
              <a:gd name="connsiteY872" fmla="*/ 665525 h 2084191"/>
              <a:gd name="connsiteX873" fmla="*/ 1837179 w 2051041"/>
              <a:gd name="connsiteY873" fmla="*/ 615461 h 2084191"/>
              <a:gd name="connsiteX874" fmla="*/ 1886699 w 2051041"/>
              <a:gd name="connsiteY874" fmla="*/ 564853 h 2084191"/>
              <a:gd name="connsiteX875" fmla="*/ 2050496 w 2051041"/>
              <a:gd name="connsiteY875" fmla="*/ 564852 h 2084191"/>
              <a:gd name="connsiteX876" fmla="*/ 2051041 w 2051041"/>
              <a:gd name="connsiteY876" fmla="*/ 564962 h 2084191"/>
              <a:gd name="connsiteX877" fmla="*/ 2051041 w 2051041"/>
              <a:gd name="connsiteY877" fmla="*/ 665899 h 2084191"/>
              <a:gd name="connsiteX878" fmla="*/ 2049952 w 2051041"/>
              <a:gd name="connsiteY878" fmla="*/ 666069 h 2084191"/>
              <a:gd name="connsiteX879" fmla="*/ 1999344 w 2051041"/>
              <a:gd name="connsiteY879" fmla="*/ 615460 h 2084191"/>
              <a:gd name="connsiteX880" fmla="*/ 2050496 w 2051041"/>
              <a:gd name="connsiteY880" fmla="*/ 564852 h 2084191"/>
              <a:gd name="connsiteX881" fmla="*/ 173090 w 2051041"/>
              <a:gd name="connsiteY881" fmla="*/ 517509 h 2084191"/>
              <a:gd name="connsiteX882" fmla="*/ 189959 w 2051041"/>
              <a:gd name="connsiteY882" fmla="*/ 533834 h 2084191"/>
              <a:gd name="connsiteX883" fmla="*/ 173634 w 2051041"/>
              <a:gd name="connsiteY883" fmla="*/ 550160 h 2084191"/>
              <a:gd name="connsiteX884" fmla="*/ 157308 w 2051041"/>
              <a:gd name="connsiteY884" fmla="*/ 534923 h 2084191"/>
              <a:gd name="connsiteX885" fmla="*/ 173090 w 2051041"/>
              <a:gd name="connsiteY885" fmla="*/ 517509 h 2084191"/>
              <a:gd name="connsiteX886" fmla="*/ 335798 w 2051041"/>
              <a:gd name="connsiteY886" fmla="*/ 511523 h 2084191"/>
              <a:gd name="connsiteX887" fmla="*/ 358654 w 2051041"/>
              <a:gd name="connsiteY887" fmla="*/ 533834 h 2084191"/>
              <a:gd name="connsiteX888" fmla="*/ 336343 w 2051041"/>
              <a:gd name="connsiteY888" fmla="*/ 556689 h 2084191"/>
              <a:gd name="connsiteX889" fmla="*/ 312943 w 2051041"/>
              <a:gd name="connsiteY889" fmla="*/ 534378 h 2084191"/>
              <a:gd name="connsiteX890" fmla="*/ 335798 w 2051041"/>
              <a:gd name="connsiteY890" fmla="*/ 511523 h 2084191"/>
              <a:gd name="connsiteX891" fmla="*/ 500139 w 2051041"/>
              <a:gd name="connsiteY891" fmla="*/ 506626 h 2084191"/>
              <a:gd name="connsiteX892" fmla="*/ 527348 w 2051041"/>
              <a:gd name="connsiteY892" fmla="*/ 535467 h 2084191"/>
              <a:gd name="connsiteX893" fmla="*/ 497963 w 2051041"/>
              <a:gd name="connsiteY893" fmla="*/ 561587 h 2084191"/>
              <a:gd name="connsiteX894" fmla="*/ 471842 w 2051041"/>
              <a:gd name="connsiteY894" fmla="*/ 533290 h 2084191"/>
              <a:gd name="connsiteX895" fmla="*/ 500139 w 2051041"/>
              <a:gd name="connsiteY895" fmla="*/ 506626 h 2084191"/>
              <a:gd name="connsiteX896" fmla="*/ 662304 w 2051041"/>
              <a:gd name="connsiteY896" fmla="*/ 500639 h 2084191"/>
              <a:gd name="connsiteX897" fmla="*/ 696042 w 2051041"/>
              <a:gd name="connsiteY897" fmla="*/ 533290 h 2084191"/>
              <a:gd name="connsiteX898" fmla="*/ 663392 w 2051041"/>
              <a:gd name="connsiteY898" fmla="*/ 566485 h 2084191"/>
              <a:gd name="connsiteX899" fmla="*/ 630197 w 2051041"/>
              <a:gd name="connsiteY899" fmla="*/ 534378 h 2084191"/>
              <a:gd name="connsiteX900" fmla="*/ 662304 w 2051041"/>
              <a:gd name="connsiteY900" fmla="*/ 500639 h 2084191"/>
              <a:gd name="connsiteX901" fmla="*/ 825557 w 2051041"/>
              <a:gd name="connsiteY901" fmla="*/ 496830 h 2084191"/>
              <a:gd name="connsiteX902" fmla="*/ 863649 w 2051041"/>
              <a:gd name="connsiteY902" fmla="*/ 534923 h 2084191"/>
              <a:gd name="connsiteX903" fmla="*/ 825557 w 2051041"/>
              <a:gd name="connsiteY903" fmla="*/ 571383 h 2084191"/>
              <a:gd name="connsiteX904" fmla="*/ 788553 w 2051041"/>
              <a:gd name="connsiteY904" fmla="*/ 534379 h 2084191"/>
              <a:gd name="connsiteX905" fmla="*/ 825557 w 2051041"/>
              <a:gd name="connsiteY905" fmla="*/ 496830 h 2084191"/>
              <a:gd name="connsiteX906" fmla="*/ 989898 w 2051041"/>
              <a:gd name="connsiteY906" fmla="*/ 494110 h 2084191"/>
              <a:gd name="connsiteX907" fmla="*/ 1029078 w 2051041"/>
              <a:gd name="connsiteY907" fmla="*/ 534923 h 2084191"/>
              <a:gd name="connsiteX908" fmla="*/ 989353 w 2051041"/>
              <a:gd name="connsiteY908" fmla="*/ 574104 h 2084191"/>
              <a:gd name="connsiteX909" fmla="*/ 949629 w 2051041"/>
              <a:gd name="connsiteY909" fmla="*/ 533835 h 2084191"/>
              <a:gd name="connsiteX910" fmla="*/ 989898 w 2051041"/>
              <a:gd name="connsiteY910" fmla="*/ 494110 h 2084191"/>
              <a:gd name="connsiteX911" fmla="*/ 1152062 w 2051041"/>
              <a:gd name="connsiteY911" fmla="*/ 490301 h 2084191"/>
              <a:gd name="connsiteX912" fmla="*/ 1196140 w 2051041"/>
              <a:gd name="connsiteY912" fmla="*/ 533835 h 2084191"/>
              <a:gd name="connsiteX913" fmla="*/ 1152606 w 2051041"/>
              <a:gd name="connsiteY913" fmla="*/ 577369 h 2084191"/>
              <a:gd name="connsiteX914" fmla="*/ 1109072 w 2051041"/>
              <a:gd name="connsiteY914" fmla="*/ 534379 h 2084191"/>
              <a:gd name="connsiteX915" fmla="*/ 1152062 w 2051041"/>
              <a:gd name="connsiteY915" fmla="*/ 490301 h 2084191"/>
              <a:gd name="connsiteX916" fmla="*/ 1316947 w 2051041"/>
              <a:gd name="connsiteY916" fmla="*/ 489212 h 2084191"/>
              <a:gd name="connsiteX917" fmla="*/ 1361570 w 2051041"/>
              <a:gd name="connsiteY917" fmla="*/ 534923 h 2084191"/>
              <a:gd name="connsiteX918" fmla="*/ 1315859 w 2051041"/>
              <a:gd name="connsiteY918" fmla="*/ 580090 h 2084191"/>
              <a:gd name="connsiteX919" fmla="*/ 1270693 w 2051041"/>
              <a:gd name="connsiteY919" fmla="*/ 533835 h 2084191"/>
              <a:gd name="connsiteX920" fmla="*/ 1316947 w 2051041"/>
              <a:gd name="connsiteY920" fmla="*/ 489212 h 2084191"/>
              <a:gd name="connsiteX921" fmla="*/ 1479112 w 2051041"/>
              <a:gd name="connsiteY921" fmla="*/ 484315 h 2084191"/>
              <a:gd name="connsiteX922" fmla="*/ 1528087 w 2051041"/>
              <a:gd name="connsiteY922" fmla="*/ 533835 h 2084191"/>
              <a:gd name="connsiteX923" fmla="*/ 1479656 w 2051041"/>
              <a:gd name="connsiteY923" fmla="*/ 582267 h 2084191"/>
              <a:gd name="connsiteX924" fmla="*/ 1431224 w 2051041"/>
              <a:gd name="connsiteY924" fmla="*/ 533835 h 2084191"/>
              <a:gd name="connsiteX925" fmla="*/ 1479112 w 2051041"/>
              <a:gd name="connsiteY925" fmla="*/ 484315 h 2084191"/>
              <a:gd name="connsiteX926" fmla="*/ 1643452 w 2051041"/>
              <a:gd name="connsiteY926" fmla="*/ 484314 h 2084191"/>
              <a:gd name="connsiteX927" fmla="*/ 1692973 w 2051041"/>
              <a:gd name="connsiteY927" fmla="*/ 534923 h 2084191"/>
              <a:gd name="connsiteX928" fmla="*/ 1641276 w 2051041"/>
              <a:gd name="connsiteY928" fmla="*/ 583898 h 2084191"/>
              <a:gd name="connsiteX929" fmla="*/ 1592300 w 2051041"/>
              <a:gd name="connsiteY929" fmla="*/ 532202 h 2084191"/>
              <a:gd name="connsiteX930" fmla="*/ 1643452 w 2051041"/>
              <a:gd name="connsiteY930" fmla="*/ 484314 h 2084191"/>
              <a:gd name="connsiteX931" fmla="*/ 1806162 w 2051041"/>
              <a:gd name="connsiteY931" fmla="*/ 481594 h 2084191"/>
              <a:gd name="connsiteX932" fmla="*/ 1857858 w 2051041"/>
              <a:gd name="connsiteY932" fmla="*/ 536011 h 2084191"/>
              <a:gd name="connsiteX933" fmla="*/ 1803441 w 2051041"/>
              <a:gd name="connsiteY933" fmla="*/ 586075 h 2084191"/>
              <a:gd name="connsiteX934" fmla="*/ 1753377 w 2051041"/>
              <a:gd name="connsiteY934" fmla="*/ 533290 h 2084191"/>
              <a:gd name="connsiteX935" fmla="*/ 1806162 w 2051041"/>
              <a:gd name="connsiteY935" fmla="*/ 481594 h 2084191"/>
              <a:gd name="connsiteX936" fmla="*/ 1968326 w 2051041"/>
              <a:gd name="connsiteY936" fmla="*/ 480505 h 2084191"/>
              <a:gd name="connsiteX937" fmla="*/ 2022200 w 2051041"/>
              <a:gd name="connsiteY937" fmla="*/ 534379 h 2084191"/>
              <a:gd name="connsiteX938" fmla="*/ 1969415 w 2051041"/>
              <a:gd name="connsiteY938" fmla="*/ 588252 h 2084191"/>
              <a:gd name="connsiteX939" fmla="*/ 1915541 w 2051041"/>
              <a:gd name="connsiteY939" fmla="*/ 534923 h 2084191"/>
              <a:gd name="connsiteX940" fmla="*/ 1968326 w 2051041"/>
              <a:gd name="connsiteY940" fmla="*/ 480505 h 2084191"/>
              <a:gd name="connsiteX941" fmla="*/ 91464 w 2051041"/>
              <a:gd name="connsiteY941" fmla="*/ 440780 h 2084191"/>
              <a:gd name="connsiteX942" fmla="*/ 102891 w 2051041"/>
              <a:gd name="connsiteY942" fmla="*/ 451664 h 2084191"/>
              <a:gd name="connsiteX943" fmla="*/ 92008 w 2051041"/>
              <a:gd name="connsiteY943" fmla="*/ 464179 h 2084191"/>
              <a:gd name="connsiteX944" fmla="*/ 80036 w 2051041"/>
              <a:gd name="connsiteY944" fmla="*/ 452752 h 2084191"/>
              <a:gd name="connsiteX945" fmla="*/ 91464 w 2051041"/>
              <a:gd name="connsiteY945" fmla="*/ 440780 h 2084191"/>
              <a:gd name="connsiteX946" fmla="*/ 254172 w 2051041"/>
              <a:gd name="connsiteY946" fmla="*/ 430441 h 2084191"/>
              <a:gd name="connsiteX947" fmla="*/ 275939 w 2051041"/>
              <a:gd name="connsiteY947" fmla="*/ 452208 h 2084191"/>
              <a:gd name="connsiteX948" fmla="*/ 254716 w 2051041"/>
              <a:gd name="connsiteY948" fmla="*/ 473975 h 2084191"/>
              <a:gd name="connsiteX949" fmla="*/ 232405 w 2051041"/>
              <a:gd name="connsiteY949" fmla="*/ 452752 h 2084191"/>
              <a:gd name="connsiteX950" fmla="*/ 254172 w 2051041"/>
              <a:gd name="connsiteY950" fmla="*/ 430441 h 2084191"/>
              <a:gd name="connsiteX951" fmla="*/ 417969 w 2051041"/>
              <a:gd name="connsiteY951" fmla="*/ 424999 h 2084191"/>
              <a:gd name="connsiteX952" fmla="*/ 444634 w 2051041"/>
              <a:gd name="connsiteY952" fmla="*/ 452752 h 2084191"/>
              <a:gd name="connsiteX953" fmla="*/ 417425 w 2051041"/>
              <a:gd name="connsiteY953" fmla="*/ 479417 h 2084191"/>
              <a:gd name="connsiteX954" fmla="*/ 390760 w 2051041"/>
              <a:gd name="connsiteY954" fmla="*/ 452208 h 2084191"/>
              <a:gd name="connsiteX955" fmla="*/ 417969 w 2051041"/>
              <a:gd name="connsiteY955" fmla="*/ 424999 h 2084191"/>
              <a:gd name="connsiteX956" fmla="*/ 580677 w 2051041"/>
              <a:gd name="connsiteY956" fmla="*/ 419558 h 2084191"/>
              <a:gd name="connsiteX957" fmla="*/ 612783 w 2051041"/>
              <a:gd name="connsiteY957" fmla="*/ 452208 h 2084191"/>
              <a:gd name="connsiteX958" fmla="*/ 581221 w 2051041"/>
              <a:gd name="connsiteY958" fmla="*/ 484315 h 2084191"/>
              <a:gd name="connsiteX959" fmla="*/ 549115 w 2051041"/>
              <a:gd name="connsiteY959" fmla="*/ 452208 h 2084191"/>
              <a:gd name="connsiteX960" fmla="*/ 580677 w 2051041"/>
              <a:gd name="connsiteY960" fmla="*/ 419558 h 2084191"/>
              <a:gd name="connsiteX961" fmla="*/ 743931 w 2051041"/>
              <a:gd name="connsiteY961" fmla="*/ 415748 h 2084191"/>
              <a:gd name="connsiteX962" fmla="*/ 780390 w 2051041"/>
              <a:gd name="connsiteY962" fmla="*/ 452208 h 2084191"/>
              <a:gd name="connsiteX963" fmla="*/ 744475 w 2051041"/>
              <a:gd name="connsiteY963" fmla="*/ 489212 h 2084191"/>
              <a:gd name="connsiteX964" fmla="*/ 708559 w 2051041"/>
              <a:gd name="connsiteY964" fmla="*/ 453840 h 2084191"/>
              <a:gd name="connsiteX965" fmla="*/ 743931 w 2051041"/>
              <a:gd name="connsiteY965" fmla="*/ 415748 h 2084191"/>
              <a:gd name="connsiteX966" fmla="*/ 908271 w 2051041"/>
              <a:gd name="connsiteY966" fmla="*/ 414116 h 2084191"/>
              <a:gd name="connsiteX967" fmla="*/ 946363 w 2051041"/>
              <a:gd name="connsiteY967" fmla="*/ 453296 h 2084191"/>
              <a:gd name="connsiteX968" fmla="*/ 906638 w 2051041"/>
              <a:gd name="connsiteY968" fmla="*/ 491933 h 2084191"/>
              <a:gd name="connsiteX969" fmla="*/ 868546 w 2051041"/>
              <a:gd name="connsiteY969" fmla="*/ 452208 h 2084191"/>
              <a:gd name="connsiteX970" fmla="*/ 908271 w 2051041"/>
              <a:gd name="connsiteY970" fmla="*/ 414116 h 2084191"/>
              <a:gd name="connsiteX971" fmla="*/ 1072068 w 2051041"/>
              <a:gd name="connsiteY971" fmla="*/ 409218 h 2084191"/>
              <a:gd name="connsiteX972" fmla="*/ 1113970 w 2051041"/>
              <a:gd name="connsiteY972" fmla="*/ 452752 h 2084191"/>
              <a:gd name="connsiteX973" fmla="*/ 1070436 w 2051041"/>
              <a:gd name="connsiteY973" fmla="*/ 495198 h 2084191"/>
              <a:gd name="connsiteX974" fmla="*/ 1028534 w 2051041"/>
              <a:gd name="connsiteY974" fmla="*/ 451120 h 2084191"/>
              <a:gd name="connsiteX975" fmla="*/ 1072068 w 2051041"/>
              <a:gd name="connsiteY975" fmla="*/ 409218 h 2084191"/>
              <a:gd name="connsiteX976" fmla="*/ 1235865 w 2051041"/>
              <a:gd name="connsiteY976" fmla="*/ 408130 h 2084191"/>
              <a:gd name="connsiteX977" fmla="*/ 1279400 w 2051041"/>
              <a:gd name="connsiteY977" fmla="*/ 453296 h 2084191"/>
              <a:gd name="connsiteX978" fmla="*/ 1233689 w 2051041"/>
              <a:gd name="connsiteY978" fmla="*/ 497374 h 2084191"/>
              <a:gd name="connsiteX979" fmla="*/ 1189611 w 2051041"/>
              <a:gd name="connsiteY979" fmla="*/ 451664 h 2084191"/>
              <a:gd name="connsiteX980" fmla="*/ 1235865 w 2051041"/>
              <a:gd name="connsiteY980" fmla="*/ 408130 h 2084191"/>
              <a:gd name="connsiteX981" fmla="*/ 1396941 w 2051041"/>
              <a:gd name="connsiteY981" fmla="*/ 403776 h 2084191"/>
              <a:gd name="connsiteX982" fmla="*/ 1446461 w 2051041"/>
              <a:gd name="connsiteY982" fmla="*/ 450575 h 2084191"/>
              <a:gd name="connsiteX983" fmla="*/ 1399118 w 2051041"/>
              <a:gd name="connsiteY983" fmla="*/ 500640 h 2084191"/>
              <a:gd name="connsiteX984" fmla="*/ 1349598 w 2051041"/>
              <a:gd name="connsiteY984" fmla="*/ 453296 h 2084191"/>
              <a:gd name="connsiteX985" fmla="*/ 1396941 w 2051041"/>
              <a:gd name="connsiteY985" fmla="*/ 403776 h 2084191"/>
              <a:gd name="connsiteX986" fmla="*/ 1560738 w 2051041"/>
              <a:gd name="connsiteY986" fmla="*/ 402144 h 2084191"/>
              <a:gd name="connsiteX987" fmla="*/ 1611347 w 2051041"/>
              <a:gd name="connsiteY987" fmla="*/ 453297 h 2084191"/>
              <a:gd name="connsiteX988" fmla="*/ 1560194 w 2051041"/>
              <a:gd name="connsiteY988" fmla="*/ 502272 h 2084191"/>
              <a:gd name="connsiteX989" fmla="*/ 1511218 w 2051041"/>
              <a:gd name="connsiteY989" fmla="*/ 451664 h 2084191"/>
              <a:gd name="connsiteX990" fmla="*/ 1560738 w 2051041"/>
              <a:gd name="connsiteY990" fmla="*/ 402144 h 2084191"/>
              <a:gd name="connsiteX991" fmla="*/ 1723991 w 2051041"/>
              <a:gd name="connsiteY991" fmla="*/ 399423 h 2084191"/>
              <a:gd name="connsiteX992" fmla="*/ 1776776 w 2051041"/>
              <a:gd name="connsiteY992" fmla="*/ 452752 h 2084191"/>
              <a:gd name="connsiteX993" fmla="*/ 1725079 w 2051041"/>
              <a:gd name="connsiteY993" fmla="*/ 504993 h 2084191"/>
              <a:gd name="connsiteX994" fmla="*/ 1671750 w 2051041"/>
              <a:gd name="connsiteY994" fmla="*/ 452752 h 2084191"/>
              <a:gd name="connsiteX995" fmla="*/ 1723991 w 2051041"/>
              <a:gd name="connsiteY995" fmla="*/ 399423 h 2084191"/>
              <a:gd name="connsiteX996" fmla="*/ 2051040 w 2051041"/>
              <a:gd name="connsiteY996" fmla="*/ 398335 h 2084191"/>
              <a:gd name="connsiteX997" fmla="*/ 2051041 w 2051041"/>
              <a:gd name="connsiteY997" fmla="*/ 398335 h 2084191"/>
              <a:gd name="connsiteX998" fmla="*/ 2051041 w 2051041"/>
              <a:gd name="connsiteY998" fmla="*/ 506936 h 2084191"/>
              <a:gd name="connsiteX999" fmla="*/ 2049952 w 2051041"/>
              <a:gd name="connsiteY999" fmla="*/ 507170 h 2084191"/>
              <a:gd name="connsiteX1000" fmla="*/ 1995534 w 2051041"/>
              <a:gd name="connsiteY1000" fmla="*/ 452208 h 2084191"/>
              <a:gd name="connsiteX1001" fmla="*/ 2051040 w 2051041"/>
              <a:gd name="connsiteY1001" fmla="*/ 398335 h 2084191"/>
              <a:gd name="connsiteX1002" fmla="*/ 1888332 w 2051041"/>
              <a:gd name="connsiteY1002" fmla="*/ 398335 h 2084191"/>
              <a:gd name="connsiteX1003" fmla="*/ 1941661 w 2051041"/>
              <a:gd name="connsiteY1003" fmla="*/ 452208 h 2084191"/>
              <a:gd name="connsiteX1004" fmla="*/ 1886699 w 2051041"/>
              <a:gd name="connsiteY1004" fmla="*/ 506082 h 2084191"/>
              <a:gd name="connsiteX1005" fmla="*/ 1833370 w 2051041"/>
              <a:gd name="connsiteY1005" fmla="*/ 452208 h 2084191"/>
              <a:gd name="connsiteX1006" fmla="*/ 1888332 w 2051041"/>
              <a:gd name="connsiteY1006" fmla="*/ 398335 h 2084191"/>
              <a:gd name="connsiteX1007" fmla="*/ 12014 w 2051041"/>
              <a:gd name="connsiteY1007" fmla="*/ 364052 h 2084191"/>
              <a:gd name="connsiteX1008" fmla="*/ 15823 w 2051041"/>
              <a:gd name="connsiteY1008" fmla="*/ 370038 h 2084191"/>
              <a:gd name="connsiteX1009" fmla="*/ 9293 w 2051041"/>
              <a:gd name="connsiteY1009" fmla="*/ 377656 h 2084191"/>
              <a:gd name="connsiteX1010" fmla="*/ 3307 w 2051041"/>
              <a:gd name="connsiteY1010" fmla="*/ 371126 h 2084191"/>
              <a:gd name="connsiteX1011" fmla="*/ 12014 w 2051041"/>
              <a:gd name="connsiteY1011" fmla="*/ 364052 h 2084191"/>
              <a:gd name="connsiteX1012" fmla="*/ 172545 w 2051041"/>
              <a:gd name="connsiteY1012" fmla="*/ 353713 h 2084191"/>
              <a:gd name="connsiteX1013" fmla="*/ 190503 w 2051041"/>
              <a:gd name="connsiteY1013" fmla="*/ 370582 h 2084191"/>
              <a:gd name="connsiteX1014" fmla="*/ 173090 w 2051041"/>
              <a:gd name="connsiteY1014" fmla="*/ 387996 h 2084191"/>
              <a:gd name="connsiteX1015" fmla="*/ 155676 w 2051041"/>
              <a:gd name="connsiteY1015" fmla="*/ 371126 h 2084191"/>
              <a:gd name="connsiteX1016" fmla="*/ 172545 w 2051041"/>
              <a:gd name="connsiteY1016" fmla="*/ 353713 h 2084191"/>
              <a:gd name="connsiteX1017" fmla="*/ 336886 w 2051041"/>
              <a:gd name="connsiteY1017" fmla="*/ 345550 h 2084191"/>
              <a:gd name="connsiteX1018" fmla="*/ 361374 w 2051041"/>
              <a:gd name="connsiteY1018" fmla="*/ 371670 h 2084191"/>
              <a:gd name="connsiteX1019" fmla="*/ 335798 w 2051041"/>
              <a:gd name="connsiteY1019" fmla="*/ 395070 h 2084191"/>
              <a:gd name="connsiteX1020" fmla="*/ 311854 w 2051041"/>
              <a:gd name="connsiteY1020" fmla="*/ 370038 h 2084191"/>
              <a:gd name="connsiteX1021" fmla="*/ 336886 w 2051041"/>
              <a:gd name="connsiteY1021" fmla="*/ 345550 h 2084191"/>
              <a:gd name="connsiteX1022" fmla="*/ 499596 w 2051041"/>
              <a:gd name="connsiteY1022" fmla="*/ 342284 h 2084191"/>
              <a:gd name="connsiteX1023" fmla="*/ 528437 w 2051041"/>
              <a:gd name="connsiteY1023" fmla="*/ 370582 h 2084191"/>
              <a:gd name="connsiteX1024" fmla="*/ 499051 w 2051041"/>
              <a:gd name="connsiteY1024" fmla="*/ 399423 h 2084191"/>
              <a:gd name="connsiteX1025" fmla="*/ 470210 w 2051041"/>
              <a:gd name="connsiteY1025" fmla="*/ 370037 h 2084191"/>
              <a:gd name="connsiteX1026" fmla="*/ 499596 w 2051041"/>
              <a:gd name="connsiteY1026" fmla="*/ 342284 h 2084191"/>
              <a:gd name="connsiteX1027" fmla="*/ 663392 w 2051041"/>
              <a:gd name="connsiteY1027" fmla="*/ 337387 h 2084191"/>
              <a:gd name="connsiteX1028" fmla="*/ 697131 w 2051041"/>
              <a:gd name="connsiteY1028" fmla="*/ 371126 h 2084191"/>
              <a:gd name="connsiteX1029" fmla="*/ 662304 w 2051041"/>
              <a:gd name="connsiteY1029" fmla="*/ 404321 h 2084191"/>
              <a:gd name="connsiteX1030" fmla="*/ 629109 w 2051041"/>
              <a:gd name="connsiteY1030" fmla="*/ 371126 h 2084191"/>
              <a:gd name="connsiteX1031" fmla="*/ 663392 w 2051041"/>
              <a:gd name="connsiteY1031" fmla="*/ 337387 h 2084191"/>
              <a:gd name="connsiteX1032" fmla="*/ 825556 w 2051041"/>
              <a:gd name="connsiteY1032" fmla="*/ 332489 h 2084191"/>
              <a:gd name="connsiteX1033" fmla="*/ 864737 w 2051041"/>
              <a:gd name="connsiteY1033" fmla="*/ 370037 h 2084191"/>
              <a:gd name="connsiteX1034" fmla="*/ 826645 w 2051041"/>
              <a:gd name="connsiteY1034" fmla="*/ 409218 h 2084191"/>
              <a:gd name="connsiteX1035" fmla="*/ 787464 w 2051041"/>
              <a:gd name="connsiteY1035" fmla="*/ 371126 h 2084191"/>
              <a:gd name="connsiteX1036" fmla="*/ 825556 w 2051041"/>
              <a:gd name="connsiteY1036" fmla="*/ 332489 h 2084191"/>
              <a:gd name="connsiteX1037" fmla="*/ 989898 w 2051041"/>
              <a:gd name="connsiteY1037" fmla="*/ 328680 h 2084191"/>
              <a:gd name="connsiteX1038" fmla="*/ 1031255 w 2051041"/>
              <a:gd name="connsiteY1038" fmla="*/ 371126 h 2084191"/>
              <a:gd name="connsiteX1039" fmla="*/ 989354 w 2051041"/>
              <a:gd name="connsiteY1039" fmla="*/ 413027 h 2084191"/>
              <a:gd name="connsiteX1040" fmla="*/ 947452 w 2051041"/>
              <a:gd name="connsiteY1040" fmla="*/ 370037 h 2084191"/>
              <a:gd name="connsiteX1041" fmla="*/ 989898 w 2051041"/>
              <a:gd name="connsiteY1041" fmla="*/ 328680 h 2084191"/>
              <a:gd name="connsiteX1042" fmla="*/ 1153150 w 2051041"/>
              <a:gd name="connsiteY1042" fmla="*/ 326504 h 2084191"/>
              <a:gd name="connsiteX1043" fmla="*/ 1197228 w 2051041"/>
              <a:gd name="connsiteY1043" fmla="*/ 370582 h 2084191"/>
              <a:gd name="connsiteX1044" fmla="*/ 1152606 w 2051041"/>
              <a:gd name="connsiteY1044" fmla="*/ 414661 h 2084191"/>
              <a:gd name="connsiteX1045" fmla="*/ 1108528 w 2051041"/>
              <a:gd name="connsiteY1045" fmla="*/ 370038 h 2084191"/>
              <a:gd name="connsiteX1046" fmla="*/ 1153150 w 2051041"/>
              <a:gd name="connsiteY1046" fmla="*/ 326504 h 2084191"/>
              <a:gd name="connsiteX1047" fmla="*/ 1317492 w 2051041"/>
              <a:gd name="connsiteY1047" fmla="*/ 323239 h 2084191"/>
              <a:gd name="connsiteX1048" fmla="*/ 1364835 w 2051041"/>
              <a:gd name="connsiteY1048" fmla="*/ 372215 h 2084191"/>
              <a:gd name="connsiteX1049" fmla="*/ 1314771 w 2051041"/>
              <a:gd name="connsiteY1049" fmla="*/ 419014 h 2084191"/>
              <a:gd name="connsiteX1050" fmla="*/ 1268516 w 2051041"/>
              <a:gd name="connsiteY1050" fmla="*/ 370582 h 2084191"/>
              <a:gd name="connsiteX1051" fmla="*/ 1317492 w 2051041"/>
              <a:gd name="connsiteY1051" fmla="*/ 323239 h 2084191"/>
              <a:gd name="connsiteX1052" fmla="*/ 1479112 w 2051041"/>
              <a:gd name="connsiteY1052" fmla="*/ 320517 h 2084191"/>
              <a:gd name="connsiteX1053" fmla="*/ 1529720 w 2051041"/>
              <a:gd name="connsiteY1053" fmla="*/ 371670 h 2084191"/>
              <a:gd name="connsiteX1054" fmla="*/ 1478568 w 2051041"/>
              <a:gd name="connsiteY1054" fmla="*/ 420101 h 2084191"/>
              <a:gd name="connsiteX1055" fmla="*/ 1429592 w 2051041"/>
              <a:gd name="connsiteY1055" fmla="*/ 370037 h 2084191"/>
              <a:gd name="connsiteX1056" fmla="*/ 1479112 w 2051041"/>
              <a:gd name="connsiteY1056" fmla="*/ 320517 h 2084191"/>
              <a:gd name="connsiteX1057" fmla="*/ 1642364 w 2051041"/>
              <a:gd name="connsiteY1057" fmla="*/ 318341 h 2084191"/>
              <a:gd name="connsiteX1058" fmla="*/ 1695694 w 2051041"/>
              <a:gd name="connsiteY1058" fmla="*/ 370582 h 2084191"/>
              <a:gd name="connsiteX1059" fmla="*/ 1643453 w 2051041"/>
              <a:gd name="connsiteY1059" fmla="*/ 424455 h 2084191"/>
              <a:gd name="connsiteX1060" fmla="*/ 1589035 w 2051041"/>
              <a:gd name="connsiteY1060" fmla="*/ 371670 h 2084191"/>
              <a:gd name="connsiteX1061" fmla="*/ 1642364 w 2051041"/>
              <a:gd name="connsiteY1061" fmla="*/ 318341 h 2084191"/>
              <a:gd name="connsiteX1062" fmla="*/ 90919 w 2051041"/>
              <a:gd name="connsiteY1062" fmla="*/ 273718 h 2084191"/>
              <a:gd name="connsiteX1063" fmla="*/ 106700 w 2051041"/>
              <a:gd name="connsiteY1063" fmla="*/ 288411 h 2084191"/>
              <a:gd name="connsiteX1064" fmla="*/ 91463 w 2051041"/>
              <a:gd name="connsiteY1064" fmla="*/ 303648 h 2084191"/>
              <a:gd name="connsiteX1065" fmla="*/ 76770 w 2051041"/>
              <a:gd name="connsiteY1065" fmla="*/ 288411 h 2084191"/>
              <a:gd name="connsiteX1066" fmla="*/ 90919 w 2051041"/>
              <a:gd name="connsiteY1066" fmla="*/ 273718 h 2084191"/>
              <a:gd name="connsiteX1067" fmla="*/ 254716 w 2051041"/>
              <a:gd name="connsiteY1067" fmla="*/ 267733 h 2084191"/>
              <a:gd name="connsiteX1068" fmla="*/ 276483 w 2051041"/>
              <a:gd name="connsiteY1068" fmla="*/ 288956 h 2084191"/>
              <a:gd name="connsiteX1069" fmla="*/ 254172 w 2051041"/>
              <a:gd name="connsiteY1069" fmla="*/ 311811 h 2084191"/>
              <a:gd name="connsiteX1070" fmla="*/ 232405 w 2051041"/>
              <a:gd name="connsiteY1070" fmla="*/ 289500 h 2084191"/>
              <a:gd name="connsiteX1071" fmla="*/ 254716 w 2051041"/>
              <a:gd name="connsiteY1071" fmla="*/ 267733 h 2084191"/>
              <a:gd name="connsiteX1072" fmla="*/ 1941117 w 2051041"/>
              <a:gd name="connsiteY1072" fmla="*/ 263202 h 2084191"/>
              <a:gd name="connsiteX1073" fmla="*/ 1936219 w 2051041"/>
              <a:gd name="connsiteY1073" fmla="*/ 266467 h 2084191"/>
              <a:gd name="connsiteX1074" fmla="*/ 1938396 w 2051041"/>
              <a:gd name="connsiteY1074" fmla="*/ 272453 h 2084191"/>
              <a:gd name="connsiteX1075" fmla="*/ 1932954 w 2051041"/>
              <a:gd name="connsiteY1075" fmla="*/ 325782 h 2084191"/>
              <a:gd name="connsiteX1076" fmla="*/ 1930777 w 2051041"/>
              <a:gd name="connsiteY1076" fmla="*/ 331224 h 2084191"/>
              <a:gd name="connsiteX1077" fmla="*/ 1936219 w 2051041"/>
              <a:gd name="connsiteY1077" fmla="*/ 330136 h 2084191"/>
              <a:gd name="connsiteX1078" fmla="*/ 1966693 w 2051041"/>
              <a:gd name="connsiteY1078" fmla="*/ 320340 h 2084191"/>
              <a:gd name="connsiteX1079" fmla="*/ 1998799 w 2051041"/>
              <a:gd name="connsiteY1079" fmla="*/ 328503 h 2084191"/>
              <a:gd name="connsiteX1080" fmla="*/ 2003153 w 2051041"/>
              <a:gd name="connsiteY1080" fmla="*/ 330136 h 2084191"/>
              <a:gd name="connsiteX1081" fmla="*/ 2001520 w 2051041"/>
              <a:gd name="connsiteY1081" fmla="*/ 324694 h 2084191"/>
              <a:gd name="connsiteX1082" fmla="*/ 1994446 w 2051041"/>
              <a:gd name="connsiteY1082" fmla="*/ 309457 h 2084191"/>
              <a:gd name="connsiteX1083" fmla="*/ 1998255 w 2051041"/>
              <a:gd name="connsiteY1083" fmla="*/ 267555 h 2084191"/>
              <a:gd name="connsiteX1084" fmla="*/ 2000976 w 2051041"/>
              <a:gd name="connsiteY1084" fmla="*/ 263746 h 2084191"/>
              <a:gd name="connsiteX1085" fmla="*/ 1995534 w 2051041"/>
              <a:gd name="connsiteY1085" fmla="*/ 263746 h 2084191"/>
              <a:gd name="connsiteX1086" fmla="*/ 1941117 w 2051041"/>
              <a:gd name="connsiteY1086" fmla="*/ 263202 h 2084191"/>
              <a:gd name="connsiteX1087" fmla="*/ 417425 w 2051041"/>
              <a:gd name="connsiteY1087" fmla="*/ 262291 h 2084191"/>
              <a:gd name="connsiteX1088" fmla="*/ 445178 w 2051041"/>
              <a:gd name="connsiteY1088" fmla="*/ 288956 h 2084191"/>
              <a:gd name="connsiteX1089" fmla="*/ 417969 w 2051041"/>
              <a:gd name="connsiteY1089" fmla="*/ 317253 h 2084191"/>
              <a:gd name="connsiteX1090" fmla="*/ 390216 w 2051041"/>
              <a:gd name="connsiteY1090" fmla="*/ 290044 h 2084191"/>
              <a:gd name="connsiteX1091" fmla="*/ 417425 w 2051041"/>
              <a:gd name="connsiteY1091" fmla="*/ 262291 h 2084191"/>
              <a:gd name="connsiteX1092" fmla="*/ 580678 w 2051041"/>
              <a:gd name="connsiteY1092" fmla="*/ 256304 h 2084191"/>
              <a:gd name="connsiteX1093" fmla="*/ 613872 w 2051041"/>
              <a:gd name="connsiteY1093" fmla="*/ 288955 h 2084191"/>
              <a:gd name="connsiteX1094" fmla="*/ 581222 w 2051041"/>
              <a:gd name="connsiteY1094" fmla="*/ 322150 h 2084191"/>
              <a:gd name="connsiteX1095" fmla="*/ 548027 w 2051041"/>
              <a:gd name="connsiteY1095" fmla="*/ 289499 h 2084191"/>
              <a:gd name="connsiteX1096" fmla="*/ 580678 w 2051041"/>
              <a:gd name="connsiteY1096" fmla="*/ 256304 h 2084191"/>
              <a:gd name="connsiteX1097" fmla="*/ 743930 w 2051041"/>
              <a:gd name="connsiteY1097" fmla="*/ 251951 h 2084191"/>
              <a:gd name="connsiteX1098" fmla="*/ 782022 w 2051041"/>
              <a:gd name="connsiteY1098" fmla="*/ 289499 h 2084191"/>
              <a:gd name="connsiteX1099" fmla="*/ 744474 w 2051041"/>
              <a:gd name="connsiteY1099" fmla="*/ 326503 h 2084191"/>
              <a:gd name="connsiteX1100" fmla="*/ 707470 w 2051041"/>
              <a:gd name="connsiteY1100" fmla="*/ 289499 h 2084191"/>
              <a:gd name="connsiteX1101" fmla="*/ 743930 w 2051041"/>
              <a:gd name="connsiteY1101" fmla="*/ 251951 h 2084191"/>
              <a:gd name="connsiteX1102" fmla="*/ 907183 w 2051041"/>
              <a:gd name="connsiteY1102" fmla="*/ 249775 h 2084191"/>
              <a:gd name="connsiteX1103" fmla="*/ 947452 w 2051041"/>
              <a:gd name="connsiteY1103" fmla="*/ 289500 h 2084191"/>
              <a:gd name="connsiteX1104" fmla="*/ 908271 w 2051041"/>
              <a:gd name="connsiteY1104" fmla="*/ 329225 h 2084191"/>
              <a:gd name="connsiteX1105" fmla="*/ 867458 w 2051041"/>
              <a:gd name="connsiteY1105" fmla="*/ 290044 h 2084191"/>
              <a:gd name="connsiteX1106" fmla="*/ 907183 w 2051041"/>
              <a:gd name="connsiteY1106" fmla="*/ 249775 h 2084191"/>
              <a:gd name="connsiteX1107" fmla="*/ 1070435 w 2051041"/>
              <a:gd name="connsiteY1107" fmla="*/ 245965 h 2084191"/>
              <a:gd name="connsiteX1108" fmla="*/ 1114513 w 2051041"/>
              <a:gd name="connsiteY1108" fmla="*/ 290043 h 2084191"/>
              <a:gd name="connsiteX1109" fmla="*/ 1069347 w 2051041"/>
              <a:gd name="connsiteY1109" fmla="*/ 333578 h 2084191"/>
              <a:gd name="connsiteX1110" fmla="*/ 1026357 w 2051041"/>
              <a:gd name="connsiteY1110" fmla="*/ 288955 h 2084191"/>
              <a:gd name="connsiteX1111" fmla="*/ 1070435 w 2051041"/>
              <a:gd name="connsiteY1111" fmla="*/ 245965 h 2084191"/>
              <a:gd name="connsiteX1112" fmla="*/ 1233689 w 2051041"/>
              <a:gd name="connsiteY1112" fmla="*/ 241613 h 2084191"/>
              <a:gd name="connsiteX1113" fmla="*/ 1282120 w 2051041"/>
              <a:gd name="connsiteY1113" fmla="*/ 288412 h 2084191"/>
              <a:gd name="connsiteX1114" fmla="*/ 1235321 w 2051041"/>
              <a:gd name="connsiteY1114" fmla="*/ 335755 h 2084191"/>
              <a:gd name="connsiteX1115" fmla="*/ 1187434 w 2051041"/>
              <a:gd name="connsiteY1115" fmla="*/ 289500 h 2084191"/>
              <a:gd name="connsiteX1116" fmla="*/ 1233689 w 2051041"/>
              <a:gd name="connsiteY1116" fmla="*/ 241613 h 2084191"/>
              <a:gd name="connsiteX1117" fmla="*/ 1397485 w 2051041"/>
              <a:gd name="connsiteY1117" fmla="*/ 238891 h 2084191"/>
              <a:gd name="connsiteX1118" fmla="*/ 1448094 w 2051041"/>
              <a:gd name="connsiteY1118" fmla="*/ 288955 h 2084191"/>
              <a:gd name="connsiteX1119" fmla="*/ 1398029 w 2051041"/>
              <a:gd name="connsiteY1119" fmla="*/ 338475 h 2084191"/>
              <a:gd name="connsiteX1120" fmla="*/ 1348509 w 2051041"/>
              <a:gd name="connsiteY1120" fmla="*/ 289499 h 2084191"/>
              <a:gd name="connsiteX1121" fmla="*/ 1397485 w 2051041"/>
              <a:gd name="connsiteY1121" fmla="*/ 238891 h 2084191"/>
              <a:gd name="connsiteX1122" fmla="*/ 1559650 w 2051041"/>
              <a:gd name="connsiteY1122" fmla="*/ 237258 h 2084191"/>
              <a:gd name="connsiteX1123" fmla="*/ 1613523 w 2051041"/>
              <a:gd name="connsiteY1123" fmla="*/ 288955 h 2084191"/>
              <a:gd name="connsiteX1124" fmla="*/ 1560738 w 2051041"/>
              <a:gd name="connsiteY1124" fmla="*/ 342829 h 2084191"/>
              <a:gd name="connsiteX1125" fmla="*/ 1507953 w 2051041"/>
              <a:gd name="connsiteY1125" fmla="*/ 289499 h 2084191"/>
              <a:gd name="connsiteX1126" fmla="*/ 1559650 w 2051041"/>
              <a:gd name="connsiteY1126" fmla="*/ 237258 h 2084191"/>
              <a:gd name="connsiteX1127" fmla="*/ 9837 w 2051041"/>
              <a:gd name="connsiteY1127" fmla="*/ 198078 h 2084191"/>
              <a:gd name="connsiteX1128" fmla="*/ 19632 w 2051041"/>
              <a:gd name="connsiteY1128" fmla="*/ 207873 h 2084191"/>
              <a:gd name="connsiteX1129" fmla="*/ 10381 w 2051041"/>
              <a:gd name="connsiteY1129" fmla="*/ 218213 h 2084191"/>
              <a:gd name="connsiteX1130" fmla="*/ 42 w 2051041"/>
              <a:gd name="connsiteY1130" fmla="*/ 207873 h 2084191"/>
              <a:gd name="connsiteX1131" fmla="*/ 9837 w 2051041"/>
              <a:gd name="connsiteY1131" fmla="*/ 198078 h 2084191"/>
              <a:gd name="connsiteX1132" fmla="*/ 173090 w 2051041"/>
              <a:gd name="connsiteY1132" fmla="*/ 187739 h 2084191"/>
              <a:gd name="connsiteX1133" fmla="*/ 192136 w 2051041"/>
              <a:gd name="connsiteY1133" fmla="*/ 207329 h 2084191"/>
              <a:gd name="connsiteX1134" fmla="*/ 172546 w 2051041"/>
              <a:gd name="connsiteY1134" fmla="*/ 227464 h 2084191"/>
              <a:gd name="connsiteX1135" fmla="*/ 154044 w 2051041"/>
              <a:gd name="connsiteY1135" fmla="*/ 208418 h 2084191"/>
              <a:gd name="connsiteX1136" fmla="*/ 173090 w 2051041"/>
              <a:gd name="connsiteY1136" fmla="*/ 187739 h 2084191"/>
              <a:gd name="connsiteX1137" fmla="*/ 336887 w 2051041"/>
              <a:gd name="connsiteY1137" fmla="*/ 182297 h 2084191"/>
              <a:gd name="connsiteX1138" fmla="*/ 363007 w 2051041"/>
              <a:gd name="connsiteY1138" fmla="*/ 207329 h 2084191"/>
              <a:gd name="connsiteX1139" fmla="*/ 336887 w 2051041"/>
              <a:gd name="connsiteY1139" fmla="*/ 233994 h 2084191"/>
              <a:gd name="connsiteX1140" fmla="*/ 310766 w 2051041"/>
              <a:gd name="connsiteY1140" fmla="*/ 208961 h 2084191"/>
              <a:gd name="connsiteX1141" fmla="*/ 336887 w 2051041"/>
              <a:gd name="connsiteY1141" fmla="*/ 182297 h 2084191"/>
              <a:gd name="connsiteX1142" fmla="*/ 1856225 w 2051041"/>
              <a:gd name="connsiteY1142" fmla="*/ 180487 h 2084191"/>
              <a:gd name="connsiteX1143" fmla="*/ 1855681 w 2051041"/>
              <a:gd name="connsiteY1143" fmla="*/ 185929 h 2084191"/>
              <a:gd name="connsiteX1144" fmla="*/ 1851872 w 2051041"/>
              <a:gd name="connsiteY1144" fmla="*/ 244700 h 2084191"/>
              <a:gd name="connsiteX1145" fmla="*/ 1851328 w 2051041"/>
              <a:gd name="connsiteY1145" fmla="*/ 247965 h 2084191"/>
              <a:gd name="connsiteX1146" fmla="*/ 1854593 w 2051041"/>
              <a:gd name="connsiteY1146" fmla="*/ 247421 h 2084191"/>
              <a:gd name="connsiteX1147" fmla="*/ 1899215 w 2051041"/>
              <a:gd name="connsiteY1147" fmla="*/ 238714 h 2084191"/>
              <a:gd name="connsiteX1148" fmla="*/ 1913908 w 2051041"/>
              <a:gd name="connsiteY1148" fmla="*/ 243067 h 2084191"/>
              <a:gd name="connsiteX1149" fmla="*/ 1918806 w 2051041"/>
              <a:gd name="connsiteY1149" fmla="*/ 242523 h 2084191"/>
              <a:gd name="connsiteX1150" fmla="*/ 1918261 w 2051041"/>
              <a:gd name="connsiteY1150" fmla="*/ 238170 h 2084191"/>
              <a:gd name="connsiteX1151" fmla="*/ 1917173 w 2051041"/>
              <a:gd name="connsiteY1151" fmla="*/ 185929 h 2084191"/>
              <a:gd name="connsiteX1152" fmla="*/ 1918261 w 2051041"/>
              <a:gd name="connsiteY1152" fmla="*/ 181576 h 2084191"/>
              <a:gd name="connsiteX1153" fmla="*/ 1913908 w 2051041"/>
              <a:gd name="connsiteY1153" fmla="*/ 182664 h 2084191"/>
              <a:gd name="connsiteX1154" fmla="*/ 1860579 w 2051041"/>
              <a:gd name="connsiteY1154" fmla="*/ 180487 h 2084191"/>
              <a:gd name="connsiteX1155" fmla="*/ 1856225 w 2051041"/>
              <a:gd name="connsiteY1155" fmla="*/ 180487 h 2084191"/>
              <a:gd name="connsiteX1156" fmla="*/ 499595 w 2051041"/>
              <a:gd name="connsiteY1156" fmla="*/ 175767 h 2084191"/>
              <a:gd name="connsiteX1157" fmla="*/ 531158 w 2051041"/>
              <a:gd name="connsiteY1157" fmla="*/ 207874 h 2084191"/>
              <a:gd name="connsiteX1158" fmla="*/ 498507 w 2051041"/>
              <a:gd name="connsiteY1158" fmla="*/ 238347 h 2084191"/>
              <a:gd name="connsiteX1159" fmla="*/ 468033 w 2051041"/>
              <a:gd name="connsiteY1159" fmla="*/ 207329 h 2084191"/>
              <a:gd name="connsiteX1160" fmla="*/ 499595 w 2051041"/>
              <a:gd name="connsiteY1160" fmla="*/ 175767 h 2084191"/>
              <a:gd name="connsiteX1161" fmla="*/ 662304 w 2051041"/>
              <a:gd name="connsiteY1161" fmla="*/ 173046 h 2084191"/>
              <a:gd name="connsiteX1162" fmla="*/ 697676 w 2051041"/>
              <a:gd name="connsiteY1162" fmla="*/ 207873 h 2084191"/>
              <a:gd name="connsiteX1163" fmla="*/ 662304 w 2051041"/>
              <a:gd name="connsiteY1163" fmla="*/ 242156 h 2084191"/>
              <a:gd name="connsiteX1164" fmla="*/ 628021 w 2051041"/>
              <a:gd name="connsiteY1164" fmla="*/ 207873 h 2084191"/>
              <a:gd name="connsiteX1165" fmla="*/ 662304 w 2051041"/>
              <a:gd name="connsiteY1165" fmla="*/ 173046 h 2084191"/>
              <a:gd name="connsiteX1166" fmla="*/ 826645 w 2051041"/>
              <a:gd name="connsiteY1166" fmla="*/ 168148 h 2084191"/>
              <a:gd name="connsiteX1167" fmla="*/ 864737 w 2051041"/>
              <a:gd name="connsiteY1167" fmla="*/ 207329 h 2084191"/>
              <a:gd name="connsiteX1168" fmla="*/ 826100 w 2051041"/>
              <a:gd name="connsiteY1168" fmla="*/ 247054 h 2084191"/>
              <a:gd name="connsiteX1169" fmla="*/ 787464 w 2051041"/>
              <a:gd name="connsiteY1169" fmla="*/ 207873 h 2084191"/>
              <a:gd name="connsiteX1170" fmla="*/ 826645 w 2051041"/>
              <a:gd name="connsiteY1170" fmla="*/ 168148 h 2084191"/>
              <a:gd name="connsiteX1171" fmla="*/ 987721 w 2051041"/>
              <a:gd name="connsiteY1171" fmla="*/ 164883 h 2084191"/>
              <a:gd name="connsiteX1172" fmla="*/ 1031799 w 2051041"/>
              <a:gd name="connsiteY1172" fmla="*/ 207329 h 2084191"/>
              <a:gd name="connsiteX1173" fmla="*/ 988809 w 2051041"/>
              <a:gd name="connsiteY1173" fmla="*/ 250319 h 2084191"/>
              <a:gd name="connsiteX1174" fmla="*/ 945819 w 2051041"/>
              <a:gd name="connsiteY1174" fmla="*/ 208417 h 2084191"/>
              <a:gd name="connsiteX1175" fmla="*/ 987721 w 2051041"/>
              <a:gd name="connsiteY1175" fmla="*/ 164883 h 2084191"/>
              <a:gd name="connsiteX1176" fmla="*/ 1153150 w 2051041"/>
              <a:gd name="connsiteY1176" fmla="*/ 162707 h 2084191"/>
              <a:gd name="connsiteX1177" fmla="*/ 1197772 w 2051041"/>
              <a:gd name="connsiteY1177" fmla="*/ 207874 h 2084191"/>
              <a:gd name="connsiteX1178" fmla="*/ 1151517 w 2051041"/>
              <a:gd name="connsiteY1178" fmla="*/ 253584 h 2084191"/>
              <a:gd name="connsiteX1179" fmla="*/ 1107439 w 2051041"/>
              <a:gd name="connsiteY1179" fmla="*/ 207329 h 2084191"/>
              <a:gd name="connsiteX1180" fmla="*/ 1153150 w 2051041"/>
              <a:gd name="connsiteY1180" fmla="*/ 162707 h 2084191"/>
              <a:gd name="connsiteX1181" fmla="*/ 1315315 w 2051041"/>
              <a:gd name="connsiteY1181" fmla="*/ 158353 h 2084191"/>
              <a:gd name="connsiteX1182" fmla="*/ 1365379 w 2051041"/>
              <a:gd name="connsiteY1182" fmla="*/ 206785 h 2084191"/>
              <a:gd name="connsiteX1183" fmla="*/ 1315859 w 2051041"/>
              <a:gd name="connsiteY1183" fmla="*/ 256305 h 2084191"/>
              <a:gd name="connsiteX1184" fmla="*/ 1266883 w 2051041"/>
              <a:gd name="connsiteY1184" fmla="*/ 207873 h 2084191"/>
              <a:gd name="connsiteX1185" fmla="*/ 1315315 w 2051041"/>
              <a:gd name="connsiteY1185" fmla="*/ 158353 h 2084191"/>
              <a:gd name="connsiteX1186" fmla="*/ 1478567 w 2051041"/>
              <a:gd name="connsiteY1186" fmla="*/ 156721 h 2084191"/>
              <a:gd name="connsiteX1187" fmla="*/ 1529720 w 2051041"/>
              <a:gd name="connsiteY1187" fmla="*/ 207329 h 2084191"/>
              <a:gd name="connsiteX1188" fmla="*/ 1478567 w 2051041"/>
              <a:gd name="connsiteY1188" fmla="*/ 258482 h 2084191"/>
              <a:gd name="connsiteX1189" fmla="*/ 1427959 w 2051041"/>
              <a:gd name="connsiteY1189" fmla="*/ 207874 h 2084191"/>
              <a:gd name="connsiteX1190" fmla="*/ 1478567 w 2051041"/>
              <a:gd name="connsiteY1190" fmla="*/ 156721 h 2084191"/>
              <a:gd name="connsiteX1191" fmla="*/ 1644541 w 2051041"/>
              <a:gd name="connsiteY1191" fmla="*/ 153456 h 2084191"/>
              <a:gd name="connsiteX1192" fmla="*/ 1697326 w 2051041"/>
              <a:gd name="connsiteY1192" fmla="*/ 209506 h 2084191"/>
              <a:gd name="connsiteX1193" fmla="*/ 1641276 w 2051041"/>
              <a:gd name="connsiteY1193" fmla="*/ 262835 h 2084191"/>
              <a:gd name="connsiteX1194" fmla="*/ 1587947 w 2051041"/>
              <a:gd name="connsiteY1194" fmla="*/ 206785 h 2084191"/>
              <a:gd name="connsiteX1195" fmla="*/ 1644541 w 2051041"/>
              <a:gd name="connsiteY1195" fmla="*/ 153456 h 2084191"/>
              <a:gd name="connsiteX1196" fmla="*/ 91463 w 2051041"/>
              <a:gd name="connsiteY1196" fmla="*/ 109922 h 2084191"/>
              <a:gd name="connsiteX1197" fmla="*/ 107244 w 2051041"/>
              <a:gd name="connsiteY1197" fmla="*/ 126247 h 2084191"/>
              <a:gd name="connsiteX1198" fmla="*/ 91463 w 2051041"/>
              <a:gd name="connsiteY1198" fmla="*/ 142028 h 2084191"/>
              <a:gd name="connsiteX1199" fmla="*/ 75682 w 2051041"/>
              <a:gd name="connsiteY1199" fmla="*/ 126247 h 2084191"/>
              <a:gd name="connsiteX1200" fmla="*/ 91463 w 2051041"/>
              <a:gd name="connsiteY1200" fmla="*/ 109922 h 2084191"/>
              <a:gd name="connsiteX1201" fmla="*/ 1942341 w 2051041"/>
              <a:gd name="connsiteY1201" fmla="*/ 104915 h 2084191"/>
              <a:gd name="connsiteX1202" fmla="*/ 1942205 w 2051041"/>
              <a:gd name="connsiteY1202" fmla="*/ 111377 h 2084191"/>
              <a:gd name="connsiteX1203" fmla="*/ 1946559 w 2051041"/>
              <a:gd name="connsiteY1203" fmla="*/ 131511 h 2084191"/>
              <a:gd name="connsiteX1204" fmla="*/ 1939484 w 2051041"/>
              <a:gd name="connsiteY1204" fmla="*/ 157088 h 2084191"/>
              <a:gd name="connsiteX1205" fmla="*/ 1941117 w 2051041"/>
              <a:gd name="connsiteY1205" fmla="*/ 160353 h 2084191"/>
              <a:gd name="connsiteX1206" fmla="*/ 1986828 w 2051041"/>
              <a:gd name="connsiteY1206" fmla="*/ 157088 h 2084191"/>
              <a:gd name="connsiteX1207" fmla="*/ 1987916 w 2051041"/>
              <a:gd name="connsiteY1207" fmla="*/ 157088 h 2084191"/>
              <a:gd name="connsiteX1208" fmla="*/ 1993902 w 2051041"/>
              <a:gd name="connsiteY1208" fmla="*/ 150013 h 2084191"/>
              <a:gd name="connsiteX1209" fmla="*/ 1993902 w 2051041"/>
              <a:gd name="connsiteY1209" fmla="*/ 109744 h 2084191"/>
              <a:gd name="connsiteX1210" fmla="*/ 1989004 w 2051041"/>
              <a:gd name="connsiteY1210" fmla="*/ 105391 h 2084191"/>
              <a:gd name="connsiteX1211" fmla="*/ 1948191 w 2051041"/>
              <a:gd name="connsiteY1211" fmla="*/ 105391 h 2084191"/>
              <a:gd name="connsiteX1212" fmla="*/ 1942341 w 2051041"/>
              <a:gd name="connsiteY1212" fmla="*/ 104915 h 2084191"/>
              <a:gd name="connsiteX1213" fmla="*/ 255804 w 2051041"/>
              <a:gd name="connsiteY1213" fmla="*/ 103392 h 2084191"/>
              <a:gd name="connsiteX1214" fmla="*/ 277571 w 2051041"/>
              <a:gd name="connsiteY1214" fmla="*/ 126791 h 2084191"/>
              <a:gd name="connsiteX1215" fmla="*/ 254172 w 2051041"/>
              <a:gd name="connsiteY1215" fmla="*/ 148014 h 2084191"/>
              <a:gd name="connsiteX1216" fmla="*/ 232405 w 2051041"/>
              <a:gd name="connsiteY1216" fmla="*/ 125159 h 2084191"/>
              <a:gd name="connsiteX1217" fmla="*/ 255804 w 2051041"/>
              <a:gd name="connsiteY1217" fmla="*/ 103392 h 2084191"/>
              <a:gd name="connsiteX1218" fmla="*/ 1773511 w 2051041"/>
              <a:gd name="connsiteY1218" fmla="*/ 99405 h 2084191"/>
              <a:gd name="connsiteX1219" fmla="*/ 1773511 w 2051041"/>
              <a:gd name="connsiteY1219" fmla="*/ 107023 h 2084191"/>
              <a:gd name="connsiteX1220" fmla="*/ 1780585 w 2051041"/>
              <a:gd name="connsiteY1220" fmla="*/ 130423 h 2084191"/>
              <a:gd name="connsiteX1221" fmla="*/ 1773511 w 2051041"/>
              <a:gd name="connsiteY1221" fmla="*/ 155999 h 2084191"/>
              <a:gd name="connsiteX1222" fmla="*/ 1774055 w 2051041"/>
              <a:gd name="connsiteY1222" fmla="*/ 161985 h 2084191"/>
              <a:gd name="connsiteX1223" fmla="*/ 1780041 w 2051041"/>
              <a:gd name="connsiteY1223" fmla="*/ 162529 h 2084191"/>
              <a:gd name="connsiteX1224" fmla="*/ 1811059 w 2051041"/>
              <a:gd name="connsiteY1224" fmla="*/ 157632 h 2084191"/>
              <a:gd name="connsiteX1225" fmla="*/ 1829561 w 2051041"/>
              <a:gd name="connsiteY1225" fmla="*/ 161985 h 2084191"/>
              <a:gd name="connsiteX1226" fmla="*/ 1836635 w 2051041"/>
              <a:gd name="connsiteY1226" fmla="*/ 161985 h 2084191"/>
              <a:gd name="connsiteX1227" fmla="*/ 1833914 w 2051041"/>
              <a:gd name="connsiteY1227" fmla="*/ 157088 h 2084191"/>
              <a:gd name="connsiteX1228" fmla="*/ 1834458 w 2051041"/>
              <a:gd name="connsiteY1228" fmla="*/ 104303 h 2084191"/>
              <a:gd name="connsiteX1229" fmla="*/ 1835547 w 2051041"/>
              <a:gd name="connsiteY1229" fmla="*/ 99405 h 2084191"/>
              <a:gd name="connsiteX1230" fmla="*/ 1831193 w 2051041"/>
              <a:gd name="connsiteY1230" fmla="*/ 101038 h 2084191"/>
              <a:gd name="connsiteX1231" fmla="*/ 1780041 w 2051041"/>
              <a:gd name="connsiteY1231" fmla="*/ 101582 h 2084191"/>
              <a:gd name="connsiteX1232" fmla="*/ 1773511 w 2051041"/>
              <a:gd name="connsiteY1232" fmla="*/ 99405 h 2084191"/>
              <a:gd name="connsiteX1233" fmla="*/ 417424 w 2051041"/>
              <a:gd name="connsiteY1233" fmla="*/ 97950 h 2084191"/>
              <a:gd name="connsiteX1234" fmla="*/ 445721 w 2051041"/>
              <a:gd name="connsiteY1234" fmla="*/ 126247 h 2084191"/>
              <a:gd name="connsiteX1235" fmla="*/ 417424 w 2051041"/>
              <a:gd name="connsiteY1235" fmla="*/ 153456 h 2084191"/>
              <a:gd name="connsiteX1236" fmla="*/ 390215 w 2051041"/>
              <a:gd name="connsiteY1236" fmla="*/ 125159 h 2084191"/>
              <a:gd name="connsiteX1237" fmla="*/ 417424 w 2051041"/>
              <a:gd name="connsiteY1237" fmla="*/ 97950 h 2084191"/>
              <a:gd name="connsiteX1238" fmla="*/ 580677 w 2051041"/>
              <a:gd name="connsiteY1238" fmla="*/ 92508 h 2084191"/>
              <a:gd name="connsiteX1239" fmla="*/ 614960 w 2051041"/>
              <a:gd name="connsiteY1239" fmla="*/ 125159 h 2084191"/>
              <a:gd name="connsiteX1240" fmla="*/ 581766 w 2051041"/>
              <a:gd name="connsiteY1240" fmla="*/ 158353 h 2084191"/>
              <a:gd name="connsiteX1241" fmla="*/ 548571 w 2051041"/>
              <a:gd name="connsiteY1241" fmla="*/ 125703 h 2084191"/>
              <a:gd name="connsiteX1242" fmla="*/ 580677 w 2051041"/>
              <a:gd name="connsiteY1242" fmla="*/ 92508 h 2084191"/>
              <a:gd name="connsiteX1243" fmla="*/ 745019 w 2051041"/>
              <a:gd name="connsiteY1243" fmla="*/ 88154 h 2084191"/>
              <a:gd name="connsiteX1244" fmla="*/ 782567 w 2051041"/>
              <a:gd name="connsiteY1244" fmla="*/ 126791 h 2084191"/>
              <a:gd name="connsiteX1245" fmla="*/ 743930 w 2051041"/>
              <a:gd name="connsiteY1245" fmla="*/ 164339 h 2084191"/>
              <a:gd name="connsiteX1246" fmla="*/ 706382 w 2051041"/>
              <a:gd name="connsiteY1246" fmla="*/ 125702 h 2084191"/>
              <a:gd name="connsiteX1247" fmla="*/ 745019 w 2051041"/>
              <a:gd name="connsiteY1247" fmla="*/ 88154 h 2084191"/>
              <a:gd name="connsiteX1248" fmla="*/ 1685898 w 2051041"/>
              <a:gd name="connsiteY1248" fmla="*/ 84712 h 2084191"/>
              <a:gd name="connsiteX1249" fmla="*/ 1685681 w 2051041"/>
              <a:gd name="connsiteY1249" fmla="*/ 85147 h 2084191"/>
              <a:gd name="connsiteX1250" fmla="*/ 1685354 w 2051041"/>
              <a:gd name="connsiteY1250" fmla="*/ 85256 h 2084191"/>
              <a:gd name="connsiteX1251" fmla="*/ 1685898 w 2051041"/>
              <a:gd name="connsiteY1251" fmla="*/ 84712 h 2084191"/>
              <a:gd name="connsiteX1252" fmla="*/ 907183 w 2051041"/>
              <a:gd name="connsiteY1252" fmla="*/ 84345 h 2084191"/>
              <a:gd name="connsiteX1253" fmla="*/ 934935 w 2051041"/>
              <a:gd name="connsiteY1253" fmla="*/ 95228 h 2084191"/>
              <a:gd name="connsiteX1254" fmla="*/ 949628 w 2051041"/>
              <a:gd name="connsiteY1254" fmla="*/ 125158 h 2084191"/>
              <a:gd name="connsiteX1255" fmla="*/ 908271 w 2051041"/>
              <a:gd name="connsiteY1255" fmla="*/ 167060 h 2084191"/>
              <a:gd name="connsiteX1256" fmla="*/ 866369 w 2051041"/>
              <a:gd name="connsiteY1256" fmla="*/ 125702 h 2084191"/>
              <a:gd name="connsiteX1257" fmla="*/ 907183 w 2051041"/>
              <a:gd name="connsiteY1257" fmla="*/ 84345 h 2084191"/>
              <a:gd name="connsiteX1258" fmla="*/ 1070979 w 2051041"/>
              <a:gd name="connsiteY1258" fmla="*/ 82169 h 2084191"/>
              <a:gd name="connsiteX1259" fmla="*/ 1115602 w 2051041"/>
              <a:gd name="connsiteY1259" fmla="*/ 126247 h 2084191"/>
              <a:gd name="connsiteX1260" fmla="*/ 1071524 w 2051041"/>
              <a:gd name="connsiteY1260" fmla="*/ 170325 h 2084191"/>
              <a:gd name="connsiteX1261" fmla="*/ 1026357 w 2051041"/>
              <a:gd name="connsiteY1261" fmla="*/ 125703 h 2084191"/>
              <a:gd name="connsiteX1262" fmla="*/ 1070979 w 2051041"/>
              <a:gd name="connsiteY1262" fmla="*/ 82169 h 2084191"/>
              <a:gd name="connsiteX1263" fmla="*/ 1684811 w 2051041"/>
              <a:gd name="connsiteY1263" fmla="*/ 82168 h 2084191"/>
              <a:gd name="connsiteX1264" fmla="*/ 1684266 w 2051041"/>
              <a:gd name="connsiteY1264" fmla="*/ 82713 h 2084191"/>
              <a:gd name="connsiteX1265" fmla="*/ 1684469 w 2051041"/>
              <a:gd name="connsiteY1265" fmla="*/ 82365 h 2084191"/>
              <a:gd name="connsiteX1266" fmla="*/ 1234777 w 2051041"/>
              <a:gd name="connsiteY1266" fmla="*/ 78360 h 2084191"/>
              <a:gd name="connsiteX1267" fmla="*/ 1282664 w 2051041"/>
              <a:gd name="connsiteY1267" fmla="*/ 126791 h 2084191"/>
              <a:gd name="connsiteX1268" fmla="*/ 1234232 w 2051041"/>
              <a:gd name="connsiteY1268" fmla="*/ 174135 h 2084191"/>
              <a:gd name="connsiteX1269" fmla="*/ 1186889 w 2051041"/>
              <a:gd name="connsiteY1269" fmla="*/ 126791 h 2084191"/>
              <a:gd name="connsiteX1270" fmla="*/ 1234777 w 2051041"/>
              <a:gd name="connsiteY1270" fmla="*/ 78360 h 2084191"/>
              <a:gd name="connsiteX1271" fmla="*/ 1398574 w 2051041"/>
              <a:gd name="connsiteY1271" fmla="*/ 76182 h 2084191"/>
              <a:gd name="connsiteX1272" fmla="*/ 1448094 w 2051041"/>
              <a:gd name="connsiteY1272" fmla="*/ 127335 h 2084191"/>
              <a:gd name="connsiteX1273" fmla="*/ 1396941 w 2051041"/>
              <a:gd name="connsiteY1273" fmla="*/ 175766 h 2084191"/>
              <a:gd name="connsiteX1274" fmla="*/ 1347421 w 2051041"/>
              <a:gd name="connsiteY1274" fmla="*/ 125702 h 2084191"/>
              <a:gd name="connsiteX1275" fmla="*/ 1398574 w 2051041"/>
              <a:gd name="connsiteY1275" fmla="*/ 76182 h 2084191"/>
              <a:gd name="connsiteX1276" fmla="*/ 1561282 w 2051041"/>
              <a:gd name="connsiteY1276" fmla="*/ 72373 h 2084191"/>
              <a:gd name="connsiteX1277" fmla="*/ 1614611 w 2051041"/>
              <a:gd name="connsiteY1277" fmla="*/ 126247 h 2084191"/>
              <a:gd name="connsiteX1278" fmla="*/ 1560738 w 2051041"/>
              <a:gd name="connsiteY1278" fmla="*/ 179576 h 2084191"/>
              <a:gd name="connsiteX1279" fmla="*/ 1507409 w 2051041"/>
              <a:gd name="connsiteY1279" fmla="*/ 126247 h 2084191"/>
              <a:gd name="connsiteX1280" fmla="*/ 1561282 w 2051041"/>
              <a:gd name="connsiteY1280" fmla="*/ 72373 h 2084191"/>
              <a:gd name="connsiteX1281" fmla="*/ 10381 w 2051041"/>
              <a:gd name="connsiteY1281" fmla="*/ 33737 h 2084191"/>
              <a:gd name="connsiteX1282" fmla="*/ 20720 w 2051041"/>
              <a:gd name="connsiteY1282" fmla="*/ 45165 h 2084191"/>
              <a:gd name="connsiteX1283" fmla="*/ 9292 w 2051041"/>
              <a:gd name="connsiteY1283" fmla="*/ 54960 h 2084191"/>
              <a:gd name="connsiteX1284" fmla="*/ 41 w 2051041"/>
              <a:gd name="connsiteY1284" fmla="*/ 44621 h 2084191"/>
              <a:gd name="connsiteX1285" fmla="*/ 10381 w 2051041"/>
              <a:gd name="connsiteY1285" fmla="*/ 33737 h 2084191"/>
              <a:gd name="connsiteX1286" fmla="*/ 172546 w 2051041"/>
              <a:gd name="connsiteY1286" fmla="*/ 23942 h 2084191"/>
              <a:gd name="connsiteX1287" fmla="*/ 193224 w 2051041"/>
              <a:gd name="connsiteY1287" fmla="*/ 44621 h 2084191"/>
              <a:gd name="connsiteX1288" fmla="*/ 173090 w 2051041"/>
              <a:gd name="connsiteY1288" fmla="*/ 64755 h 2084191"/>
              <a:gd name="connsiteX1289" fmla="*/ 152411 w 2051041"/>
              <a:gd name="connsiteY1289" fmla="*/ 44621 h 2084191"/>
              <a:gd name="connsiteX1290" fmla="*/ 172546 w 2051041"/>
              <a:gd name="connsiteY1290" fmla="*/ 23942 h 2084191"/>
              <a:gd name="connsiteX1291" fmla="*/ 1861123 w 2051041"/>
              <a:gd name="connsiteY1291" fmla="*/ 22132 h 2084191"/>
              <a:gd name="connsiteX1292" fmla="*/ 1861123 w 2051041"/>
              <a:gd name="connsiteY1292" fmla="*/ 35737 h 2084191"/>
              <a:gd name="connsiteX1293" fmla="*/ 1861123 w 2051041"/>
              <a:gd name="connsiteY1293" fmla="*/ 61313 h 2084191"/>
              <a:gd name="connsiteX1294" fmla="*/ 1858946 w 2051041"/>
              <a:gd name="connsiteY1294" fmla="*/ 72740 h 2084191"/>
              <a:gd name="connsiteX1295" fmla="*/ 1866021 w 2051041"/>
              <a:gd name="connsiteY1295" fmla="*/ 76550 h 2084191"/>
              <a:gd name="connsiteX1296" fmla="*/ 1873639 w 2051041"/>
              <a:gd name="connsiteY1296" fmla="*/ 74917 h 2084191"/>
              <a:gd name="connsiteX1297" fmla="*/ 1900304 w 2051041"/>
              <a:gd name="connsiteY1297" fmla="*/ 74373 h 2084191"/>
              <a:gd name="connsiteX1298" fmla="*/ 1907922 w 2051041"/>
              <a:gd name="connsiteY1298" fmla="*/ 76006 h 2084191"/>
              <a:gd name="connsiteX1299" fmla="*/ 1912820 w 2051041"/>
              <a:gd name="connsiteY1299" fmla="*/ 70020 h 2084191"/>
              <a:gd name="connsiteX1300" fmla="*/ 1912820 w 2051041"/>
              <a:gd name="connsiteY1300" fmla="*/ 27030 h 2084191"/>
              <a:gd name="connsiteX1301" fmla="*/ 1908466 w 2051041"/>
              <a:gd name="connsiteY1301" fmla="*/ 22132 h 2084191"/>
              <a:gd name="connsiteX1302" fmla="*/ 1902480 w 2051041"/>
              <a:gd name="connsiteY1302" fmla="*/ 24309 h 2084191"/>
              <a:gd name="connsiteX1303" fmla="*/ 1873095 w 2051041"/>
              <a:gd name="connsiteY1303" fmla="*/ 24309 h 2084191"/>
              <a:gd name="connsiteX1304" fmla="*/ 1861123 w 2051041"/>
              <a:gd name="connsiteY1304" fmla="*/ 22132 h 2084191"/>
              <a:gd name="connsiteX1305" fmla="*/ 336886 w 2051041"/>
              <a:gd name="connsiteY1305" fmla="*/ 17412 h 2084191"/>
              <a:gd name="connsiteX1306" fmla="*/ 363007 w 2051041"/>
              <a:gd name="connsiteY1306" fmla="*/ 44077 h 2084191"/>
              <a:gd name="connsiteX1307" fmla="*/ 337431 w 2051041"/>
              <a:gd name="connsiteY1307" fmla="*/ 71285 h 2084191"/>
              <a:gd name="connsiteX1308" fmla="*/ 310222 w 2051041"/>
              <a:gd name="connsiteY1308" fmla="*/ 45165 h 2084191"/>
              <a:gd name="connsiteX1309" fmla="*/ 336886 w 2051041"/>
              <a:gd name="connsiteY1309" fmla="*/ 17412 h 2084191"/>
              <a:gd name="connsiteX1310" fmla="*/ 498507 w 2051041"/>
              <a:gd name="connsiteY1310" fmla="*/ 13059 h 2084191"/>
              <a:gd name="connsiteX1311" fmla="*/ 531702 w 2051041"/>
              <a:gd name="connsiteY1311" fmla="*/ 44621 h 2084191"/>
              <a:gd name="connsiteX1312" fmla="*/ 499595 w 2051041"/>
              <a:gd name="connsiteY1312" fmla="*/ 76727 h 2084191"/>
              <a:gd name="connsiteX1313" fmla="*/ 467489 w 2051041"/>
              <a:gd name="connsiteY1313" fmla="*/ 45165 h 2084191"/>
              <a:gd name="connsiteX1314" fmla="*/ 498507 w 2051041"/>
              <a:gd name="connsiteY1314" fmla="*/ 13059 h 2084191"/>
              <a:gd name="connsiteX1315" fmla="*/ 662303 w 2051041"/>
              <a:gd name="connsiteY1315" fmla="*/ 7616 h 2084191"/>
              <a:gd name="connsiteX1316" fmla="*/ 698763 w 2051041"/>
              <a:gd name="connsiteY1316" fmla="*/ 44076 h 2084191"/>
              <a:gd name="connsiteX1317" fmla="*/ 662303 w 2051041"/>
              <a:gd name="connsiteY1317" fmla="*/ 81080 h 2084191"/>
              <a:gd name="connsiteX1318" fmla="*/ 626932 w 2051041"/>
              <a:gd name="connsiteY1318" fmla="*/ 44076 h 2084191"/>
              <a:gd name="connsiteX1319" fmla="*/ 662303 w 2051041"/>
              <a:gd name="connsiteY1319" fmla="*/ 7616 h 2084191"/>
              <a:gd name="connsiteX1320" fmla="*/ 825557 w 2051041"/>
              <a:gd name="connsiteY1320" fmla="*/ 5440 h 2084191"/>
              <a:gd name="connsiteX1321" fmla="*/ 865281 w 2051041"/>
              <a:gd name="connsiteY1321" fmla="*/ 44621 h 2084191"/>
              <a:gd name="connsiteX1322" fmla="*/ 826101 w 2051041"/>
              <a:gd name="connsiteY1322" fmla="*/ 83257 h 2084191"/>
              <a:gd name="connsiteX1323" fmla="*/ 786920 w 2051041"/>
              <a:gd name="connsiteY1323" fmla="*/ 44621 h 2084191"/>
              <a:gd name="connsiteX1324" fmla="*/ 825557 w 2051041"/>
              <a:gd name="connsiteY1324" fmla="*/ 5440 h 2084191"/>
              <a:gd name="connsiteX1325" fmla="*/ 989353 w 2051041"/>
              <a:gd name="connsiteY1325" fmla="*/ 1086 h 2084191"/>
              <a:gd name="connsiteX1326" fmla="*/ 1032343 w 2051041"/>
              <a:gd name="connsiteY1326" fmla="*/ 43532 h 2084191"/>
              <a:gd name="connsiteX1327" fmla="*/ 989897 w 2051041"/>
              <a:gd name="connsiteY1327" fmla="*/ 87610 h 2084191"/>
              <a:gd name="connsiteX1328" fmla="*/ 945819 w 2051041"/>
              <a:gd name="connsiteY1328" fmla="*/ 44620 h 2084191"/>
              <a:gd name="connsiteX1329" fmla="*/ 989353 w 2051041"/>
              <a:gd name="connsiteY1329" fmla="*/ 1086 h 2084191"/>
              <a:gd name="connsiteX1330" fmla="*/ 1614056 w 2051041"/>
              <a:gd name="connsiteY1330" fmla="*/ 0 h 2084191"/>
              <a:gd name="connsiteX1331" fmla="*/ 1675529 w 2051041"/>
              <a:gd name="connsiteY1331" fmla="*/ 0 h 2084191"/>
              <a:gd name="connsiteX1332" fmla="*/ 1682905 w 2051041"/>
              <a:gd name="connsiteY1332" fmla="*/ 4720 h 2084191"/>
              <a:gd name="connsiteX1333" fmla="*/ 1933639 w 2051041"/>
              <a:gd name="connsiteY1333" fmla="*/ 4720 h 2084191"/>
              <a:gd name="connsiteX1334" fmla="*/ 2016655 w 2051041"/>
              <a:gd name="connsiteY1334" fmla="*/ 39107 h 2084191"/>
              <a:gd name="connsiteX1335" fmla="*/ 2028934 w 2051041"/>
              <a:gd name="connsiteY1335" fmla="*/ 57318 h 2084191"/>
              <a:gd name="connsiteX1336" fmla="*/ 2026008 w 2051041"/>
              <a:gd name="connsiteY1336" fmla="*/ 71108 h 2084191"/>
              <a:gd name="connsiteX1337" fmla="*/ 2030906 w 2051041"/>
              <a:gd name="connsiteY1337" fmla="*/ 75461 h 2084191"/>
              <a:gd name="connsiteX1338" fmla="*/ 2039929 w 2051041"/>
              <a:gd name="connsiteY1338" fmla="*/ 73627 h 2084191"/>
              <a:gd name="connsiteX1339" fmla="*/ 2041815 w 2051041"/>
              <a:gd name="connsiteY1339" fmla="*/ 76424 h 2084191"/>
              <a:gd name="connsiteX1340" fmla="*/ 2051041 w 2051041"/>
              <a:gd name="connsiteY1340" fmla="*/ 122122 h 2084191"/>
              <a:gd name="connsiteX1341" fmla="*/ 2051041 w 2051041"/>
              <a:gd name="connsiteY1341" fmla="*/ 186473 h 2084191"/>
              <a:gd name="connsiteX1342" fmla="*/ 2029818 w 2051041"/>
              <a:gd name="connsiteY1342" fmla="*/ 186473 h 2084191"/>
              <a:gd name="connsiteX1343" fmla="*/ 2023287 w 2051041"/>
              <a:gd name="connsiteY1343" fmla="*/ 192459 h 2084191"/>
              <a:gd name="connsiteX1344" fmla="*/ 2023832 w 2051041"/>
              <a:gd name="connsiteY1344" fmla="*/ 196268 h 2084191"/>
              <a:gd name="connsiteX1345" fmla="*/ 2019478 w 2051041"/>
              <a:gd name="connsiteY1345" fmla="*/ 239258 h 2084191"/>
              <a:gd name="connsiteX1346" fmla="*/ 2020022 w 2051041"/>
              <a:gd name="connsiteY1346" fmla="*/ 242523 h 2084191"/>
              <a:gd name="connsiteX1347" fmla="*/ 2023287 w 2051041"/>
              <a:gd name="connsiteY1347" fmla="*/ 243067 h 2084191"/>
              <a:gd name="connsiteX1348" fmla="*/ 2050224 w 2051041"/>
              <a:gd name="connsiteY1348" fmla="*/ 237150 h 2084191"/>
              <a:gd name="connsiteX1349" fmla="*/ 2051041 w 2051041"/>
              <a:gd name="connsiteY1349" fmla="*/ 237329 h 2084191"/>
              <a:gd name="connsiteX1350" fmla="*/ 2051041 w 2051041"/>
              <a:gd name="connsiteY1350" fmla="*/ 348996 h 2084191"/>
              <a:gd name="connsiteX1351" fmla="*/ 2036552 w 2051041"/>
              <a:gd name="connsiteY1351" fmla="*/ 347754 h 2084191"/>
              <a:gd name="connsiteX1352" fmla="*/ 2021111 w 2051041"/>
              <a:gd name="connsiteY1352" fmla="*/ 341019 h 2084191"/>
              <a:gd name="connsiteX1353" fmla="*/ 2016757 w 2051041"/>
              <a:gd name="connsiteY1353" fmla="*/ 338842 h 2084191"/>
              <a:gd name="connsiteX1354" fmla="*/ 2017301 w 2051041"/>
              <a:gd name="connsiteY1354" fmla="*/ 344284 h 2084191"/>
              <a:gd name="connsiteX1355" fmla="*/ 2025464 w 2051041"/>
              <a:gd name="connsiteY1355" fmla="*/ 376391 h 2084191"/>
              <a:gd name="connsiteX1356" fmla="*/ 1994446 w 2051041"/>
              <a:gd name="connsiteY1356" fmla="*/ 424278 h 2084191"/>
              <a:gd name="connsiteX1357" fmla="*/ 1933498 w 2051041"/>
              <a:gd name="connsiteY1357" fmla="*/ 416115 h 2084191"/>
              <a:gd name="connsiteX1358" fmla="*/ 1920438 w 2051041"/>
              <a:gd name="connsiteY1358" fmla="*/ 352447 h 2084191"/>
              <a:gd name="connsiteX1359" fmla="*/ 1925336 w 2051041"/>
              <a:gd name="connsiteY1359" fmla="*/ 338298 h 2084191"/>
              <a:gd name="connsiteX1360" fmla="*/ 1911731 w 2051041"/>
              <a:gd name="connsiteY1360" fmla="*/ 343196 h 2084191"/>
              <a:gd name="connsiteX1361" fmla="*/ 1898671 w 2051041"/>
              <a:gd name="connsiteY1361" fmla="*/ 347005 h 2084191"/>
              <a:gd name="connsiteX1362" fmla="*/ 1854593 w 2051041"/>
              <a:gd name="connsiteY1362" fmla="*/ 336666 h 2084191"/>
              <a:gd name="connsiteX1363" fmla="*/ 1847690 w 2051041"/>
              <a:gd name="connsiteY1363" fmla="*/ 333480 h 2084191"/>
              <a:gd name="connsiteX1364" fmla="*/ 1852961 w 2051041"/>
              <a:gd name="connsiteY1364" fmla="*/ 344461 h 2084191"/>
              <a:gd name="connsiteX1365" fmla="*/ 1826840 w 2051041"/>
              <a:gd name="connsiteY1365" fmla="*/ 420646 h 2084191"/>
              <a:gd name="connsiteX1366" fmla="*/ 1765893 w 2051041"/>
              <a:gd name="connsiteY1366" fmla="*/ 408130 h 2084191"/>
              <a:gd name="connsiteX1367" fmla="*/ 1759362 w 2051041"/>
              <a:gd name="connsiteY1367" fmla="*/ 342829 h 2084191"/>
              <a:gd name="connsiteX1368" fmla="*/ 1815991 w 2051041"/>
              <a:gd name="connsiteY1368" fmla="*/ 317193 h 2084191"/>
              <a:gd name="connsiteX1369" fmla="*/ 1834459 w 2051041"/>
              <a:gd name="connsiteY1369" fmla="*/ 325415 h 2084191"/>
              <a:gd name="connsiteX1370" fmla="*/ 1845023 w 2051041"/>
              <a:gd name="connsiteY1370" fmla="*/ 330169 h 2084191"/>
              <a:gd name="connsiteX1371" fmla="*/ 1840444 w 2051041"/>
              <a:gd name="connsiteY1371" fmla="*/ 321429 h 2084191"/>
              <a:gd name="connsiteX1372" fmla="*/ 1834458 w 2051041"/>
              <a:gd name="connsiteY1372" fmla="*/ 275174 h 2084191"/>
              <a:gd name="connsiteX1373" fmla="*/ 1840988 w 2051041"/>
              <a:gd name="connsiteY1373" fmla="*/ 259937 h 2084191"/>
              <a:gd name="connsiteX1374" fmla="*/ 1842077 w 2051041"/>
              <a:gd name="connsiteY1374" fmla="*/ 255584 h 2084191"/>
              <a:gd name="connsiteX1375" fmla="*/ 1837723 w 2051041"/>
              <a:gd name="connsiteY1375" fmla="*/ 257216 h 2084191"/>
              <a:gd name="connsiteX1376" fmla="*/ 1817589 w 2051041"/>
              <a:gd name="connsiteY1376" fmla="*/ 264834 h 2084191"/>
              <a:gd name="connsiteX1377" fmla="*/ 1768069 w 2051041"/>
              <a:gd name="connsiteY1377" fmla="*/ 251774 h 2084191"/>
              <a:gd name="connsiteX1378" fmla="*/ 1764740 w 2051041"/>
              <a:gd name="connsiteY1378" fmla="*/ 250110 h 2084191"/>
              <a:gd name="connsiteX1379" fmla="*/ 1773510 w 2051041"/>
              <a:gd name="connsiteY1379" fmla="*/ 267189 h 2084191"/>
              <a:gd name="connsiteX1380" fmla="*/ 1750655 w 2051041"/>
              <a:gd name="connsiteY1380" fmla="*/ 336843 h 2084191"/>
              <a:gd name="connsiteX1381" fmla="*/ 1673926 w 2051041"/>
              <a:gd name="connsiteY1381" fmla="*/ 310723 h 2084191"/>
              <a:gd name="connsiteX1382" fmla="*/ 1681545 w 2051041"/>
              <a:gd name="connsiteY1382" fmla="*/ 254673 h 2084191"/>
              <a:gd name="connsiteX1383" fmla="*/ 1733786 w 2051041"/>
              <a:gd name="connsiteY1383" fmla="*/ 235083 h 2084191"/>
              <a:gd name="connsiteX1384" fmla="*/ 1751743 w 2051041"/>
              <a:gd name="connsiteY1384" fmla="*/ 242157 h 2084191"/>
              <a:gd name="connsiteX1385" fmla="*/ 1762506 w 2051041"/>
              <a:gd name="connsiteY1385" fmla="*/ 246769 h 2084191"/>
              <a:gd name="connsiteX1386" fmla="*/ 1757185 w 2051041"/>
              <a:gd name="connsiteY1386" fmla="*/ 236537 h 2084191"/>
              <a:gd name="connsiteX1387" fmla="*/ 1756097 w 2051041"/>
              <a:gd name="connsiteY1387" fmla="*/ 185929 h 2084191"/>
              <a:gd name="connsiteX1388" fmla="*/ 1757185 w 2051041"/>
              <a:gd name="connsiteY1388" fmla="*/ 177766 h 2084191"/>
              <a:gd name="connsiteX1389" fmla="*/ 1749023 w 2051041"/>
              <a:gd name="connsiteY1389" fmla="*/ 178311 h 2084191"/>
              <a:gd name="connsiteX1390" fmla="*/ 1676103 w 2051041"/>
              <a:gd name="connsiteY1390" fmla="*/ 154911 h 2084191"/>
              <a:gd name="connsiteX1391" fmla="*/ 1681001 w 2051041"/>
              <a:gd name="connsiteY1391" fmla="*/ 94507 h 2084191"/>
              <a:gd name="connsiteX1392" fmla="*/ 1685681 w 2051041"/>
              <a:gd name="connsiteY1392" fmla="*/ 85147 h 2084191"/>
              <a:gd name="connsiteX1393" fmla="*/ 1693517 w 2051041"/>
              <a:gd name="connsiteY1393" fmla="*/ 82536 h 2084191"/>
              <a:gd name="connsiteX1394" fmla="*/ 1747934 w 2051041"/>
              <a:gd name="connsiteY1394" fmla="*/ 77638 h 2084191"/>
              <a:gd name="connsiteX1395" fmla="*/ 1756641 w 2051041"/>
              <a:gd name="connsiteY1395" fmla="*/ 79271 h 2084191"/>
              <a:gd name="connsiteX1396" fmla="*/ 1754464 w 2051041"/>
              <a:gd name="connsiteY1396" fmla="*/ 71652 h 2084191"/>
              <a:gd name="connsiteX1397" fmla="*/ 1752832 w 2051041"/>
              <a:gd name="connsiteY1397" fmla="*/ 68387 h 2084191"/>
              <a:gd name="connsiteX1398" fmla="*/ 1756097 w 2051041"/>
              <a:gd name="connsiteY1398" fmla="*/ 20500 h 2084191"/>
              <a:gd name="connsiteX1399" fmla="*/ 1756641 w 2051041"/>
              <a:gd name="connsiteY1399" fmla="*/ 16146 h 2084191"/>
              <a:gd name="connsiteX1400" fmla="*/ 1751744 w 2051041"/>
              <a:gd name="connsiteY1400" fmla="*/ 15058 h 2084191"/>
              <a:gd name="connsiteX1401" fmla="*/ 1741404 w 2051041"/>
              <a:gd name="connsiteY1401" fmla="*/ 19955 h 2084191"/>
              <a:gd name="connsiteX1402" fmla="*/ 1691884 w 2051041"/>
              <a:gd name="connsiteY1402" fmla="*/ 11249 h 2084191"/>
              <a:gd name="connsiteX1403" fmla="*/ 1685645 w 2051041"/>
              <a:gd name="connsiteY1403" fmla="*/ 8369 h 2084191"/>
              <a:gd name="connsiteX1404" fmla="*/ 1688620 w 2051041"/>
              <a:gd name="connsiteY1404" fmla="*/ 14691 h 2084191"/>
              <a:gd name="connsiteX1405" fmla="*/ 1691885 w 2051041"/>
              <a:gd name="connsiteY1405" fmla="*/ 69652 h 2084191"/>
              <a:gd name="connsiteX1406" fmla="*/ 1684469 w 2051041"/>
              <a:gd name="connsiteY1406" fmla="*/ 82365 h 2084191"/>
              <a:gd name="connsiteX1407" fmla="*/ 1663044 w 2051041"/>
              <a:gd name="connsiteY1407" fmla="*/ 94684 h 2084191"/>
              <a:gd name="connsiteX1408" fmla="*/ 1626584 w 2051041"/>
              <a:gd name="connsiteY1408" fmla="*/ 96861 h 2084191"/>
              <a:gd name="connsiteX1409" fmla="*/ 1590124 w 2051041"/>
              <a:gd name="connsiteY1409" fmla="*/ 60401 h 2084191"/>
              <a:gd name="connsiteX1410" fmla="*/ 1591757 w 2051041"/>
              <a:gd name="connsiteY1410" fmla="*/ 25030 h 2084191"/>
              <a:gd name="connsiteX1411" fmla="*/ 1460066 w 2051041"/>
              <a:gd name="connsiteY1411" fmla="*/ 0 h 2084191"/>
              <a:gd name="connsiteX1412" fmla="*/ 1498513 w 2051041"/>
              <a:gd name="connsiteY1412" fmla="*/ 0 h 2084191"/>
              <a:gd name="connsiteX1413" fmla="*/ 1517204 w 2051041"/>
              <a:gd name="connsiteY1413" fmla="*/ 8092 h 2084191"/>
              <a:gd name="connsiteX1414" fmla="*/ 1531896 w 2051041"/>
              <a:gd name="connsiteY1414" fmla="*/ 45164 h 2084191"/>
              <a:gd name="connsiteX1415" fmla="*/ 1479111 w 2051041"/>
              <a:gd name="connsiteY1415" fmla="*/ 97949 h 2084191"/>
              <a:gd name="connsiteX1416" fmla="*/ 1426870 w 2051041"/>
              <a:gd name="connsiteY1416" fmla="*/ 45164 h 2084191"/>
              <a:gd name="connsiteX1417" fmla="*/ 1441631 w 2051041"/>
              <a:gd name="connsiteY1417" fmla="*/ 7684 h 2084191"/>
              <a:gd name="connsiteX1418" fmla="*/ 1296749 w 2051041"/>
              <a:gd name="connsiteY1418" fmla="*/ 0 h 2084191"/>
              <a:gd name="connsiteX1419" fmla="*/ 1335755 w 2051041"/>
              <a:gd name="connsiteY1419" fmla="*/ 0 h 2084191"/>
              <a:gd name="connsiteX1420" fmla="*/ 1350278 w 2051041"/>
              <a:gd name="connsiteY1420" fmla="*/ 10270 h 2084191"/>
              <a:gd name="connsiteX1421" fmla="*/ 1365923 w 2051041"/>
              <a:gd name="connsiteY1421" fmla="*/ 45165 h 2084191"/>
              <a:gd name="connsiteX1422" fmla="*/ 1315315 w 2051041"/>
              <a:gd name="connsiteY1422" fmla="*/ 93052 h 2084191"/>
              <a:gd name="connsiteX1423" fmla="*/ 1266339 w 2051041"/>
              <a:gd name="connsiteY1423" fmla="*/ 44076 h 2084191"/>
              <a:gd name="connsiteX1424" fmla="*/ 1282732 w 2051041"/>
              <a:gd name="connsiteY1424" fmla="*/ 9317 h 2084191"/>
              <a:gd name="connsiteX1425" fmla="*/ 1148085 w 2051041"/>
              <a:gd name="connsiteY1425" fmla="*/ 0 h 2084191"/>
              <a:gd name="connsiteX1426" fmla="*/ 1161802 w 2051041"/>
              <a:gd name="connsiteY1426" fmla="*/ 0 h 2084191"/>
              <a:gd name="connsiteX1427" fmla="*/ 1169637 w 2051041"/>
              <a:gd name="connsiteY1427" fmla="*/ 1315 h 2084191"/>
              <a:gd name="connsiteX1428" fmla="*/ 1199405 w 2051041"/>
              <a:gd name="connsiteY1428" fmla="*/ 45164 h 2084191"/>
              <a:gd name="connsiteX1429" fmla="*/ 1151518 w 2051041"/>
              <a:gd name="connsiteY1429" fmla="*/ 91419 h 2084191"/>
              <a:gd name="connsiteX1430" fmla="*/ 1105807 w 2051041"/>
              <a:gd name="connsiteY1430" fmla="*/ 44620 h 2084191"/>
              <a:gd name="connsiteX1431" fmla="*/ 1119139 w 2051041"/>
              <a:gd name="connsiteY1431" fmla="*/ 11902 h 20841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Lst>
            <a:rect l="l" t="t" r="r" b="b"/>
            <a:pathLst>
              <a:path w="2051041" h="2084191">
                <a:moveTo>
                  <a:pt x="2051041" y="2080382"/>
                </a:moveTo>
                <a:lnTo>
                  <a:pt x="2051041" y="2083967"/>
                </a:lnTo>
                <a:lnTo>
                  <a:pt x="2047231" y="2084191"/>
                </a:lnTo>
                <a:cubicBezTo>
                  <a:pt x="2046687" y="2084191"/>
                  <a:pt x="2046143" y="2082559"/>
                  <a:pt x="2045599" y="2081470"/>
                </a:cubicBezTo>
                <a:close/>
                <a:moveTo>
                  <a:pt x="1478568" y="1997668"/>
                </a:moveTo>
                <a:cubicBezTo>
                  <a:pt x="1484010" y="1997668"/>
                  <a:pt x="1485642" y="2000933"/>
                  <a:pt x="1484554" y="2004743"/>
                </a:cubicBezTo>
                <a:cubicBezTo>
                  <a:pt x="1484010" y="2006919"/>
                  <a:pt x="1480745" y="2008551"/>
                  <a:pt x="1478568" y="2009096"/>
                </a:cubicBezTo>
                <a:cubicBezTo>
                  <a:pt x="1474759" y="2009640"/>
                  <a:pt x="1473126" y="2007463"/>
                  <a:pt x="1473126" y="2003654"/>
                </a:cubicBezTo>
                <a:cubicBezTo>
                  <a:pt x="1473126" y="1998756"/>
                  <a:pt x="1475303" y="1997124"/>
                  <a:pt x="1478568" y="1997668"/>
                </a:cubicBezTo>
                <a:close/>
                <a:moveTo>
                  <a:pt x="1641820" y="1993859"/>
                </a:moveTo>
                <a:cubicBezTo>
                  <a:pt x="1646718" y="1993314"/>
                  <a:pt x="1652160" y="1999300"/>
                  <a:pt x="1652160" y="2003654"/>
                </a:cubicBezTo>
                <a:cubicBezTo>
                  <a:pt x="1652160" y="2008551"/>
                  <a:pt x="1646718" y="2013449"/>
                  <a:pt x="1641820" y="2013449"/>
                </a:cubicBezTo>
                <a:cubicBezTo>
                  <a:pt x="1636923" y="2013449"/>
                  <a:pt x="1632025" y="2008007"/>
                  <a:pt x="1632025" y="2003654"/>
                </a:cubicBezTo>
                <a:cubicBezTo>
                  <a:pt x="1632025" y="1999300"/>
                  <a:pt x="1638011" y="1993859"/>
                  <a:pt x="1641820" y="1993859"/>
                </a:cubicBezTo>
                <a:close/>
                <a:moveTo>
                  <a:pt x="1969414" y="1992226"/>
                </a:moveTo>
                <a:cubicBezTo>
                  <a:pt x="1976488" y="1992226"/>
                  <a:pt x="1979753" y="1996035"/>
                  <a:pt x="1979753" y="2003654"/>
                </a:cubicBezTo>
                <a:cubicBezTo>
                  <a:pt x="1979753" y="2011272"/>
                  <a:pt x="1975944" y="2014537"/>
                  <a:pt x="1968325" y="2014537"/>
                </a:cubicBezTo>
                <a:cubicBezTo>
                  <a:pt x="1960707" y="2014537"/>
                  <a:pt x="1957442" y="2010728"/>
                  <a:pt x="1957986" y="2003110"/>
                </a:cubicBezTo>
                <a:cubicBezTo>
                  <a:pt x="1957986" y="1994947"/>
                  <a:pt x="1961251" y="1992226"/>
                  <a:pt x="1969414" y="1992226"/>
                </a:cubicBezTo>
                <a:close/>
                <a:moveTo>
                  <a:pt x="1805073" y="1992226"/>
                </a:moveTo>
                <a:cubicBezTo>
                  <a:pt x="1811058" y="1992226"/>
                  <a:pt x="1815956" y="1996035"/>
                  <a:pt x="1815956" y="2002565"/>
                </a:cubicBezTo>
                <a:cubicBezTo>
                  <a:pt x="1816500" y="2009096"/>
                  <a:pt x="1812147" y="2014537"/>
                  <a:pt x="1805073" y="2014537"/>
                </a:cubicBezTo>
                <a:cubicBezTo>
                  <a:pt x="1799087" y="2014537"/>
                  <a:pt x="1794189" y="2010184"/>
                  <a:pt x="1794189" y="2004198"/>
                </a:cubicBezTo>
                <a:cubicBezTo>
                  <a:pt x="1794189" y="1997668"/>
                  <a:pt x="1799087" y="1992770"/>
                  <a:pt x="1805073" y="1992226"/>
                </a:cubicBezTo>
                <a:close/>
                <a:moveTo>
                  <a:pt x="1234233" y="1916042"/>
                </a:moveTo>
                <a:cubicBezTo>
                  <a:pt x="1238586" y="1915497"/>
                  <a:pt x="1240763" y="1917674"/>
                  <a:pt x="1240219" y="1923660"/>
                </a:cubicBezTo>
                <a:cubicBezTo>
                  <a:pt x="1239674" y="1924204"/>
                  <a:pt x="1237498" y="1926381"/>
                  <a:pt x="1236953" y="1926381"/>
                </a:cubicBezTo>
                <a:cubicBezTo>
                  <a:pt x="1234233" y="1924204"/>
                  <a:pt x="1231512" y="1921483"/>
                  <a:pt x="1229335" y="1918762"/>
                </a:cubicBezTo>
                <a:cubicBezTo>
                  <a:pt x="1230968" y="1917674"/>
                  <a:pt x="1232600" y="1916586"/>
                  <a:pt x="1234233" y="1916042"/>
                </a:cubicBezTo>
                <a:close/>
                <a:moveTo>
                  <a:pt x="1397486" y="1911144"/>
                </a:moveTo>
                <a:cubicBezTo>
                  <a:pt x="1402927" y="1911144"/>
                  <a:pt x="1408369" y="1916041"/>
                  <a:pt x="1408369" y="1921483"/>
                </a:cubicBezTo>
                <a:cubicBezTo>
                  <a:pt x="1408369" y="1926925"/>
                  <a:pt x="1404016" y="1931279"/>
                  <a:pt x="1399118" y="1931823"/>
                </a:cubicBezTo>
                <a:cubicBezTo>
                  <a:pt x="1392588" y="1932367"/>
                  <a:pt x="1387146" y="1928013"/>
                  <a:pt x="1387146" y="1922028"/>
                </a:cubicBezTo>
                <a:cubicBezTo>
                  <a:pt x="1386602" y="1916586"/>
                  <a:pt x="1391500" y="1911144"/>
                  <a:pt x="1397486" y="1911144"/>
                </a:cubicBezTo>
                <a:close/>
                <a:moveTo>
                  <a:pt x="1560194" y="1906790"/>
                </a:moveTo>
                <a:cubicBezTo>
                  <a:pt x="1566180" y="1906790"/>
                  <a:pt x="1574342" y="1914953"/>
                  <a:pt x="1574342" y="1921482"/>
                </a:cubicBezTo>
                <a:cubicBezTo>
                  <a:pt x="1574342" y="1928013"/>
                  <a:pt x="1566724" y="1936175"/>
                  <a:pt x="1560738" y="1935631"/>
                </a:cubicBezTo>
                <a:cubicBezTo>
                  <a:pt x="1554752" y="1935631"/>
                  <a:pt x="1547678" y="1928557"/>
                  <a:pt x="1547134" y="1922027"/>
                </a:cubicBezTo>
                <a:cubicBezTo>
                  <a:pt x="1546589" y="1915497"/>
                  <a:pt x="1554208" y="1907334"/>
                  <a:pt x="1560194" y="1906790"/>
                </a:cubicBezTo>
                <a:close/>
                <a:moveTo>
                  <a:pt x="2049952" y="1905702"/>
                </a:moveTo>
                <a:lnTo>
                  <a:pt x="2051041" y="1906027"/>
                </a:lnTo>
                <a:lnTo>
                  <a:pt x="2051041" y="1938133"/>
                </a:lnTo>
                <a:lnTo>
                  <a:pt x="2050496" y="1938353"/>
                </a:lnTo>
                <a:cubicBezTo>
                  <a:pt x="2039613" y="1937808"/>
                  <a:pt x="2034715" y="1933455"/>
                  <a:pt x="2034171" y="1922572"/>
                </a:cubicBezTo>
                <a:cubicBezTo>
                  <a:pt x="2034171" y="1911144"/>
                  <a:pt x="2039069" y="1905702"/>
                  <a:pt x="2049952" y="1905702"/>
                </a:cubicBezTo>
                <a:close/>
                <a:moveTo>
                  <a:pt x="1723447" y="1905702"/>
                </a:moveTo>
                <a:cubicBezTo>
                  <a:pt x="1730521" y="1905702"/>
                  <a:pt x="1739772" y="1914409"/>
                  <a:pt x="1739772" y="1920939"/>
                </a:cubicBezTo>
                <a:cubicBezTo>
                  <a:pt x="1740316" y="1929101"/>
                  <a:pt x="1732698" y="1936720"/>
                  <a:pt x="1724535" y="1937264"/>
                </a:cubicBezTo>
                <a:cubicBezTo>
                  <a:pt x="1716373" y="1937264"/>
                  <a:pt x="1708754" y="1930190"/>
                  <a:pt x="1708210" y="1922027"/>
                </a:cubicBezTo>
                <a:cubicBezTo>
                  <a:pt x="1708210" y="1914953"/>
                  <a:pt x="1716373" y="1905702"/>
                  <a:pt x="1723447" y="1905702"/>
                </a:cubicBezTo>
                <a:close/>
                <a:moveTo>
                  <a:pt x="1887787" y="1905158"/>
                </a:moveTo>
                <a:cubicBezTo>
                  <a:pt x="1898671" y="1905158"/>
                  <a:pt x="1904113" y="1911144"/>
                  <a:pt x="1904113" y="1922028"/>
                </a:cubicBezTo>
                <a:cubicBezTo>
                  <a:pt x="1904113" y="1932367"/>
                  <a:pt x="1898127" y="1937809"/>
                  <a:pt x="1886699" y="1937809"/>
                </a:cubicBezTo>
                <a:cubicBezTo>
                  <a:pt x="1876360" y="1937809"/>
                  <a:pt x="1870918" y="1931823"/>
                  <a:pt x="1870918" y="1921483"/>
                </a:cubicBezTo>
                <a:cubicBezTo>
                  <a:pt x="1870918" y="1910600"/>
                  <a:pt x="1876904" y="1904614"/>
                  <a:pt x="1887787" y="1905158"/>
                </a:cubicBezTo>
                <a:close/>
                <a:moveTo>
                  <a:pt x="1152606" y="1831693"/>
                </a:moveTo>
                <a:cubicBezTo>
                  <a:pt x="1155871" y="1832782"/>
                  <a:pt x="1160769" y="1836591"/>
                  <a:pt x="1161313" y="1839312"/>
                </a:cubicBezTo>
                <a:cubicBezTo>
                  <a:pt x="1160769" y="1843121"/>
                  <a:pt x="1156959" y="1846931"/>
                  <a:pt x="1153694" y="1852916"/>
                </a:cubicBezTo>
                <a:cubicBezTo>
                  <a:pt x="1149341" y="1847475"/>
                  <a:pt x="1146076" y="1844754"/>
                  <a:pt x="1144988" y="1841489"/>
                </a:cubicBezTo>
                <a:cubicBezTo>
                  <a:pt x="1143355" y="1837135"/>
                  <a:pt x="1148797" y="1830605"/>
                  <a:pt x="1152606" y="1831693"/>
                </a:cubicBezTo>
                <a:close/>
                <a:moveTo>
                  <a:pt x="1315315" y="1825708"/>
                </a:moveTo>
                <a:cubicBezTo>
                  <a:pt x="1321301" y="1825164"/>
                  <a:pt x="1331096" y="1834415"/>
                  <a:pt x="1330552" y="1840401"/>
                </a:cubicBezTo>
                <a:cubicBezTo>
                  <a:pt x="1330552" y="1845298"/>
                  <a:pt x="1321301" y="1854549"/>
                  <a:pt x="1316404" y="1854549"/>
                </a:cubicBezTo>
                <a:cubicBezTo>
                  <a:pt x="1310962" y="1855094"/>
                  <a:pt x="1302255" y="1846387"/>
                  <a:pt x="1301711" y="1840945"/>
                </a:cubicBezTo>
                <a:cubicBezTo>
                  <a:pt x="1301167" y="1834959"/>
                  <a:pt x="1309329" y="1826252"/>
                  <a:pt x="1315315" y="1825708"/>
                </a:cubicBezTo>
                <a:close/>
                <a:moveTo>
                  <a:pt x="1479656" y="1822987"/>
                </a:moveTo>
                <a:cubicBezTo>
                  <a:pt x="1489995" y="1823531"/>
                  <a:pt x="1495981" y="1830061"/>
                  <a:pt x="1495981" y="1840401"/>
                </a:cubicBezTo>
                <a:cubicBezTo>
                  <a:pt x="1495981" y="1851284"/>
                  <a:pt x="1490539" y="1856726"/>
                  <a:pt x="1478567" y="1856182"/>
                </a:cubicBezTo>
                <a:cubicBezTo>
                  <a:pt x="1467140" y="1856182"/>
                  <a:pt x="1462242" y="1850740"/>
                  <a:pt x="1462242" y="1839312"/>
                </a:cubicBezTo>
                <a:cubicBezTo>
                  <a:pt x="1462242" y="1828429"/>
                  <a:pt x="1468772" y="1822443"/>
                  <a:pt x="1479656" y="1822987"/>
                </a:cubicBezTo>
                <a:close/>
                <a:moveTo>
                  <a:pt x="1642365" y="1821355"/>
                </a:moveTo>
                <a:cubicBezTo>
                  <a:pt x="1653248" y="1821355"/>
                  <a:pt x="1661955" y="1829518"/>
                  <a:pt x="1660867" y="1840401"/>
                </a:cubicBezTo>
                <a:cubicBezTo>
                  <a:pt x="1659778" y="1853461"/>
                  <a:pt x="1653792" y="1857270"/>
                  <a:pt x="1642365" y="1857270"/>
                </a:cubicBezTo>
                <a:cubicBezTo>
                  <a:pt x="1630937" y="1857270"/>
                  <a:pt x="1624407" y="1850740"/>
                  <a:pt x="1624407" y="1839857"/>
                </a:cubicBezTo>
                <a:cubicBezTo>
                  <a:pt x="1624407" y="1828973"/>
                  <a:pt x="1632025" y="1821355"/>
                  <a:pt x="1642365" y="1821355"/>
                </a:cubicBezTo>
                <a:close/>
                <a:moveTo>
                  <a:pt x="1806162" y="1819723"/>
                </a:moveTo>
                <a:cubicBezTo>
                  <a:pt x="1816501" y="1819723"/>
                  <a:pt x="1827385" y="1831150"/>
                  <a:pt x="1826840" y="1840945"/>
                </a:cubicBezTo>
                <a:cubicBezTo>
                  <a:pt x="1826296" y="1850740"/>
                  <a:pt x="1813780" y="1862168"/>
                  <a:pt x="1804529" y="1861080"/>
                </a:cubicBezTo>
                <a:cubicBezTo>
                  <a:pt x="1795278" y="1860536"/>
                  <a:pt x="1783851" y="1847476"/>
                  <a:pt x="1784395" y="1839313"/>
                </a:cubicBezTo>
                <a:cubicBezTo>
                  <a:pt x="1784939" y="1828973"/>
                  <a:pt x="1796367" y="1819178"/>
                  <a:pt x="1806162" y="1819723"/>
                </a:cubicBezTo>
                <a:close/>
                <a:moveTo>
                  <a:pt x="1968870" y="1819178"/>
                </a:moveTo>
                <a:cubicBezTo>
                  <a:pt x="1980298" y="1819178"/>
                  <a:pt x="1990093" y="1828973"/>
                  <a:pt x="1990093" y="1840401"/>
                </a:cubicBezTo>
                <a:cubicBezTo>
                  <a:pt x="1990093" y="1851285"/>
                  <a:pt x="1980298" y="1861624"/>
                  <a:pt x="1968870" y="1861624"/>
                </a:cubicBezTo>
                <a:cubicBezTo>
                  <a:pt x="1957986" y="1861624"/>
                  <a:pt x="1947647" y="1851285"/>
                  <a:pt x="1947647" y="1840401"/>
                </a:cubicBezTo>
                <a:cubicBezTo>
                  <a:pt x="1947647" y="1828973"/>
                  <a:pt x="1957986" y="1819178"/>
                  <a:pt x="1968870" y="1819178"/>
                </a:cubicBezTo>
                <a:close/>
                <a:moveTo>
                  <a:pt x="1070436" y="1747347"/>
                </a:moveTo>
                <a:cubicBezTo>
                  <a:pt x="1078598" y="1747347"/>
                  <a:pt x="1081863" y="1750612"/>
                  <a:pt x="1081863" y="1758231"/>
                </a:cubicBezTo>
                <a:cubicBezTo>
                  <a:pt x="1081863" y="1766393"/>
                  <a:pt x="1078598" y="1769658"/>
                  <a:pt x="1070980" y="1769658"/>
                </a:cubicBezTo>
                <a:cubicBezTo>
                  <a:pt x="1063361" y="1769658"/>
                  <a:pt x="1060096" y="1766393"/>
                  <a:pt x="1059552" y="1758775"/>
                </a:cubicBezTo>
                <a:cubicBezTo>
                  <a:pt x="1059552" y="1751156"/>
                  <a:pt x="1062817" y="1747347"/>
                  <a:pt x="1070436" y="1747347"/>
                </a:cubicBezTo>
                <a:close/>
                <a:moveTo>
                  <a:pt x="1233688" y="1742449"/>
                </a:moveTo>
                <a:cubicBezTo>
                  <a:pt x="1242939" y="1741904"/>
                  <a:pt x="1250558" y="1750067"/>
                  <a:pt x="1250558" y="1758774"/>
                </a:cubicBezTo>
                <a:cubicBezTo>
                  <a:pt x="1250558" y="1767481"/>
                  <a:pt x="1242939" y="1775099"/>
                  <a:pt x="1233688" y="1775099"/>
                </a:cubicBezTo>
                <a:cubicBezTo>
                  <a:pt x="1224981" y="1775099"/>
                  <a:pt x="1218451" y="1768025"/>
                  <a:pt x="1217907" y="1759318"/>
                </a:cubicBezTo>
                <a:cubicBezTo>
                  <a:pt x="1217907" y="1750067"/>
                  <a:pt x="1224981" y="1742449"/>
                  <a:pt x="1233688" y="1742449"/>
                </a:cubicBezTo>
                <a:close/>
                <a:moveTo>
                  <a:pt x="1399662" y="1739728"/>
                </a:moveTo>
                <a:cubicBezTo>
                  <a:pt x="1410002" y="1740817"/>
                  <a:pt x="1418164" y="1750068"/>
                  <a:pt x="1417076" y="1760407"/>
                </a:cubicBezTo>
                <a:cubicBezTo>
                  <a:pt x="1415988" y="1769114"/>
                  <a:pt x="1404560" y="1779997"/>
                  <a:pt x="1396941" y="1779453"/>
                </a:cubicBezTo>
                <a:cubicBezTo>
                  <a:pt x="1388779" y="1778909"/>
                  <a:pt x="1376807" y="1765305"/>
                  <a:pt x="1377895" y="1757686"/>
                </a:cubicBezTo>
                <a:cubicBezTo>
                  <a:pt x="1379528" y="1746803"/>
                  <a:pt x="1389867" y="1738640"/>
                  <a:pt x="1399662" y="1739728"/>
                </a:cubicBezTo>
                <a:close/>
                <a:moveTo>
                  <a:pt x="1723991" y="1735919"/>
                </a:moveTo>
                <a:cubicBezTo>
                  <a:pt x="1738140" y="1735919"/>
                  <a:pt x="1746847" y="1744626"/>
                  <a:pt x="1746847" y="1758774"/>
                </a:cubicBezTo>
                <a:cubicBezTo>
                  <a:pt x="1746847" y="1772379"/>
                  <a:pt x="1738140" y="1781086"/>
                  <a:pt x="1723991" y="1781086"/>
                </a:cubicBezTo>
                <a:cubicBezTo>
                  <a:pt x="1709299" y="1781086"/>
                  <a:pt x="1701680" y="1773467"/>
                  <a:pt x="1701680" y="1758774"/>
                </a:cubicBezTo>
                <a:cubicBezTo>
                  <a:pt x="1701680" y="1744626"/>
                  <a:pt x="1709843" y="1735919"/>
                  <a:pt x="1723991" y="1735919"/>
                </a:cubicBezTo>
                <a:close/>
                <a:moveTo>
                  <a:pt x="1560194" y="1735919"/>
                </a:moveTo>
                <a:cubicBezTo>
                  <a:pt x="1572710" y="1736463"/>
                  <a:pt x="1582505" y="1746258"/>
                  <a:pt x="1582505" y="1758230"/>
                </a:cubicBezTo>
                <a:cubicBezTo>
                  <a:pt x="1582505" y="1770202"/>
                  <a:pt x="1572710" y="1779997"/>
                  <a:pt x="1560738" y="1779997"/>
                </a:cubicBezTo>
                <a:cubicBezTo>
                  <a:pt x="1549855" y="1779997"/>
                  <a:pt x="1538427" y="1769114"/>
                  <a:pt x="1538427" y="1758230"/>
                </a:cubicBezTo>
                <a:cubicBezTo>
                  <a:pt x="1538427" y="1746803"/>
                  <a:pt x="1548766" y="1735919"/>
                  <a:pt x="1560194" y="1735919"/>
                </a:cubicBezTo>
                <a:close/>
                <a:moveTo>
                  <a:pt x="2051041" y="1734831"/>
                </a:moveTo>
                <a:lnTo>
                  <a:pt x="2051041" y="1781438"/>
                </a:lnTo>
                <a:lnTo>
                  <a:pt x="2050496" y="1781630"/>
                </a:lnTo>
                <a:cubicBezTo>
                  <a:pt x="2033627" y="1782174"/>
                  <a:pt x="2027097" y="1772379"/>
                  <a:pt x="2027097" y="1758775"/>
                </a:cubicBezTo>
                <a:cubicBezTo>
                  <a:pt x="2027097" y="1744082"/>
                  <a:pt x="2033627" y="1734831"/>
                  <a:pt x="2051041" y="1734831"/>
                </a:cubicBezTo>
                <a:close/>
                <a:moveTo>
                  <a:pt x="1887788" y="1734831"/>
                </a:moveTo>
                <a:cubicBezTo>
                  <a:pt x="1902481" y="1735375"/>
                  <a:pt x="1910099" y="1742994"/>
                  <a:pt x="1910099" y="1758775"/>
                </a:cubicBezTo>
                <a:cubicBezTo>
                  <a:pt x="1910099" y="1771835"/>
                  <a:pt x="1903025" y="1782718"/>
                  <a:pt x="1886699" y="1781086"/>
                </a:cubicBezTo>
                <a:cubicBezTo>
                  <a:pt x="1872551" y="1782174"/>
                  <a:pt x="1863844" y="1770203"/>
                  <a:pt x="1863844" y="1757687"/>
                </a:cubicBezTo>
                <a:cubicBezTo>
                  <a:pt x="1863844" y="1742994"/>
                  <a:pt x="1874728" y="1734287"/>
                  <a:pt x="1887788" y="1734831"/>
                </a:cubicBezTo>
                <a:close/>
                <a:moveTo>
                  <a:pt x="826100" y="1671706"/>
                </a:moveTo>
                <a:cubicBezTo>
                  <a:pt x="830454" y="1670618"/>
                  <a:pt x="832086" y="1673338"/>
                  <a:pt x="832086" y="1677692"/>
                </a:cubicBezTo>
                <a:cubicBezTo>
                  <a:pt x="832086" y="1681501"/>
                  <a:pt x="829365" y="1683134"/>
                  <a:pt x="825556" y="1683134"/>
                </a:cubicBezTo>
                <a:cubicBezTo>
                  <a:pt x="821203" y="1683134"/>
                  <a:pt x="819570" y="1679869"/>
                  <a:pt x="820658" y="1676603"/>
                </a:cubicBezTo>
                <a:cubicBezTo>
                  <a:pt x="821203" y="1674427"/>
                  <a:pt x="823924" y="1672250"/>
                  <a:pt x="826100" y="1671706"/>
                </a:cubicBezTo>
                <a:close/>
                <a:moveTo>
                  <a:pt x="989354" y="1661912"/>
                </a:moveTo>
                <a:cubicBezTo>
                  <a:pt x="994251" y="1661912"/>
                  <a:pt x="1004046" y="1671707"/>
                  <a:pt x="1004046" y="1676604"/>
                </a:cubicBezTo>
                <a:cubicBezTo>
                  <a:pt x="1004046" y="1682590"/>
                  <a:pt x="996428" y="1690209"/>
                  <a:pt x="989354" y="1690209"/>
                </a:cubicBezTo>
                <a:cubicBezTo>
                  <a:pt x="982823" y="1690209"/>
                  <a:pt x="975749" y="1683679"/>
                  <a:pt x="975205" y="1677693"/>
                </a:cubicBezTo>
                <a:cubicBezTo>
                  <a:pt x="974661" y="1671707"/>
                  <a:pt x="983912" y="1661367"/>
                  <a:pt x="989354" y="1661912"/>
                </a:cubicBezTo>
                <a:close/>
                <a:moveTo>
                  <a:pt x="1153151" y="1659734"/>
                </a:moveTo>
                <a:cubicBezTo>
                  <a:pt x="1162946" y="1658646"/>
                  <a:pt x="1171108" y="1667353"/>
                  <a:pt x="1170564" y="1677692"/>
                </a:cubicBezTo>
                <a:cubicBezTo>
                  <a:pt x="1170020" y="1688575"/>
                  <a:pt x="1162946" y="1694562"/>
                  <a:pt x="1152062" y="1694562"/>
                </a:cubicBezTo>
                <a:cubicBezTo>
                  <a:pt x="1141179" y="1694017"/>
                  <a:pt x="1135737" y="1688031"/>
                  <a:pt x="1135737" y="1677148"/>
                </a:cubicBezTo>
                <a:cubicBezTo>
                  <a:pt x="1135737" y="1664632"/>
                  <a:pt x="1141179" y="1659190"/>
                  <a:pt x="1153151" y="1659734"/>
                </a:cubicBezTo>
                <a:close/>
                <a:moveTo>
                  <a:pt x="1315315" y="1655381"/>
                </a:moveTo>
                <a:cubicBezTo>
                  <a:pt x="1327287" y="1654836"/>
                  <a:pt x="1337082" y="1664088"/>
                  <a:pt x="1337082" y="1676603"/>
                </a:cubicBezTo>
                <a:cubicBezTo>
                  <a:pt x="1337082" y="1688575"/>
                  <a:pt x="1326743" y="1698915"/>
                  <a:pt x="1315315" y="1698915"/>
                </a:cubicBezTo>
                <a:cubicBezTo>
                  <a:pt x="1304976" y="1698915"/>
                  <a:pt x="1294092" y="1687487"/>
                  <a:pt x="1294092" y="1677148"/>
                </a:cubicBezTo>
                <a:cubicBezTo>
                  <a:pt x="1294092" y="1666264"/>
                  <a:pt x="1304431" y="1655925"/>
                  <a:pt x="1315315" y="1655381"/>
                </a:cubicBezTo>
                <a:close/>
                <a:moveTo>
                  <a:pt x="1479111" y="1654293"/>
                </a:moveTo>
                <a:cubicBezTo>
                  <a:pt x="1495437" y="1653204"/>
                  <a:pt x="1501967" y="1664632"/>
                  <a:pt x="1501967" y="1677692"/>
                </a:cubicBezTo>
                <a:cubicBezTo>
                  <a:pt x="1501967" y="1689664"/>
                  <a:pt x="1492716" y="1700548"/>
                  <a:pt x="1479111" y="1700548"/>
                </a:cubicBezTo>
                <a:cubicBezTo>
                  <a:pt x="1466596" y="1700548"/>
                  <a:pt x="1455712" y="1690208"/>
                  <a:pt x="1455712" y="1676604"/>
                </a:cubicBezTo>
                <a:cubicBezTo>
                  <a:pt x="1456256" y="1663544"/>
                  <a:pt x="1464963" y="1653204"/>
                  <a:pt x="1479111" y="1654293"/>
                </a:cubicBezTo>
                <a:close/>
                <a:moveTo>
                  <a:pt x="1643452" y="1650483"/>
                </a:moveTo>
                <a:cubicBezTo>
                  <a:pt x="1654880" y="1651027"/>
                  <a:pt x="1667940" y="1664087"/>
                  <a:pt x="1668484" y="1676603"/>
                </a:cubicBezTo>
                <a:cubicBezTo>
                  <a:pt x="1669029" y="1689120"/>
                  <a:pt x="1655968" y="1702724"/>
                  <a:pt x="1643452" y="1703268"/>
                </a:cubicBezTo>
                <a:cubicBezTo>
                  <a:pt x="1631480" y="1703812"/>
                  <a:pt x="1617332" y="1690208"/>
                  <a:pt x="1617332" y="1677692"/>
                </a:cubicBezTo>
                <a:cubicBezTo>
                  <a:pt x="1616788" y="1664632"/>
                  <a:pt x="1630392" y="1650483"/>
                  <a:pt x="1643452" y="1650483"/>
                </a:cubicBezTo>
                <a:close/>
                <a:moveTo>
                  <a:pt x="1968326" y="1649940"/>
                </a:moveTo>
                <a:cubicBezTo>
                  <a:pt x="1983019" y="1649395"/>
                  <a:pt x="1997167" y="1664088"/>
                  <a:pt x="1995535" y="1676604"/>
                </a:cubicBezTo>
                <a:cubicBezTo>
                  <a:pt x="1997167" y="1689664"/>
                  <a:pt x="1982474" y="1704901"/>
                  <a:pt x="1968870" y="1704357"/>
                </a:cubicBezTo>
                <a:cubicBezTo>
                  <a:pt x="1954177" y="1703813"/>
                  <a:pt x="1942205" y="1691841"/>
                  <a:pt x="1941661" y="1677148"/>
                </a:cubicBezTo>
                <a:cubicBezTo>
                  <a:pt x="1941117" y="1662456"/>
                  <a:pt x="1956354" y="1649940"/>
                  <a:pt x="1968326" y="1649940"/>
                </a:cubicBezTo>
                <a:close/>
                <a:moveTo>
                  <a:pt x="1805617" y="1649939"/>
                </a:moveTo>
                <a:cubicBezTo>
                  <a:pt x="1819222" y="1648851"/>
                  <a:pt x="1832826" y="1664088"/>
                  <a:pt x="1832826" y="1677148"/>
                </a:cubicBezTo>
                <a:cubicBezTo>
                  <a:pt x="1832282" y="1690752"/>
                  <a:pt x="1819222" y="1703812"/>
                  <a:pt x="1805073" y="1704357"/>
                </a:cubicBezTo>
                <a:cubicBezTo>
                  <a:pt x="1792557" y="1704901"/>
                  <a:pt x="1777864" y="1688031"/>
                  <a:pt x="1778409" y="1677148"/>
                </a:cubicBezTo>
                <a:cubicBezTo>
                  <a:pt x="1779497" y="1662999"/>
                  <a:pt x="1791469" y="1649939"/>
                  <a:pt x="1805617" y="1649939"/>
                </a:cubicBezTo>
                <a:close/>
                <a:moveTo>
                  <a:pt x="744474" y="1588992"/>
                </a:moveTo>
                <a:cubicBezTo>
                  <a:pt x="748827" y="1588992"/>
                  <a:pt x="751004" y="1590624"/>
                  <a:pt x="751004" y="1594978"/>
                </a:cubicBezTo>
                <a:cubicBezTo>
                  <a:pt x="751004" y="1598787"/>
                  <a:pt x="749916" y="1601508"/>
                  <a:pt x="745562" y="1602052"/>
                </a:cubicBezTo>
                <a:cubicBezTo>
                  <a:pt x="740665" y="1602052"/>
                  <a:pt x="738488" y="1600420"/>
                  <a:pt x="738488" y="1594978"/>
                </a:cubicBezTo>
                <a:cubicBezTo>
                  <a:pt x="737944" y="1590624"/>
                  <a:pt x="740121" y="1588992"/>
                  <a:pt x="744474" y="1588992"/>
                </a:cubicBezTo>
                <a:close/>
                <a:moveTo>
                  <a:pt x="907183" y="1579741"/>
                </a:moveTo>
                <a:cubicBezTo>
                  <a:pt x="913169" y="1579197"/>
                  <a:pt x="923508" y="1588992"/>
                  <a:pt x="923508" y="1594978"/>
                </a:cubicBezTo>
                <a:cubicBezTo>
                  <a:pt x="923508" y="1600964"/>
                  <a:pt x="915345" y="1610215"/>
                  <a:pt x="908815" y="1610759"/>
                </a:cubicBezTo>
                <a:cubicBezTo>
                  <a:pt x="901197" y="1611303"/>
                  <a:pt x="892490" y="1603685"/>
                  <a:pt x="892490" y="1595522"/>
                </a:cubicBezTo>
                <a:cubicBezTo>
                  <a:pt x="892490" y="1588448"/>
                  <a:pt x="900653" y="1579741"/>
                  <a:pt x="907183" y="1579741"/>
                </a:cubicBezTo>
                <a:close/>
                <a:moveTo>
                  <a:pt x="1071524" y="1574843"/>
                </a:moveTo>
                <a:cubicBezTo>
                  <a:pt x="1081319" y="1575387"/>
                  <a:pt x="1091114" y="1585726"/>
                  <a:pt x="1091114" y="1595522"/>
                </a:cubicBezTo>
                <a:cubicBezTo>
                  <a:pt x="1091114" y="1605317"/>
                  <a:pt x="1080231" y="1615656"/>
                  <a:pt x="1070980" y="1615656"/>
                </a:cubicBezTo>
                <a:cubicBezTo>
                  <a:pt x="1062273" y="1615656"/>
                  <a:pt x="1050845" y="1604228"/>
                  <a:pt x="1050301" y="1595522"/>
                </a:cubicBezTo>
                <a:cubicBezTo>
                  <a:pt x="1050301" y="1586270"/>
                  <a:pt x="1062273" y="1574299"/>
                  <a:pt x="1071524" y="1574843"/>
                </a:cubicBezTo>
                <a:close/>
                <a:moveTo>
                  <a:pt x="1233688" y="1573210"/>
                </a:moveTo>
                <a:cubicBezTo>
                  <a:pt x="1247837" y="1573210"/>
                  <a:pt x="1256544" y="1581373"/>
                  <a:pt x="1256544" y="1595522"/>
                </a:cubicBezTo>
                <a:cubicBezTo>
                  <a:pt x="1256544" y="1609670"/>
                  <a:pt x="1247837" y="1618377"/>
                  <a:pt x="1233688" y="1618377"/>
                </a:cubicBezTo>
                <a:cubicBezTo>
                  <a:pt x="1221172" y="1618377"/>
                  <a:pt x="1212465" y="1608582"/>
                  <a:pt x="1211377" y="1596610"/>
                </a:cubicBezTo>
                <a:cubicBezTo>
                  <a:pt x="1210289" y="1584638"/>
                  <a:pt x="1222261" y="1571034"/>
                  <a:pt x="1233688" y="1573210"/>
                </a:cubicBezTo>
                <a:close/>
                <a:moveTo>
                  <a:pt x="1398030" y="1569402"/>
                </a:moveTo>
                <a:cubicBezTo>
                  <a:pt x="1411634" y="1569946"/>
                  <a:pt x="1423606" y="1582462"/>
                  <a:pt x="1423062" y="1595522"/>
                </a:cubicBezTo>
                <a:cubicBezTo>
                  <a:pt x="1423062" y="1608582"/>
                  <a:pt x="1410546" y="1621099"/>
                  <a:pt x="1397485" y="1621099"/>
                </a:cubicBezTo>
                <a:cubicBezTo>
                  <a:pt x="1384969" y="1621099"/>
                  <a:pt x="1371365" y="1608038"/>
                  <a:pt x="1371365" y="1595522"/>
                </a:cubicBezTo>
                <a:cubicBezTo>
                  <a:pt x="1371365" y="1582462"/>
                  <a:pt x="1384969" y="1568857"/>
                  <a:pt x="1398030" y="1569402"/>
                </a:cubicBezTo>
                <a:close/>
                <a:moveTo>
                  <a:pt x="1560194" y="1568313"/>
                </a:moveTo>
                <a:cubicBezTo>
                  <a:pt x="1574342" y="1566680"/>
                  <a:pt x="1587403" y="1581373"/>
                  <a:pt x="1587947" y="1594433"/>
                </a:cubicBezTo>
                <a:cubicBezTo>
                  <a:pt x="1588491" y="1608582"/>
                  <a:pt x="1574887" y="1622730"/>
                  <a:pt x="1560194" y="1622730"/>
                </a:cubicBezTo>
                <a:cubicBezTo>
                  <a:pt x="1547134" y="1622730"/>
                  <a:pt x="1532985" y="1608582"/>
                  <a:pt x="1532985" y="1594977"/>
                </a:cubicBezTo>
                <a:cubicBezTo>
                  <a:pt x="1532985" y="1581917"/>
                  <a:pt x="1547134" y="1566680"/>
                  <a:pt x="1560194" y="1568313"/>
                </a:cubicBezTo>
                <a:close/>
                <a:moveTo>
                  <a:pt x="1887244" y="1567225"/>
                </a:moveTo>
                <a:cubicBezTo>
                  <a:pt x="1905202" y="1567225"/>
                  <a:pt x="1915541" y="1578109"/>
                  <a:pt x="1915541" y="1594978"/>
                </a:cubicBezTo>
                <a:cubicBezTo>
                  <a:pt x="1915541" y="1612392"/>
                  <a:pt x="1903569" y="1624363"/>
                  <a:pt x="1886699" y="1623819"/>
                </a:cubicBezTo>
                <a:cubicBezTo>
                  <a:pt x="1872551" y="1623819"/>
                  <a:pt x="1857314" y="1613480"/>
                  <a:pt x="1858947" y="1594978"/>
                </a:cubicBezTo>
                <a:cubicBezTo>
                  <a:pt x="1857858" y="1577564"/>
                  <a:pt x="1870918" y="1567225"/>
                  <a:pt x="1887244" y="1567225"/>
                </a:cubicBezTo>
                <a:close/>
                <a:moveTo>
                  <a:pt x="1724535" y="1567225"/>
                </a:moveTo>
                <a:cubicBezTo>
                  <a:pt x="1743037" y="1567225"/>
                  <a:pt x="1752288" y="1581373"/>
                  <a:pt x="1752288" y="1594978"/>
                </a:cubicBezTo>
                <a:cubicBezTo>
                  <a:pt x="1752288" y="1609127"/>
                  <a:pt x="1741949" y="1623275"/>
                  <a:pt x="1724535" y="1623275"/>
                </a:cubicBezTo>
                <a:cubicBezTo>
                  <a:pt x="1710930" y="1623819"/>
                  <a:pt x="1694605" y="1613480"/>
                  <a:pt x="1696238" y="1594978"/>
                </a:cubicBezTo>
                <a:cubicBezTo>
                  <a:pt x="1694605" y="1577564"/>
                  <a:pt x="1708754" y="1567225"/>
                  <a:pt x="1724535" y="1567225"/>
                </a:cubicBezTo>
                <a:close/>
                <a:moveTo>
                  <a:pt x="2050496" y="1566680"/>
                </a:moveTo>
                <a:lnTo>
                  <a:pt x="2051041" y="1566888"/>
                </a:lnTo>
                <a:lnTo>
                  <a:pt x="2051041" y="1623794"/>
                </a:lnTo>
                <a:lnTo>
                  <a:pt x="2049408" y="1624363"/>
                </a:lnTo>
                <a:cubicBezTo>
                  <a:pt x="2033083" y="1623818"/>
                  <a:pt x="2021111" y="1611302"/>
                  <a:pt x="2021655" y="1594977"/>
                </a:cubicBezTo>
                <a:cubicBezTo>
                  <a:pt x="2022199" y="1575931"/>
                  <a:pt x="2033627" y="1567224"/>
                  <a:pt x="2050496" y="1566680"/>
                </a:cubicBezTo>
                <a:close/>
                <a:moveTo>
                  <a:pt x="663392" y="1505188"/>
                </a:moveTo>
                <a:cubicBezTo>
                  <a:pt x="666113" y="1505188"/>
                  <a:pt x="669922" y="1510086"/>
                  <a:pt x="674819" y="1513895"/>
                </a:cubicBezTo>
                <a:cubicBezTo>
                  <a:pt x="669378" y="1517704"/>
                  <a:pt x="665569" y="1522602"/>
                  <a:pt x="662848" y="1522058"/>
                </a:cubicBezTo>
                <a:cubicBezTo>
                  <a:pt x="659583" y="1521513"/>
                  <a:pt x="654685" y="1516072"/>
                  <a:pt x="654685" y="1513351"/>
                </a:cubicBezTo>
                <a:cubicBezTo>
                  <a:pt x="654685" y="1510086"/>
                  <a:pt x="660127" y="1505188"/>
                  <a:pt x="663392" y="1505188"/>
                </a:cubicBezTo>
                <a:close/>
                <a:moveTo>
                  <a:pt x="826101" y="1497570"/>
                </a:moveTo>
                <a:cubicBezTo>
                  <a:pt x="834263" y="1497025"/>
                  <a:pt x="842426" y="1505188"/>
                  <a:pt x="842970" y="1513351"/>
                </a:cubicBezTo>
                <a:cubicBezTo>
                  <a:pt x="842970" y="1522058"/>
                  <a:pt x="835352" y="1529676"/>
                  <a:pt x="826645" y="1529676"/>
                </a:cubicBezTo>
                <a:cubicBezTo>
                  <a:pt x="818482" y="1529676"/>
                  <a:pt x="810864" y="1523146"/>
                  <a:pt x="810319" y="1514983"/>
                </a:cubicBezTo>
                <a:cubicBezTo>
                  <a:pt x="809775" y="1506276"/>
                  <a:pt x="817394" y="1498114"/>
                  <a:pt x="826101" y="1497570"/>
                </a:cubicBezTo>
                <a:close/>
                <a:moveTo>
                  <a:pt x="988265" y="1492128"/>
                </a:moveTo>
                <a:cubicBezTo>
                  <a:pt x="998605" y="1492128"/>
                  <a:pt x="1010577" y="1501379"/>
                  <a:pt x="1010577" y="1513351"/>
                </a:cubicBezTo>
                <a:cubicBezTo>
                  <a:pt x="1010577" y="1524234"/>
                  <a:pt x="1000237" y="1534574"/>
                  <a:pt x="989354" y="1534574"/>
                </a:cubicBezTo>
                <a:cubicBezTo>
                  <a:pt x="979559" y="1534574"/>
                  <a:pt x="968675" y="1523690"/>
                  <a:pt x="968131" y="1513895"/>
                </a:cubicBezTo>
                <a:cubicBezTo>
                  <a:pt x="968131" y="1503556"/>
                  <a:pt x="977926" y="1492672"/>
                  <a:pt x="988265" y="1492128"/>
                </a:cubicBezTo>
                <a:close/>
                <a:moveTo>
                  <a:pt x="1152606" y="1490496"/>
                </a:moveTo>
                <a:cubicBezTo>
                  <a:pt x="1167299" y="1489407"/>
                  <a:pt x="1176006" y="1498658"/>
                  <a:pt x="1176006" y="1513351"/>
                </a:cubicBezTo>
                <a:cubicBezTo>
                  <a:pt x="1176006" y="1530764"/>
                  <a:pt x="1166755" y="1537295"/>
                  <a:pt x="1152606" y="1537839"/>
                </a:cubicBezTo>
                <a:cubicBezTo>
                  <a:pt x="1139546" y="1537839"/>
                  <a:pt x="1129207" y="1530764"/>
                  <a:pt x="1129207" y="1514984"/>
                </a:cubicBezTo>
                <a:cubicBezTo>
                  <a:pt x="1129207" y="1498114"/>
                  <a:pt x="1138458" y="1491040"/>
                  <a:pt x="1152606" y="1490496"/>
                </a:cubicBezTo>
                <a:close/>
                <a:moveTo>
                  <a:pt x="1316403" y="1487231"/>
                </a:moveTo>
                <a:cubicBezTo>
                  <a:pt x="1331095" y="1487775"/>
                  <a:pt x="1342523" y="1499203"/>
                  <a:pt x="1342523" y="1513896"/>
                </a:cubicBezTo>
                <a:cubicBezTo>
                  <a:pt x="1342523" y="1528588"/>
                  <a:pt x="1330551" y="1540560"/>
                  <a:pt x="1315314" y="1540560"/>
                </a:cubicBezTo>
                <a:cubicBezTo>
                  <a:pt x="1303887" y="1542193"/>
                  <a:pt x="1288106" y="1527500"/>
                  <a:pt x="1288650" y="1513896"/>
                </a:cubicBezTo>
                <a:cubicBezTo>
                  <a:pt x="1289194" y="1498659"/>
                  <a:pt x="1301166" y="1486687"/>
                  <a:pt x="1316403" y="1487231"/>
                </a:cubicBezTo>
                <a:close/>
                <a:moveTo>
                  <a:pt x="1479656" y="1485054"/>
                </a:moveTo>
                <a:cubicBezTo>
                  <a:pt x="1495437" y="1485598"/>
                  <a:pt x="1508497" y="1496482"/>
                  <a:pt x="1507409" y="1513895"/>
                </a:cubicBezTo>
                <a:cubicBezTo>
                  <a:pt x="1508497" y="1527500"/>
                  <a:pt x="1498158" y="1542192"/>
                  <a:pt x="1479112" y="1541648"/>
                </a:cubicBezTo>
                <a:cubicBezTo>
                  <a:pt x="1462787" y="1541648"/>
                  <a:pt x="1451359" y="1529676"/>
                  <a:pt x="1451359" y="1513351"/>
                </a:cubicBezTo>
                <a:cubicBezTo>
                  <a:pt x="1451359" y="1493761"/>
                  <a:pt x="1466596" y="1485054"/>
                  <a:pt x="1479656" y="1485054"/>
                </a:cubicBezTo>
                <a:close/>
                <a:moveTo>
                  <a:pt x="1641820" y="1482334"/>
                </a:moveTo>
                <a:cubicBezTo>
                  <a:pt x="1657057" y="1481789"/>
                  <a:pt x="1672838" y="1496482"/>
                  <a:pt x="1673382" y="1512807"/>
                </a:cubicBezTo>
                <a:cubicBezTo>
                  <a:pt x="1673927" y="1528044"/>
                  <a:pt x="1658145" y="1544370"/>
                  <a:pt x="1642909" y="1544370"/>
                </a:cubicBezTo>
                <a:cubicBezTo>
                  <a:pt x="1626039" y="1542193"/>
                  <a:pt x="1612979" y="1532942"/>
                  <a:pt x="1612435" y="1513351"/>
                </a:cubicBezTo>
                <a:cubicBezTo>
                  <a:pt x="1611890" y="1497571"/>
                  <a:pt x="1626583" y="1483422"/>
                  <a:pt x="1641820" y="1482334"/>
                </a:cubicBezTo>
                <a:close/>
                <a:moveTo>
                  <a:pt x="1804529" y="1481788"/>
                </a:moveTo>
                <a:cubicBezTo>
                  <a:pt x="1820855" y="1481244"/>
                  <a:pt x="1836091" y="1494304"/>
                  <a:pt x="1837180" y="1513351"/>
                </a:cubicBezTo>
                <a:cubicBezTo>
                  <a:pt x="1838812" y="1528043"/>
                  <a:pt x="1825208" y="1544913"/>
                  <a:pt x="1805617" y="1545457"/>
                </a:cubicBezTo>
                <a:cubicBezTo>
                  <a:pt x="1787660" y="1544913"/>
                  <a:pt x="1774055" y="1532397"/>
                  <a:pt x="1773511" y="1514983"/>
                </a:cubicBezTo>
                <a:cubicBezTo>
                  <a:pt x="1772967" y="1494849"/>
                  <a:pt x="1788204" y="1482333"/>
                  <a:pt x="1804529" y="1481788"/>
                </a:cubicBezTo>
                <a:close/>
                <a:moveTo>
                  <a:pt x="1968870" y="1480700"/>
                </a:moveTo>
                <a:cubicBezTo>
                  <a:pt x="1984651" y="1480700"/>
                  <a:pt x="2000977" y="1495937"/>
                  <a:pt x="2000977" y="1513351"/>
                </a:cubicBezTo>
                <a:cubicBezTo>
                  <a:pt x="2001521" y="1529132"/>
                  <a:pt x="1987916" y="1546001"/>
                  <a:pt x="1968870" y="1545457"/>
                </a:cubicBezTo>
                <a:cubicBezTo>
                  <a:pt x="1949824" y="1545457"/>
                  <a:pt x="1936764" y="1530764"/>
                  <a:pt x="1936764" y="1513351"/>
                </a:cubicBezTo>
                <a:cubicBezTo>
                  <a:pt x="1936764" y="1493760"/>
                  <a:pt x="1953633" y="1480700"/>
                  <a:pt x="1968870" y="1480700"/>
                </a:cubicBezTo>
                <a:close/>
                <a:moveTo>
                  <a:pt x="581221" y="1423562"/>
                </a:moveTo>
                <a:cubicBezTo>
                  <a:pt x="586663" y="1423562"/>
                  <a:pt x="589384" y="1427371"/>
                  <a:pt x="588840" y="1431725"/>
                </a:cubicBezTo>
                <a:cubicBezTo>
                  <a:pt x="588840" y="1434990"/>
                  <a:pt x="585030" y="1438255"/>
                  <a:pt x="581765" y="1443153"/>
                </a:cubicBezTo>
                <a:cubicBezTo>
                  <a:pt x="577412" y="1438255"/>
                  <a:pt x="574147" y="1436078"/>
                  <a:pt x="573059" y="1432813"/>
                </a:cubicBezTo>
                <a:cubicBezTo>
                  <a:pt x="571426" y="1429004"/>
                  <a:pt x="576868" y="1423562"/>
                  <a:pt x="581221" y="1423562"/>
                </a:cubicBezTo>
                <a:close/>
                <a:moveTo>
                  <a:pt x="745562" y="1414855"/>
                </a:moveTo>
                <a:cubicBezTo>
                  <a:pt x="754269" y="1415399"/>
                  <a:pt x="761344" y="1423018"/>
                  <a:pt x="761344" y="1432269"/>
                </a:cubicBezTo>
                <a:cubicBezTo>
                  <a:pt x="761344" y="1442064"/>
                  <a:pt x="754813" y="1448050"/>
                  <a:pt x="745018" y="1448050"/>
                </a:cubicBezTo>
                <a:cubicBezTo>
                  <a:pt x="734679" y="1448050"/>
                  <a:pt x="728693" y="1442064"/>
                  <a:pt x="728693" y="1431725"/>
                </a:cubicBezTo>
                <a:cubicBezTo>
                  <a:pt x="728693" y="1421386"/>
                  <a:pt x="735223" y="1414311"/>
                  <a:pt x="745562" y="1414855"/>
                </a:cubicBezTo>
                <a:close/>
                <a:moveTo>
                  <a:pt x="908815" y="1409958"/>
                </a:moveTo>
                <a:cubicBezTo>
                  <a:pt x="920243" y="1410502"/>
                  <a:pt x="930038" y="1420297"/>
                  <a:pt x="930038" y="1431725"/>
                </a:cubicBezTo>
                <a:cubicBezTo>
                  <a:pt x="929494" y="1443697"/>
                  <a:pt x="919155" y="1454036"/>
                  <a:pt x="907183" y="1453492"/>
                </a:cubicBezTo>
                <a:cubicBezTo>
                  <a:pt x="896844" y="1453492"/>
                  <a:pt x="885960" y="1442064"/>
                  <a:pt x="885960" y="1431725"/>
                </a:cubicBezTo>
                <a:cubicBezTo>
                  <a:pt x="885960" y="1420297"/>
                  <a:pt x="897388" y="1409414"/>
                  <a:pt x="908815" y="1409958"/>
                </a:cubicBezTo>
                <a:close/>
                <a:moveTo>
                  <a:pt x="1070436" y="1406693"/>
                </a:moveTo>
                <a:cubicBezTo>
                  <a:pt x="1084584" y="1406693"/>
                  <a:pt x="1096012" y="1418121"/>
                  <a:pt x="1096012" y="1432269"/>
                </a:cubicBezTo>
                <a:cubicBezTo>
                  <a:pt x="1096012" y="1445329"/>
                  <a:pt x="1082952" y="1458390"/>
                  <a:pt x="1070436" y="1457846"/>
                </a:cubicBezTo>
                <a:cubicBezTo>
                  <a:pt x="1058464" y="1457301"/>
                  <a:pt x="1044860" y="1443153"/>
                  <a:pt x="1045404" y="1431181"/>
                </a:cubicBezTo>
                <a:cubicBezTo>
                  <a:pt x="1045948" y="1418665"/>
                  <a:pt x="1057920" y="1406693"/>
                  <a:pt x="1070436" y="1406693"/>
                </a:cubicBezTo>
                <a:close/>
                <a:moveTo>
                  <a:pt x="1235865" y="1404516"/>
                </a:moveTo>
                <a:cubicBezTo>
                  <a:pt x="1252191" y="1405605"/>
                  <a:pt x="1262530" y="1415944"/>
                  <a:pt x="1261986" y="1433358"/>
                </a:cubicBezTo>
                <a:cubicBezTo>
                  <a:pt x="1261442" y="1449683"/>
                  <a:pt x="1251102" y="1459478"/>
                  <a:pt x="1233689" y="1459478"/>
                </a:cubicBezTo>
                <a:cubicBezTo>
                  <a:pt x="1218452" y="1461655"/>
                  <a:pt x="1206480" y="1445329"/>
                  <a:pt x="1206480" y="1432269"/>
                </a:cubicBezTo>
                <a:cubicBezTo>
                  <a:pt x="1206480" y="1417032"/>
                  <a:pt x="1220084" y="1403428"/>
                  <a:pt x="1235865" y="1404516"/>
                </a:cubicBezTo>
                <a:close/>
                <a:moveTo>
                  <a:pt x="1397485" y="1400162"/>
                </a:moveTo>
                <a:cubicBezTo>
                  <a:pt x="1412178" y="1400162"/>
                  <a:pt x="1427959" y="1416487"/>
                  <a:pt x="1427959" y="1431724"/>
                </a:cubicBezTo>
                <a:cubicBezTo>
                  <a:pt x="1428503" y="1446961"/>
                  <a:pt x="1413810" y="1462198"/>
                  <a:pt x="1398029" y="1463287"/>
                </a:cubicBezTo>
                <a:cubicBezTo>
                  <a:pt x="1384425" y="1464375"/>
                  <a:pt x="1367555" y="1448049"/>
                  <a:pt x="1366467" y="1432813"/>
                </a:cubicBezTo>
                <a:cubicBezTo>
                  <a:pt x="1365923" y="1418120"/>
                  <a:pt x="1382792" y="1400162"/>
                  <a:pt x="1397485" y="1400162"/>
                </a:cubicBezTo>
                <a:close/>
                <a:moveTo>
                  <a:pt x="1561282" y="1399618"/>
                </a:moveTo>
                <a:cubicBezTo>
                  <a:pt x="1575975" y="1399618"/>
                  <a:pt x="1593388" y="1415943"/>
                  <a:pt x="1593388" y="1432269"/>
                </a:cubicBezTo>
                <a:cubicBezTo>
                  <a:pt x="1593388" y="1446961"/>
                  <a:pt x="1578696" y="1464919"/>
                  <a:pt x="1560738" y="1464375"/>
                </a:cubicBezTo>
                <a:cubicBezTo>
                  <a:pt x="1542236" y="1463831"/>
                  <a:pt x="1529176" y="1450226"/>
                  <a:pt x="1528631" y="1432813"/>
                </a:cubicBezTo>
                <a:cubicBezTo>
                  <a:pt x="1528087" y="1414311"/>
                  <a:pt x="1545501" y="1399618"/>
                  <a:pt x="1561282" y="1399618"/>
                </a:cubicBezTo>
                <a:close/>
                <a:moveTo>
                  <a:pt x="1723446" y="1399074"/>
                </a:moveTo>
                <a:cubicBezTo>
                  <a:pt x="1741948" y="1399074"/>
                  <a:pt x="1757185" y="1413767"/>
                  <a:pt x="1757185" y="1432269"/>
                </a:cubicBezTo>
                <a:cubicBezTo>
                  <a:pt x="1757185" y="1451315"/>
                  <a:pt x="1743037" y="1463831"/>
                  <a:pt x="1723991" y="1465464"/>
                </a:cubicBezTo>
                <a:cubicBezTo>
                  <a:pt x="1707121" y="1466552"/>
                  <a:pt x="1690252" y="1448594"/>
                  <a:pt x="1691340" y="1433357"/>
                </a:cubicBezTo>
                <a:cubicBezTo>
                  <a:pt x="1692428" y="1412678"/>
                  <a:pt x="1704400" y="1399074"/>
                  <a:pt x="1723446" y="1399074"/>
                </a:cubicBezTo>
                <a:close/>
                <a:moveTo>
                  <a:pt x="1886700" y="1398530"/>
                </a:moveTo>
                <a:cubicBezTo>
                  <a:pt x="1904113" y="1396898"/>
                  <a:pt x="1922071" y="1415944"/>
                  <a:pt x="1920439" y="1432269"/>
                </a:cubicBezTo>
                <a:cubicBezTo>
                  <a:pt x="1919350" y="1451315"/>
                  <a:pt x="1907378" y="1464920"/>
                  <a:pt x="1887788" y="1464920"/>
                </a:cubicBezTo>
                <a:cubicBezTo>
                  <a:pt x="1867109" y="1464920"/>
                  <a:pt x="1854049" y="1452948"/>
                  <a:pt x="1854049" y="1433358"/>
                </a:cubicBezTo>
                <a:cubicBezTo>
                  <a:pt x="1854049" y="1412679"/>
                  <a:pt x="1867109" y="1400163"/>
                  <a:pt x="1886700" y="1398530"/>
                </a:cubicBezTo>
                <a:close/>
                <a:moveTo>
                  <a:pt x="2051041" y="1398217"/>
                </a:moveTo>
                <a:lnTo>
                  <a:pt x="2051041" y="1464535"/>
                </a:lnTo>
                <a:lnTo>
                  <a:pt x="2049953" y="1464920"/>
                </a:lnTo>
                <a:cubicBezTo>
                  <a:pt x="2032539" y="1467096"/>
                  <a:pt x="2017302" y="1450771"/>
                  <a:pt x="2017302" y="1431725"/>
                </a:cubicBezTo>
                <a:cubicBezTo>
                  <a:pt x="2017302" y="1422746"/>
                  <a:pt x="2021383" y="1414311"/>
                  <a:pt x="2027709" y="1408121"/>
                </a:cubicBezTo>
                <a:close/>
                <a:moveTo>
                  <a:pt x="500139" y="1341936"/>
                </a:moveTo>
                <a:cubicBezTo>
                  <a:pt x="503404" y="1343568"/>
                  <a:pt x="506125" y="1346833"/>
                  <a:pt x="511023" y="1350643"/>
                </a:cubicBezTo>
                <a:cubicBezTo>
                  <a:pt x="506125" y="1354452"/>
                  <a:pt x="502860" y="1357717"/>
                  <a:pt x="499595" y="1358261"/>
                </a:cubicBezTo>
                <a:cubicBezTo>
                  <a:pt x="495241" y="1359349"/>
                  <a:pt x="490888" y="1353908"/>
                  <a:pt x="491432" y="1349010"/>
                </a:cubicBezTo>
                <a:cubicBezTo>
                  <a:pt x="491976" y="1344112"/>
                  <a:pt x="495241" y="1340848"/>
                  <a:pt x="500139" y="1341936"/>
                </a:cubicBezTo>
                <a:close/>
                <a:moveTo>
                  <a:pt x="662848" y="1333773"/>
                </a:moveTo>
                <a:cubicBezTo>
                  <a:pt x="673187" y="1333773"/>
                  <a:pt x="679173" y="1340303"/>
                  <a:pt x="679173" y="1350643"/>
                </a:cubicBezTo>
                <a:cubicBezTo>
                  <a:pt x="679173" y="1359894"/>
                  <a:pt x="672099" y="1366424"/>
                  <a:pt x="662848" y="1366424"/>
                </a:cubicBezTo>
                <a:cubicBezTo>
                  <a:pt x="653053" y="1366424"/>
                  <a:pt x="647067" y="1359894"/>
                  <a:pt x="647067" y="1350098"/>
                </a:cubicBezTo>
                <a:cubicBezTo>
                  <a:pt x="647067" y="1339759"/>
                  <a:pt x="653053" y="1333773"/>
                  <a:pt x="662848" y="1333773"/>
                </a:cubicBezTo>
                <a:close/>
                <a:moveTo>
                  <a:pt x="826645" y="1328331"/>
                </a:moveTo>
                <a:cubicBezTo>
                  <a:pt x="838617" y="1328331"/>
                  <a:pt x="848412" y="1338670"/>
                  <a:pt x="847868" y="1350642"/>
                </a:cubicBezTo>
                <a:cubicBezTo>
                  <a:pt x="847868" y="1362070"/>
                  <a:pt x="836984" y="1372409"/>
                  <a:pt x="825556" y="1372409"/>
                </a:cubicBezTo>
                <a:cubicBezTo>
                  <a:pt x="814673" y="1372409"/>
                  <a:pt x="803789" y="1360982"/>
                  <a:pt x="804334" y="1349554"/>
                </a:cubicBezTo>
                <a:cubicBezTo>
                  <a:pt x="804334" y="1337582"/>
                  <a:pt x="814673" y="1328331"/>
                  <a:pt x="826645" y="1328331"/>
                </a:cubicBezTo>
                <a:close/>
                <a:moveTo>
                  <a:pt x="989353" y="1323978"/>
                </a:moveTo>
                <a:cubicBezTo>
                  <a:pt x="1002957" y="1324522"/>
                  <a:pt x="1014385" y="1334861"/>
                  <a:pt x="1015473" y="1350098"/>
                </a:cubicBezTo>
                <a:cubicBezTo>
                  <a:pt x="1014929" y="1363702"/>
                  <a:pt x="1004046" y="1376219"/>
                  <a:pt x="989353" y="1376763"/>
                </a:cubicBezTo>
                <a:cubicBezTo>
                  <a:pt x="976293" y="1376763"/>
                  <a:pt x="963777" y="1364791"/>
                  <a:pt x="963777" y="1350642"/>
                </a:cubicBezTo>
                <a:cubicBezTo>
                  <a:pt x="963233" y="1334861"/>
                  <a:pt x="977925" y="1323434"/>
                  <a:pt x="989353" y="1323978"/>
                </a:cubicBezTo>
                <a:close/>
                <a:moveTo>
                  <a:pt x="1152606" y="1322889"/>
                </a:moveTo>
                <a:cubicBezTo>
                  <a:pt x="1170564" y="1320712"/>
                  <a:pt x="1180903" y="1335405"/>
                  <a:pt x="1181447" y="1350098"/>
                </a:cubicBezTo>
                <a:cubicBezTo>
                  <a:pt x="1181447" y="1364791"/>
                  <a:pt x="1171108" y="1379483"/>
                  <a:pt x="1152606" y="1379483"/>
                </a:cubicBezTo>
                <a:cubicBezTo>
                  <a:pt x="1137913" y="1379483"/>
                  <a:pt x="1124853" y="1367511"/>
                  <a:pt x="1124853" y="1350642"/>
                </a:cubicBezTo>
                <a:cubicBezTo>
                  <a:pt x="1124309" y="1333228"/>
                  <a:pt x="1137913" y="1320712"/>
                  <a:pt x="1152606" y="1322889"/>
                </a:cubicBezTo>
                <a:close/>
                <a:moveTo>
                  <a:pt x="1315315" y="1318536"/>
                </a:moveTo>
                <a:cubicBezTo>
                  <a:pt x="1334361" y="1318536"/>
                  <a:pt x="1345789" y="1331596"/>
                  <a:pt x="1347966" y="1350098"/>
                </a:cubicBezTo>
                <a:cubicBezTo>
                  <a:pt x="1345245" y="1369144"/>
                  <a:pt x="1334905" y="1382205"/>
                  <a:pt x="1315315" y="1381661"/>
                </a:cubicBezTo>
                <a:cubicBezTo>
                  <a:pt x="1296813" y="1381116"/>
                  <a:pt x="1284841" y="1369144"/>
                  <a:pt x="1284297" y="1350098"/>
                </a:cubicBezTo>
                <a:cubicBezTo>
                  <a:pt x="1284297" y="1331052"/>
                  <a:pt x="1297357" y="1319080"/>
                  <a:pt x="1315315" y="1318536"/>
                </a:cubicBezTo>
                <a:close/>
                <a:moveTo>
                  <a:pt x="1480744" y="1317448"/>
                </a:moveTo>
                <a:cubicBezTo>
                  <a:pt x="1499246" y="1317992"/>
                  <a:pt x="1512851" y="1332140"/>
                  <a:pt x="1512306" y="1351731"/>
                </a:cubicBezTo>
                <a:cubicBezTo>
                  <a:pt x="1511762" y="1370233"/>
                  <a:pt x="1497070" y="1383837"/>
                  <a:pt x="1477479" y="1383293"/>
                </a:cubicBezTo>
                <a:cubicBezTo>
                  <a:pt x="1458977" y="1382749"/>
                  <a:pt x="1447550" y="1368600"/>
                  <a:pt x="1446461" y="1349554"/>
                </a:cubicBezTo>
                <a:cubicBezTo>
                  <a:pt x="1445373" y="1333773"/>
                  <a:pt x="1463331" y="1314727"/>
                  <a:pt x="1480744" y="1317448"/>
                </a:cubicBezTo>
                <a:close/>
                <a:moveTo>
                  <a:pt x="1642908" y="1315815"/>
                </a:moveTo>
                <a:cubicBezTo>
                  <a:pt x="1663043" y="1315815"/>
                  <a:pt x="1677735" y="1333229"/>
                  <a:pt x="1676647" y="1351731"/>
                </a:cubicBezTo>
                <a:cubicBezTo>
                  <a:pt x="1675559" y="1371865"/>
                  <a:pt x="1661954" y="1384381"/>
                  <a:pt x="1640732" y="1383837"/>
                </a:cubicBezTo>
                <a:cubicBezTo>
                  <a:pt x="1620597" y="1384381"/>
                  <a:pt x="1608081" y="1368056"/>
                  <a:pt x="1608081" y="1349554"/>
                </a:cubicBezTo>
                <a:cubicBezTo>
                  <a:pt x="1608081" y="1329964"/>
                  <a:pt x="1623318" y="1315815"/>
                  <a:pt x="1642908" y="1315815"/>
                </a:cubicBezTo>
                <a:close/>
                <a:moveTo>
                  <a:pt x="1968870" y="1314183"/>
                </a:moveTo>
                <a:cubicBezTo>
                  <a:pt x="1989548" y="1314727"/>
                  <a:pt x="2004785" y="1329420"/>
                  <a:pt x="2005329" y="1351187"/>
                </a:cubicBezTo>
                <a:cubicBezTo>
                  <a:pt x="2004785" y="1370233"/>
                  <a:pt x="1985739" y="1388735"/>
                  <a:pt x="1967781" y="1388191"/>
                </a:cubicBezTo>
                <a:cubicBezTo>
                  <a:pt x="1949823" y="1387647"/>
                  <a:pt x="1931322" y="1367512"/>
                  <a:pt x="1931866" y="1350098"/>
                </a:cubicBezTo>
                <a:cubicBezTo>
                  <a:pt x="1932410" y="1331596"/>
                  <a:pt x="1950912" y="1313094"/>
                  <a:pt x="1968870" y="1314183"/>
                </a:cubicBezTo>
                <a:close/>
                <a:moveTo>
                  <a:pt x="1806161" y="1313639"/>
                </a:moveTo>
                <a:cubicBezTo>
                  <a:pt x="1825207" y="1314183"/>
                  <a:pt x="1843165" y="1332141"/>
                  <a:pt x="1841533" y="1351187"/>
                </a:cubicBezTo>
                <a:cubicBezTo>
                  <a:pt x="1840988" y="1360438"/>
                  <a:pt x="1838267" y="1370233"/>
                  <a:pt x="1830105" y="1376763"/>
                </a:cubicBezTo>
                <a:cubicBezTo>
                  <a:pt x="1822486" y="1383293"/>
                  <a:pt x="1813235" y="1387102"/>
                  <a:pt x="1803984" y="1387102"/>
                </a:cubicBezTo>
                <a:cubicBezTo>
                  <a:pt x="1786027" y="1387102"/>
                  <a:pt x="1768613" y="1367512"/>
                  <a:pt x="1768613" y="1350098"/>
                </a:cubicBezTo>
                <a:cubicBezTo>
                  <a:pt x="1769157" y="1331596"/>
                  <a:pt x="1788203" y="1313094"/>
                  <a:pt x="1806161" y="1313639"/>
                </a:cubicBezTo>
                <a:close/>
                <a:moveTo>
                  <a:pt x="419057" y="1262486"/>
                </a:moveTo>
                <a:cubicBezTo>
                  <a:pt x="423410" y="1262486"/>
                  <a:pt x="425587" y="1265207"/>
                  <a:pt x="424499" y="1269016"/>
                </a:cubicBezTo>
                <a:cubicBezTo>
                  <a:pt x="423410" y="1271737"/>
                  <a:pt x="421234" y="1273914"/>
                  <a:pt x="417969" y="1278811"/>
                </a:cubicBezTo>
                <a:cubicBezTo>
                  <a:pt x="414704" y="1273914"/>
                  <a:pt x="412527" y="1271737"/>
                  <a:pt x="411983" y="1269016"/>
                </a:cubicBezTo>
                <a:cubicBezTo>
                  <a:pt x="410894" y="1264118"/>
                  <a:pt x="414159" y="1262486"/>
                  <a:pt x="419057" y="1262486"/>
                </a:cubicBezTo>
                <a:close/>
                <a:moveTo>
                  <a:pt x="581221" y="1252147"/>
                </a:moveTo>
                <a:cubicBezTo>
                  <a:pt x="591016" y="1252691"/>
                  <a:pt x="598091" y="1260310"/>
                  <a:pt x="597547" y="1269017"/>
                </a:cubicBezTo>
                <a:cubicBezTo>
                  <a:pt x="597547" y="1278268"/>
                  <a:pt x="589928" y="1284798"/>
                  <a:pt x="580133" y="1284254"/>
                </a:cubicBezTo>
                <a:cubicBezTo>
                  <a:pt x="570882" y="1283709"/>
                  <a:pt x="564896" y="1277179"/>
                  <a:pt x="564896" y="1268472"/>
                </a:cubicBezTo>
                <a:cubicBezTo>
                  <a:pt x="564896" y="1259222"/>
                  <a:pt x="571970" y="1252147"/>
                  <a:pt x="581221" y="1252147"/>
                </a:cubicBezTo>
                <a:close/>
                <a:moveTo>
                  <a:pt x="745018" y="1246705"/>
                </a:moveTo>
                <a:cubicBezTo>
                  <a:pt x="757534" y="1246705"/>
                  <a:pt x="766785" y="1257044"/>
                  <a:pt x="766241" y="1269560"/>
                </a:cubicBezTo>
                <a:cubicBezTo>
                  <a:pt x="765697" y="1280988"/>
                  <a:pt x="755358" y="1290783"/>
                  <a:pt x="744474" y="1290783"/>
                </a:cubicBezTo>
                <a:cubicBezTo>
                  <a:pt x="733046" y="1290783"/>
                  <a:pt x="722707" y="1279900"/>
                  <a:pt x="722707" y="1267928"/>
                </a:cubicBezTo>
                <a:cubicBezTo>
                  <a:pt x="722707" y="1255956"/>
                  <a:pt x="733046" y="1246705"/>
                  <a:pt x="745018" y="1246705"/>
                </a:cubicBezTo>
                <a:close/>
                <a:moveTo>
                  <a:pt x="907727" y="1241807"/>
                </a:moveTo>
                <a:cubicBezTo>
                  <a:pt x="921331" y="1241807"/>
                  <a:pt x="934391" y="1257044"/>
                  <a:pt x="933847" y="1269016"/>
                </a:cubicBezTo>
                <a:cubicBezTo>
                  <a:pt x="933847" y="1282620"/>
                  <a:pt x="920787" y="1295680"/>
                  <a:pt x="907183" y="1295136"/>
                </a:cubicBezTo>
                <a:cubicBezTo>
                  <a:pt x="893578" y="1294592"/>
                  <a:pt x="880518" y="1280988"/>
                  <a:pt x="880518" y="1267927"/>
                </a:cubicBezTo>
                <a:cubicBezTo>
                  <a:pt x="881062" y="1254323"/>
                  <a:pt x="894122" y="1242351"/>
                  <a:pt x="907727" y="1241807"/>
                </a:cubicBezTo>
                <a:close/>
                <a:moveTo>
                  <a:pt x="1070979" y="1240719"/>
                </a:moveTo>
                <a:cubicBezTo>
                  <a:pt x="1091114" y="1240175"/>
                  <a:pt x="1099276" y="1252691"/>
                  <a:pt x="1099821" y="1268472"/>
                </a:cubicBezTo>
                <a:cubicBezTo>
                  <a:pt x="1099821" y="1285886"/>
                  <a:pt x="1088393" y="1297858"/>
                  <a:pt x="1070435" y="1297858"/>
                </a:cubicBezTo>
                <a:cubicBezTo>
                  <a:pt x="1053566" y="1297858"/>
                  <a:pt x="1042138" y="1286430"/>
                  <a:pt x="1042138" y="1269560"/>
                </a:cubicBezTo>
                <a:cubicBezTo>
                  <a:pt x="1042138" y="1250514"/>
                  <a:pt x="1053566" y="1240719"/>
                  <a:pt x="1070979" y="1240719"/>
                </a:cubicBezTo>
                <a:close/>
                <a:moveTo>
                  <a:pt x="1234233" y="1235821"/>
                </a:moveTo>
                <a:cubicBezTo>
                  <a:pt x="1250558" y="1235821"/>
                  <a:pt x="1267972" y="1252691"/>
                  <a:pt x="1266883" y="1269016"/>
                </a:cubicBezTo>
                <a:cubicBezTo>
                  <a:pt x="1266339" y="1285885"/>
                  <a:pt x="1251646" y="1301122"/>
                  <a:pt x="1234233" y="1300578"/>
                </a:cubicBezTo>
                <a:cubicBezTo>
                  <a:pt x="1216275" y="1300578"/>
                  <a:pt x="1201582" y="1286430"/>
                  <a:pt x="1201582" y="1267383"/>
                </a:cubicBezTo>
                <a:cubicBezTo>
                  <a:pt x="1201582" y="1249425"/>
                  <a:pt x="1217907" y="1235821"/>
                  <a:pt x="1234233" y="1235821"/>
                </a:cubicBezTo>
                <a:close/>
                <a:moveTo>
                  <a:pt x="1396397" y="1234733"/>
                </a:moveTo>
                <a:cubicBezTo>
                  <a:pt x="1413810" y="1233645"/>
                  <a:pt x="1433945" y="1250514"/>
                  <a:pt x="1431224" y="1268472"/>
                </a:cubicBezTo>
                <a:cubicBezTo>
                  <a:pt x="1433401" y="1286430"/>
                  <a:pt x="1415443" y="1303299"/>
                  <a:pt x="1396941" y="1302755"/>
                </a:cubicBezTo>
                <a:cubicBezTo>
                  <a:pt x="1381160" y="1302211"/>
                  <a:pt x="1363202" y="1290783"/>
                  <a:pt x="1363746" y="1269016"/>
                </a:cubicBezTo>
                <a:cubicBezTo>
                  <a:pt x="1364290" y="1248881"/>
                  <a:pt x="1376806" y="1235821"/>
                  <a:pt x="1396397" y="1234733"/>
                </a:cubicBezTo>
                <a:close/>
                <a:moveTo>
                  <a:pt x="1559649" y="1232557"/>
                </a:moveTo>
                <a:cubicBezTo>
                  <a:pt x="1580328" y="1232013"/>
                  <a:pt x="1595021" y="1246705"/>
                  <a:pt x="1597742" y="1268472"/>
                </a:cubicBezTo>
                <a:cubicBezTo>
                  <a:pt x="1598286" y="1286974"/>
                  <a:pt x="1580872" y="1304932"/>
                  <a:pt x="1561826" y="1305476"/>
                </a:cubicBezTo>
                <a:cubicBezTo>
                  <a:pt x="1543868" y="1306564"/>
                  <a:pt x="1524822" y="1288063"/>
                  <a:pt x="1523734" y="1269561"/>
                </a:cubicBezTo>
                <a:cubicBezTo>
                  <a:pt x="1522645" y="1252147"/>
                  <a:pt x="1541147" y="1232557"/>
                  <a:pt x="1559649" y="1232557"/>
                </a:cubicBezTo>
                <a:close/>
                <a:moveTo>
                  <a:pt x="1723990" y="1231468"/>
                </a:moveTo>
                <a:cubicBezTo>
                  <a:pt x="1743037" y="1231468"/>
                  <a:pt x="1761539" y="1249426"/>
                  <a:pt x="1762083" y="1268472"/>
                </a:cubicBezTo>
                <a:cubicBezTo>
                  <a:pt x="1762627" y="1290239"/>
                  <a:pt x="1741404" y="1306020"/>
                  <a:pt x="1724535" y="1307109"/>
                </a:cubicBezTo>
                <a:cubicBezTo>
                  <a:pt x="1706033" y="1306564"/>
                  <a:pt x="1687531" y="1290239"/>
                  <a:pt x="1686442" y="1270105"/>
                </a:cubicBezTo>
                <a:cubicBezTo>
                  <a:pt x="1685354" y="1254323"/>
                  <a:pt x="1701679" y="1231468"/>
                  <a:pt x="1723990" y="1231468"/>
                </a:cubicBezTo>
                <a:close/>
                <a:moveTo>
                  <a:pt x="1888332" y="1230924"/>
                </a:moveTo>
                <a:cubicBezTo>
                  <a:pt x="1905745" y="1229836"/>
                  <a:pt x="1928056" y="1250514"/>
                  <a:pt x="1925336" y="1269561"/>
                </a:cubicBezTo>
                <a:cubicBezTo>
                  <a:pt x="1925336" y="1289695"/>
                  <a:pt x="1907378" y="1306564"/>
                  <a:pt x="1887243" y="1307653"/>
                </a:cubicBezTo>
                <a:cubicBezTo>
                  <a:pt x="1870918" y="1308197"/>
                  <a:pt x="1847519" y="1288063"/>
                  <a:pt x="1849151" y="1267928"/>
                </a:cubicBezTo>
                <a:cubicBezTo>
                  <a:pt x="1850239" y="1247794"/>
                  <a:pt x="1867653" y="1231468"/>
                  <a:pt x="1888332" y="1230924"/>
                </a:cubicBezTo>
                <a:close/>
                <a:moveTo>
                  <a:pt x="2049952" y="1230380"/>
                </a:moveTo>
                <a:lnTo>
                  <a:pt x="2051041" y="1230805"/>
                </a:lnTo>
                <a:lnTo>
                  <a:pt x="2051041" y="1307109"/>
                </a:lnTo>
                <a:cubicBezTo>
                  <a:pt x="2033627" y="1309830"/>
                  <a:pt x="2011316" y="1286974"/>
                  <a:pt x="2012404" y="1268472"/>
                </a:cubicBezTo>
                <a:cubicBezTo>
                  <a:pt x="2013493" y="1247794"/>
                  <a:pt x="2029274" y="1230380"/>
                  <a:pt x="2049952" y="1230380"/>
                </a:cubicBezTo>
                <a:close/>
                <a:moveTo>
                  <a:pt x="337431" y="1181404"/>
                </a:moveTo>
                <a:cubicBezTo>
                  <a:pt x="339608" y="1182493"/>
                  <a:pt x="341240" y="1184669"/>
                  <a:pt x="345050" y="1187934"/>
                </a:cubicBezTo>
                <a:cubicBezTo>
                  <a:pt x="340696" y="1190111"/>
                  <a:pt x="338519" y="1192288"/>
                  <a:pt x="336343" y="1192288"/>
                </a:cubicBezTo>
                <a:cubicBezTo>
                  <a:pt x="331445" y="1192832"/>
                  <a:pt x="330901" y="1189567"/>
                  <a:pt x="330901" y="1185758"/>
                </a:cubicBezTo>
                <a:cubicBezTo>
                  <a:pt x="330901" y="1181404"/>
                  <a:pt x="334166" y="1180860"/>
                  <a:pt x="337431" y="1181404"/>
                </a:cubicBezTo>
                <a:close/>
                <a:moveTo>
                  <a:pt x="499051" y="1171065"/>
                </a:moveTo>
                <a:cubicBezTo>
                  <a:pt x="506125" y="1170521"/>
                  <a:pt x="516465" y="1179772"/>
                  <a:pt x="516465" y="1187390"/>
                </a:cubicBezTo>
                <a:cubicBezTo>
                  <a:pt x="515921" y="1193920"/>
                  <a:pt x="507214" y="1202627"/>
                  <a:pt x="500140" y="1202627"/>
                </a:cubicBezTo>
                <a:cubicBezTo>
                  <a:pt x="493065" y="1202627"/>
                  <a:pt x="484358" y="1195008"/>
                  <a:pt x="483814" y="1187390"/>
                </a:cubicBezTo>
                <a:cubicBezTo>
                  <a:pt x="483270" y="1180316"/>
                  <a:pt x="491977" y="1171065"/>
                  <a:pt x="499051" y="1171065"/>
                </a:cubicBezTo>
                <a:close/>
                <a:moveTo>
                  <a:pt x="662848" y="1165623"/>
                </a:moveTo>
                <a:cubicBezTo>
                  <a:pt x="675364" y="1165623"/>
                  <a:pt x="684615" y="1174874"/>
                  <a:pt x="684615" y="1187390"/>
                </a:cubicBezTo>
                <a:cubicBezTo>
                  <a:pt x="684615" y="1199362"/>
                  <a:pt x="674820" y="1209157"/>
                  <a:pt x="662848" y="1209157"/>
                </a:cubicBezTo>
                <a:cubicBezTo>
                  <a:pt x="651420" y="1209157"/>
                  <a:pt x="641081" y="1198274"/>
                  <a:pt x="641081" y="1186846"/>
                </a:cubicBezTo>
                <a:cubicBezTo>
                  <a:pt x="641081" y="1175418"/>
                  <a:pt x="651420" y="1165623"/>
                  <a:pt x="662848" y="1165623"/>
                </a:cubicBezTo>
                <a:close/>
                <a:moveTo>
                  <a:pt x="825556" y="1160725"/>
                </a:moveTo>
                <a:cubicBezTo>
                  <a:pt x="840249" y="1161270"/>
                  <a:pt x="851677" y="1171609"/>
                  <a:pt x="852765" y="1186846"/>
                </a:cubicBezTo>
                <a:cubicBezTo>
                  <a:pt x="853309" y="1199906"/>
                  <a:pt x="840249" y="1213511"/>
                  <a:pt x="826645" y="1213511"/>
                </a:cubicBezTo>
                <a:cubicBezTo>
                  <a:pt x="813585" y="1214055"/>
                  <a:pt x="799980" y="1200995"/>
                  <a:pt x="798892" y="1188479"/>
                </a:cubicBezTo>
                <a:cubicBezTo>
                  <a:pt x="797803" y="1173241"/>
                  <a:pt x="814129" y="1160181"/>
                  <a:pt x="825556" y="1160725"/>
                </a:cubicBezTo>
                <a:close/>
                <a:moveTo>
                  <a:pt x="989353" y="1158004"/>
                </a:moveTo>
                <a:cubicBezTo>
                  <a:pt x="1007855" y="1159092"/>
                  <a:pt x="1018739" y="1168888"/>
                  <a:pt x="1018195" y="1187934"/>
                </a:cubicBezTo>
                <a:cubicBezTo>
                  <a:pt x="1017651" y="1206436"/>
                  <a:pt x="1007311" y="1216231"/>
                  <a:pt x="988809" y="1216775"/>
                </a:cubicBezTo>
                <a:cubicBezTo>
                  <a:pt x="972484" y="1217319"/>
                  <a:pt x="960512" y="1203715"/>
                  <a:pt x="959968" y="1187934"/>
                </a:cubicBezTo>
                <a:cubicBezTo>
                  <a:pt x="959968" y="1170520"/>
                  <a:pt x="972484" y="1158004"/>
                  <a:pt x="989353" y="1158004"/>
                </a:cubicBezTo>
                <a:close/>
                <a:moveTo>
                  <a:pt x="1152062" y="1153651"/>
                </a:moveTo>
                <a:cubicBezTo>
                  <a:pt x="1166755" y="1152562"/>
                  <a:pt x="1186345" y="1171065"/>
                  <a:pt x="1185801" y="1186301"/>
                </a:cubicBezTo>
                <a:cubicBezTo>
                  <a:pt x="1184713" y="1205348"/>
                  <a:pt x="1171652" y="1218952"/>
                  <a:pt x="1153150" y="1219496"/>
                </a:cubicBezTo>
                <a:cubicBezTo>
                  <a:pt x="1135193" y="1221129"/>
                  <a:pt x="1119412" y="1204259"/>
                  <a:pt x="1119956" y="1187390"/>
                </a:cubicBezTo>
                <a:cubicBezTo>
                  <a:pt x="1120500" y="1168888"/>
                  <a:pt x="1134648" y="1154739"/>
                  <a:pt x="1152062" y="1153651"/>
                </a:cubicBezTo>
                <a:close/>
                <a:moveTo>
                  <a:pt x="1315315" y="1152018"/>
                </a:moveTo>
                <a:cubicBezTo>
                  <a:pt x="1336537" y="1151474"/>
                  <a:pt x="1351230" y="1169432"/>
                  <a:pt x="1351230" y="1186845"/>
                </a:cubicBezTo>
                <a:cubicBezTo>
                  <a:pt x="1350686" y="1205891"/>
                  <a:pt x="1338714" y="1222217"/>
                  <a:pt x="1315859" y="1221673"/>
                </a:cubicBezTo>
                <a:cubicBezTo>
                  <a:pt x="1294092" y="1221128"/>
                  <a:pt x="1282120" y="1209157"/>
                  <a:pt x="1281576" y="1187390"/>
                </a:cubicBezTo>
                <a:cubicBezTo>
                  <a:pt x="1281031" y="1167255"/>
                  <a:pt x="1295724" y="1152562"/>
                  <a:pt x="1315315" y="1152018"/>
                </a:cubicBezTo>
                <a:close/>
                <a:moveTo>
                  <a:pt x="1479656" y="1149298"/>
                </a:moveTo>
                <a:cubicBezTo>
                  <a:pt x="1500878" y="1149842"/>
                  <a:pt x="1517204" y="1168888"/>
                  <a:pt x="1516660" y="1188479"/>
                </a:cubicBezTo>
                <a:cubicBezTo>
                  <a:pt x="1515027" y="1210246"/>
                  <a:pt x="1495981" y="1224938"/>
                  <a:pt x="1478023" y="1224394"/>
                </a:cubicBezTo>
                <a:cubicBezTo>
                  <a:pt x="1457889" y="1223850"/>
                  <a:pt x="1439931" y="1205892"/>
                  <a:pt x="1441563" y="1185758"/>
                </a:cubicBezTo>
                <a:cubicBezTo>
                  <a:pt x="1442652" y="1166167"/>
                  <a:pt x="1458977" y="1149298"/>
                  <a:pt x="1479656" y="1149298"/>
                </a:cubicBezTo>
                <a:close/>
                <a:moveTo>
                  <a:pt x="1642365" y="1148209"/>
                </a:moveTo>
                <a:cubicBezTo>
                  <a:pt x="1659779" y="1147121"/>
                  <a:pt x="1681001" y="1166711"/>
                  <a:pt x="1681001" y="1187390"/>
                </a:cubicBezTo>
                <a:cubicBezTo>
                  <a:pt x="1681001" y="1208613"/>
                  <a:pt x="1658690" y="1226026"/>
                  <a:pt x="1641821" y="1226026"/>
                </a:cubicBezTo>
                <a:cubicBezTo>
                  <a:pt x="1624407" y="1226026"/>
                  <a:pt x="1601007" y="1205348"/>
                  <a:pt x="1603728" y="1186846"/>
                </a:cubicBezTo>
                <a:cubicBezTo>
                  <a:pt x="1603728" y="1165623"/>
                  <a:pt x="1621686" y="1149298"/>
                  <a:pt x="1642365" y="1148209"/>
                </a:cubicBezTo>
                <a:close/>
                <a:moveTo>
                  <a:pt x="1969414" y="1147665"/>
                </a:moveTo>
                <a:cubicBezTo>
                  <a:pt x="1991725" y="1146032"/>
                  <a:pt x="2009139" y="1165623"/>
                  <a:pt x="2009139" y="1187934"/>
                </a:cubicBezTo>
                <a:cubicBezTo>
                  <a:pt x="2008595" y="1209157"/>
                  <a:pt x="1990093" y="1227114"/>
                  <a:pt x="1968870" y="1227114"/>
                </a:cubicBezTo>
                <a:cubicBezTo>
                  <a:pt x="1949824" y="1227114"/>
                  <a:pt x="1928601" y="1209701"/>
                  <a:pt x="1929145" y="1186301"/>
                </a:cubicBezTo>
                <a:cubicBezTo>
                  <a:pt x="1929145" y="1165623"/>
                  <a:pt x="1948191" y="1145488"/>
                  <a:pt x="1969414" y="1147665"/>
                </a:cubicBezTo>
                <a:close/>
                <a:moveTo>
                  <a:pt x="1805617" y="1147665"/>
                </a:moveTo>
                <a:cubicBezTo>
                  <a:pt x="1825752" y="1147665"/>
                  <a:pt x="1845342" y="1165078"/>
                  <a:pt x="1844798" y="1187934"/>
                </a:cubicBezTo>
                <a:cubicBezTo>
                  <a:pt x="1844254" y="1208612"/>
                  <a:pt x="1824664" y="1227115"/>
                  <a:pt x="1805073" y="1226571"/>
                </a:cubicBezTo>
                <a:cubicBezTo>
                  <a:pt x="1787115" y="1226571"/>
                  <a:pt x="1764260" y="1209701"/>
                  <a:pt x="1766981" y="1186845"/>
                </a:cubicBezTo>
                <a:cubicBezTo>
                  <a:pt x="1764804" y="1165623"/>
                  <a:pt x="1786027" y="1147665"/>
                  <a:pt x="1805617" y="1147665"/>
                </a:cubicBezTo>
                <a:close/>
                <a:moveTo>
                  <a:pt x="417425" y="1090527"/>
                </a:moveTo>
                <a:cubicBezTo>
                  <a:pt x="423955" y="1090527"/>
                  <a:pt x="433206" y="1099234"/>
                  <a:pt x="432662" y="1105764"/>
                </a:cubicBezTo>
                <a:cubicBezTo>
                  <a:pt x="432662" y="1111206"/>
                  <a:pt x="423955" y="1119912"/>
                  <a:pt x="417969" y="1120457"/>
                </a:cubicBezTo>
                <a:cubicBezTo>
                  <a:pt x="411439" y="1121001"/>
                  <a:pt x="402188" y="1111750"/>
                  <a:pt x="402732" y="1105219"/>
                </a:cubicBezTo>
                <a:cubicBezTo>
                  <a:pt x="402732" y="1099234"/>
                  <a:pt x="411439" y="1090527"/>
                  <a:pt x="417425" y="1090527"/>
                </a:cubicBezTo>
                <a:close/>
                <a:moveTo>
                  <a:pt x="580677" y="1083996"/>
                </a:moveTo>
                <a:cubicBezTo>
                  <a:pt x="592105" y="1083996"/>
                  <a:pt x="601900" y="1093791"/>
                  <a:pt x="602444" y="1105219"/>
                </a:cubicBezTo>
                <a:cubicBezTo>
                  <a:pt x="602988" y="1116647"/>
                  <a:pt x="593193" y="1126986"/>
                  <a:pt x="581221" y="1127530"/>
                </a:cubicBezTo>
                <a:cubicBezTo>
                  <a:pt x="570338" y="1127530"/>
                  <a:pt x="558910" y="1116102"/>
                  <a:pt x="558910" y="1105219"/>
                </a:cubicBezTo>
                <a:cubicBezTo>
                  <a:pt x="558910" y="1094880"/>
                  <a:pt x="570338" y="1083996"/>
                  <a:pt x="580677" y="1083996"/>
                </a:cubicBezTo>
                <a:close/>
                <a:moveTo>
                  <a:pt x="743386" y="1079099"/>
                </a:moveTo>
                <a:cubicBezTo>
                  <a:pt x="756991" y="1079099"/>
                  <a:pt x="769507" y="1088894"/>
                  <a:pt x="770595" y="1105219"/>
                </a:cubicBezTo>
                <a:cubicBezTo>
                  <a:pt x="771683" y="1116103"/>
                  <a:pt x="760800" y="1131340"/>
                  <a:pt x="745019" y="1132428"/>
                </a:cubicBezTo>
                <a:cubicBezTo>
                  <a:pt x="734135" y="1134061"/>
                  <a:pt x="717810" y="1118280"/>
                  <a:pt x="717810" y="1106308"/>
                </a:cubicBezTo>
                <a:cubicBezTo>
                  <a:pt x="717810" y="1091071"/>
                  <a:pt x="731414" y="1079099"/>
                  <a:pt x="743386" y="1079099"/>
                </a:cubicBezTo>
                <a:close/>
                <a:moveTo>
                  <a:pt x="907727" y="1076378"/>
                </a:moveTo>
                <a:cubicBezTo>
                  <a:pt x="926773" y="1076378"/>
                  <a:pt x="937112" y="1087262"/>
                  <a:pt x="937112" y="1105219"/>
                </a:cubicBezTo>
                <a:cubicBezTo>
                  <a:pt x="937112" y="1121545"/>
                  <a:pt x="928950" y="1134061"/>
                  <a:pt x="908271" y="1134061"/>
                </a:cubicBezTo>
                <a:cubicBezTo>
                  <a:pt x="888681" y="1134605"/>
                  <a:pt x="878341" y="1122633"/>
                  <a:pt x="878885" y="1105764"/>
                </a:cubicBezTo>
                <a:cubicBezTo>
                  <a:pt x="878341" y="1086173"/>
                  <a:pt x="892490" y="1076378"/>
                  <a:pt x="907727" y="1076378"/>
                </a:cubicBezTo>
                <a:close/>
                <a:moveTo>
                  <a:pt x="1071524" y="1072569"/>
                </a:moveTo>
                <a:cubicBezTo>
                  <a:pt x="1089482" y="1072569"/>
                  <a:pt x="1104174" y="1087806"/>
                  <a:pt x="1104174" y="1105220"/>
                </a:cubicBezTo>
                <a:cubicBezTo>
                  <a:pt x="1104174" y="1123722"/>
                  <a:pt x="1090026" y="1137870"/>
                  <a:pt x="1070435" y="1137870"/>
                </a:cubicBezTo>
                <a:cubicBezTo>
                  <a:pt x="1054110" y="1140047"/>
                  <a:pt x="1037241" y="1121545"/>
                  <a:pt x="1038329" y="1105764"/>
                </a:cubicBezTo>
                <a:cubicBezTo>
                  <a:pt x="1039417" y="1086173"/>
                  <a:pt x="1052478" y="1072569"/>
                  <a:pt x="1071524" y="1072569"/>
                </a:cubicBezTo>
                <a:close/>
                <a:moveTo>
                  <a:pt x="1235865" y="1068760"/>
                </a:moveTo>
                <a:cubicBezTo>
                  <a:pt x="1254912" y="1070392"/>
                  <a:pt x="1272325" y="1088894"/>
                  <a:pt x="1271237" y="1106852"/>
                </a:cubicBezTo>
                <a:cubicBezTo>
                  <a:pt x="1270149" y="1124810"/>
                  <a:pt x="1252735" y="1142223"/>
                  <a:pt x="1234777" y="1142223"/>
                </a:cubicBezTo>
                <a:cubicBezTo>
                  <a:pt x="1215187" y="1142223"/>
                  <a:pt x="1197773" y="1124265"/>
                  <a:pt x="1198861" y="1105219"/>
                </a:cubicBezTo>
                <a:cubicBezTo>
                  <a:pt x="1199406" y="1085629"/>
                  <a:pt x="1217908" y="1067127"/>
                  <a:pt x="1235865" y="1068760"/>
                </a:cubicBezTo>
                <a:close/>
                <a:moveTo>
                  <a:pt x="1396397" y="1067127"/>
                </a:moveTo>
                <a:cubicBezTo>
                  <a:pt x="1416532" y="1065494"/>
                  <a:pt x="1437755" y="1087806"/>
                  <a:pt x="1435578" y="1105219"/>
                </a:cubicBezTo>
                <a:cubicBezTo>
                  <a:pt x="1437210" y="1125898"/>
                  <a:pt x="1413267" y="1144400"/>
                  <a:pt x="1396941" y="1143856"/>
                </a:cubicBezTo>
                <a:cubicBezTo>
                  <a:pt x="1377895" y="1143856"/>
                  <a:pt x="1358305" y="1122633"/>
                  <a:pt x="1358849" y="1105763"/>
                </a:cubicBezTo>
                <a:cubicBezTo>
                  <a:pt x="1359393" y="1085629"/>
                  <a:pt x="1376807" y="1068759"/>
                  <a:pt x="1396397" y="1067127"/>
                </a:cubicBezTo>
                <a:close/>
                <a:moveTo>
                  <a:pt x="1560738" y="1066582"/>
                </a:moveTo>
                <a:cubicBezTo>
                  <a:pt x="1581961" y="1063862"/>
                  <a:pt x="1599919" y="1083452"/>
                  <a:pt x="1599919" y="1105763"/>
                </a:cubicBezTo>
                <a:cubicBezTo>
                  <a:pt x="1599919" y="1127530"/>
                  <a:pt x="1581417" y="1144400"/>
                  <a:pt x="1560738" y="1144400"/>
                </a:cubicBezTo>
                <a:cubicBezTo>
                  <a:pt x="1538971" y="1144400"/>
                  <a:pt x="1521557" y="1125898"/>
                  <a:pt x="1521013" y="1105763"/>
                </a:cubicBezTo>
                <a:cubicBezTo>
                  <a:pt x="1521013" y="1085629"/>
                  <a:pt x="1538971" y="1063862"/>
                  <a:pt x="1560738" y="1066582"/>
                </a:cubicBezTo>
                <a:close/>
                <a:moveTo>
                  <a:pt x="1723447" y="1064406"/>
                </a:moveTo>
                <a:cubicBezTo>
                  <a:pt x="1744126" y="1063862"/>
                  <a:pt x="1763716" y="1076378"/>
                  <a:pt x="1764260" y="1104675"/>
                </a:cubicBezTo>
                <a:cubicBezTo>
                  <a:pt x="1764804" y="1130796"/>
                  <a:pt x="1745758" y="1145488"/>
                  <a:pt x="1724535" y="1146032"/>
                </a:cubicBezTo>
                <a:cubicBezTo>
                  <a:pt x="1703313" y="1147121"/>
                  <a:pt x="1683722" y="1130796"/>
                  <a:pt x="1683178" y="1105764"/>
                </a:cubicBezTo>
                <a:cubicBezTo>
                  <a:pt x="1684266" y="1082364"/>
                  <a:pt x="1698415" y="1064950"/>
                  <a:pt x="1723447" y="1064406"/>
                </a:cubicBezTo>
                <a:close/>
                <a:moveTo>
                  <a:pt x="2051041" y="1063318"/>
                </a:moveTo>
                <a:lnTo>
                  <a:pt x="2051041" y="1147740"/>
                </a:lnTo>
                <a:lnTo>
                  <a:pt x="2049952" y="1148210"/>
                </a:lnTo>
                <a:cubicBezTo>
                  <a:pt x="2028730" y="1147121"/>
                  <a:pt x="2008051" y="1128619"/>
                  <a:pt x="2008051" y="1105764"/>
                </a:cubicBezTo>
                <a:cubicBezTo>
                  <a:pt x="2008595" y="1081276"/>
                  <a:pt x="2027641" y="1063862"/>
                  <a:pt x="2051041" y="1063318"/>
                </a:cubicBezTo>
                <a:close/>
                <a:moveTo>
                  <a:pt x="1887787" y="1062773"/>
                </a:moveTo>
                <a:cubicBezTo>
                  <a:pt x="1909554" y="1063862"/>
                  <a:pt x="1930233" y="1084540"/>
                  <a:pt x="1929145" y="1105763"/>
                </a:cubicBezTo>
                <a:cubicBezTo>
                  <a:pt x="1928056" y="1130251"/>
                  <a:pt x="1908466" y="1147121"/>
                  <a:pt x="1886699" y="1147665"/>
                </a:cubicBezTo>
                <a:cubicBezTo>
                  <a:pt x="1862755" y="1145488"/>
                  <a:pt x="1845886" y="1127530"/>
                  <a:pt x="1844798" y="1105219"/>
                </a:cubicBezTo>
                <a:cubicBezTo>
                  <a:pt x="1844253" y="1083996"/>
                  <a:pt x="1867109" y="1061685"/>
                  <a:pt x="1887787" y="1062773"/>
                </a:cubicBezTo>
                <a:close/>
                <a:moveTo>
                  <a:pt x="335798" y="1011621"/>
                </a:moveTo>
                <a:cubicBezTo>
                  <a:pt x="343960" y="1011621"/>
                  <a:pt x="347770" y="1014886"/>
                  <a:pt x="348314" y="1023049"/>
                </a:cubicBezTo>
                <a:cubicBezTo>
                  <a:pt x="348314" y="1031755"/>
                  <a:pt x="344505" y="1036109"/>
                  <a:pt x="336886" y="1036109"/>
                </a:cubicBezTo>
                <a:cubicBezTo>
                  <a:pt x="329268" y="1036109"/>
                  <a:pt x="324914" y="1032300"/>
                  <a:pt x="324370" y="1024681"/>
                </a:cubicBezTo>
                <a:cubicBezTo>
                  <a:pt x="323826" y="1015974"/>
                  <a:pt x="327635" y="1011621"/>
                  <a:pt x="335798" y="1011621"/>
                </a:cubicBezTo>
                <a:close/>
                <a:moveTo>
                  <a:pt x="499051" y="1002914"/>
                </a:moveTo>
                <a:cubicBezTo>
                  <a:pt x="508846" y="1002370"/>
                  <a:pt x="520818" y="1014342"/>
                  <a:pt x="520818" y="1024137"/>
                </a:cubicBezTo>
                <a:cubicBezTo>
                  <a:pt x="520818" y="1032844"/>
                  <a:pt x="508846" y="1045360"/>
                  <a:pt x="499595" y="1045360"/>
                </a:cubicBezTo>
                <a:cubicBezTo>
                  <a:pt x="490888" y="1045360"/>
                  <a:pt x="478372" y="1032844"/>
                  <a:pt x="478372" y="1024137"/>
                </a:cubicBezTo>
                <a:cubicBezTo>
                  <a:pt x="478372" y="1014886"/>
                  <a:pt x="489800" y="1002914"/>
                  <a:pt x="499051" y="1002914"/>
                </a:cubicBezTo>
                <a:close/>
                <a:moveTo>
                  <a:pt x="663392" y="997473"/>
                </a:moveTo>
                <a:cubicBezTo>
                  <a:pt x="675908" y="998561"/>
                  <a:pt x="688968" y="1011622"/>
                  <a:pt x="688424" y="1024138"/>
                </a:cubicBezTo>
                <a:cubicBezTo>
                  <a:pt x="687880" y="1039374"/>
                  <a:pt x="676452" y="1050802"/>
                  <a:pt x="661759" y="1050258"/>
                </a:cubicBezTo>
                <a:cubicBezTo>
                  <a:pt x="647066" y="1049170"/>
                  <a:pt x="637271" y="1036109"/>
                  <a:pt x="636727" y="1023593"/>
                </a:cubicBezTo>
                <a:cubicBezTo>
                  <a:pt x="637271" y="1010533"/>
                  <a:pt x="651420" y="996929"/>
                  <a:pt x="663392" y="997473"/>
                </a:cubicBezTo>
                <a:close/>
                <a:moveTo>
                  <a:pt x="826645" y="995840"/>
                </a:moveTo>
                <a:cubicBezTo>
                  <a:pt x="845147" y="995296"/>
                  <a:pt x="855486" y="1007267"/>
                  <a:pt x="854942" y="1024137"/>
                </a:cubicBezTo>
                <a:cubicBezTo>
                  <a:pt x="855486" y="1039374"/>
                  <a:pt x="845147" y="1052978"/>
                  <a:pt x="825557" y="1052978"/>
                </a:cubicBezTo>
                <a:cubicBezTo>
                  <a:pt x="808143" y="1052434"/>
                  <a:pt x="796715" y="1041006"/>
                  <a:pt x="797260" y="1023593"/>
                </a:cubicBezTo>
                <a:cubicBezTo>
                  <a:pt x="797260" y="1005635"/>
                  <a:pt x="808687" y="995840"/>
                  <a:pt x="826645" y="995840"/>
                </a:cubicBezTo>
                <a:close/>
                <a:moveTo>
                  <a:pt x="990441" y="990942"/>
                </a:moveTo>
                <a:cubicBezTo>
                  <a:pt x="1008943" y="990942"/>
                  <a:pt x="1023092" y="1006179"/>
                  <a:pt x="1022548" y="1025225"/>
                </a:cubicBezTo>
                <a:cubicBezTo>
                  <a:pt x="1022004" y="1043183"/>
                  <a:pt x="1007311" y="1056243"/>
                  <a:pt x="988809" y="1056787"/>
                </a:cubicBezTo>
                <a:cubicBezTo>
                  <a:pt x="973028" y="1057332"/>
                  <a:pt x="956702" y="1041551"/>
                  <a:pt x="956702" y="1023593"/>
                </a:cubicBezTo>
                <a:cubicBezTo>
                  <a:pt x="956158" y="1006723"/>
                  <a:pt x="973572" y="988221"/>
                  <a:pt x="990441" y="990942"/>
                </a:cubicBezTo>
                <a:close/>
                <a:moveTo>
                  <a:pt x="1150974" y="987678"/>
                </a:moveTo>
                <a:cubicBezTo>
                  <a:pt x="1170020" y="986045"/>
                  <a:pt x="1189066" y="1004547"/>
                  <a:pt x="1189610" y="1023593"/>
                </a:cubicBezTo>
                <a:cubicBezTo>
                  <a:pt x="1190154" y="1042095"/>
                  <a:pt x="1170564" y="1061685"/>
                  <a:pt x="1152062" y="1061685"/>
                </a:cubicBezTo>
                <a:cubicBezTo>
                  <a:pt x="1134104" y="1061685"/>
                  <a:pt x="1115602" y="1042639"/>
                  <a:pt x="1115058" y="1024682"/>
                </a:cubicBezTo>
                <a:cubicBezTo>
                  <a:pt x="1115058" y="1006724"/>
                  <a:pt x="1133016" y="988222"/>
                  <a:pt x="1150974" y="987678"/>
                </a:cubicBezTo>
                <a:close/>
                <a:moveTo>
                  <a:pt x="1315314" y="985501"/>
                </a:moveTo>
                <a:cubicBezTo>
                  <a:pt x="1335993" y="983868"/>
                  <a:pt x="1354495" y="1005635"/>
                  <a:pt x="1354495" y="1023593"/>
                </a:cubicBezTo>
                <a:cubicBezTo>
                  <a:pt x="1355039" y="1042639"/>
                  <a:pt x="1333816" y="1065495"/>
                  <a:pt x="1315858" y="1062230"/>
                </a:cubicBezTo>
                <a:cubicBezTo>
                  <a:pt x="1294636" y="1062230"/>
                  <a:pt x="1277222" y="1045360"/>
                  <a:pt x="1277222" y="1024137"/>
                </a:cubicBezTo>
                <a:cubicBezTo>
                  <a:pt x="1277222" y="1002914"/>
                  <a:pt x="1294091" y="986589"/>
                  <a:pt x="1315314" y="985501"/>
                </a:cubicBezTo>
                <a:close/>
                <a:moveTo>
                  <a:pt x="1479656" y="984412"/>
                </a:moveTo>
                <a:cubicBezTo>
                  <a:pt x="1503055" y="984412"/>
                  <a:pt x="1519925" y="1000737"/>
                  <a:pt x="1519380" y="1025225"/>
                </a:cubicBezTo>
                <a:cubicBezTo>
                  <a:pt x="1518836" y="1045904"/>
                  <a:pt x="1502511" y="1065494"/>
                  <a:pt x="1478567" y="1063318"/>
                </a:cubicBezTo>
                <a:cubicBezTo>
                  <a:pt x="1454624" y="1064950"/>
                  <a:pt x="1438842" y="1044816"/>
                  <a:pt x="1439387" y="1023593"/>
                </a:cubicBezTo>
                <a:cubicBezTo>
                  <a:pt x="1439931" y="1000193"/>
                  <a:pt x="1455712" y="983868"/>
                  <a:pt x="1479656" y="984412"/>
                </a:cubicBezTo>
                <a:close/>
                <a:moveTo>
                  <a:pt x="1641820" y="981691"/>
                </a:moveTo>
                <a:cubicBezTo>
                  <a:pt x="1665220" y="981691"/>
                  <a:pt x="1683178" y="999649"/>
                  <a:pt x="1684810" y="1023592"/>
                </a:cubicBezTo>
                <a:cubicBezTo>
                  <a:pt x="1683722" y="1048625"/>
                  <a:pt x="1665220" y="1066038"/>
                  <a:pt x="1642909" y="1066038"/>
                </a:cubicBezTo>
                <a:cubicBezTo>
                  <a:pt x="1618421" y="1066038"/>
                  <a:pt x="1599919" y="1047536"/>
                  <a:pt x="1599919" y="1023592"/>
                </a:cubicBezTo>
                <a:cubicBezTo>
                  <a:pt x="1599919" y="1001281"/>
                  <a:pt x="1616788" y="982235"/>
                  <a:pt x="1641820" y="981691"/>
                </a:cubicBezTo>
                <a:close/>
                <a:moveTo>
                  <a:pt x="1806161" y="980603"/>
                </a:moveTo>
                <a:cubicBezTo>
                  <a:pt x="1829561" y="980603"/>
                  <a:pt x="1848607" y="1000737"/>
                  <a:pt x="1849151" y="1023592"/>
                </a:cubicBezTo>
                <a:cubicBezTo>
                  <a:pt x="1849151" y="1046992"/>
                  <a:pt x="1827928" y="1068215"/>
                  <a:pt x="1805617" y="1067127"/>
                </a:cubicBezTo>
                <a:cubicBezTo>
                  <a:pt x="1781673" y="1068215"/>
                  <a:pt x="1762083" y="1044815"/>
                  <a:pt x="1762083" y="1023592"/>
                </a:cubicBezTo>
                <a:cubicBezTo>
                  <a:pt x="1762083" y="1002370"/>
                  <a:pt x="1781673" y="980058"/>
                  <a:pt x="1806161" y="980603"/>
                </a:cubicBezTo>
                <a:close/>
                <a:moveTo>
                  <a:pt x="1969414" y="980059"/>
                </a:moveTo>
                <a:cubicBezTo>
                  <a:pt x="1993358" y="980603"/>
                  <a:pt x="2012404" y="1001282"/>
                  <a:pt x="2012404" y="1024137"/>
                </a:cubicBezTo>
                <a:cubicBezTo>
                  <a:pt x="2012404" y="1046449"/>
                  <a:pt x="1991726" y="1069304"/>
                  <a:pt x="1968870" y="1067127"/>
                </a:cubicBezTo>
                <a:cubicBezTo>
                  <a:pt x="1946015" y="1068760"/>
                  <a:pt x="1925336" y="1044272"/>
                  <a:pt x="1924792" y="1024137"/>
                </a:cubicBezTo>
                <a:cubicBezTo>
                  <a:pt x="1924792" y="1002914"/>
                  <a:pt x="1944382" y="980059"/>
                  <a:pt x="1969414" y="980059"/>
                </a:cubicBezTo>
                <a:close/>
                <a:moveTo>
                  <a:pt x="254171" y="931083"/>
                </a:moveTo>
                <a:cubicBezTo>
                  <a:pt x="260701" y="931083"/>
                  <a:pt x="265599" y="935437"/>
                  <a:pt x="265599" y="941967"/>
                </a:cubicBezTo>
                <a:cubicBezTo>
                  <a:pt x="265599" y="948497"/>
                  <a:pt x="260701" y="952850"/>
                  <a:pt x="254171" y="952850"/>
                </a:cubicBezTo>
                <a:cubicBezTo>
                  <a:pt x="247641" y="952850"/>
                  <a:pt x="243832" y="948497"/>
                  <a:pt x="243832" y="941967"/>
                </a:cubicBezTo>
                <a:cubicBezTo>
                  <a:pt x="243832" y="935437"/>
                  <a:pt x="247641" y="931627"/>
                  <a:pt x="254171" y="931083"/>
                </a:cubicBezTo>
                <a:close/>
                <a:moveTo>
                  <a:pt x="417968" y="922377"/>
                </a:moveTo>
                <a:cubicBezTo>
                  <a:pt x="427219" y="921833"/>
                  <a:pt x="437559" y="932716"/>
                  <a:pt x="437559" y="942511"/>
                </a:cubicBezTo>
                <a:cubicBezTo>
                  <a:pt x="437559" y="951762"/>
                  <a:pt x="427219" y="961557"/>
                  <a:pt x="417968" y="961557"/>
                </a:cubicBezTo>
                <a:cubicBezTo>
                  <a:pt x="409262" y="961557"/>
                  <a:pt x="397290" y="949585"/>
                  <a:pt x="397834" y="941423"/>
                </a:cubicBezTo>
                <a:cubicBezTo>
                  <a:pt x="398378" y="933260"/>
                  <a:pt x="409806" y="922377"/>
                  <a:pt x="417968" y="922377"/>
                </a:cubicBezTo>
                <a:close/>
                <a:moveTo>
                  <a:pt x="581222" y="916934"/>
                </a:moveTo>
                <a:cubicBezTo>
                  <a:pt x="593738" y="916934"/>
                  <a:pt x="607342" y="931082"/>
                  <a:pt x="606798" y="943054"/>
                </a:cubicBezTo>
                <a:cubicBezTo>
                  <a:pt x="606254" y="955570"/>
                  <a:pt x="593738" y="967542"/>
                  <a:pt x="581222" y="967542"/>
                </a:cubicBezTo>
                <a:cubicBezTo>
                  <a:pt x="567617" y="966454"/>
                  <a:pt x="557278" y="958291"/>
                  <a:pt x="556190" y="943054"/>
                </a:cubicBezTo>
                <a:cubicBezTo>
                  <a:pt x="555101" y="929994"/>
                  <a:pt x="568161" y="916934"/>
                  <a:pt x="581222" y="916934"/>
                </a:cubicBezTo>
                <a:close/>
                <a:moveTo>
                  <a:pt x="744474" y="913669"/>
                </a:moveTo>
                <a:cubicBezTo>
                  <a:pt x="765153" y="913669"/>
                  <a:pt x="773860" y="927273"/>
                  <a:pt x="773315" y="942510"/>
                </a:cubicBezTo>
                <a:cubicBezTo>
                  <a:pt x="772771" y="959924"/>
                  <a:pt x="761344" y="971352"/>
                  <a:pt x="743930" y="970807"/>
                </a:cubicBezTo>
                <a:cubicBezTo>
                  <a:pt x="727061" y="970807"/>
                  <a:pt x="716177" y="959380"/>
                  <a:pt x="716177" y="941966"/>
                </a:cubicBezTo>
                <a:cubicBezTo>
                  <a:pt x="716177" y="923464"/>
                  <a:pt x="727605" y="914213"/>
                  <a:pt x="744474" y="913669"/>
                </a:cubicBezTo>
                <a:close/>
                <a:moveTo>
                  <a:pt x="908271" y="908772"/>
                </a:moveTo>
                <a:cubicBezTo>
                  <a:pt x="927317" y="910405"/>
                  <a:pt x="940922" y="924553"/>
                  <a:pt x="940377" y="944144"/>
                </a:cubicBezTo>
                <a:cubicBezTo>
                  <a:pt x="939833" y="962101"/>
                  <a:pt x="925141" y="975162"/>
                  <a:pt x="906094" y="975162"/>
                </a:cubicBezTo>
                <a:cubicBezTo>
                  <a:pt x="890313" y="975162"/>
                  <a:pt x="873988" y="959925"/>
                  <a:pt x="874532" y="940879"/>
                </a:cubicBezTo>
                <a:cubicBezTo>
                  <a:pt x="874532" y="925641"/>
                  <a:pt x="891402" y="907684"/>
                  <a:pt x="908271" y="908772"/>
                </a:cubicBezTo>
                <a:close/>
                <a:moveTo>
                  <a:pt x="1072068" y="906051"/>
                </a:moveTo>
                <a:cubicBezTo>
                  <a:pt x="1093291" y="907683"/>
                  <a:pt x="1105807" y="921832"/>
                  <a:pt x="1107984" y="942511"/>
                </a:cubicBezTo>
                <a:cubicBezTo>
                  <a:pt x="1107984" y="961013"/>
                  <a:pt x="1088938" y="979515"/>
                  <a:pt x="1070980" y="979515"/>
                </a:cubicBezTo>
                <a:cubicBezTo>
                  <a:pt x="1053022" y="979515"/>
                  <a:pt x="1034520" y="960469"/>
                  <a:pt x="1034520" y="942511"/>
                </a:cubicBezTo>
                <a:cubicBezTo>
                  <a:pt x="1034520" y="923465"/>
                  <a:pt x="1053566" y="904419"/>
                  <a:pt x="1072068" y="906051"/>
                </a:cubicBezTo>
                <a:close/>
                <a:moveTo>
                  <a:pt x="1235321" y="903874"/>
                </a:moveTo>
                <a:cubicBezTo>
                  <a:pt x="1257088" y="903874"/>
                  <a:pt x="1272325" y="920199"/>
                  <a:pt x="1272325" y="943054"/>
                </a:cubicBezTo>
                <a:cubicBezTo>
                  <a:pt x="1275045" y="962645"/>
                  <a:pt x="1251646" y="982779"/>
                  <a:pt x="1233688" y="981147"/>
                </a:cubicBezTo>
                <a:cubicBezTo>
                  <a:pt x="1211921" y="979514"/>
                  <a:pt x="1195052" y="963189"/>
                  <a:pt x="1195596" y="940878"/>
                </a:cubicBezTo>
                <a:cubicBezTo>
                  <a:pt x="1196140" y="919111"/>
                  <a:pt x="1212465" y="903330"/>
                  <a:pt x="1235321" y="903874"/>
                </a:cubicBezTo>
                <a:close/>
                <a:moveTo>
                  <a:pt x="1397486" y="901153"/>
                </a:moveTo>
                <a:cubicBezTo>
                  <a:pt x="1420885" y="901698"/>
                  <a:pt x="1437755" y="917479"/>
                  <a:pt x="1438299" y="942511"/>
                </a:cubicBezTo>
                <a:cubicBezTo>
                  <a:pt x="1437210" y="966999"/>
                  <a:pt x="1420341" y="983324"/>
                  <a:pt x="1396941" y="983324"/>
                </a:cubicBezTo>
                <a:cubicBezTo>
                  <a:pt x="1371909" y="983324"/>
                  <a:pt x="1355584" y="963190"/>
                  <a:pt x="1356128" y="941967"/>
                </a:cubicBezTo>
                <a:cubicBezTo>
                  <a:pt x="1356128" y="919655"/>
                  <a:pt x="1373542" y="900609"/>
                  <a:pt x="1397486" y="901153"/>
                </a:cubicBezTo>
                <a:close/>
                <a:moveTo>
                  <a:pt x="1560738" y="898977"/>
                </a:moveTo>
                <a:cubicBezTo>
                  <a:pt x="1584138" y="899521"/>
                  <a:pt x="1603728" y="917479"/>
                  <a:pt x="1603728" y="942511"/>
                </a:cubicBezTo>
                <a:cubicBezTo>
                  <a:pt x="1603728" y="966999"/>
                  <a:pt x="1581961" y="985501"/>
                  <a:pt x="1560738" y="985501"/>
                </a:cubicBezTo>
                <a:cubicBezTo>
                  <a:pt x="1537883" y="985501"/>
                  <a:pt x="1516660" y="963734"/>
                  <a:pt x="1517204" y="941423"/>
                </a:cubicBezTo>
                <a:cubicBezTo>
                  <a:pt x="1517748" y="919656"/>
                  <a:pt x="1535706" y="898977"/>
                  <a:pt x="1560738" y="898977"/>
                </a:cubicBezTo>
                <a:close/>
                <a:moveTo>
                  <a:pt x="1723990" y="897888"/>
                </a:moveTo>
                <a:cubicBezTo>
                  <a:pt x="1747934" y="897888"/>
                  <a:pt x="1769701" y="919111"/>
                  <a:pt x="1768069" y="942510"/>
                </a:cubicBezTo>
                <a:cubicBezTo>
                  <a:pt x="1770245" y="965366"/>
                  <a:pt x="1746302" y="987133"/>
                  <a:pt x="1723990" y="986589"/>
                </a:cubicBezTo>
                <a:cubicBezTo>
                  <a:pt x="1701679" y="986589"/>
                  <a:pt x="1679912" y="964278"/>
                  <a:pt x="1679912" y="941422"/>
                </a:cubicBezTo>
                <a:cubicBezTo>
                  <a:pt x="1680456" y="919655"/>
                  <a:pt x="1700047" y="897888"/>
                  <a:pt x="1723990" y="897888"/>
                </a:cubicBezTo>
                <a:close/>
                <a:moveTo>
                  <a:pt x="2050497" y="897344"/>
                </a:moveTo>
                <a:lnTo>
                  <a:pt x="2051041" y="897453"/>
                </a:lnTo>
                <a:lnTo>
                  <a:pt x="2051041" y="986917"/>
                </a:lnTo>
                <a:lnTo>
                  <a:pt x="2049952" y="987133"/>
                </a:lnTo>
                <a:cubicBezTo>
                  <a:pt x="2026553" y="987133"/>
                  <a:pt x="2004786" y="965366"/>
                  <a:pt x="2005330" y="941422"/>
                </a:cubicBezTo>
                <a:cubicBezTo>
                  <a:pt x="2005874" y="918023"/>
                  <a:pt x="2026009" y="897344"/>
                  <a:pt x="2050497" y="897344"/>
                </a:cubicBezTo>
                <a:close/>
                <a:moveTo>
                  <a:pt x="1887243" y="897344"/>
                </a:moveTo>
                <a:cubicBezTo>
                  <a:pt x="1910099" y="897344"/>
                  <a:pt x="1931866" y="916390"/>
                  <a:pt x="1931866" y="942511"/>
                </a:cubicBezTo>
                <a:cubicBezTo>
                  <a:pt x="1931866" y="965910"/>
                  <a:pt x="1910099" y="986589"/>
                  <a:pt x="1887243" y="986589"/>
                </a:cubicBezTo>
                <a:cubicBezTo>
                  <a:pt x="1864932" y="987133"/>
                  <a:pt x="1839900" y="965910"/>
                  <a:pt x="1843165" y="941422"/>
                </a:cubicBezTo>
                <a:cubicBezTo>
                  <a:pt x="1840444" y="918567"/>
                  <a:pt x="1863299" y="897344"/>
                  <a:pt x="1887243" y="897344"/>
                </a:cubicBezTo>
                <a:close/>
                <a:moveTo>
                  <a:pt x="172545" y="854354"/>
                </a:moveTo>
                <a:cubicBezTo>
                  <a:pt x="176899" y="854354"/>
                  <a:pt x="179619" y="855442"/>
                  <a:pt x="179619" y="860884"/>
                </a:cubicBezTo>
                <a:cubicBezTo>
                  <a:pt x="180164" y="864693"/>
                  <a:pt x="177987" y="866870"/>
                  <a:pt x="173634" y="866870"/>
                </a:cubicBezTo>
                <a:cubicBezTo>
                  <a:pt x="169824" y="866870"/>
                  <a:pt x="166559" y="866870"/>
                  <a:pt x="166015" y="861973"/>
                </a:cubicBezTo>
                <a:cubicBezTo>
                  <a:pt x="165471" y="857075"/>
                  <a:pt x="167103" y="854354"/>
                  <a:pt x="172545" y="854354"/>
                </a:cubicBezTo>
                <a:close/>
                <a:moveTo>
                  <a:pt x="336342" y="843471"/>
                </a:moveTo>
                <a:cubicBezTo>
                  <a:pt x="346681" y="844015"/>
                  <a:pt x="353211" y="849457"/>
                  <a:pt x="353211" y="860340"/>
                </a:cubicBezTo>
                <a:cubicBezTo>
                  <a:pt x="353211" y="872312"/>
                  <a:pt x="348858" y="876665"/>
                  <a:pt x="336886" y="877210"/>
                </a:cubicBezTo>
                <a:cubicBezTo>
                  <a:pt x="324370" y="877210"/>
                  <a:pt x="320561" y="872856"/>
                  <a:pt x="320017" y="860884"/>
                </a:cubicBezTo>
                <a:cubicBezTo>
                  <a:pt x="319473" y="851089"/>
                  <a:pt x="327635" y="842927"/>
                  <a:pt x="336342" y="843471"/>
                </a:cubicBezTo>
                <a:close/>
                <a:moveTo>
                  <a:pt x="500139" y="837485"/>
                </a:moveTo>
                <a:cubicBezTo>
                  <a:pt x="514832" y="837485"/>
                  <a:pt x="522994" y="846735"/>
                  <a:pt x="522994" y="861428"/>
                </a:cubicBezTo>
                <a:cubicBezTo>
                  <a:pt x="522994" y="876121"/>
                  <a:pt x="513743" y="884284"/>
                  <a:pt x="499595" y="884284"/>
                </a:cubicBezTo>
                <a:cubicBezTo>
                  <a:pt x="485446" y="883740"/>
                  <a:pt x="475651" y="875033"/>
                  <a:pt x="476739" y="860340"/>
                </a:cubicBezTo>
                <a:cubicBezTo>
                  <a:pt x="476195" y="842926"/>
                  <a:pt x="489256" y="836940"/>
                  <a:pt x="500139" y="837485"/>
                </a:cubicBezTo>
                <a:close/>
                <a:moveTo>
                  <a:pt x="662848" y="832587"/>
                </a:moveTo>
                <a:cubicBezTo>
                  <a:pt x="677541" y="832587"/>
                  <a:pt x="691689" y="842926"/>
                  <a:pt x="690057" y="860340"/>
                </a:cubicBezTo>
                <a:cubicBezTo>
                  <a:pt x="691689" y="876121"/>
                  <a:pt x="679718" y="888637"/>
                  <a:pt x="662848" y="888637"/>
                </a:cubicBezTo>
                <a:cubicBezTo>
                  <a:pt x="644890" y="888637"/>
                  <a:pt x="634551" y="874489"/>
                  <a:pt x="634551" y="861428"/>
                </a:cubicBezTo>
                <a:cubicBezTo>
                  <a:pt x="634551" y="842926"/>
                  <a:pt x="647611" y="832587"/>
                  <a:pt x="662848" y="832587"/>
                </a:cubicBezTo>
                <a:close/>
                <a:moveTo>
                  <a:pt x="826101" y="827146"/>
                </a:moveTo>
                <a:cubicBezTo>
                  <a:pt x="840249" y="826602"/>
                  <a:pt x="859840" y="843471"/>
                  <a:pt x="859295" y="860885"/>
                </a:cubicBezTo>
                <a:cubicBezTo>
                  <a:pt x="858751" y="875033"/>
                  <a:pt x="844603" y="894624"/>
                  <a:pt x="825556" y="892991"/>
                </a:cubicBezTo>
                <a:cubicBezTo>
                  <a:pt x="808687" y="894079"/>
                  <a:pt x="793450" y="877754"/>
                  <a:pt x="793450" y="860885"/>
                </a:cubicBezTo>
                <a:cubicBezTo>
                  <a:pt x="793994" y="842927"/>
                  <a:pt x="808143" y="828234"/>
                  <a:pt x="826101" y="827146"/>
                </a:cubicBezTo>
                <a:close/>
                <a:moveTo>
                  <a:pt x="988809" y="824424"/>
                </a:moveTo>
                <a:cubicBezTo>
                  <a:pt x="1010576" y="825512"/>
                  <a:pt x="1024180" y="839661"/>
                  <a:pt x="1025813" y="860339"/>
                </a:cubicBezTo>
                <a:cubicBezTo>
                  <a:pt x="1026901" y="878842"/>
                  <a:pt x="1008399" y="896799"/>
                  <a:pt x="989897" y="897344"/>
                </a:cubicBezTo>
                <a:cubicBezTo>
                  <a:pt x="971939" y="897344"/>
                  <a:pt x="953982" y="880474"/>
                  <a:pt x="953437" y="861972"/>
                </a:cubicBezTo>
                <a:cubicBezTo>
                  <a:pt x="951805" y="842926"/>
                  <a:pt x="969763" y="824968"/>
                  <a:pt x="988809" y="824424"/>
                </a:cubicBezTo>
                <a:close/>
                <a:moveTo>
                  <a:pt x="1153695" y="821704"/>
                </a:moveTo>
                <a:cubicBezTo>
                  <a:pt x="1175462" y="822248"/>
                  <a:pt x="1191243" y="839118"/>
                  <a:pt x="1191243" y="861429"/>
                </a:cubicBezTo>
                <a:cubicBezTo>
                  <a:pt x="1193964" y="882107"/>
                  <a:pt x="1169476" y="900610"/>
                  <a:pt x="1152606" y="899521"/>
                </a:cubicBezTo>
                <a:cubicBezTo>
                  <a:pt x="1130839" y="898433"/>
                  <a:pt x="1114514" y="882107"/>
                  <a:pt x="1114514" y="859252"/>
                </a:cubicBezTo>
                <a:cubicBezTo>
                  <a:pt x="1115058" y="837485"/>
                  <a:pt x="1131928" y="821704"/>
                  <a:pt x="1153695" y="821704"/>
                </a:cubicBezTo>
                <a:close/>
                <a:moveTo>
                  <a:pt x="1316403" y="818982"/>
                </a:moveTo>
                <a:cubicBezTo>
                  <a:pt x="1341979" y="820071"/>
                  <a:pt x="1356128" y="838573"/>
                  <a:pt x="1357216" y="860884"/>
                </a:cubicBezTo>
                <a:cubicBezTo>
                  <a:pt x="1356128" y="884828"/>
                  <a:pt x="1337626" y="901697"/>
                  <a:pt x="1315315" y="901697"/>
                </a:cubicBezTo>
                <a:cubicBezTo>
                  <a:pt x="1293003" y="901697"/>
                  <a:pt x="1273957" y="884284"/>
                  <a:pt x="1274501" y="860340"/>
                </a:cubicBezTo>
                <a:cubicBezTo>
                  <a:pt x="1275046" y="835852"/>
                  <a:pt x="1291915" y="818438"/>
                  <a:pt x="1316403" y="818982"/>
                </a:cubicBezTo>
                <a:close/>
                <a:moveTo>
                  <a:pt x="1479112" y="816806"/>
                </a:moveTo>
                <a:cubicBezTo>
                  <a:pt x="1501423" y="816806"/>
                  <a:pt x="1523190" y="835852"/>
                  <a:pt x="1522646" y="860340"/>
                </a:cubicBezTo>
                <a:cubicBezTo>
                  <a:pt x="1523735" y="885372"/>
                  <a:pt x="1499791" y="904419"/>
                  <a:pt x="1479656" y="904419"/>
                </a:cubicBezTo>
                <a:cubicBezTo>
                  <a:pt x="1457889" y="904419"/>
                  <a:pt x="1436122" y="883740"/>
                  <a:pt x="1435578" y="860884"/>
                </a:cubicBezTo>
                <a:cubicBezTo>
                  <a:pt x="1435578" y="838573"/>
                  <a:pt x="1455713" y="816806"/>
                  <a:pt x="1479112" y="816806"/>
                </a:cubicBezTo>
                <a:close/>
                <a:moveTo>
                  <a:pt x="1642909" y="815718"/>
                </a:moveTo>
                <a:cubicBezTo>
                  <a:pt x="1665764" y="816262"/>
                  <a:pt x="1686987" y="835852"/>
                  <a:pt x="1686987" y="860885"/>
                </a:cubicBezTo>
                <a:cubicBezTo>
                  <a:pt x="1686987" y="884284"/>
                  <a:pt x="1666308" y="906051"/>
                  <a:pt x="1641276" y="905507"/>
                </a:cubicBezTo>
                <a:cubicBezTo>
                  <a:pt x="1619509" y="905507"/>
                  <a:pt x="1595021" y="884284"/>
                  <a:pt x="1597742" y="860340"/>
                </a:cubicBezTo>
                <a:cubicBezTo>
                  <a:pt x="1595021" y="836941"/>
                  <a:pt x="1619509" y="815174"/>
                  <a:pt x="1642909" y="815718"/>
                </a:cubicBezTo>
                <a:close/>
                <a:moveTo>
                  <a:pt x="1806161" y="815173"/>
                </a:moveTo>
                <a:cubicBezTo>
                  <a:pt x="1832282" y="815717"/>
                  <a:pt x="1854593" y="836396"/>
                  <a:pt x="1852416" y="860884"/>
                </a:cubicBezTo>
                <a:cubicBezTo>
                  <a:pt x="1850240" y="885372"/>
                  <a:pt x="1837179" y="906050"/>
                  <a:pt x="1805617" y="906594"/>
                </a:cubicBezTo>
                <a:cubicBezTo>
                  <a:pt x="1776776" y="906594"/>
                  <a:pt x="1759362" y="885916"/>
                  <a:pt x="1759906" y="860884"/>
                </a:cubicBezTo>
                <a:cubicBezTo>
                  <a:pt x="1759906" y="834219"/>
                  <a:pt x="1776776" y="815717"/>
                  <a:pt x="1806161" y="815173"/>
                </a:cubicBezTo>
                <a:close/>
                <a:moveTo>
                  <a:pt x="1968326" y="812453"/>
                </a:moveTo>
                <a:cubicBezTo>
                  <a:pt x="1979754" y="812453"/>
                  <a:pt x="1991726" y="817351"/>
                  <a:pt x="2000977" y="826057"/>
                </a:cubicBezTo>
                <a:cubicBezTo>
                  <a:pt x="2010772" y="835308"/>
                  <a:pt x="2016214" y="847280"/>
                  <a:pt x="2015670" y="859796"/>
                </a:cubicBezTo>
                <a:cubicBezTo>
                  <a:pt x="2014581" y="884828"/>
                  <a:pt x="2000977" y="904963"/>
                  <a:pt x="1969415" y="907684"/>
                </a:cubicBezTo>
                <a:cubicBezTo>
                  <a:pt x="1942206" y="906051"/>
                  <a:pt x="1923704" y="890270"/>
                  <a:pt x="1922071" y="860885"/>
                </a:cubicBezTo>
                <a:cubicBezTo>
                  <a:pt x="1920983" y="836397"/>
                  <a:pt x="1943294" y="812453"/>
                  <a:pt x="1968326" y="812453"/>
                </a:cubicBezTo>
                <a:close/>
                <a:moveTo>
                  <a:pt x="255260" y="762932"/>
                </a:moveTo>
                <a:cubicBezTo>
                  <a:pt x="261790" y="763476"/>
                  <a:pt x="271041" y="773271"/>
                  <a:pt x="270497" y="779802"/>
                </a:cubicBezTo>
                <a:cubicBezTo>
                  <a:pt x="270497" y="786332"/>
                  <a:pt x="261246" y="795038"/>
                  <a:pt x="254172" y="795038"/>
                </a:cubicBezTo>
                <a:cubicBezTo>
                  <a:pt x="246553" y="795038"/>
                  <a:pt x="238391" y="786332"/>
                  <a:pt x="238935" y="778713"/>
                </a:cubicBezTo>
                <a:cubicBezTo>
                  <a:pt x="239479" y="771095"/>
                  <a:pt x="248186" y="762388"/>
                  <a:pt x="255260" y="762932"/>
                </a:cubicBezTo>
                <a:close/>
                <a:moveTo>
                  <a:pt x="416881" y="756402"/>
                </a:moveTo>
                <a:cubicBezTo>
                  <a:pt x="430485" y="756402"/>
                  <a:pt x="439736" y="765109"/>
                  <a:pt x="440280" y="778713"/>
                </a:cubicBezTo>
                <a:cubicBezTo>
                  <a:pt x="440280" y="791229"/>
                  <a:pt x="431573" y="801024"/>
                  <a:pt x="419057" y="801024"/>
                </a:cubicBezTo>
                <a:cubicBezTo>
                  <a:pt x="405997" y="801569"/>
                  <a:pt x="396202" y="792317"/>
                  <a:pt x="396202" y="779257"/>
                </a:cubicBezTo>
                <a:cubicBezTo>
                  <a:pt x="396202" y="766741"/>
                  <a:pt x="404909" y="756946"/>
                  <a:pt x="416881" y="756402"/>
                </a:cubicBezTo>
                <a:close/>
                <a:moveTo>
                  <a:pt x="581766" y="751505"/>
                </a:moveTo>
                <a:cubicBezTo>
                  <a:pt x="598091" y="752594"/>
                  <a:pt x="607887" y="762933"/>
                  <a:pt x="608975" y="779802"/>
                </a:cubicBezTo>
                <a:cubicBezTo>
                  <a:pt x="608975" y="792318"/>
                  <a:pt x="596459" y="808644"/>
                  <a:pt x="580678" y="806467"/>
                </a:cubicBezTo>
                <a:cubicBezTo>
                  <a:pt x="565985" y="808100"/>
                  <a:pt x="553469" y="792318"/>
                  <a:pt x="553469" y="778714"/>
                </a:cubicBezTo>
                <a:cubicBezTo>
                  <a:pt x="553469" y="764021"/>
                  <a:pt x="567618" y="750417"/>
                  <a:pt x="581766" y="751505"/>
                </a:cubicBezTo>
                <a:close/>
                <a:moveTo>
                  <a:pt x="746107" y="746607"/>
                </a:moveTo>
                <a:cubicBezTo>
                  <a:pt x="762432" y="747695"/>
                  <a:pt x="778213" y="765653"/>
                  <a:pt x="777125" y="780346"/>
                </a:cubicBezTo>
                <a:cubicBezTo>
                  <a:pt x="776581" y="795038"/>
                  <a:pt x="762432" y="811908"/>
                  <a:pt x="742842" y="811364"/>
                </a:cubicBezTo>
                <a:cubicBezTo>
                  <a:pt x="725428" y="810276"/>
                  <a:pt x="712368" y="795583"/>
                  <a:pt x="712368" y="778713"/>
                </a:cubicBezTo>
                <a:cubicBezTo>
                  <a:pt x="712368" y="760755"/>
                  <a:pt x="730870" y="745519"/>
                  <a:pt x="746107" y="746607"/>
                </a:cubicBezTo>
                <a:close/>
                <a:moveTo>
                  <a:pt x="907727" y="741710"/>
                </a:moveTo>
                <a:cubicBezTo>
                  <a:pt x="925684" y="741710"/>
                  <a:pt x="944187" y="760756"/>
                  <a:pt x="944187" y="778714"/>
                </a:cubicBezTo>
                <a:cubicBezTo>
                  <a:pt x="944187" y="796672"/>
                  <a:pt x="926229" y="815174"/>
                  <a:pt x="907727" y="815174"/>
                </a:cubicBezTo>
                <a:cubicBezTo>
                  <a:pt x="889225" y="815174"/>
                  <a:pt x="872899" y="798848"/>
                  <a:pt x="872355" y="779258"/>
                </a:cubicBezTo>
                <a:cubicBezTo>
                  <a:pt x="871811" y="759668"/>
                  <a:pt x="888136" y="742254"/>
                  <a:pt x="907727" y="741710"/>
                </a:cubicBezTo>
                <a:close/>
                <a:moveTo>
                  <a:pt x="1070979" y="740621"/>
                </a:moveTo>
                <a:cubicBezTo>
                  <a:pt x="1091114" y="737357"/>
                  <a:pt x="1110704" y="761300"/>
                  <a:pt x="1110160" y="779258"/>
                </a:cubicBezTo>
                <a:cubicBezTo>
                  <a:pt x="1110160" y="798304"/>
                  <a:pt x="1089481" y="817894"/>
                  <a:pt x="1070979" y="817894"/>
                </a:cubicBezTo>
                <a:cubicBezTo>
                  <a:pt x="1049757" y="817894"/>
                  <a:pt x="1031255" y="797216"/>
                  <a:pt x="1031799" y="778714"/>
                </a:cubicBezTo>
                <a:cubicBezTo>
                  <a:pt x="1033431" y="756947"/>
                  <a:pt x="1049212" y="740621"/>
                  <a:pt x="1070979" y="740621"/>
                </a:cubicBezTo>
                <a:close/>
                <a:moveTo>
                  <a:pt x="1233688" y="736268"/>
                </a:moveTo>
                <a:cubicBezTo>
                  <a:pt x="1254367" y="735723"/>
                  <a:pt x="1276134" y="756402"/>
                  <a:pt x="1276134" y="777625"/>
                </a:cubicBezTo>
                <a:cubicBezTo>
                  <a:pt x="1276134" y="801025"/>
                  <a:pt x="1258720" y="819526"/>
                  <a:pt x="1235320" y="820615"/>
                </a:cubicBezTo>
                <a:cubicBezTo>
                  <a:pt x="1211377" y="821159"/>
                  <a:pt x="1193419" y="802657"/>
                  <a:pt x="1192331" y="779258"/>
                </a:cubicBezTo>
                <a:cubicBezTo>
                  <a:pt x="1190698" y="758579"/>
                  <a:pt x="1213009" y="736812"/>
                  <a:pt x="1233688" y="736268"/>
                </a:cubicBezTo>
                <a:close/>
                <a:moveTo>
                  <a:pt x="1397485" y="735724"/>
                </a:moveTo>
                <a:cubicBezTo>
                  <a:pt x="1421973" y="734091"/>
                  <a:pt x="1441564" y="757491"/>
                  <a:pt x="1441019" y="779802"/>
                </a:cubicBezTo>
                <a:cubicBezTo>
                  <a:pt x="1441019" y="803746"/>
                  <a:pt x="1418708" y="823336"/>
                  <a:pt x="1396397" y="823336"/>
                </a:cubicBezTo>
                <a:cubicBezTo>
                  <a:pt x="1374630" y="823336"/>
                  <a:pt x="1352863" y="802113"/>
                  <a:pt x="1352863" y="779258"/>
                </a:cubicBezTo>
                <a:cubicBezTo>
                  <a:pt x="1353407" y="758579"/>
                  <a:pt x="1372453" y="733547"/>
                  <a:pt x="1397485" y="735724"/>
                </a:cubicBezTo>
                <a:close/>
                <a:moveTo>
                  <a:pt x="1562371" y="734636"/>
                </a:moveTo>
                <a:cubicBezTo>
                  <a:pt x="1586314" y="732459"/>
                  <a:pt x="1605905" y="754226"/>
                  <a:pt x="1605905" y="779802"/>
                </a:cubicBezTo>
                <a:cubicBezTo>
                  <a:pt x="1605361" y="805923"/>
                  <a:pt x="1585226" y="823881"/>
                  <a:pt x="1560194" y="823881"/>
                </a:cubicBezTo>
                <a:cubicBezTo>
                  <a:pt x="1535706" y="823881"/>
                  <a:pt x="1515027" y="803202"/>
                  <a:pt x="1515572" y="777626"/>
                </a:cubicBezTo>
                <a:cubicBezTo>
                  <a:pt x="1516116" y="755859"/>
                  <a:pt x="1535162" y="731371"/>
                  <a:pt x="1562371" y="734636"/>
                </a:cubicBezTo>
                <a:close/>
                <a:moveTo>
                  <a:pt x="1724535" y="730827"/>
                </a:moveTo>
                <a:cubicBezTo>
                  <a:pt x="1748478" y="731371"/>
                  <a:pt x="1772422" y="755314"/>
                  <a:pt x="1772422" y="779258"/>
                </a:cubicBezTo>
                <a:cubicBezTo>
                  <a:pt x="1771878" y="804290"/>
                  <a:pt x="1748478" y="826602"/>
                  <a:pt x="1723446" y="826602"/>
                </a:cubicBezTo>
                <a:cubicBezTo>
                  <a:pt x="1696238" y="823881"/>
                  <a:pt x="1677736" y="807011"/>
                  <a:pt x="1676647" y="778714"/>
                </a:cubicBezTo>
                <a:cubicBezTo>
                  <a:pt x="1676103" y="753138"/>
                  <a:pt x="1699503" y="730282"/>
                  <a:pt x="1724535" y="730827"/>
                </a:cubicBezTo>
                <a:close/>
                <a:moveTo>
                  <a:pt x="1886699" y="730826"/>
                </a:moveTo>
                <a:cubicBezTo>
                  <a:pt x="1914452" y="730826"/>
                  <a:pt x="1934587" y="749872"/>
                  <a:pt x="1935131" y="778713"/>
                </a:cubicBezTo>
                <a:cubicBezTo>
                  <a:pt x="1936219" y="804834"/>
                  <a:pt x="1916085" y="826601"/>
                  <a:pt x="1887244" y="827145"/>
                </a:cubicBezTo>
                <a:cubicBezTo>
                  <a:pt x="1860579" y="826601"/>
                  <a:pt x="1838812" y="805922"/>
                  <a:pt x="1838812" y="778713"/>
                </a:cubicBezTo>
                <a:cubicBezTo>
                  <a:pt x="1839356" y="750416"/>
                  <a:pt x="1860035" y="730282"/>
                  <a:pt x="1886699" y="730826"/>
                </a:cubicBezTo>
                <a:close/>
                <a:moveTo>
                  <a:pt x="2050496" y="730282"/>
                </a:moveTo>
                <a:lnTo>
                  <a:pt x="2051041" y="730396"/>
                </a:lnTo>
                <a:lnTo>
                  <a:pt x="2051041" y="826942"/>
                </a:lnTo>
                <a:lnTo>
                  <a:pt x="2049952" y="827145"/>
                </a:lnTo>
                <a:cubicBezTo>
                  <a:pt x="2023832" y="827145"/>
                  <a:pt x="2001521" y="804290"/>
                  <a:pt x="2002065" y="778169"/>
                </a:cubicBezTo>
                <a:cubicBezTo>
                  <a:pt x="2002609" y="751505"/>
                  <a:pt x="2024376" y="730282"/>
                  <a:pt x="2050496" y="730282"/>
                </a:cubicBezTo>
                <a:close/>
                <a:moveTo>
                  <a:pt x="173634" y="685660"/>
                </a:moveTo>
                <a:cubicBezTo>
                  <a:pt x="181253" y="685660"/>
                  <a:pt x="185062" y="690013"/>
                  <a:pt x="184518" y="698176"/>
                </a:cubicBezTo>
                <a:cubicBezTo>
                  <a:pt x="183973" y="705250"/>
                  <a:pt x="180164" y="709059"/>
                  <a:pt x="172546" y="709059"/>
                </a:cubicBezTo>
                <a:cubicBezTo>
                  <a:pt x="164383" y="709059"/>
                  <a:pt x="160574" y="705250"/>
                  <a:pt x="161118" y="697088"/>
                </a:cubicBezTo>
                <a:cubicBezTo>
                  <a:pt x="161662" y="688925"/>
                  <a:pt x="164927" y="685660"/>
                  <a:pt x="173634" y="685660"/>
                </a:cubicBezTo>
                <a:close/>
                <a:moveTo>
                  <a:pt x="335798" y="675320"/>
                </a:moveTo>
                <a:cubicBezTo>
                  <a:pt x="345593" y="675320"/>
                  <a:pt x="357565" y="685115"/>
                  <a:pt x="357565" y="696543"/>
                </a:cubicBezTo>
                <a:cubicBezTo>
                  <a:pt x="357565" y="707426"/>
                  <a:pt x="346682" y="718854"/>
                  <a:pt x="336342" y="718854"/>
                </a:cubicBezTo>
                <a:cubicBezTo>
                  <a:pt x="327091" y="718854"/>
                  <a:pt x="315664" y="707426"/>
                  <a:pt x="315120" y="697631"/>
                </a:cubicBezTo>
                <a:cubicBezTo>
                  <a:pt x="314575" y="687292"/>
                  <a:pt x="325459" y="675864"/>
                  <a:pt x="335798" y="675320"/>
                </a:cubicBezTo>
                <a:close/>
                <a:moveTo>
                  <a:pt x="499051" y="670423"/>
                </a:moveTo>
                <a:cubicBezTo>
                  <a:pt x="512111" y="669335"/>
                  <a:pt x="526804" y="684027"/>
                  <a:pt x="526804" y="697088"/>
                </a:cubicBezTo>
                <a:cubicBezTo>
                  <a:pt x="526804" y="711236"/>
                  <a:pt x="513744" y="724296"/>
                  <a:pt x="499595" y="724296"/>
                </a:cubicBezTo>
                <a:cubicBezTo>
                  <a:pt x="486535" y="724296"/>
                  <a:pt x="472930" y="711236"/>
                  <a:pt x="472930" y="697632"/>
                </a:cubicBezTo>
                <a:cubicBezTo>
                  <a:pt x="472386" y="684027"/>
                  <a:pt x="485446" y="670423"/>
                  <a:pt x="499051" y="670423"/>
                </a:cubicBezTo>
                <a:close/>
                <a:moveTo>
                  <a:pt x="662848" y="665525"/>
                </a:moveTo>
                <a:cubicBezTo>
                  <a:pt x="678629" y="665525"/>
                  <a:pt x="694410" y="681306"/>
                  <a:pt x="694954" y="697087"/>
                </a:cubicBezTo>
                <a:cubicBezTo>
                  <a:pt x="695499" y="712868"/>
                  <a:pt x="679173" y="729194"/>
                  <a:pt x="663392" y="729194"/>
                </a:cubicBezTo>
                <a:cubicBezTo>
                  <a:pt x="647611" y="729194"/>
                  <a:pt x="632374" y="713957"/>
                  <a:pt x="632374" y="698176"/>
                </a:cubicBezTo>
                <a:cubicBezTo>
                  <a:pt x="631286" y="681850"/>
                  <a:pt x="647067" y="665525"/>
                  <a:pt x="662848" y="665525"/>
                </a:cubicBezTo>
                <a:close/>
                <a:moveTo>
                  <a:pt x="825013" y="663349"/>
                </a:moveTo>
                <a:cubicBezTo>
                  <a:pt x="844603" y="662260"/>
                  <a:pt x="861472" y="676953"/>
                  <a:pt x="860384" y="697632"/>
                </a:cubicBezTo>
                <a:cubicBezTo>
                  <a:pt x="861472" y="716134"/>
                  <a:pt x="846780" y="731915"/>
                  <a:pt x="826101" y="731915"/>
                </a:cubicBezTo>
                <a:cubicBezTo>
                  <a:pt x="806511" y="731915"/>
                  <a:pt x="791818" y="719399"/>
                  <a:pt x="791818" y="698176"/>
                </a:cubicBezTo>
                <a:cubicBezTo>
                  <a:pt x="791818" y="676409"/>
                  <a:pt x="805967" y="663893"/>
                  <a:pt x="825013" y="663349"/>
                </a:cubicBezTo>
                <a:close/>
                <a:moveTo>
                  <a:pt x="988809" y="658995"/>
                </a:moveTo>
                <a:cubicBezTo>
                  <a:pt x="1008400" y="657362"/>
                  <a:pt x="1028534" y="679129"/>
                  <a:pt x="1027446" y="697087"/>
                </a:cubicBezTo>
                <a:cubicBezTo>
                  <a:pt x="1026902" y="718310"/>
                  <a:pt x="1010576" y="735723"/>
                  <a:pt x="989353" y="735723"/>
                </a:cubicBezTo>
                <a:cubicBezTo>
                  <a:pt x="968675" y="735723"/>
                  <a:pt x="950717" y="718310"/>
                  <a:pt x="950717" y="697631"/>
                </a:cubicBezTo>
                <a:cubicBezTo>
                  <a:pt x="950717" y="676408"/>
                  <a:pt x="968131" y="660627"/>
                  <a:pt x="988809" y="658995"/>
                </a:cubicBezTo>
                <a:close/>
                <a:moveTo>
                  <a:pt x="1152607" y="655729"/>
                </a:moveTo>
                <a:cubicBezTo>
                  <a:pt x="1173829" y="654097"/>
                  <a:pt x="1194508" y="675864"/>
                  <a:pt x="1195052" y="697087"/>
                </a:cubicBezTo>
                <a:cubicBezTo>
                  <a:pt x="1195596" y="717766"/>
                  <a:pt x="1173829" y="739533"/>
                  <a:pt x="1153151" y="739533"/>
                </a:cubicBezTo>
                <a:cubicBezTo>
                  <a:pt x="1132472" y="740077"/>
                  <a:pt x="1110705" y="718310"/>
                  <a:pt x="1110705" y="697631"/>
                </a:cubicBezTo>
                <a:cubicBezTo>
                  <a:pt x="1112882" y="674231"/>
                  <a:pt x="1127574" y="657362"/>
                  <a:pt x="1152607" y="655729"/>
                </a:cubicBezTo>
                <a:close/>
                <a:moveTo>
                  <a:pt x="1316948" y="653554"/>
                </a:moveTo>
                <a:cubicBezTo>
                  <a:pt x="1340347" y="654098"/>
                  <a:pt x="1359937" y="674777"/>
                  <a:pt x="1359937" y="697632"/>
                </a:cubicBezTo>
                <a:cubicBezTo>
                  <a:pt x="1359937" y="718855"/>
                  <a:pt x="1339803" y="743343"/>
                  <a:pt x="1315315" y="740622"/>
                </a:cubicBezTo>
                <a:cubicBezTo>
                  <a:pt x="1293004" y="742799"/>
                  <a:pt x="1271237" y="718311"/>
                  <a:pt x="1271781" y="696544"/>
                </a:cubicBezTo>
                <a:cubicBezTo>
                  <a:pt x="1271781" y="675321"/>
                  <a:pt x="1292460" y="653010"/>
                  <a:pt x="1316948" y="653554"/>
                </a:cubicBezTo>
                <a:close/>
                <a:moveTo>
                  <a:pt x="1479112" y="651921"/>
                </a:moveTo>
                <a:cubicBezTo>
                  <a:pt x="1506321" y="651377"/>
                  <a:pt x="1524823" y="669335"/>
                  <a:pt x="1524823" y="697088"/>
                </a:cubicBezTo>
                <a:cubicBezTo>
                  <a:pt x="1524823" y="722664"/>
                  <a:pt x="1506865" y="743343"/>
                  <a:pt x="1479112" y="742254"/>
                </a:cubicBezTo>
                <a:cubicBezTo>
                  <a:pt x="1450815" y="743343"/>
                  <a:pt x="1433401" y="721031"/>
                  <a:pt x="1433945" y="697088"/>
                </a:cubicBezTo>
                <a:cubicBezTo>
                  <a:pt x="1434490" y="670423"/>
                  <a:pt x="1451903" y="652465"/>
                  <a:pt x="1479112" y="651921"/>
                </a:cubicBezTo>
                <a:close/>
                <a:moveTo>
                  <a:pt x="1642909" y="649744"/>
                </a:moveTo>
                <a:cubicBezTo>
                  <a:pt x="1671750" y="650288"/>
                  <a:pt x="1690252" y="668790"/>
                  <a:pt x="1690796" y="697087"/>
                </a:cubicBezTo>
                <a:cubicBezTo>
                  <a:pt x="1691340" y="723752"/>
                  <a:pt x="1672294" y="743342"/>
                  <a:pt x="1642909" y="745519"/>
                </a:cubicBezTo>
                <a:cubicBezTo>
                  <a:pt x="1614067" y="743887"/>
                  <a:pt x="1594477" y="725384"/>
                  <a:pt x="1594477" y="697632"/>
                </a:cubicBezTo>
                <a:cubicBezTo>
                  <a:pt x="1594477" y="668790"/>
                  <a:pt x="1614611" y="649200"/>
                  <a:pt x="1642909" y="649744"/>
                </a:cubicBezTo>
                <a:close/>
                <a:moveTo>
                  <a:pt x="1805617" y="648112"/>
                </a:moveTo>
                <a:cubicBezTo>
                  <a:pt x="1829561" y="648112"/>
                  <a:pt x="1857314" y="672055"/>
                  <a:pt x="1854593" y="698176"/>
                </a:cubicBezTo>
                <a:cubicBezTo>
                  <a:pt x="1856770" y="719399"/>
                  <a:pt x="1832826" y="747151"/>
                  <a:pt x="1805073" y="746607"/>
                </a:cubicBezTo>
                <a:cubicBezTo>
                  <a:pt x="1779497" y="746063"/>
                  <a:pt x="1756097" y="721575"/>
                  <a:pt x="1756097" y="697087"/>
                </a:cubicBezTo>
                <a:cubicBezTo>
                  <a:pt x="1756097" y="670423"/>
                  <a:pt x="1782218" y="647567"/>
                  <a:pt x="1805617" y="648112"/>
                </a:cubicBezTo>
                <a:close/>
                <a:moveTo>
                  <a:pt x="1969414" y="647023"/>
                </a:moveTo>
                <a:cubicBezTo>
                  <a:pt x="1992814" y="647023"/>
                  <a:pt x="2020567" y="672055"/>
                  <a:pt x="2018934" y="698176"/>
                </a:cubicBezTo>
                <a:cubicBezTo>
                  <a:pt x="2017302" y="725384"/>
                  <a:pt x="1996623" y="746063"/>
                  <a:pt x="1968326" y="746063"/>
                </a:cubicBezTo>
                <a:cubicBezTo>
                  <a:pt x="1941661" y="748784"/>
                  <a:pt x="1919350" y="721031"/>
                  <a:pt x="1918806" y="697087"/>
                </a:cubicBezTo>
                <a:cubicBezTo>
                  <a:pt x="1918806" y="669878"/>
                  <a:pt x="1945471" y="647023"/>
                  <a:pt x="1969414" y="647023"/>
                </a:cubicBezTo>
                <a:close/>
                <a:moveTo>
                  <a:pt x="90919" y="606754"/>
                </a:moveTo>
                <a:cubicBezTo>
                  <a:pt x="94728" y="608386"/>
                  <a:pt x="99626" y="612195"/>
                  <a:pt x="99626" y="615460"/>
                </a:cubicBezTo>
                <a:cubicBezTo>
                  <a:pt x="100170" y="618181"/>
                  <a:pt x="95816" y="621990"/>
                  <a:pt x="92007" y="627976"/>
                </a:cubicBezTo>
                <a:cubicBezTo>
                  <a:pt x="87654" y="623079"/>
                  <a:pt x="84389" y="619814"/>
                  <a:pt x="82756" y="616005"/>
                </a:cubicBezTo>
                <a:cubicBezTo>
                  <a:pt x="81668" y="613284"/>
                  <a:pt x="88198" y="605665"/>
                  <a:pt x="90919" y="606754"/>
                </a:cubicBezTo>
                <a:close/>
                <a:moveTo>
                  <a:pt x="254172" y="598047"/>
                </a:moveTo>
                <a:cubicBezTo>
                  <a:pt x="265599" y="597503"/>
                  <a:pt x="273218" y="606210"/>
                  <a:pt x="272674" y="614917"/>
                </a:cubicBezTo>
                <a:cubicBezTo>
                  <a:pt x="272674" y="625800"/>
                  <a:pt x="266688" y="632874"/>
                  <a:pt x="255260" y="633419"/>
                </a:cubicBezTo>
                <a:cubicBezTo>
                  <a:pt x="244376" y="633963"/>
                  <a:pt x="237302" y="626889"/>
                  <a:pt x="236758" y="616005"/>
                </a:cubicBezTo>
                <a:cubicBezTo>
                  <a:pt x="236758" y="605122"/>
                  <a:pt x="243832" y="598047"/>
                  <a:pt x="254172" y="598047"/>
                </a:cubicBezTo>
                <a:close/>
                <a:moveTo>
                  <a:pt x="418513" y="590429"/>
                </a:moveTo>
                <a:cubicBezTo>
                  <a:pt x="431029" y="590429"/>
                  <a:pt x="442457" y="601857"/>
                  <a:pt x="443001" y="614917"/>
                </a:cubicBezTo>
                <a:cubicBezTo>
                  <a:pt x="443545" y="627977"/>
                  <a:pt x="432118" y="640493"/>
                  <a:pt x="419058" y="640493"/>
                </a:cubicBezTo>
                <a:cubicBezTo>
                  <a:pt x="404365" y="640493"/>
                  <a:pt x="394570" y="630698"/>
                  <a:pt x="392937" y="616005"/>
                </a:cubicBezTo>
                <a:cubicBezTo>
                  <a:pt x="391849" y="604033"/>
                  <a:pt x="405997" y="590429"/>
                  <a:pt x="418513" y="590429"/>
                </a:cubicBezTo>
                <a:close/>
                <a:moveTo>
                  <a:pt x="581222" y="587163"/>
                </a:moveTo>
                <a:cubicBezTo>
                  <a:pt x="600812" y="588252"/>
                  <a:pt x="610063" y="598047"/>
                  <a:pt x="610063" y="616549"/>
                </a:cubicBezTo>
                <a:cubicBezTo>
                  <a:pt x="610063" y="634507"/>
                  <a:pt x="599179" y="644846"/>
                  <a:pt x="580677" y="645390"/>
                </a:cubicBezTo>
                <a:cubicBezTo>
                  <a:pt x="565440" y="644846"/>
                  <a:pt x="551836" y="634507"/>
                  <a:pt x="551836" y="615461"/>
                </a:cubicBezTo>
                <a:cubicBezTo>
                  <a:pt x="551836" y="594782"/>
                  <a:pt x="567073" y="586075"/>
                  <a:pt x="581222" y="587163"/>
                </a:cubicBezTo>
                <a:close/>
                <a:moveTo>
                  <a:pt x="743930" y="582266"/>
                </a:moveTo>
                <a:cubicBezTo>
                  <a:pt x="761344" y="581178"/>
                  <a:pt x="779301" y="599136"/>
                  <a:pt x="779301" y="616005"/>
                </a:cubicBezTo>
                <a:cubicBezTo>
                  <a:pt x="779301" y="632874"/>
                  <a:pt x="762976" y="649744"/>
                  <a:pt x="745563" y="649744"/>
                </a:cubicBezTo>
                <a:cubicBezTo>
                  <a:pt x="728149" y="649200"/>
                  <a:pt x="710191" y="635595"/>
                  <a:pt x="711824" y="616549"/>
                </a:cubicBezTo>
                <a:cubicBezTo>
                  <a:pt x="711824" y="596415"/>
                  <a:pt x="724340" y="583355"/>
                  <a:pt x="743930" y="582266"/>
                </a:cubicBezTo>
                <a:close/>
                <a:moveTo>
                  <a:pt x="907183" y="577913"/>
                </a:moveTo>
                <a:cubicBezTo>
                  <a:pt x="927318" y="576825"/>
                  <a:pt x="947452" y="598592"/>
                  <a:pt x="945276" y="615461"/>
                </a:cubicBezTo>
                <a:cubicBezTo>
                  <a:pt x="945276" y="635596"/>
                  <a:pt x="927318" y="653554"/>
                  <a:pt x="907727" y="654098"/>
                </a:cubicBezTo>
                <a:cubicBezTo>
                  <a:pt x="890314" y="654642"/>
                  <a:pt x="869091" y="635052"/>
                  <a:pt x="869091" y="616006"/>
                </a:cubicBezTo>
                <a:cubicBezTo>
                  <a:pt x="869635" y="595871"/>
                  <a:pt x="887049" y="578457"/>
                  <a:pt x="907183" y="577913"/>
                </a:cubicBezTo>
                <a:close/>
                <a:moveTo>
                  <a:pt x="1069891" y="574648"/>
                </a:moveTo>
                <a:cubicBezTo>
                  <a:pt x="1092202" y="574648"/>
                  <a:pt x="1111793" y="589885"/>
                  <a:pt x="1111248" y="615461"/>
                </a:cubicBezTo>
                <a:cubicBezTo>
                  <a:pt x="1111793" y="639405"/>
                  <a:pt x="1093835" y="656274"/>
                  <a:pt x="1070435" y="656274"/>
                </a:cubicBezTo>
                <a:cubicBezTo>
                  <a:pt x="1045403" y="656274"/>
                  <a:pt x="1029622" y="635052"/>
                  <a:pt x="1029622" y="614917"/>
                </a:cubicBezTo>
                <a:cubicBezTo>
                  <a:pt x="1030166" y="593150"/>
                  <a:pt x="1046491" y="574648"/>
                  <a:pt x="1069891" y="574648"/>
                </a:cubicBezTo>
                <a:close/>
                <a:moveTo>
                  <a:pt x="1235321" y="572472"/>
                </a:moveTo>
                <a:cubicBezTo>
                  <a:pt x="1256543" y="572472"/>
                  <a:pt x="1279399" y="590973"/>
                  <a:pt x="1277222" y="616550"/>
                </a:cubicBezTo>
                <a:cubicBezTo>
                  <a:pt x="1278855" y="639949"/>
                  <a:pt x="1255455" y="660084"/>
                  <a:pt x="1233688" y="660084"/>
                </a:cubicBezTo>
                <a:cubicBezTo>
                  <a:pt x="1211377" y="660084"/>
                  <a:pt x="1189610" y="637773"/>
                  <a:pt x="1190154" y="614917"/>
                </a:cubicBezTo>
                <a:cubicBezTo>
                  <a:pt x="1190698" y="594783"/>
                  <a:pt x="1209200" y="571927"/>
                  <a:pt x="1235321" y="572472"/>
                </a:cubicBezTo>
                <a:close/>
                <a:moveTo>
                  <a:pt x="1397485" y="569206"/>
                </a:moveTo>
                <a:cubicBezTo>
                  <a:pt x="1423606" y="569750"/>
                  <a:pt x="1443196" y="587708"/>
                  <a:pt x="1443196" y="616005"/>
                </a:cubicBezTo>
                <a:cubicBezTo>
                  <a:pt x="1443196" y="642670"/>
                  <a:pt x="1424150" y="661716"/>
                  <a:pt x="1396941" y="661172"/>
                </a:cubicBezTo>
                <a:cubicBezTo>
                  <a:pt x="1369188" y="661172"/>
                  <a:pt x="1350686" y="638860"/>
                  <a:pt x="1351775" y="614373"/>
                </a:cubicBezTo>
                <a:cubicBezTo>
                  <a:pt x="1352319" y="587164"/>
                  <a:pt x="1371365" y="569206"/>
                  <a:pt x="1397485" y="569206"/>
                </a:cubicBezTo>
                <a:close/>
                <a:moveTo>
                  <a:pt x="1560738" y="567029"/>
                </a:moveTo>
                <a:cubicBezTo>
                  <a:pt x="1586859" y="567029"/>
                  <a:pt x="1608082" y="587708"/>
                  <a:pt x="1609714" y="615461"/>
                </a:cubicBezTo>
                <a:cubicBezTo>
                  <a:pt x="1608082" y="641581"/>
                  <a:pt x="1589580" y="663892"/>
                  <a:pt x="1561283" y="663892"/>
                </a:cubicBezTo>
                <a:cubicBezTo>
                  <a:pt x="1534074" y="663892"/>
                  <a:pt x="1512851" y="642669"/>
                  <a:pt x="1512851" y="616005"/>
                </a:cubicBezTo>
                <a:cubicBezTo>
                  <a:pt x="1512851" y="587163"/>
                  <a:pt x="1535706" y="567029"/>
                  <a:pt x="1560738" y="567029"/>
                </a:cubicBezTo>
                <a:close/>
                <a:moveTo>
                  <a:pt x="1725624" y="565397"/>
                </a:moveTo>
                <a:cubicBezTo>
                  <a:pt x="1747935" y="565941"/>
                  <a:pt x="1775144" y="590429"/>
                  <a:pt x="1774599" y="616005"/>
                </a:cubicBezTo>
                <a:cubicBezTo>
                  <a:pt x="1774055" y="638317"/>
                  <a:pt x="1751744" y="668246"/>
                  <a:pt x="1723447" y="664981"/>
                </a:cubicBezTo>
                <a:cubicBezTo>
                  <a:pt x="1700592" y="667158"/>
                  <a:pt x="1674471" y="643758"/>
                  <a:pt x="1674471" y="615461"/>
                </a:cubicBezTo>
                <a:cubicBezTo>
                  <a:pt x="1674471" y="588797"/>
                  <a:pt x="1700592" y="565397"/>
                  <a:pt x="1725624" y="565397"/>
                </a:cubicBezTo>
                <a:close/>
                <a:moveTo>
                  <a:pt x="1886699" y="564853"/>
                </a:moveTo>
                <a:cubicBezTo>
                  <a:pt x="1914996" y="564309"/>
                  <a:pt x="1938396" y="589341"/>
                  <a:pt x="1938396" y="614917"/>
                </a:cubicBezTo>
                <a:cubicBezTo>
                  <a:pt x="1938396" y="640493"/>
                  <a:pt x="1917717" y="667702"/>
                  <a:pt x="1887787" y="665525"/>
                </a:cubicBezTo>
                <a:cubicBezTo>
                  <a:pt x="1860034" y="667702"/>
                  <a:pt x="1837723" y="644302"/>
                  <a:pt x="1837179" y="615461"/>
                </a:cubicBezTo>
                <a:cubicBezTo>
                  <a:pt x="1837179" y="586620"/>
                  <a:pt x="1861667" y="565397"/>
                  <a:pt x="1886699" y="564853"/>
                </a:cubicBezTo>
                <a:close/>
                <a:moveTo>
                  <a:pt x="2050496" y="564852"/>
                </a:moveTo>
                <a:lnTo>
                  <a:pt x="2051041" y="564962"/>
                </a:lnTo>
                <a:lnTo>
                  <a:pt x="2051041" y="665899"/>
                </a:lnTo>
                <a:lnTo>
                  <a:pt x="2049952" y="666069"/>
                </a:lnTo>
                <a:cubicBezTo>
                  <a:pt x="2018934" y="667157"/>
                  <a:pt x="1999344" y="642669"/>
                  <a:pt x="1999344" y="615460"/>
                </a:cubicBezTo>
                <a:cubicBezTo>
                  <a:pt x="1999344" y="587163"/>
                  <a:pt x="2021655" y="564852"/>
                  <a:pt x="2050496" y="564852"/>
                </a:cubicBezTo>
                <a:close/>
                <a:moveTo>
                  <a:pt x="173090" y="517509"/>
                </a:moveTo>
                <a:cubicBezTo>
                  <a:pt x="181252" y="517509"/>
                  <a:pt x="189415" y="525672"/>
                  <a:pt x="189959" y="533834"/>
                </a:cubicBezTo>
                <a:cubicBezTo>
                  <a:pt x="189959" y="542541"/>
                  <a:pt x="182341" y="550160"/>
                  <a:pt x="173634" y="550160"/>
                </a:cubicBezTo>
                <a:cubicBezTo>
                  <a:pt x="165471" y="550160"/>
                  <a:pt x="157853" y="543085"/>
                  <a:pt x="157308" y="534923"/>
                </a:cubicBezTo>
                <a:cubicBezTo>
                  <a:pt x="156764" y="526216"/>
                  <a:pt x="164383" y="518053"/>
                  <a:pt x="173090" y="517509"/>
                </a:cubicBezTo>
                <a:close/>
                <a:moveTo>
                  <a:pt x="335798" y="511523"/>
                </a:moveTo>
                <a:cubicBezTo>
                  <a:pt x="349947" y="512067"/>
                  <a:pt x="357565" y="519686"/>
                  <a:pt x="358654" y="533834"/>
                </a:cubicBezTo>
                <a:cubicBezTo>
                  <a:pt x="359742" y="547439"/>
                  <a:pt x="348314" y="557778"/>
                  <a:pt x="336343" y="556689"/>
                </a:cubicBezTo>
                <a:cubicBezTo>
                  <a:pt x="324371" y="558322"/>
                  <a:pt x="312943" y="545806"/>
                  <a:pt x="312943" y="534378"/>
                </a:cubicBezTo>
                <a:cubicBezTo>
                  <a:pt x="312943" y="522951"/>
                  <a:pt x="322738" y="510979"/>
                  <a:pt x="335798" y="511523"/>
                </a:cubicBezTo>
                <a:close/>
                <a:moveTo>
                  <a:pt x="500139" y="506626"/>
                </a:moveTo>
                <a:cubicBezTo>
                  <a:pt x="517553" y="507170"/>
                  <a:pt x="527892" y="517509"/>
                  <a:pt x="527348" y="535467"/>
                </a:cubicBezTo>
                <a:cubicBezTo>
                  <a:pt x="526804" y="552880"/>
                  <a:pt x="515920" y="562131"/>
                  <a:pt x="497963" y="561587"/>
                </a:cubicBezTo>
                <a:cubicBezTo>
                  <a:pt x="481093" y="561043"/>
                  <a:pt x="472386" y="550704"/>
                  <a:pt x="471842" y="533290"/>
                </a:cubicBezTo>
                <a:cubicBezTo>
                  <a:pt x="471298" y="516965"/>
                  <a:pt x="485447" y="506081"/>
                  <a:pt x="500139" y="506626"/>
                </a:cubicBezTo>
                <a:close/>
                <a:moveTo>
                  <a:pt x="662304" y="500639"/>
                </a:moveTo>
                <a:cubicBezTo>
                  <a:pt x="677540" y="497919"/>
                  <a:pt x="696587" y="518597"/>
                  <a:pt x="696042" y="533290"/>
                </a:cubicBezTo>
                <a:cubicBezTo>
                  <a:pt x="694954" y="551792"/>
                  <a:pt x="681894" y="565396"/>
                  <a:pt x="663392" y="566485"/>
                </a:cubicBezTo>
                <a:cubicBezTo>
                  <a:pt x="643802" y="567573"/>
                  <a:pt x="629653" y="549615"/>
                  <a:pt x="630197" y="534378"/>
                </a:cubicBezTo>
                <a:cubicBezTo>
                  <a:pt x="630741" y="515876"/>
                  <a:pt x="644346" y="501184"/>
                  <a:pt x="662304" y="500639"/>
                </a:cubicBezTo>
                <a:close/>
                <a:moveTo>
                  <a:pt x="825557" y="496830"/>
                </a:moveTo>
                <a:cubicBezTo>
                  <a:pt x="846780" y="496286"/>
                  <a:pt x="862561" y="513700"/>
                  <a:pt x="863649" y="534923"/>
                </a:cubicBezTo>
                <a:cubicBezTo>
                  <a:pt x="862017" y="556690"/>
                  <a:pt x="845147" y="571927"/>
                  <a:pt x="825557" y="571383"/>
                </a:cubicBezTo>
                <a:cubicBezTo>
                  <a:pt x="805422" y="570838"/>
                  <a:pt x="788553" y="555057"/>
                  <a:pt x="788553" y="534379"/>
                </a:cubicBezTo>
                <a:cubicBezTo>
                  <a:pt x="788553" y="514244"/>
                  <a:pt x="804334" y="497375"/>
                  <a:pt x="825557" y="496830"/>
                </a:cubicBezTo>
                <a:close/>
                <a:moveTo>
                  <a:pt x="989898" y="494110"/>
                </a:moveTo>
                <a:cubicBezTo>
                  <a:pt x="1012209" y="494654"/>
                  <a:pt x="1029622" y="513156"/>
                  <a:pt x="1029078" y="534923"/>
                </a:cubicBezTo>
                <a:cubicBezTo>
                  <a:pt x="1028534" y="556146"/>
                  <a:pt x="1010576" y="574104"/>
                  <a:pt x="989353" y="574104"/>
                </a:cubicBezTo>
                <a:cubicBezTo>
                  <a:pt x="969763" y="574648"/>
                  <a:pt x="947452" y="556690"/>
                  <a:pt x="949629" y="533835"/>
                </a:cubicBezTo>
                <a:cubicBezTo>
                  <a:pt x="947996" y="512068"/>
                  <a:pt x="968675" y="494110"/>
                  <a:pt x="989898" y="494110"/>
                </a:cubicBezTo>
                <a:close/>
                <a:moveTo>
                  <a:pt x="1152062" y="490301"/>
                </a:moveTo>
                <a:cubicBezTo>
                  <a:pt x="1174917" y="490301"/>
                  <a:pt x="1196140" y="509347"/>
                  <a:pt x="1196140" y="533835"/>
                </a:cubicBezTo>
                <a:cubicBezTo>
                  <a:pt x="1197228" y="558867"/>
                  <a:pt x="1173829" y="577913"/>
                  <a:pt x="1152606" y="577369"/>
                </a:cubicBezTo>
                <a:cubicBezTo>
                  <a:pt x="1130839" y="577369"/>
                  <a:pt x="1109616" y="556690"/>
                  <a:pt x="1109072" y="534379"/>
                </a:cubicBezTo>
                <a:cubicBezTo>
                  <a:pt x="1108528" y="510980"/>
                  <a:pt x="1128662" y="490301"/>
                  <a:pt x="1152062" y="490301"/>
                </a:cubicBezTo>
                <a:close/>
                <a:moveTo>
                  <a:pt x="1316947" y="489212"/>
                </a:moveTo>
                <a:cubicBezTo>
                  <a:pt x="1343612" y="489756"/>
                  <a:pt x="1361570" y="510435"/>
                  <a:pt x="1361570" y="534923"/>
                </a:cubicBezTo>
                <a:cubicBezTo>
                  <a:pt x="1361570" y="560499"/>
                  <a:pt x="1341980" y="580090"/>
                  <a:pt x="1315859" y="580090"/>
                </a:cubicBezTo>
                <a:cubicBezTo>
                  <a:pt x="1291915" y="580090"/>
                  <a:pt x="1269060" y="560499"/>
                  <a:pt x="1270693" y="533835"/>
                </a:cubicBezTo>
                <a:cubicBezTo>
                  <a:pt x="1269604" y="508258"/>
                  <a:pt x="1291371" y="488124"/>
                  <a:pt x="1316947" y="489212"/>
                </a:cubicBezTo>
                <a:close/>
                <a:moveTo>
                  <a:pt x="1479112" y="484315"/>
                </a:moveTo>
                <a:cubicBezTo>
                  <a:pt x="1503599" y="484315"/>
                  <a:pt x="1528087" y="508259"/>
                  <a:pt x="1528087" y="533835"/>
                </a:cubicBezTo>
                <a:cubicBezTo>
                  <a:pt x="1528087" y="558867"/>
                  <a:pt x="1506865" y="582267"/>
                  <a:pt x="1479656" y="582267"/>
                </a:cubicBezTo>
                <a:cubicBezTo>
                  <a:pt x="1453535" y="582267"/>
                  <a:pt x="1431224" y="560500"/>
                  <a:pt x="1431224" y="533835"/>
                </a:cubicBezTo>
                <a:cubicBezTo>
                  <a:pt x="1430680" y="506626"/>
                  <a:pt x="1454624" y="485403"/>
                  <a:pt x="1479112" y="484315"/>
                </a:cubicBezTo>
                <a:close/>
                <a:moveTo>
                  <a:pt x="1643452" y="484314"/>
                </a:moveTo>
                <a:cubicBezTo>
                  <a:pt x="1667396" y="481049"/>
                  <a:pt x="1693517" y="509891"/>
                  <a:pt x="1692973" y="534923"/>
                </a:cubicBezTo>
                <a:cubicBezTo>
                  <a:pt x="1692428" y="558867"/>
                  <a:pt x="1669573" y="584987"/>
                  <a:pt x="1641276" y="583898"/>
                </a:cubicBezTo>
                <a:cubicBezTo>
                  <a:pt x="1616788" y="583354"/>
                  <a:pt x="1592300" y="562676"/>
                  <a:pt x="1592300" y="532202"/>
                </a:cubicBezTo>
                <a:cubicBezTo>
                  <a:pt x="1592300" y="509891"/>
                  <a:pt x="1615155" y="481049"/>
                  <a:pt x="1643452" y="484314"/>
                </a:cubicBezTo>
                <a:close/>
                <a:moveTo>
                  <a:pt x="1806162" y="481594"/>
                </a:moveTo>
                <a:cubicBezTo>
                  <a:pt x="1839901" y="484859"/>
                  <a:pt x="1858947" y="504993"/>
                  <a:pt x="1857858" y="536011"/>
                </a:cubicBezTo>
                <a:cubicBezTo>
                  <a:pt x="1855682" y="568662"/>
                  <a:pt x="1834459" y="584987"/>
                  <a:pt x="1803441" y="586075"/>
                </a:cubicBezTo>
                <a:cubicBezTo>
                  <a:pt x="1775144" y="584443"/>
                  <a:pt x="1751744" y="559955"/>
                  <a:pt x="1753377" y="533290"/>
                </a:cubicBezTo>
                <a:cubicBezTo>
                  <a:pt x="1755009" y="504993"/>
                  <a:pt x="1780041" y="479417"/>
                  <a:pt x="1806162" y="481594"/>
                </a:cubicBezTo>
                <a:close/>
                <a:moveTo>
                  <a:pt x="1968326" y="480505"/>
                </a:moveTo>
                <a:cubicBezTo>
                  <a:pt x="1998256" y="483226"/>
                  <a:pt x="2020023" y="501728"/>
                  <a:pt x="2022200" y="534379"/>
                </a:cubicBezTo>
                <a:cubicBezTo>
                  <a:pt x="2023832" y="560499"/>
                  <a:pt x="1996079" y="588252"/>
                  <a:pt x="1969415" y="588252"/>
                </a:cubicBezTo>
                <a:cubicBezTo>
                  <a:pt x="1943294" y="588796"/>
                  <a:pt x="1916085" y="561587"/>
                  <a:pt x="1915541" y="534923"/>
                </a:cubicBezTo>
                <a:cubicBezTo>
                  <a:pt x="1914453" y="508258"/>
                  <a:pt x="1941117" y="480505"/>
                  <a:pt x="1968326" y="480505"/>
                </a:cubicBezTo>
                <a:close/>
                <a:moveTo>
                  <a:pt x="91464" y="440780"/>
                </a:moveTo>
                <a:cubicBezTo>
                  <a:pt x="99082" y="440780"/>
                  <a:pt x="102347" y="443501"/>
                  <a:pt x="102891" y="451664"/>
                </a:cubicBezTo>
                <a:cubicBezTo>
                  <a:pt x="102891" y="460915"/>
                  <a:pt x="100171" y="464179"/>
                  <a:pt x="92008" y="464179"/>
                </a:cubicBezTo>
                <a:cubicBezTo>
                  <a:pt x="83301" y="464179"/>
                  <a:pt x="80036" y="461459"/>
                  <a:pt x="80036" y="452752"/>
                </a:cubicBezTo>
                <a:cubicBezTo>
                  <a:pt x="80036" y="444045"/>
                  <a:pt x="83301" y="440780"/>
                  <a:pt x="91464" y="440780"/>
                </a:cubicBezTo>
                <a:close/>
                <a:moveTo>
                  <a:pt x="254172" y="430441"/>
                </a:moveTo>
                <a:cubicBezTo>
                  <a:pt x="263967" y="430441"/>
                  <a:pt x="276483" y="440236"/>
                  <a:pt x="275939" y="452208"/>
                </a:cubicBezTo>
                <a:cubicBezTo>
                  <a:pt x="275939" y="463092"/>
                  <a:pt x="265600" y="473975"/>
                  <a:pt x="254716" y="473975"/>
                </a:cubicBezTo>
                <a:cubicBezTo>
                  <a:pt x="244377" y="473975"/>
                  <a:pt x="232949" y="463092"/>
                  <a:pt x="232405" y="452752"/>
                </a:cubicBezTo>
                <a:cubicBezTo>
                  <a:pt x="232405" y="442413"/>
                  <a:pt x="243833" y="430985"/>
                  <a:pt x="254172" y="430441"/>
                </a:cubicBezTo>
                <a:close/>
                <a:moveTo>
                  <a:pt x="417969" y="424999"/>
                </a:moveTo>
                <a:cubicBezTo>
                  <a:pt x="432118" y="424999"/>
                  <a:pt x="444634" y="438059"/>
                  <a:pt x="444634" y="452752"/>
                </a:cubicBezTo>
                <a:cubicBezTo>
                  <a:pt x="445178" y="464180"/>
                  <a:pt x="432662" y="481049"/>
                  <a:pt x="417425" y="479417"/>
                </a:cubicBezTo>
                <a:cubicBezTo>
                  <a:pt x="405453" y="481049"/>
                  <a:pt x="389672" y="465268"/>
                  <a:pt x="390760" y="452208"/>
                </a:cubicBezTo>
                <a:cubicBezTo>
                  <a:pt x="391849" y="437515"/>
                  <a:pt x="403276" y="424999"/>
                  <a:pt x="417969" y="424999"/>
                </a:cubicBezTo>
                <a:close/>
                <a:moveTo>
                  <a:pt x="580677" y="419558"/>
                </a:moveTo>
                <a:cubicBezTo>
                  <a:pt x="596458" y="419013"/>
                  <a:pt x="612783" y="434795"/>
                  <a:pt x="612783" y="452208"/>
                </a:cubicBezTo>
                <a:cubicBezTo>
                  <a:pt x="612783" y="469622"/>
                  <a:pt x="599723" y="483226"/>
                  <a:pt x="581221" y="484315"/>
                </a:cubicBezTo>
                <a:cubicBezTo>
                  <a:pt x="561087" y="482138"/>
                  <a:pt x="549659" y="470710"/>
                  <a:pt x="549115" y="452208"/>
                </a:cubicBezTo>
                <a:cubicBezTo>
                  <a:pt x="548571" y="433162"/>
                  <a:pt x="564352" y="420102"/>
                  <a:pt x="580677" y="419558"/>
                </a:cubicBezTo>
                <a:close/>
                <a:moveTo>
                  <a:pt x="743931" y="415748"/>
                </a:moveTo>
                <a:cubicBezTo>
                  <a:pt x="761888" y="414660"/>
                  <a:pt x="779846" y="432618"/>
                  <a:pt x="780390" y="452208"/>
                </a:cubicBezTo>
                <a:cubicBezTo>
                  <a:pt x="780934" y="471254"/>
                  <a:pt x="764065" y="488668"/>
                  <a:pt x="744475" y="489212"/>
                </a:cubicBezTo>
                <a:cubicBezTo>
                  <a:pt x="727061" y="489212"/>
                  <a:pt x="709103" y="472342"/>
                  <a:pt x="708559" y="453840"/>
                </a:cubicBezTo>
                <a:cubicBezTo>
                  <a:pt x="707471" y="435883"/>
                  <a:pt x="725428" y="416836"/>
                  <a:pt x="743931" y="415748"/>
                </a:cubicBezTo>
                <a:close/>
                <a:moveTo>
                  <a:pt x="908271" y="414116"/>
                </a:moveTo>
                <a:cubicBezTo>
                  <a:pt x="927861" y="411395"/>
                  <a:pt x="946907" y="431529"/>
                  <a:pt x="946363" y="453296"/>
                </a:cubicBezTo>
                <a:cubicBezTo>
                  <a:pt x="946363" y="473975"/>
                  <a:pt x="927317" y="491933"/>
                  <a:pt x="906638" y="491933"/>
                </a:cubicBezTo>
                <a:cubicBezTo>
                  <a:pt x="887048" y="491933"/>
                  <a:pt x="866913" y="473431"/>
                  <a:pt x="868546" y="452208"/>
                </a:cubicBezTo>
                <a:cubicBezTo>
                  <a:pt x="870179" y="428808"/>
                  <a:pt x="884871" y="413571"/>
                  <a:pt x="908271" y="414116"/>
                </a:cubicBezTo>
                <a:close/>
                <a:moveTo>
                  <a:pt x="1072068" y="409218"/>
                </a:moveTo>
                <a:cubicBezTo>
                  <a:pt x="1097100" y="410307"/>
                  <a:pt x="1113970" y="427720"/>
                  <a:pt x="1113970" y="452752"/>
                </a:cubicBezTo>
                <a:cubicBezTo>
                  <a:pt x="1113970" y="478329"/>
                  <a:pt x="1092203" y="495198"/>
                  <a:pt x="1070436" y="495198"/>
                </a:cubicBezTo>
                <a:cubicBezTo>
                  <a:pt x="1048124" y="494654"/>
                  <a:pt x="1027446" y="475063"/>
                  <a:pt x="1028534" y="451120"/>
                </a:cubicBezTo>
                <a:cubicBezTo>
                  <a:pt x="1029622" y="427720"/>
                  <a:pt x="1048669" y="408130"/>
                  <a:pt x="1072068" y="409218"/>
                </a:cubicBezTo>
                <a:close/>
                <a:moveTo>
                  <a:pt x="1235865" y="408130"/>
                </a:moveTo>
                <a:cubicBezTo>
                  <a:pt x="1258721" y="405953"/>
                  <a:pt x="1279400" y="427176"/>
                  <a:pt x="1279400" y="453296"/>
                </a:cubicBezTo>
                <a:cubicBezTo>
                  <a:pt x="1278855" y="478328"/>
                  <a:pt x="1258177" y="497374"/>
                  <a:pt x="1233689" y="497374"/>
                </a:cubicBezTo>
                <a:cubicBezTo>
                  <a:pt x="1209745" y="496830"/>
                  <a:pt x="1189066" y="476151"/>
                  <a:pt x="1189611" y="451664"/>
                </a:cubicBezTo>
                <a:cubicBezTo>
                  <a:pt x="1189611" y="429352"/>
                  <a:pt x="1209201" y="404864"/>
                  <a:pt x="1235865" y="408130"/>
                </a:cubicBezTo>
                <a:close/>
                <a:moveTo>
                  <a:pt x="1396941" y="403776"/>
                </a:moveTo>
                <a:cubicBezTo>
                  <a:pt x="1425238" y="403232"/>
                  <a:pt x="1445373" y="423911"/>
                  <a:pt x="1446461" y="450575"/>
                </a:cubicBezTo>
                <a:cubicBezTo>
                  <a:pt x="1447005" y="476696"/>
                  <a:pt x="1426327" y="500096"/>
                  <a:pt x="1399118" y="500640"/>
                </a:cubicBezTo>
                <a:cubicBezTo>
                  <a:pt x="1372453" y="501184"/>
                  <a:pt x="1349598" y="479961"/>
                  <a:pt x="1349598" y="453296"/>
                </a:cubicBezTo>
                <a:cubicBezTo>
                  <a:pt x="1349598" y="424999"/>
                  <a:pt x="1370277" y="404865"/>
                  <a:pt x="1396941" y="403776"/>
                </a:cubicBezTo>
                <a:close/>
                <a:moveTo>
                  <a:pt x="1560738" y="402144"/>
                </a:moveTo>
                <a:cubicBezTo>
                  <a:pt x="1588491" y="402144"/>
                  <a:pt x="1611347" y="427176"/>
                  <a:pt x="1611347" y="453297"/>
                </a:cubicBezTo>
                <a:cubicBezTo>
                  <a:pt x="1610803" y="476152"/>
                  <a:pt x="1590668" y="502817"/>
                  <a:pt x="1560194" y="502272"/>
                </a:cubicBezTo>
                <a:cubicBezTo>
                  <a:pt x="1534074" y="501728"/>
                  <a:pt x="1508498" y="479961"/>
                  <a:pt x="1511218" y="451664"/>
                </a:cubicBezTo>
                <a:cubicBezTo>
                  <a:pt x="1508498" y="425544"/>
                  <a:pt x="1534618" y="402144"/>
                  <a:pt x="1560738" y="402144"/>
                </a:cubicBezTo>
                <a:close/>
                <a:moveTo>
                  <a:pt x="1723991" y="399423"/>
                </a:moveTo>
                <a:cubicBezTo>
                  <a:pt x="1756097" y="402688"/>
                  <a:pt x="1777320" y="422278"/>
                  <a:pt x="1776776" y="452752"/>
                </a:cubicBezTo>
                <a:cubicBezTo>
                  <a:pt x="1776232" y="483226"/>
                  <a:pt x="1757730" y="501728"/>
                  <a:pt x="1725079" y="504993"/>
                </a:cubicBezTo>
                <a:cubicBezTo>
                  <a:pt x="1697870" y="507714"/>
                  <a:pt x="1670117" y="479961"/>
                  <a:pt x="1671750" y="452752"/>
                </a:cubicBezTo>
                <a:cubicBezTo>
                  <a:pt x="1673382" y="420102"/>
                  <a:pt x="1692428" y="403232"/>
                  <a:pt x="1723991" y="399423"/>
                </a:cubicBezTo>
                <a:close/>
                <a:moveTo>
                  <a:pt x="2051040" y="398335"/>
                </a:moveTo>
                <a:lnTo>
                  <a:pt x="2051041" y="398335"/>
                </a:lnTo>
                <a:lnTo>
                  <a:pt x="2051041" y="506936"/>
                </a:lnTo>
                <a:lnTo>
                  <a:pt x="2049952" y="507170"/>
                </a:lnTo>
                <a:cubicBezTo>
                  <a:pt x="2020566" y="506626"/>
                  <a:pt x="1995534" y="481593"/>
                  <a:pt x="1995534" y="452208"/>
                </a:cubicBezTo>
                <a:cubicBezTo>
                  <a:pt x="1996078" y="424455"/>
                  <a:pt x="2021655" y="397246"/>
                  <a:pt x="2051040" y="398335"/>
                </a:cubicBezTo>
                <a:close/>
                <a:moveTo>
                  <a:pt x="1888332" y="398335"/>
                </a:moveTo>
                <a:cubicBezTo>
                  <a:pt x="1915541" y="398879"/>
                  <a:pt x="1941661" y="423911"/>
                  <a:pt x="1941661" y="452208"/>
                </a:cubicBezTo>
                <a:cubicBezTo>
                  <a:pt x="1941661" y="481594"/>
                  <a:pt x="1916085" y="507170"/>
                  <a:pt x="1886699" y="506082"/>
                </a:cubicBezTo>
                <a:cubicBezTo>
                  <a:pt x="1857314" y="505538"/>
                  <a:pt x="1833914" y="481594"/>
                  <a:pt x="1833370" y="452208"/>
                </a:cubicBezTo>
                <a:cubicBezTo>
                  <a:pt x="1833370" y="423911"/>
                  <a:pt x="1860035" y="398335"/>
                  <a:pt x="1888332" y="398335"/>
                </a:cubicBezTo>
                <a:close/>
                <a:moveTo>
                  <a:pt x="12014" y="364052"/>
                </a:moveTo>
                <a:cubicBezTo>
                  <a:pt x="13102" y="365140"/>
                  <a:pt x="15279" y="367317"/>
                  <a:pt x="15823" y="370038"/>
                </a:cubicBezTo>
                <a:cubicBezTo>
                  <a:pt x="16911" y="374391"/>
                  <a:pt x="14191" y="377656"/>
                  <a:pt x="9293" y="377656"/>
                </a:cubicBezTo>
                <a:cubicBezTo>
                  <a:pt x="4940" y="377656"/>
                  <a:pt x="3307" y="374936"/>
                  <a:pt x="3307" y="371126"/>
                </a:cubicBezTo>
                <a:cubicBezTo>
                  <a:pt x="3307" y="367317"/>
                  <a:pt x="4940" y="364052"/>
                  <a:pt x="12014" y="364052"/>
                </a:cubicBezTo>
                <a:close/>
                <a:moveTo>
                  <a:pt x="172545" y="353713"/>
                </a:moveTo>
                <a:cubicBezTo>
                  <a:pt x="184517" y="353713"/>
                  <a:pt x="190503" y="359154"/>
                  <a:pt x="190503" y="370582"/>
                </a:cubicBezTo>
                <a:cubicBezTo>
                  <a:pt x="190503" y="381466"/>
                  <a:pt x="184517" y="387996"/>
                  <a:pt x="173090" y="387996"/>
                </a:cubicBezTo>
                <a:cubicBezTo>
                  <a:pt x="163839" y="388540"/>
                  <a:pt x="155676" y="381466"/>
                  <a:pt x="155676" y="371126"/>
                </a:cubicBezTo>
                <a:cubicBezTo>
                  <a:pt x="155676" y="362419"/>
                  <a:pt x="161662" y="352080"/>
                  <a:pt x="172545" y="353713"/>
                </a:cubicBezTo>
                <a:close/>
                <a:moveTo>
                  <a:pt x="336886" y="345550"/>
                </a:moveTo>
                <a:cubicBezTo>
                  <a:pt x="350490" y="346094"/>
                  <a:pt x="362462" y="358610"/>
                  <a:pt x="361374" y="371670"/>
                </a:cubicBezTo>
                <a:cubicBezTo>
                  <a:pt x="360286" y="385275"/>
                  <a:pt x="348858" y="395614"/>
                  <a:pt x="335798" y="395070"/>
                </a:cubicBezTo>
                <a:cubicBezTo>
                  <a:pt x="319472" y="394526"/>
                  <a:pt x="311854" y="381466"/>
                  <a:pt x="311854" y="370038"/>
                </a:cubicBezTo>
                <a:cubicBezTo>
                  <a:pt x="311854" y="356978"/>
                  <a:pt x="324370" y="345550"/>
                  <a:pt x="336886" y="345550"/>
                </a:cubicBezTo>
                <a:close/>
                <a:moveTo>
                  <a:pt x="499596" y="342284"/>
                </a:moveTo>
                <a:cubicBezTo>
                  <a:pt x="518642" y="341196"/>
                  <a:pt x="528437" y="354256"/>
                  <a:pt x="528437" y="370582"/>
                </a:cubicBezTo>
                <a:cubicBezTo>
                  <a:pt x="528437" y="386363"/>
                  <a:pt x="518642" y="399967"/>
                  <a:pt x="499051" y="399423"/>
                </a:cubicBezTo>
                <a:cubicBezTo>
                  <a:pt x="481094" y="399423"/>
                  <a:pt x="470210" y="387995"/>
                  <a:pt x="470210" y="370037"/>
                </a:cubicBezTo>
                <a:cubicBezTo>
                  <a:pt x="470754" y="352624"/>
                  <a:pt x="481638" y="341740"/>
                  <a:pt x="499596" y="342284"/>
                </a:cubicBezTo>
                <a:close/>
                <a:moveTo>
                  <a:pt x="663392" y="337387"/>
                </a:moveTo>
                <a:cubicBezTo>
                  <a:pt x="680262" y="337387"/>
                  <a:pt x="697675" y="354801"/>
                  <a:pt x="697131" y="371126"/>
                </a:cubicBezTo>
                <a:cubicBezTo>
                  <a:pt x="696043" y="390172"/>
                  <a:pt x="682982" y="404321"/>
                  <a:pt x="662304" y="404321"/>
                </a:cubicBezTo>
                <a:cubicBezTo>
                  <a:pt x="643258" y="405953"/>
                  <a:pt x="629109" y="389084"/>
                  <a:pt x="629109" y="371126"/>
                </a:cubicBezTo>
                <a:cubicBezTo>
                  <a:pt x="629109" y="352624"/>
                  <a:pt x="645434" y="337387"/>
                  <a:pt x="663392" y="337387"/>
                </a:cubicBezTo>
                <a:close/>
                <a:moveTo>
                  <a:pt x="825556" y="332489"/>
                </a:moveTo>
                <a:cubicBezTo>
                  <a:pt x="847323" y="333577"/>
                  <a:pt x="864193" y="349358"/>
                  <a:pt x="864737" y="370037"/>
                </a:cubicBezTo>
                <a:cubicBezTo>
                  <a:pt x="864193" y="391260"/>
                  <a:pt x="847323" y="409218"/>
                  <a:pt x="826645" y="409218"/>
                </a:cubicBezTo>
                <a:cubicBezTo>
                  <a:pt x="808687" y="412483"/>
                  <a:pt x="788008" y="387995"/>
                  <a:pt x="787464" y="371126"/>
                </a:cubicBezTo>
                <a:cubicBezTo>
                  <a:pt x="787464" y="353712"/>
                  <a:pt x="808687" y="331945"/>
                  <a:pt x="825556" y="332489"/>
                </a:cubicBezTo>
                <a:close/>
                <a:moveTo>
                  <a:pt x="989898" y="328680"/>
                </a:moveTo>
                <a:cubicBezTo>
                  <a:pt x="1013297" y="329224"/>
                  <a:pt x="1030167" y="347182"/>
                  <a:pt x="1031255" y="371126"/>
                </a:cubicBezTo>
                <a:cubicBezTo>
                  <a:pt x="1029623" y="396702"/>
                  <a:pt x="1010576" y="413027"/>
                  <a:pt x="989354" y="413027"/>
                </a:cubicBezTo>
                <a:cubicBezTo>
                  <a:pt x="964866" y="412483"/>
                  <a:pt x="946908" y="393981"/>
                  <a:pt x="947452" y="370037"/>
                </a:cubicBezTo>
                <a:cubicBezTo>
                  <a:pt x="947996" y="346094"/>
                  <a:pt x="964866" y="328680"/>
                  <a:pt x="989898" y="328680"/>
                </a:cubicBezTo>
                <a:close/>
                <a:moveTo>
                  <a:pt x="1153150" y="326504"/>
                </a:moveTo>
                <a:cubicBezTo>
                  <a:pt x="1177094" y="326504"/>
                  <a:pt x="1197228" y="347727"/>
                  <a:pt x="1197228" y="370582"/>
                </a:cubicBezTo>
                <a:cubicBezTo>
                  <a:pt x="1197228" y="392894"/>
                  <a:pt x="1176550" y="417925"/>
                  <a:pt x="1152606" y="414661"/>
                </a:cubicBezTo>
                <a:cubicBezTo>
                  <a:pt x="1130295" y="417925"/>
                  <a:pt x="1107984" y="393982"/>
                  <a:pt x="1108528" y="370038"/>
                </a:cubicBezTo>
                <a:cubicBezTo>
                  <a:pt x="1109072" y="347727"/>
                  <a:pt x="1129751" y="326504"/>
                  <a:pt x="1153150" y="326504"/>
                </a:cubicBezTo>
                <a:close/>
                <a:moveTo>
                  <a:pt x="1317492" y="323239"/>
                </a:moveTo>
                <a:cubicBezTo>
                  <a:pt x="1341979" y="322151"/>
                  <a:pt x="1367012" y="348271"/>
                  <a:pt x="1364835" y="372215"/>
                </a:cubicBezTo>
                <a:cubicBezTo>
                  <a:pt x="1361026" y="399968"/>
                  <a:pt x="1344700" y="416837"/>
                  <a:pt x="1314771" y="419014"/>
                </a:cubicBezTo>
                <a:cubicBezTo>
                  <a:pt x="1286474" y="415205"/>
                  <a:pt x="1267972" y="398879"/>
                  <a:pt x="1268516" y="370582"/>
                </a:cubicBezTo>
                <a:cubicBezTo>
                  <a:pt x="1268516" y="341197"/>
                  <a:pt x="1288650" y="324327"/>
                  <a:pt x="1317492" y="323239"/>
                </a:cubicBezTo>
                <a:close/>
                <a:moveTo>
                  <a:pt x="1479112" y="320517"/>
                </a:moveTo>
                <a:cubicBezTo>
                  <a:pt x="1503600" y="319973"/>
                  <a:pt x="1530265" y="343917"/>
                  <a:pt x="1529720" y="371670"/>
                </a:cubicBezTo>
                <a:cubicBezTo>
                  <a:pt x="1528632" y="395069"/>
                  <a:pt x="1506321" y="423366"/>
                  <a:pt x="1478568" y="420101"/>
                </a:cubicBezTo>
                <a:cubicBezTo>
                  <a:pt x="1452447" y="422822"/>
                  <a:pt x="1429592" y="397246"/>
                  <a:pt x="1429592" y="370037"/>
                </a:cubicBezTo>
                <a:cubicBezTo>
                  <a:pt x="1429592" y="342284"/>
                  <a:pt x="1455713" y="320517"/>
                  <a:pt x="1479112" y="320517"/>
                </a:cubicBezTo>
                <a:close/>
                <a:moveTo>
                  <a:pt x="1642364" y="318341"/>
                </a:moveTo>
                <a:cubicBezTo>
                  <a:pt x="1670661" y="318341"/>
                  <a:pt x="1692973" y="339020"/>
                  <a:pt x="1695694" y="370582"/>
                </a:cubicBezTo>
                <a:cubicBezTo>
                  <a:pt x="1696238" y="397791"/>
                  <a:pt x="1671206" y="423367"/>
                  <a:pt x="1643453" y="424455"/>
                </a:cubicBezTo>
                <a:cubicBezTo>
                  <a:pt x="1616788" y="425544"/>
                  <a:pt x="1589035" y="398335"/>
                  <a:pt x="1589035" y="371670"/>
                </a:cubicBezTo>
                <a:cubicBezTo>
                  <a:pt x="1589035" y="345006"/>
                  <a:pt x="1615155" y="317797"/>
                  <a:pt x="1642364" y="318341"/>
                </a:cubicBezTo>
                <a:close/>
                <a:moveTo>
                  <a:pt x="90919" y="273718"/>
                </a:moveTo>
                <a:cubicBezTo>
                  <a:pt x="96361" y="273174"/>
                  <a:pt x="106156" y="282425"/>
                  <a:pt x="106700" y="288411"/>
                </a:cubicBezTo>
                <a:cubicBezTo>
                  <a:pt x="106700" y="294941"/>
                  <a:pt x="97993" y="303648"/>
                  <a:pt x="91463" y="303648"/>
                </a:cubicBezTo>
                <a:cubicBezTo>
                  <a:pt x="84933" y="303648"/>
                  <a:pt x="76226" y="294941"/>
                  <a:pt x="76770" y="288411"/>
                </a:cubicBezTo>
                <a:cubicBezTo>
                  <a:pt x="76770" y="283513"/>
                  <a:pt x="86021" y="274262"/>
                  <a:pt x="90919" y="273718"/>
                </a:cubicBezTo>
                <a:close/>
                <a:moveTo>
                  <a:pt x="254716" y="267733"/>
                </a:moveTo>
                <a:cubicBezTo>
                  <a:pt x="267776" y="267733"/>
                  <a:pt x="276483" y="276440"/>
                  <a:pt x="276483" y="288956"/>
                </a:cubicBezTo>
                <a:cubicBezTo>
                  <a:pt x="276483" y="301472"/>
                  <a:pt x="266688" y="311811"/>
                  <a:pt x="254172" y="311811"/>
                </a:cubicBezTo>
                <a:cubicBezTo>
                  <a:pt x="243289" y="311811"/>
                  <a:pt x="232405" y="300384"/>
                  <a:pt x="232405" y="289500"/>
                </a:cubicBezTo>
                <a:cubicBezTo>
                  <a:pt x="232405" y="276984"/>
                  <a:pt x="242744" y="267733"/>
                  <a:pt x="254716" y="267733"/>
                </a:cubicBezTo>
                <a:close/>
                <a:moveTo>
                  <a:pt x="1941117" y="263202"/>
                </a:moveTo>
                <a:cubicBezTo>
                  <a:pt x="1937852" y="261570"/>
                  <a:pt x="1936219" y="263202"/>
                  <a:pt x="1936219" y="266467"/>
                </a:cubicBezTo>
                <a:cubicBezTo>
                  <a:pt x="1936763" y="268644"/>
                  <a:pt x="1937852" y="270276"/>
                  <a:pt x="1938396" y="272453"/>
                </a:cubicBezTo>
                <a:cubicBezTo>
                  <a:pt x="1944382" y="290955"/>
                  <a:pt x="1943838" y="308913"/>
                  <a:pt x="1932954" y="325782"/>
                </a:cubicBezTo>
                <a:cubicBezTo>
                  <a:pt x="1931866" y="327415"/>
                  <a:pt x="1931866" y="329047"/>
                  <a:pt x="1930777" y="331224"/>
                </a:cubicBezTo>
                <a:cubicBezTo>
                  <a:pt x="1932410" y="331224"/>
                  <a:pt x="1935131" y="331224"/>
                  <a:pt x="1936219" y="330136"/>
                </a:cubicBezTo>
                <a:cubicBezTo>
                  <a:pt x="1945470" y="323061"/>
                  <a:pt x="1955265" y="320885"/>
                  <a:pt x="1966693" y="320340"/>
                </a:cubicBezTo>
                <a:cubicBezTo>
                  <a:pt x="1978121" y="319796"/>
                  <a:pt x="1989004" y="323061"/>
                  <a:pt x="1998799" y="328503"/>
                </a:cubicBezTo>
                <a:cubicBezTo>
                  <a:pt x="2000432" y="329047"/>
                  <a:pt x="2001520" y="329592"/>
                  <a:pt x="2003153" y="330136"/>
                </a:cubicBezTo>
                <a:cubicBezTo>
                  <a:pt x="2002609" y="328503"/>
                  <a:pt x="2002609" y="326326"/>
                  <a:pt x="2001520" y="324694"/>
                </a:cubicBezTo>
                <a:cubicBezTo>
                  <a:pt x="1999344" y="319796"/>
                  <a:pt x="1995534" y="314899"/>
                  <a:pt x="1994446" y="309457"/>
                </a:cubicBezTo>
                <a:cubicBezTo>
                  <a:pt x="1992269" y="295308"/>
                  <a:pt x="1990093" y="281160"/>
                  <a:pt x="1998255" y="267555"/>
                </a:cubicBezTo>
                <a:cubicBezTo>
                  <a:pt x="2000432" y="267555"/>
                  <a:pt x="2000432" y="265923"/>
                  <a:pt x="2000976" y="263746"/>
                </a:cubicBezTo>
                <a:cubicBezTo>
                  <a:pt x="1998799" y="263746"/>
                  <a:pt x="1996623" y="262658"/>
                  <a:pt x="1995534" y="263746"/>
                </a:cubicBezTo>
                <a:cubicBezTo>
                  <a:pt x="1977577" y="272997"/>
                  <a:pt x="1959075" y="272997"/>
                  <a:pt x="1941117" y="263202"/>
                </a:cubicBezTo>
                <a:close/>
                <a:moveTo>
                  <a:pt x="417425" y="262291"/>
                </a:moveTo>
                <a:cubicBezTo>
                  <a:pt x="434839" y="262291"/>
                  <a:pt x="445178" y="272086"/>
                  <a:pt x="445178" y="288956"/>
                </a:cubicBezTo>
                <a:cubicBezTo>
                  <a:pt x="445178" y="305825"/>
                  <a:pt x="434839" y="316164"/>
                  <a:pt x="417969" y="317253"/>
                </a:cubicBezTo>
                <a:cubicBezTo>
                  <a:pt x="404909" y="317797"/>
                  <a:pt x="389672" y="306369"/>
                  <a:pt x="390216" y="290044"/>
                </a:cubicBezTo>
                <a:cubicBezTo>
                  <a:pt x="391305" y="272086"/>
                  <a:pt x="400011" y="262291"/>
                  <a:pt x="417425" y="262291"/>
                </a:cubicBezTo>
                <a:close/>
                <a:moveTo>
                  <a:pt x="580678" y="256304"/>
                </a:moveTo>
                <a:cubicBezTo>
                  <a:pt x="596459" y="255760"/>
                  <a:pt x="616049" y="273174"/>
                  <a:pt x="613872" y="288955"/>
                </a:cubicBezTo>
                <a:cubicBezTo>
                  <a:pt x="615505" y="304736"/>
                  <a:pt x="598635" y="322150"/>
                  <a:pt x="581222" y="322150"/>
                </a:cubicBezTo>
                <a:cubicBezTo>
                  <a:pt x="564352" y="322150"/>
                  <a:pt x="548571" y="308001"/>
                  <a:pt x="548027" y="289499"/>
                </a:cubicBezTo>
                <a:cubicBezTo>
                  <a:pt x="547483" y="272086"/>
                  <a:pt x="565441" y="256849"/>
                  <a:pt x="580678" y="256304"/>
                </a:cubicBezTo>
                <a:close/>
                <a:moveTo>
                  <a:pt x="743930" y="251951"/>
                </a:moveTo>
                <a:cubicBezTo>
                  <a:pt x="764609" y="251951"/>
                  <a:pt x="782566" y="268820"/>
                  <a:pt x="782022" y="289499"/>
                </a:cubicBezTo>
                <a:cubicBezTo>
                  <a:pt x="781478" y="311266"/>
                  <a:pt x="765153" y="326503"/>
                  <a:pt x="744474" y="326503"/>
                </a:cubicBezTo>
                <a:cubicBezTo>
                  <a:pt x="723795" y="326503"/>
                  <a:pt x="708014" y="311266"/>
                  <a:pt x="707470" y="289499"/>
                </a:cubicBezTo>
                <a:cubicBezTo>
                  <a:pt x="706926" y="271541"/>
                  <a:pt x="722163" y="252495"/>
                  <a:pt x="743930" y="251951"/>
                </a:cubicBezTo>
                <a:close/>
                <a:moveTo>
                  <a:pt x="907183" y="249775"/>
                </a:moveTo>
                <a:cubicBezTo>
                  <a:pt x="929494" y="249775"/>
                  <a:pt x="946908" y="263924"/>
                  <a:pt x="947452" y="289500"/>
                </a:cubicBezTo>
                <a:cubicBezTo>
                  <a:pt x="947996" y="311811"/>
                  <a:pt x="931127" y="330313"/>
                  <a:pt x="908271" y="329225"/>
                </a:cubicBezTo>
                <a:cubicBezTo>
                  <a:pt x="885960" y="330857"/>
                  <a:pt x="868002" y="312355"/>
                  <a:pt x="867458" y="290044"/>
                </a:cubicBezTo>
                <a:cubicBezTo>
                  <a:pt x="867458" y="266100"/>
                  <a:pt x="884872" y="249775"/>
                  <a:pt x="907183" y="249775"/>
                </a:cubicBezTo>
                <a:close/>
                <a:moveTo>
                  <a:pt x="1070435" y="245965"/>
                </a:moveTo>
                <a:cubicBezTo>
                  <a:pt x="1093291" y="245421"/>
                  <a:pt x="1116146" y="264467"/>
                  <a:pt x="1114513" y="290043"/>
                </a:cubicBezTo>
                <a:cubicBezTo>
                  <a:pt x="1115602" y="312899"/>
                  <a:pt x="1092202" y="334122"/>
                  <a:pt x="1069347" y="333578"/>
                </a:cubicBezTo>
                <a:cubicBezTo>
                  <a:pt x="1047036" y="333034"/>
                  <a:pt x="1026357" y="311266"/>
                  <a:pt x="1026357" y="288955"/>
                </a:cubicBezTo>
                <a:cubicBezTo>
                  <a:pt x="1026901" y="268276"/>
                  <a:pt x="1045403" y="245965"/>
                  <a:pt x="1070435" y="245965"/>
                </a:cubicBezTo>
                <a:close/>
                <a:moveTo>
                  <a:pt x="1233689" y="241613"/>
                </a:moveTo>
                <a:cubicBezTo>
                  <a:pt x="1257632" y="241068"/>
                  <a:pt x="1281032" y="263924"/>
                  <a:pt x="1282120" y="288412"/>
                </a:cubicBezTo>
                <a:cubicBezTo>
                  <a:pt x="1282665" y="312900"/>
                  <a:pt x="1260898" y="336299"/>
                  <a:pt x="1235321" y="335755"/>
                </a:cubicBezTo>
                <a:cubicBezTo>
                  <a:pt x="1206480" y="335211"/>
                  <a:pt x="1190155" y="318886"/>
                  <a:pt x="1187434" y="289500"/>
                </a:cubicBezTo>
                <a:cubicBezTo>
                  <a:pt x="1184713" y="266100"/>
                  <a:pt x="1208657" y="242701"/>
                  <a:pt x="1233689" y="241613"/>
                </a:cubicBezTo>
                <a:close/>
                <a:moveTo>
                  <a:pt x="1397485" y="238891"/>
                </a:moveTo>
                <a:cubicBezTo>
                  <a:pt x="1421973" y="237259"/>
                  <a:pt x="1448638" y="264467"/>
                  <a:pt x="1448094" y="288955"/>
                </a:cubicBezTo>
                <a:cubicBezTo>
                  <a:pt x="1447005" y="312355"/>
                  <a:pt x="1424150" y="341196"/>
                  <a:pt x="1398029" y="338475"/>
                </a:cubicBezTo>
                <a:cubicBezTo>
                  <a:pt x="1372453" y="340652"/>
                  <a:pt x="1347421" y="315620"/>
                  <a:pt x="1348509" y="289499"/>
                </a:cubicBezTo>
                <a:cubicBezTo>
                  <a:pt x="1349598" y="261202"/>
                  <a:pt x="1369732" y="240524"/>
                  <a:pt x="1397485" y="238891"/>
                </a:cubicBezTo>
                <a:close/>
                <a:moveTo>
                  <a:pt x="1559650" y="237258"/>
                </a:moveTo>
                <a:cubicBezTo>
                  <a:pt x="1590668" y="236170"/>
                  <a:pt x="1611891" y="259570"/>
                  <a:pt x="1613523" y="288955"/>
                </a:cubicBezTo>
                <a:cubicBezTo>
                  <a:pt x="1613523" y="316164"/>
                  <a:pt x="1587403" y="342829"/>
                  <a:pt x="1560738" y="342829"/>
                </a:cubicBezTo>
                <a:cubicBezTo>
                  <a:pt x="1534618" y="342829"/>
                  <a:pt x="1505776" y="315620"/>
                  <a:pt x="1507953" y="289499"/>
                </a:cubicBezTo>
                <a:cubicBezTo>
                  <a:pt x="1510130" y="261202"/>
                  <a:pt x="1526455" y="238347"/>
                  <a:pt x="1559650" y="237258"/>
                </a:cubicBezTo>
                <a:close/>
                <a:moveTo>
                  <a:pt x="9837" y="198078"/>
                </a:moveTo>
                <a:cubicBezTo>
                  <a:pt x="14190" y="198078"/>
                  <a:pt x="19632" y="202976"/>
                  <a:pt x="19632" y="207873"/>
                </a:cubicBezTo>
                <a:cubicBezTo>
                  <a:pt x="19632" y="212227"/>
                  <a:pt x="14190" y="217668"/>
                  <a:pt x="10381" y="218213"/>
                </a:cubicBezTo>
                <a:cubicBezTo>
                  <a:pt x="5483" y="218757"/>
                  <a:pt x="-503" y="212771"/>
                  <a:pt x="42" y="207873"/>
                </a:cubicBezTo>
                <a:cubicBezTo>
                  <a:pt x="42" y="202976"/>
                  <a:pt x="5483" y="198078"/>
                  <a:pt x="9837" y="198078"/>
                </a:cubicBezTo>
                <a:close/>
                <a:moveTo>
                  <a:pt x="173090" y="187739"/>
                </a:moveTo>
                <a:cubicBezTo>
                  <a:pt x="183429" y="188283"/>
                  <a:pt x="192136" y="196990"/>
                  <a:pt x="192136" y="207329"/>
                </a:cubicBezTo>
                <a:cubicBezTo>
                  <a:pt x="192136" y="217669"/>
                  <a:pt x="182341" y="228008"/>
                  <a:pt x="172546" y="227464"/>
                </a:cubicBezTo>
                <a:cubicBezTo>
                  <a:pt x="163839" y="226920"/>
                  <a:pt x="154588" y="217669"/>
                  <a:pt x="154044" y="208418"/>
                </a:cubicBezTo>
                <a:cubicBezTo>
                  <a:pt x="153500" y="198078"/>
                  <a:pt x="162751" y="187739"/>
                  <a:pt x="173090" y="187739"/>
                </a:cubicBezTo>
                <a:close/>
                <a:moveTo>
                  <a:pt x="336887" y="182297"/>
                </a:moveTo>
                <a:cubicBezTo>
                  <a:pt x="350491" y="182841"/>
                  <a:pt x="361919" y="191548"/>
                  <a:pt x="363007" y="207329"/>
                </a:cubicBezTo>
                <a:cubicBezTo>
                  <a:pt x="363551" y="219845"/>
                  <a:pt x="349947" y="233449"/>
                  <a:pt x="336887" y="233994"/>
                </a:cubicBezTo>
                <a:cubicBezTo>
                  <a:pt x="324371" y="233994"/>
                  <a:pt x="311311" y="221478"/>
                  <a:pt x="310766" y="208961"/>
                </a:cubicBezTo>
                <a:cubicBezTo>
                  <a:pt x="310222" y="195357"/>
                  <a:pt x="323282" y="181753"/>
                  <a:pt x="336887" y="182297"/>
                </a:cubicBezTo>
                <a:close/>
                <a:moveTo>
                  <a:pt x="1856225" y="180487"/>
                </a:moveTo>
                <a:cubicBezTo>
                  <a:pt x="1856225" y="182664"/>
                  <a:pt x="1855137" y="184841"/>
                  <a:pt x="1855681" y="185929"/>
                </a:cubicBezTo>
                <a:cubicBezTo>
                  <a:pt x="1863844" y="206064"/>
                  <a:pt x="1863844" y="226198"/>
                  <a:pt x="1851872" y="244700"/>
                </a:cubicBezTo>
                <a:cubicBezTo>
                  <a:pt x="1851328" y="245788"/>
                  <a:pt x="1851328" y="246877"/>
                  <a:pt x="1851328" y="247965"/>
                </a:cubicBezTo>
                <a:cubicBezTo>
                  <a:pt x="1852416" y="247965"/>
                  <a:pt x="1854049" y="247965"/>
                  <a:pt x="1854593" y="247421"/>
                </a:cubicBezTo>
                <a:cubicBezTo>
                  <a:pt x="1868197" y="237082"/>
                  <a:pt x="1883434" y="237082"/>
                  <a:pt x="1899215" y="238714"/>
                </a:cubicBezTo>
                <a:cubicBezTo>
                  <a:pt x="1904113" y="239258"/>
                  <a:pt x="1909010" y="241979"/>
                  <a:pt x="1913908" y="243067"/>
                </a:cubicBezTo>
                <a:cubicBezTo>
                  <a:pt x="1915541" y="243612"/>
                  <a:pt x="1917173" y="242523"/>
                  <a:pt x="1918806" y="242523"/>
                </a:cubicBezTo>
                <a:cubicBezTo>
                  <a:pt x="1918806" y="240891"/>
                  <a:pt x="1918806" y="239258"/>
                  <a:pt x="1918261" y="238170"/>
                </a:cubicBezTo>
                <a:cubicBezTo>
                  <a:pt x="1908466" y="220756"/>
                  <a:pt x="1910099" y="203887"/>
                  <a:pt x="1917173" y="185929"/>
                </a:cubicBezTo>
                <a:cubicBezTo>
                  <a:pt x="1917717" y="184297"/>
                  <a:pt x="1917717" y="183208"/>
                  <a:pt x="1918261" y="181576"/>
                </a:cubicBezTo>
                <a:cubicBezTo>
                  <a:pt x="1916629" y="182120"/>
                  <a:pt x="1914996" y="182120"/>
                  <a:pt x="1913908" y="182664"/>
                </a:cubicBezTo>
                <a:cubicBezTo>
                  <a:pt x="1895950" y="189738"/>
                  <a:pt x="1877992" y="190827"/>
                  <a:pt x="1860579" y="180487"/>
                </a:cubicBezTo>
                <a:cubicBezTo>
                  <a:pt x="1858946" y="181031"/>
                  <a:pt x="1857858" y="181031"/>
                  <a:pt x="1856225" y="180487"/>
                </a:cubicBezTo>
                <a:close/>
                <a:moveTo>
                  <a:pt x="499595" y="175767"/>
                </a:moveTo>
                <a:cubicBezTo>
                  <a:pt x="514832" y="175767"/>
                  <a:pt x="531702" y="193181"/>
                  <a:pt x="531158" y="207874"/>
                </a:cubicBezTo>
                <a:cubicBezTo>
                  <a:pt x="530613" y="223110"/>
                  <a:pt x="513744" y="239980"/>
                  <a:pt x="498507" y="238347"/>
                </a:cubicBezTo>
                <a:cubicBezTo>
                  <a:pt x="479461" y="236715"/>
                  <a:pt x="469666" y="224743"/>
                  <a:pt x="468033" y="207329"/>
                </a:cubicBezTo>
                <a:cubicBezTo>
                  <a:pt x="466945" y="192636"/>
                  <a:pt x="484903" y="175767"/>
                  <a:pt x="499595" y="175767"/>
                </a:cubicBezTo>
                <a:close/>
                <a:moveTo>
                  <a:pt x="662304" y="173046"/>
                </a:moveTo>
                <a:cubicBezTo>
                  <a:pt x="683527" y="171958"/>
                  <a:pt x="698220" y="189916"/>
                  <a:pt x="697676" y="207873"/>
                </a:cubicBezTo>
                <a:cubicBezTo>
                  <a:pt x="697131" y="227464"/>
                  <a:pt x="684615" y="243245"/>
                  <a:pt x="662304" y="242156"/>
                </a:cubicBezTo>
                <a:cubicBezTo>
                  <a:pt x="639993" y="241612"/>
                  <a:pt x="628565" y="229096"/>
                  <a:pt x="628021" y="207873"/>
                </a:cubicBezTo>
                <a:cubicBezTo>
                  <a:pt x="628021" y="187739"/>
                  <a:pt x="642714" y="172502"/>
                  <a:pt x="662304" y="173046"/>
                </a:cubicBezTo>
                <a:close/>
                <a:moveTo>
                  <a:pt x="826645" y="168148"/>
                </a:moveTo>
                <a:cubicBezTo>
                  <a:pt x="844602" y="168148"/>
                  <a:pt x="867458" y="187194"/>
                  <a:pt x="864737" y="207329"/>
                </a:cubicBezTo>
                <a:cubicBezTo>
                  <a:pt x="867458" y="229096"/>
                  <a:pt x="844058" y="247054"/>
                  <a:pt x="826100" y="247054"/>
                </a:cubicBezTo>
                <a:cubicBezTo>
                  <a:pt x="808687" y="247054"/>
                  <a:pt x="787464" y="228552"/>
                  <a:pt x="787464" y="207873"/>
                </a:cubicBezTo>
                <a:cubicBezTo>
                  <a:pt x="787464" y="187194"/>
                  <a:pt x="807054" y="168148"/>
                  <a:pt x="826645" y="168148"/>
                </a:cubicBezTo>
                <a:close/>
                <a:moveTo>
                  <a:pt x="987721" y="164883"/>
                </a:moveTo>
                <a:cubicBezTo>
                  <a:pt x="1012209" y="164339"/>
                  <a:pt x="1030711" y="181753"/>
                  <a:pt x="1031799" y="207329"/>
                </a:cubicBezTo>
                <a:cubicBezTo>
                  <a:pt x="1031255" y="232361"/>
                  <a:pt x="1011665" y="250319"/>
                  <a:pt x="988809" y="250319"/>
                </a:cubicBezTo>
                <a:cubicBezTo>
                  <a:pt x="965954" y="250319"/>
                  <a:pt x="946364" y="231273"/>
                  <a:pt x="945819" y="208417"/>
                </a:cubicBezTo>
                <a:cubicBezTo>
                  <a:pt x="945275" y="185018"/>
                  <a:pt x="962689" y="165428"/>
                  <a:pt x="987721" y="164883"/>
                </a:cubicBezTo>
                <a:close/>
                <a:moveTo>
                  <a:pt x="1153150" y="162707"/>
                </a:moveTo>
                <a:cubicBezTo>
                  <a:pt x="1177638" y="161619"/>
                  <a:pt x="1197772" y="180665"/>
                  <a:pt x="1197772" y="207874"/>
                </a:cubicBezTo>
                <a:cubicBezTo>
                  <a:pt x="1197772" y="235083"/>
                  <a:pt x="1176005" y="253584"/>
                  <a:pt x="1151517" y="253584"/>
                </a:cubicBezTo>
                <a:cubicBezTo>
                  <a:pt x="1128118" y="253040"/>
                  <a:pt x="1106895" y="234538"/>
                  <a:pt x="1107439" y="207329"/>
                </a:cubicBezTo>
                <a:cubicBezTo>
                  <a:pt x="1107983" y="179576"/>
                  <a:pt x="1129206" y="161075"/>
                  <a:pt x="1153150" y="162707"/>
                </a:cubicBezTo>
                <a:close/>
                <a:moveTo>
                  <a:pt x="1315315" y="158353"/>
                </a:moveTo>
                <a:cubicBezTo>
                  <a:pt x="1341435" y="156177"/>
                  <a:pt x="1365923" y="184474"/>
                  <a:pt x="1365379" y="206785"/>
                </a:cubicBezTo>
                <a:cubicBezTo>
                  <a:pt x="1365379" y="229640"/>
                  <a:pt x="1344156" y="256849"/>
                  <a:pt x="1315859" y="256305"/>
                </a:cubicBezTo>
                <a:cubicBezTo>
                  <a:pt x="1290283" y="256305"/>
                  <a:pt x="1267427" y="233994"/>
                  <a:pt x="1266883" y="207873"/>
                </a:cubicBezTo>
                <a:cubicBezTo>
                  <a:pt x="1265795" y="181209"/>
                  <a:pt x="1292460" y="157265"/>
                  <a:pt x="1315315" y="158353"/>
                </a:cubicBezTo>
                <a:close/>
                <a:moveTo>
                  <a:pt x="1478567" y="156721"/>
                </a:moveTo>
                <a:cubicBezTo>
                  <a:pt x="1510129" y="156721"/>
                  <a:pt x="1530264" y="180665"/>
                  <a:pt x="1529720" y="207329"/>
                </a:cubicBezTo>
                <a:cubicBezTo>
                  <a:pt x="1530264" y="236715"/>
                  <a:pt x="1510129" y="258482"/>
                  <a:pt x="1478567" y="258482"/>
                </a:cubicBezTo>
                <a:cubicBezTo>
                  <a:pt x="1449182" y="257938"/>
                  <a:pt x="1428503" y="238892"/>
                  <a:pt x="1427959" y="207874"/>
                </a:cubicBezTo>
                <a:cubicBezTo>
                  <a:pt x="1427415" y="179576"/>
                  <a:pt x="1447549" y="156721"/>
                  <a:pt x="1478567" y="156721"/>
                </a:cubicBezTo>
                <a:close/>
                <a:moveTo>
                  <a:pt x="1644541" y="153456"/>
                </a:moveTo>
                <a:cubicBezTo>
                  <a:pt x="1672294" y="154544"/>
                  <a:pt x="1697870" y="180665"/>
                  <a:pt x="1697326" y="209506"/>
                </a:cubicBezTo>
                <a:cubicBezTo>
                  <a:pt x="1696782" y="238347"/>
                  <a:pt x="1669573" y="263924"/>
                  <a:pt x="1641276" y="262835"/>
                </a:cubicBezTo>
                <a:cubicBezTo>
                  <a:pt x="1612979" y="261203"/>
                  <a:pt x="1587402" y="236715"/>
                  <a:pt x="1587947" y="206785"/>
                </a:cubicBezTo>
                <a:cubicBezTo>
                  <a:pt x="1587947" y="180121"/>
                  <a:pt x="1613523" y="152368"/>
                  <a:pt x="1644541" y="153456"/>
                </a:cubicBezTo>
                <a:close/>
                <a:moveTo>
                  <a:pt x="91463" y="109922"/>
                </a:moveTo>
                <a:cubicBezTo>
                  <a:pt x="97993" y="109922"/>
                  <a:pt x="107244" y="119173"/>
                  <a:pt x="107244" y="126247"/>
                </a:cubicBezTo>
                <a:cubicBezTo>
                  <a:pt x="107788" y="132777"/>
                  <a:pt x="98537" y="142028"/>
                  <a:pt x="91463" y="142028"/>
                </a:cubicBezTo>
                <a:cubicBezTo>
                  <a:pt x="83845" y="142028"/>
                  <a:pt x="75682" y="133866"/>
                  <a:pt x="75682" y="126247"/>
                </a:cubicBezTo>
                <a:cubicBezTo>
                  <a:pt x="75682" y="118629"/>
                  <a:pt x="84389" y="109922"/>
                  <a:pt x="91463" y="109922"/>
                </a:cubicBezTo>
                <a:close/>
                <a:moveTo>
                  <a:pt x="1942341" y="104915"/>
                </a:moveTo>
                <a:cubicBezTo>
                  <a:pt x="1941389" y="105799"/>
                  <a:pt x="1941389" y="107840"/>
                  <a:pt x="1942205" y="111377"/>
                </a:cubicBezTo>
                <a:cubicBezTo>
                  <a:pt x="1943294" y="118451"/>
                  <a:pt x="1944926" y="124437"/>
                  <a:pt x="1946559" y="131511"/>
                </a:cubicBezTo>
                <a:cubicBezTo>
                  <a:pt x="1944382" y="139674"/>
                  <a:pt x="1941661" y="148381"/>
                  <a:pt x="1939484" y="157088"/>
                </a:cubicBezTo>
                <a:cubicBezTo>
                  <a:pt x="1939484" y="158176"/>
                  <a:pt x="1941117" y="160353"/>
                  <a:pt x="1941117" y="160353"/>
                </a:cubicBezTo>
                <a:cubicBezTo>
                  <a:pt x="1955810" y="154367"/>
                  <a:pt x="1971046" y="150558"/>
                  <a:pt x="1986828" y="157088"/>
                </a:cubicBezTo>
                <a:cubicBezTo>
                  <a:pt x="1987372" y="157088"/>
                  <a:pt x="1987916" y="157088"/>
                  <a:pt x="1987916" y="157088"/>
                </a:cubicBezTo>
                <a:cubicBezTo>
                  <a:pt x="1994990" y="157632"/>
                  <a:pt x="1996623" y="155999"/>
                  <a:pt x="1993902" y="150013"/>
                </a:cubicBezTo>
                <a:cubicBezTo>
                  <a:pt x="1988460" y="136409"/>
                  <a:pt x="1988460" y="123349"/>
                  <a:pt x="1993902" y="109744"/>
                </a:cubicBezTo>
                <a:cubicBezTo>
                  <a:pt x="1995534" y="105935"/>
                  <a:pt x="1994446" y="103214"/>
                  <a:pt x="1989004" y="105391"/>
                </a:cubicBezTo>
                <a:cubicBezTo>
                  <a:pt x="1975400" y="109744"/>
                  <a:pt x="1961796" y="109744"/>
                  <a:pt x="1948191" y="105391"/>
                </a:cubicBezTo>
                <a:cubicBezTo>
                  <a:pt x="1945198" y="104303"/>
                  <a:pt x="1943294" y="104031"/>
                  <a:pt x="1942341" y="104915"/>
                </a:cubicBezTo>
                <a:close/>
                <a:moveTo>
                  <a:pt x="255804" y="103392"/>
                </a:moveTo>
                <a:cubicBezTo>
                  <a:pt x="269409" y="103392"/>
                  <a:pt x="277571" y="112643"/>
                  <a:pt x="277571" y="126791"/>
                </a:cubicBezTo>
                <a:cubicBezTo>
                  <a:pt x="277027" y="139852"/>
                  <a:pt x="267776" y="148558"/>
                  <a:pt x="254172" y="148014"/>
                </a:cubicBezTo>
                <a:cubicBezTo>
                  <a:pt x="241112" y="148014"/>
                  <a:pt x="231861" y="138763"/>
                  <a:pt x="232405" y="125159"/>
                </a:cubicBezTo>
                <a:cubicBezTo>
                  <a:pt x="232405" y="112099"/>
                  <a:pt x="242200" y="102848"/>
                  <a:pt x="255804" y="103392"/>
                </a:cubicBezTo>
                <a:close/>
                <a:moveTo>
                  <a:pt x="1773511" y="99405"/>
                </a:moveTo>
                <a:cubicBezTo>
                  <a:pt x="1773511" y="102126"/>
                  <a:pt x="1772966" y="104303"/>
                  <a:pt x="1773511" y="107023"/>
                </a:cubicBezTo>
                <a:cubicBezTo>
                  <a:pt x="1776232" y="114098"/>
                  <a:pt x="1778408" y="121716"/>
                  <a:pt x="1780585" y="130423"/>
                </a:cubicBezTo>
                <a:cubicBezTo>
                  <a:pt x="1778408" y="139130"/>
                  <a:pt x="1775687" y="147293"/>
                  <a:pt x="1773511" y="155999"/>
                </a:cubicBezTo>
                <a:cubicBezTo>
                  <a:pt x="1772966" y="157632"/>
                  <a:pt x="1772966" y="160897"/>
                  <a:pt x="1774055" y="161985"/>
                </a:cubicBezTo>
                <a:cubicBezTo>
                  <a:pt x="1775143" y="163074"/>
                  <a:pt x="1778408" y="163074"/>
                  <a:pt x="1780041" y="162529"/>
                </a:cubicBezTo>
                <a:cubicBezTo>
                  <a:pt x="1789836" y="155455"/>
                  <a:pt x="1800719" y="157632"/>
                  <a:pt x="1811059" y="157632"/>
                </a:cubicBezTo>
                <a:cubicBezTo>
                  <a:pt x="1817589" y="157632"/>
                  <a:pt x="1824119" y="156543"/>
                  <a:pt x="1829561" y="161985"/>
                </a:cubicBezTo>
                <a:cubicBezTo>
                  <a:pt x="1830649" y="163074"/>
                  <a:pt x="1834458" y="161985"/>
                  <a:pt x="1836635" y="161985"/>
                </a:cubicBezTo>
                <a:cubicBezTo>
                  <a:pt x="1835547" y="160353"/>
                  <a:pt x="1835002" y="158720"/>
                  <a:pt x="1833914" y="157088"/>
                </a:cubicBezTo>
                <a:cubicBezTo>
                  <a:pt x="1826840" y="139674"/>
                  <a:pt x="1826296" y="121716"/>
                  <a:pt x="1834458" y="104303"/>
                </a:cubicBezTo>
                <a:cubicBezTo>
                  <a:pt x="1835002" y="102670"/>
                  <a:pt x="1835547" y="101038"/>
                  <a:pt x="1835547" y="99405"/>
                </a:cubicBezTo>
                <a:cubicBezTo>
                  <a:pt x="1833914" y="99949"/>
                  <a:pt x="1832282" y="99949"/>
                  <a:pt x="1831193" y="101038"/>
                </a:cubicBezTo>
                <a:cubicBezTo>
                  <a:pt x="1814324" y="109200"/>
                  <a:pt x="1797454" y="109200"/>
                  <a:pt x="1780041" y="101582"/>
                </a:cubicBezTo>
                <a:cubicBezTo>
                  <a:pt x="1777864" y="100493"/>
                  <a:pt x="1775687" y="100493"/>
                  <a:pt x="1773511" y="99405"/>
                </a:cubicBezTo>
                <a:close/>
                <a:moveTo>
                  <a:pt x="417424" y="97950"/>
                </a:moveTo>
                <a:cubicBezTo>
                  <a:pt x="435382" y="97950"/>
                  <a:pt x="445721" y="108289"/>
                  <a:pt x="445721" y="126247"/>
                </a:cubicBezTo>
                <a:cubicBezTo>
                  <a:pt x="445721" y="143661"/>
                  <a:pt x="435382" y="153456"/>
                  <a:pt x="417424" y="153456"/>
                </a:cubicBezTo>
                <a:cubicBezTo>
                  <a:pt x="402187" y="155088"/>
                  <a:pt x="389127" y="141484"/>
                  <a:pt x="390215" y="125159"/>
                </a:cubicBezTo>
                <a:cubicBezTo>
                  <a:pt x="391304" y="107745"/>
                  <a:pt x="400555" y="97950"/>
                  <a:pt x="417424" y="97950"/>
                </a:cubicBezTo>
                <a:close/>
                <a:moveTo>
                  <a:pt x="580677" y="92508"/>
                </a:moveTo>
                <a:cubicBezTo>
                  <a:pt x="599724" y="92508"/>
                  <a:pt x="613328" y="106112"/>
                  <a:pt x="614960" y="125159"/>
                </a:cubicBezTo>
                <a:cubicBezTo>
                  <a:pt x="616049" y="141484"/>
                  <a:pt x="598091" y="161618"/>
                  <a:pt x="581766" y="158353"/>
                </a:cubicBezTo>
                <a:cubicBezTo>
                  <a:pt x="561631" y="158353"/>
                  <a:pt x="548571" y="145293"/>
                  <a:pt x="548571" y="125703"/>
                </a:cubicBezTo>
                <a:cubicBezTo>
                  <a:pt x="548571" y="106657"/>
                  <a:pt x="562175" y="92508"/>
                  <a:pt x="580677" y="92508"/>
                </a:cubicBezTo>
                <a:close/>
                <a:moveTo>
                  <a:pt x="745019" y="88154"/>
                </a:moveTo>
                <a:cubicBezTo>
                  <a:pt x="763521" y="87610"/>
                  <a:pt x="783111" y="107745"/>
                  <a:pt x="782567" y="126791"/>
                </a:cubicBezTo>
                <a:cubicBezTo>
                  <a:pt x="782023" y="147469"/>
                  <a:pt x="761344" y="164339"/>
                  <a:pt x="743930" y="164339"/>
                </a:cubicBezTo>
                <a:cubicBezTo>
                  <a:pt x="723796" y="163795"/>
                  <a:pt x="705838" y="144204"/>
                  <a:pt x="706382" y="125702"/>
                </a:cubicBezTo>
                <a:cubicBezTo>
                  <a:pt x="706926" y="109377"/>
                  <a:pt x="723252" y="87066"/>
                  <a:pt x="745019" y="88154"/>
                </a:cubicBezTo>
                <a:close/>
                <a:moveTo>
                  <a:pt x="1685898" y="84712"/>
                </a:moveTo>
                <a:lnTo>
                  <a:pt x="1685681" y="85147"/>
                </a:lnTo>
                <a:lnTo>
                  <a:pt x="1685354" y="85256"/>
                </a:lnTo>
                <a:cubicBezTo>
                  <a:pt x="1685354" y="85256"/>
                  <a:pt x="1685898" y="84712"/>
                  <a:pt x="1685898" y="84712"/>
                </a:cubicBezTo>
                <a:close/>
                <a:moveTo>
                  <a:pt x="907183" y="84345"/>
                </a:moveTo>
                <a:cubicBezTo>
                  <a:pt x="916978" y="84345"/>
                  <a:pt x="926773" y="87610"/>
                  <a:pt x="934935" y="95228"/>
                </a:cubicBezTo>
                <a:cubicBezTo>
                  <a:pt x="944187" y="103935"/>
                  <a:pt x="946907" y="114819"/>
                  <a:pt x="949628" y="125158"/>
                </a:cubicBezTo>
                <a:cubicBezTo>
                  <a:pt x="946907" y="150190"/>
                  <a:pt x="932759" y="166515"/>
                  <a:pt x="908271" y="167060"/>
                </a:cubicBezTo>
                <a:cubicBezTo>
                  <a:pt x="884871" y="167604"/>
                  <a:pt x="867458" y="150734"/>
                  <a:pt x="866369" y="125702"/>
                </a:cubicBezTo>
                <a:cubicBezTo>
                  <a:pt x="865825" y="103935"/>
                  <a:pt x="884871" y="83801"/>
                  <a:pt x="907183" y="84345"/>
                </a:cubicBezTo>
                <a:close/>
                <a:moveTo>
                  <a:pt x="1070979" y="82169"/>
                </a:moveTo>
                <a:cubicBezTo>
                  <a:pt x="1095467" y="79448"/>
                  <a:pt x="1115602" y="103936"/>
                  <a:pt x="1115602" y="126247"/>
                </a:cubicBezTo>
                <a:cubicBezTo>
                  <a:pt x="1115602" y="148014"/>
                  <a:pt x="1094923" y="170325"/>
                  <a:pt x="1071524" y="170325"/>
                </a:cubicBezTo>
                <a:cubicBezTo>
                  <a:pt x="1047580" y="170325"/>
                  <a:pt x="1026357" y="148558"/>
                  <a:pt x="1026357" y="125703"/>
                </a:cubicBezTo>
                <a:cubicBezTo>
                  <a:pt x="1026357" y="103936"/>
                  <a:pt x="1047036" y="79448"/>
                  <a:pt x="1070979" y="82169"/>
                </a:cubicBezTo>
                <a:close/>
                <a:moveTo>
                  <a:pt x="1684811" y="82168"/>
                </a:moveTo>
                <a:cubicBezTo>
                  <a:pt x="1684811" y="82168"/>
                  <a:pt x="1684266" y="82713"/>
                  <a:pt x="1684266" y="82713"/>
                </a:cubicBezTo>
                <a:lnTo>
                  <a:pt x="1684469" y="82365"/>
                </a:lnTo>
                <a:close/>
                <a:moveTo>
                  <a:pt x="1234777" y="78360"/>
                </a:moveTo>
                <a:cubicBezTo>
                  <a:pt x="1259809" y="76727"/>
                  <a:pt x="1284297" y="101759"/>
                  <a:pt x="1282664" y="126791"/>
                </a:cubicBezTo>
                <a:cubicBezTo>
                  <a:pt x="1280487" y="152912"/>
                  <a:pt x="1264162" y="171958"/>
                  <a:pt x="1234232" y="174135"/>
                </a:cubicBezTo>
                <a:cubicBezTo>
                  <a:pt x="1205935" y="172502"/>
                  <a:pt x="1186345" y="153456"/>
                  <a:pt x="1186889" y="126791"/>
                </a:cubicBezTo>
                <a:cubicBezTo>
                  <a:pt x="1187433" y="96318"/>
                  <a:pt x="1207024" y="79992"/>
                  <a:pt x="1234777" y="78360"/>
                </a:cubicBezTo>
                <a:close/>
                <a:moveTo>
                  <a:pt x="1398574" y="76182"/>
                </a:moveTo>
                <a:cubicBezTo>
                  <a:pt x="1424150" y="74006"/>
                  <a:pt x="1448638" y="99582"/>
                  <a:pt x="1448094" y="127335"/>
                </a:cubicBezTo>
                <a:cubicBezTo>
                  <a:pt x="1447549" y="151823"/>
                  <a:pt x="1426327" y="176311"/>
                  <a:pt x="1396941" y="175766"/>
                </a:cubicBezTo>
                <a:cubicBezTo>
                  <a:pt x="1367011" y="175222"/>
                  <a:pt x="1347421" y="151278"/>
                  <a:pt x="1347421" y="125702"/>
                </a:cubicBezTo>
                <a:cubicBezTo>
                  <a:pt x="1347421" y="99038"/>
                  <a:pt x="1369732" y="74006"/>
                  <a:pt x="1398574" y="76182"/>
                </a:cubicBezTo>
                <a:close/>
                <a:moveTo>
                  <a:pt x="1561282" y="72373"/>
                </a:moveTo>
                <a:cubicBezTo>
                  <a:pt x="1588491" y="72373"/>
                  <a:pt x="1614611" y="96861"/>
                  <a:pt x="1614611" y="126247"/>
                </a:cubicBezTo>
                <a:cubicBezTo>
                  <a:pt x="1614067" y="155632"/>
                  <a:pt x="1590667" y="180120"/>
                  <a:pt x="1560738" y="179576"/>
                </a:cubicBezTo>
                <a:cubicBezTo>
                  <a:pt x="1530808" y="179576"/>
                  <a:pt x="1507953" y="156176"/>
                  <a:pt x="1507409" y="126247"/>
                </a:cubicBezTo>
                <a:cubicBezTo>
                  <a:pt x="1506864" y="96861"/>
                  <a:pt x="1532441" y="72373"/>
                  <a:pt x="1561282" y="72373"/>
                </a:cubicBezTo>
                <a:close/>
                <a:moveTo>
                  <a:pt x="10381" y="33737"/>
                </a:moveTo>
                <a:cubicBezTo>
                  <a:pt x="15822" y="33737"/>
                  <a:pt x="20720" y="39179"/>
                  <a:pt x="20720" y="45165"/>
                </a:cubicBezTo>
                <a:cubicBezTo>
                  <a:pt x="20176" y="50606"/>
                  <a:pt x="14734" y="55504"/>
                  <a:pt x="9292" y="54960"/>
                </a:cubicBezTo>
                <a:cubicBezTo>
                  <a:pt x="4395" y="54416"/>
                  <a:pt x="41" y="49518"/>
                  <a:pt x="41" y="44621"/>
                </a:cubicBezTo>
                <a:cubicBezTo>
                  <a:pt x="-503" y="38635"/>
                  <a:pt x="4395" y="33737"/>
                  <a:pt x="10381" y="33737"/>
                </a:cubicBezTo>
                <a:close/>
                <a:moveTo>
                  <a:pt x="172546" y="23942"/>
                </a:moveTo>
                <a:cubicBezTo>
                  <a:pt x="181796" y="22854"/>
                  <a:pt x="193224" y="34826"/>
                  <a:pt x="193224" y="44621"/>
                </a:cubicBezTo>
                <a:cubicBezTo>
                  <a:pt x="193224" y="53872"/>
                  <a:pt x="182341" y="64755"/>
                  <a:pt x="173090" y="64755"/>
                </a:cubicBezTo>
                <a:cubicBezTo>
                  <a:pt x="164383" y="64755"/>
                  <a:pt x="152411" y="52784"/>
                  <a:pt x="152411" y="44621"/>
                </a:cubicBezTo>
                <a:cubicBezTo>
                  <a:pt x="152411" y="36458"/>
                  <a:pt x="164927" y="24486"/>
                  <a:pt x="172546" y="23942"/>
                </a:cubicBezTo>
                <a:close/>
                <a:moveTo>
                  <a:pt x="1861123" y="22132"/>
                </a:moveTo>
                <a:cubicBezTo>
                  <a:pt x="1861123" y="26485"/>
                  <a:pt x="1860035" y="31383"/>
                  <a:pt x="1861123" y="35737"/>
                </a:cubicBezTo>
                <a:cubicBezTo>
                  <a:pt x="1863844" y="44443"/>
                  <a:pt x="1864932" y="52606"/>
                  <a:pt x="1861123" y="61313"/>
                </a:cubicBezTo>
                <a:cubicBezTo>
                  <a:pt x="1860035" y="64034"/>
                  <a:pt x="1860035" y="67299"/>
                  <a:pt x="1858946" y="72740"/>
                </a:cubicBezTo>
                <a:cubicBezTo>
                  <a:pt x="1858402" y="76550"/>
                  <a:pt x="1861123" y="77638"/>
                  <a:pt x="1866021" y="76550"/>
                </a:cubicBezTo>
                <a:cubicBezTo>
                  <a:pt x="1868741" y="76006"/>
                  <a:pt x="1871462" y="76006"/>
                  <a:pt x="1873639" y="74917"/>
                </a:cubicBezTo>
                <a:cubicBezTo>
                  <a:pt x="1882346" y="71108"/>
                  <a:pt x="1891053" y="71108"/>
                  <a:pt x="1900304" y="74373"/>
                </a:cubicBezTo>
                <a:cubicBezTo>
                  <a:pt x="1902480" y="75461"/>
                  <a:pt x="1905201" y="76006"/>
                  <a:pt x="1907922" y="76006"/>
                </a:cubicBezTo>
                <a:cubicBezTo>
                  <a:pt x="1912276" y="76550"/>
                  <a:pt x="1914996" y="75461"/>
                  <a:pt x="1912820" y="70020"/>
                </a:cubicBezTo>
                <a:cubicBezTo>
                  <a:pt x="1907378" y="55871"/>
                  <a:pt x="1906834" y="41178"/>
                  <a:pt x="1912820" y="27030"/>
                </a:cubicBezTo>
                <a:cubicBezTo>
                  <a:pt x="1914996" y="22132"/>
                  <a:pt x="1911731" y="21588"/>
                  <a:pt x="1908466" y="22132"/>
                </a:cubicBezTo>
                <a:cubicBezTo>
                  <a:pt x="1906290" y="22676"/>
                  <a:pt x="1904657" y="24309"/>
                  <a:pt x="1902480" y="24309"/>
                </a:cubicBezTo>
                <a:cubicBezTo>
                  <a:pt x="1892685" y="24309"/>
                  <a:pt x="1882890" y="24853"/>
                  <a:pt x="1873095" y="24309"/>
                </a:cubicBezTo>
                <a:cubicBezTo>
                  <a:pt x="1868741" y="24309"/>
                  <a:pt x="1864932" y="22676"/>
                  <a:pt x="1861123" y="22132"/>
                </a:cubicBezTo>
                <a:close/>
                <a:moveTo>
                  <a:pt x="336886" y="17412"/>
                </a:moveTo>
                <a:cubicBezTo>
                  <a:pt x="347770" y="17412"/>
                  <a:pt x="363551" y="31016"/>
                  <a:pt x="363007" y="44077"/>
                </a:cubicBezTo>
                <a:cubicBezTo>
                  <a:pt x="363007" y="57681"/>
                  <a:pt x="350491" y="70741"/>
                  <a:pt x="337431" y="71285"/>
                </a:cubicBezTo>
                <a:cubicBezTo>
                  <a:pt x="324370" y="71830"/>
                  <a:pt x="310766" y="58769"/>
                  <a:pt x="310222" y="45165"/>
                </a:cubicBezTo>
                <a:cubicBezTo>
                  <a:pt x="309678" y="31016"/>
                  <a:pt x="323282" y="17956"/>
                  <a:pt x="336886" y="17412"/>
                </a:cubicBezTo>
                <a:close/>
                <a:moveTo>
                  <a:pt x="498507" y="13059"/>
                </a:moveTo>
                <a:cubicBezTo>
                  <a:pt x="514832" y="11970"/>
                  <a:pt x="531702" y="28296"/>
                  <a:pt x="531702" y="44621"/>
                </a:cubicBezTo>
                <a:cubicBezTo>
                  <a:pt x="531702" y="60402"/>
                  <a:pt x="515376" y="76183"/>
                  <a:pt x="499595" y="76727"/>
                </a:cubicBezTo>
                <a:cubicBezTo>
                  <a:pt x="483270" y="76727"/>
                  <a:pt x="467489" y="61490"/>
                  <a:pt x="467489" y="45165"/>
                </a:cubicBezTo>
                <a:cubicBezTo>
                  <a:pt x="467489" y="28840"/>
                  <a:pt x="482182" y="13059"/>
                  <a:pt x="498507" y="13059"/>
                </a:cubicBezTo>
                <a:close/>
                <a:moveTo>
                  <a:pt x="662303" y="7616"/>
                </a:moveTo>
                <a:cubicBezTo>
                  <a:pt x="680805" y="7072"/>
                  <a:pt x="698763" y="25030"/>
                  <a:pt x="698763" y="44076"/>
                </a:cubicBezTo>
                <a:cubicBezTo>
                  <a:pt x="698763" y="62578"/>
                  <a:pt x="680261" y="81624"/>
                  <a:pt x="662303" y="81080"/>
                </a:cubicBezTo>
                <a:cubicBezTo>
                  <a:pt x="644346" y="80536"/>
                  <a:pt x="626932" y="62578"/>
                  <a:pt x="626932" y="44076"/>
                </a:cubicBezTo>
                <a:cubicBezTo>
                  <a:pt x="626932" y="25574"/>
                  <a:pt x="643257" y="8160"/>
                  <a:pt x="662303" y="7616"/>
                </a:cubicBezTo>
                <a:close/>
                <a:moveTo>
                  <a:pt x="825557" y="5440"/>
                </a:moveTo>
                <a:cubicBezTo>
                  <a:pt x="847868" y="5440"/>
                  <a:pt x="865281" y="23942"/>
                  <a:pt x="865281" y="44621"/>
                </a:cubicBezTo>
                <a:cubicBezTo>
                  <a:pt x="865281" y="63667"/>
                  <a:pt x="847324" y="85978"/>
                  <a:pt x="826101" y="83257"/>
                </a:cubicBezTo>
                <a:cubicBezTo>
                  <a:pt x="805422" y="85978"/>
                  <a:pt x="786920" y="64211"/>
                  <a:pt x="786920" y="44621"/>
                </a:cubicBezTo>
                <a:cubicBezTo>
                  <a:pt x="786920" y="22854"/>
                  <a:pt x="805422" y="5440"/>
                  <a:pt x="825557" y="5440"/>
                </a:cubicBezTo>
                <a:close/>
                <a:moveTo>
                  <a:pt x="989353" y="1086"/>
                </a:moveTo>
                <a:cubicBezTo>
                  <a:pt x="1013297" y="1086"/>
                  <a:pt x="1032343" y="21220"/>
                  <a:pt x="1032343" y="43532"/>
                </a:cubicBezTo>
                <a:cubicBezTo>
                  <a:pt x="1032887" y="66931"/>
                  <a:pt x="1012753" y="88698"/>
                  <a:pt x="989897" y="87610"/>
                </a:cubicBezTo>
                <a:cubicBezTo>
                  <a:pt x="967042" y="88698"/>
                  <a:pt x="945819" y="65843"/>
                  <a:pt x="945819" y="44620"/>
                </a:cubicBezTo>
                <a:cubicBezTo>
                  <a:pt x="945819" y="23941"/>
                  <a:pt x="964321" y="1086"/>
                  <a:pt x="989353" y="1086"/>
                </a:cubicBezTo>
                <a:close/>
                <a:moveTo>
                  <a:pt x="1614056" y="0"/>
                </a:moveTo>
                <a:lnTo>
                  <a:pt x="1675529" y="0"/>
                </a:lnTo>
                <a:lnTo>
                  <a:pt x="1682905" y="4720"/>
                </a:lnTo>
                <a:lnTo>
                  <a:pt x="1933639" y="4720"/>
                </a:lnTo>
                <a:cubicBezTo>
                  <a:pt x="1966059" y="4720"/>
                  <a:pt x="1995409" y="17861"/>
                  <a:pt x="2016655" y="39107"/>
                </a:cubicBezTo>
                <a:lnTo>
                  <a:pt x="2028934" y="57318"/>
                </a:lnTo>
                <a:lnTo>
                  <a:pt x="2026008" y="71108"/>
                </a:lnTo>
                <a:cubicBezTo>
                  <a:pt x="2023832" y="74917"/>
                  <a:pt x="2026552" y="77094"/>
                  <a:pt x="2030906" y="75461"/>
                </a:cubicBezTo>
                <a:lnTo>
                  <a:pt x="2039929" y="73627"/>
                </a:lnTo>
                <a:lnTo>
                  <a:pt x="2041815" y="76424"/>
                </a:lnTo>
                <a:cubicBezTo>
                  <a:pt x="2047756" y="90470"/>
                  <a:pt x="2051041" y="105912"/>
                  <a:pt x="2051041" y="122122"/>
                </a:cubicBezTo>
                <a:lnTo>
                  <a:pt x="2051041" y="186473"/>
                </a:lnTo>
                <a:lnTo>
                  <a:pt x="2029818" y="186473"/>
                </a:lnTo>
                <a:cubicBezTo>
                  <a:pt x="2023832" y="184297"/>
                  <a:pt x="2022743" y="185929"/>
                  <a:pt x="2023287" y="192459"/>
                </a:cubicBezTo>
                <a:cubicBezTo>
                  <a:pt x="2023287" y="193548"/>
                  <a:pt x="2023287" y="195180"/>
                  <a:pt x="2023832" y="196268"/>
                </a:cubicBezTo>
                <a:cubicBezTo>
                  <a:pt x="2028185" y="210961"/>
                  <a:pt x="2026008" y="225110"/>
                  <a:pt x="2019478" y="239258"/>
                </a:cubicBezTo>
                <a:cubicBezTo>
                  <a:pt x="2018934" y="240347"/>
                  <a:pt x="2019478" y="241979"/>
                  <a:pt x="2020022" y="242523"/>
                </a:cubicBezTo>
                <a:cubicBezTo>
                  <a:pt x="2020566" y="243067"/>
                  <a:pt x="2022743" y="243612"/>
                  <a:pt x="2023287" y="243067"/>
                </a:cubicBezTo>
                <a:cubicBezTo>
                  <a:pt x="2032266" y="238986"/>
                  <a:pt x="2041245" y="237082"/>
                  <a:pt x="2050224" y="237150"/>
                </a:cubicBezTo>
                <a:lnTo>
                  <a:pt x="2051041" y="237329"/>
                </a:lnTo>
                <a:lnTo>
                  <a:pt x="2051041" y="348996"/>
                </a:lnTo>
                <a:lnTo>
                  <a:pt x="2036552" y="347754"/>
                </a:lnTo>
                <a:cubicBezTo>
                  <a:pt x="2031178" y="346733"/>
                  <a:pt x="2026009" y="344829"/>
                  <a:pt x="2021111" y="341019"/>
                </a:cubicBezTo>
                <a:cubicBezTo>
                  <a:pt x="2020022" y="339931"/>
                  <a:pt x="2018390" y="339387"/>
                  <a:pt x="2016757" y="338842"/>
                </a:cubicBezTo>
                <a:cubicBezTo>
                  <a:pt x="2016757" y="340475"/>
                  <a:pt x="2016757" y="343196"/>
                  <a:pt x="2017301" y="344284"/>
                </a:cubicBezTo>
                <a:cubicBezTo>
                  <a:pt x="2022743" y="354079"/>
                  <a:pt x="2026008" y="364419"/>
                  <a:pt x="2025464" y="376391"/>
                </a:cubicBezTo>
                <a:cubicBezTo>
                  <a:pt x="2024376" y="398702"/>
                  <a:pt x="2014580" y="413939"/>
                  <a:pt x="1994446" y="424278"/>
                </a:cubicBezTo>
                <a:cubicBezTo>
                  <a:pt x="1972135" y="435706"/>
                  <a:pt x="1950912" y="431352"/>
                  <a:pt x="1933498" y="416115"/>
                </a:cubicBezTo>
                <a:cubicBezTo>
                  <a:pt x="1917173" y="401967"/>
                  <a:pt x="1908466" y="378567"/>
                  <a:pt x="1920438" y="352447"/>
                </a:cubicBezTo>
                <a:cubicBezTo>
                  <a:pt x="1922615" y="348093"/>
                  <a:pt x="1923703" y="343196"/>
                  <a:pt x="1925336" y="338298"/>
                </a:cubicBezTo>
                <a:cubicBezTo>
                  <a:pt x="1920982" y="339931"/>
                  <a:pt x="1916085" y="341563"/>
                  <a:pt x="1911731" y="343196"/>
                </a:cubicBezTo>
                <a:cubicBezTo>
                  <a:pt x="1907378" y="344828"/>
                  <a:pt x="1903024" y="347005"/>
                  <a:pt x="1898671" y="347005"/>
                </a:cubicBezTo>
                <a:cubicBezTo>
                  <a:pt x="1882890" y="348638"/>
                  <a:pt x="1867653" y="348638"/>
                  <a:pt x="1854593" y="336666"/>
                </a:cubicBezTo>
                <a:lnTo>
                  <a:pt x="1847690" y="333480"/>
                </a:lnTo>
                <a:lnTo>
                  <a:pt x="1852961" y="344461"/>
                </a:lnTo>
                <a:cubicBezTo>
                  <a:pt x="1868742" y="372214"/>
                  <a:pt x="1855137" y="408674"/>
                  <a:pt x="1826840" y="420646"/>
                </a:cubicBezTo>
                <a:cubicBezTo>
                  <a:pt x="1803441" y="430985"/>
                  <a:pt x="1777864" y="422278"/>
                  <a:pt x="1765893" y="408130"/>
                </a:cubicBezTo>
                <a:cubicBezTo>
                  <a:pt x="1749567" y="388539"/>
                  <a:pt x="1744126" y="368405"/>
                  <a:pt x="1759362" y="342829"/>
                </a:cubicBezTo>
                <a:cubicBezTo>
                  <a:pt x="1771199" y="322422"/>
                  <a:pt x="1795584" y="313341"/>
                  <a:pt x="1815991" y="317193"/>
                </a:cubicBezTo>
                <a:cubicBezTo>
                  <a:pt x="1822793" y="318477"/>
                  <a:pt x="1829153" y="321198"/>
                  <a:pt x="1834459" y="325415"/>
                </a:cubicBezTo>
                <a:lnTo>
                  <a:pt x="1845023" y="330169"/>
                </a:lnTo>
                <a:lnTo>
                  <a:pt x="1840444" y="321429"/>
                </a:lnTo>
                <a:cubicBezTo>
                  <a:pt x="1831193" y="306736"/>
                  <a:pt x="1832282" y="290955"/>
                  <a:pt x="1834458" y="275174"/>
                </a:cubicBezTo>
                <a:cubicBezTo>
                  <a:pt x="1835002" y="269732"/>
                  <a:pt x="1838812" y="265379"/>
                  <a:pt x="1840988" y="259937"/>
                </a:cubicBezTo>
                <a:cubicBezTo>
                  <a:pt x="1841533" y="258849"/>
                  <a:pt x="1842077" y="257216"/>
                  <a:pt x="1842077" y="255584"/>
                </a:cubicBezTo>
                <a:cubicBezTo>
                  <a:pt x="1840444" y="256128"/>
                  <a:pt x="1838812" y="256672"/>
                  <a:pt x="1837723" y="257216"/>
                </a:cubicBezTo>
                <a:cubicBezTo>
                  <a:pt x="1831193" y="259937"/>
                  <a:pt x="1824663" y="263746"/>
                  <a:pt x="1817589" y="264834"/>
                </a:cubicBezTo>
                <a:cubicBezTo>
                  <a:pt x="1799631" y="268100"/>
                  <a:pt x="1782762" y="264290"/>
                  <a:pt x="1768069" y="251774"/>
                </a:cubicBezTo>
                <a:lnTo>
                  <a:pt x="1764740" y="250110"/>
                </a:lnTo>
                <a:lnTo>
                  <a:pt x="1773510" y="267189"/>
                </a:lnTo>
                <a:cubicBezTo>
                  <a:pt x="1786571" y="292765"/>
                  <a:pt x="1773510" y="323239"/>
                  <a:pt x="1750655" y="336843"/>
                </a:cubicBezTo>
                <a:cubicBezTo>
                  <a:pt x="1721270" y="354257"/>
                  <a:pt x="1685354" y="337388"/>
                  <a:pt x="1673926" y="310723"/>
                </a:cubicBezTo>
                <a:cubicBezTo>
                  <a:pt x="1664675" y="289500"/>
                  <a:pt x="1669029" y="271542"/>
                  <a:pt x="1681545" y="254673"/>
                </a:cubicBezTo>
                <a:cubicBezTo>
                  <a:pt x="1694605" y="237803"/>
                  <a:pt x="1712563" y="231817"/>
                  <a:pt x="1733786" y="235083"/>
                </a:cubicBezTo>
                <a:cubicBezTo>
                  <a:pt x="1739771" y="236171"/>
                  <a:pt x="1745757" y="239980"/>
                  <a:pt x="1751743" y="242157"/>
                </a:cubicBezTo>
                <a:lnTo>
                  <a:pt x="1762506" y="246769"/>
                </a:lnTo>
                <a:lnTo>
                  <a:pt x="1757185" y="236537"/>
                </a:lnTo>
                <a:cubicBezTo>
                  <a:pt x="1747934" y="219668"/>
                  <a:pt x="1747390" y="203343"/>
                  <a:pt x="1756097" y="185929"/>
                </a:cubicBezTo>
                <a:cubicBezTo>
                  <a:pt x="1757185" y="183752"/>
                  <a:pt x="1756641" y="180487"/>
                  <a:pt x="1757185" y="177766"/>
                </a:cubicBezTo>
                <a:cubicBezTo>
                  <a:pt x="1754464" y="177766"/>
                  <a:pt x="1751199" y="177222"/>
                  <a:pt x="1749023" y="178311"/>
                </a:cubicBezTo>
                <a:cubicBezTo>
                  <a:pt x="1722358" y="193003"/>
                  <a:pt x="1688075" y="178855"/>
                  <a:pt x="1676103" y="154911"/>
                </a:cubicBezTo>
                <a:cubicBezTo>
                  <a:pt x="1665220" y="133688"/>
                  <a:pt x="1667396" y="113554"/>
                  <a:pt x="1681001" y="94507"/>
                </a:cubicBezTo>
                <a:lnTo>
                  <a:pt x="1685681" y="85147"/>
                </a:lnTo>
                <a:lnTo>
                  <a:pt x="1693517" y="82536"/>
                </a:lnTo>
                <a:cubicBezTo>
                  <a:pt x="1710930" y="71108"/>
                  <a:pt x="1728888" y="71108"/>
                  <a:pt x="1747934" y="77638"/>
                </a:cubicBezTo>
                <a:cubicBezTo>
                  <a:pt x="1750655" y="78726"/>
                  <a:pt x="1753920" y="78726"/>
                  <a:pt x="1756641" y="79271"/>
                </a:cubicBezTo>
                <a:cubicBezTo>
                  <a:pt x="1756097" y="76550"/>
                  <a:pt x="1755553" y="74373"/>
                  <a:pt x="1754464" y="71652"/>
                </a:cubicBezTo>
                <a:cubicBezTo>
                  <a:pt x="1753920" y="70564"/>
                  <a:pt x="1753376" y="69475"/>
                  <a:pt x="1752832" y="68387"/>
                </a:cubicBezTo>
                <a:cubicBezTo>
                  <a:pt x="1747934" y="52062"/>
                  <a:pt x="1747390" y="35737"/>
                  <a:pt x="1756097" y="20500"/>
                </a:cubicBezTo>
                <a:cubicBezTo>
                  <a:pt x="1756641" y="19411"/>
                  <a:pt x="1757185" y="16690"/>
                  <a:pt x="1756641" y="16146"/>
                </a:cubicBezTo>
                <a:cubicBezTo>
                  <a:pt x="1755553" y="15058"/>
                  <a:pt x="1753376" y="14514"/>
                  <a:pt x="1751744" y="15058"/>
                </a:cubicBezTo>
                <a:cubicBezTo>
                  <a:pt x="1747934" y="16146"/>
                  <a:pt x="1744669" y="19411"/>
                  <a:pt x="1741404" y="19955"/>
                </a:cubicBezTo>
                <a:cubicBezTo>
                  <a:pt x="1724535" y="21588"/>
                  <a:pt x="1707121" y="23765"/>
                  <a:pt x="1691884" y="11249"/>
                </a:cubicBezTo>
                <a:lnTo>
                  <a:pt x="1685645" y="8369"/>
                </a:lnTo>
                <a:lnTo>
                  <a:pt x="1688620" y="14691"/>
                </a:lnTo>
                <a:cubicBezTo>
                  <a:pt x="1700048" y="32648"/>
                  <a:pt x="1700048" y="50606"/>
                  <a:pt x="1691885" y="69652"/>
                </a:cubicBezTo>
                <a:lnTo>
                  <a:pt x="1684469" y="82365"/>
                </a:lnTo>
                <a:lnTo>
                  <a:pt x="1663044" y="94684"/>
                </a:lnTo>
                <a:cubicBezTo>
                  <a:pt x="1651072" y="101759"/>
                  <a:pt x="1638556" y="100126"/>
                  <a:pt x="1626584" y="96861"/>
                </a:cubicBezTo>
                <a:cubicBezTo>
                  <a:pt x="1608082" y="91419"/>
                  <a:pt x="1595566" y="78359"/>
                  <a:pt x="1590124" y="60401"/>
                </a:cubicBezTo>
                <a:cubicBezTo>
                  <a:pt x="1586315" y="48974"/>
                  <a:pt x="1586315" y="37002"/>
                  <a:pt x="1591757" y="25030"/>
                </a:cubicBezTo>
                <a:close/>
                <a:moveTo>
                  <a:pt x="1460066" y="0"/>
                </a:moveTo>
                <a:lnTo>
                  <a:pt x="1498513" y="0"/>
                </a:lnTo>
                <a:lnTo>
                  <a:pt x="1517204" y="8092"/>
                </a:lnTo>
                <a:cubicBezTo>
                  <a:pt x="1526183" y="17411"/>
                  <a:pt x="1531352" y="30199"/>
                  <a:pt x="1531896" y="45164"/>
                </a:cubicBezTo>
                <a:cubicBezTo>
                  <a:pt x="1532985" y="71829"/>
                  <a:pt x="1505776" y="97949"/>
                  <a:pt x="1479111" y="97949"/>
                </a:cubicBezTo>
                <a:cubicBezTo>
                  <a:pt x="1451902" y="97949"/>
                  <a:pt x="1425238" y="71829"/>
                  <a:pt x="1426870" y="45164"/>
                </a:cubicBezTo>
                <a:cubicBezTo>
                  <a:pt x="1427687" y="29655"/>
                  <a:pt x="1432720" y="16867"/>
                  <a:pt x="1441631" y="7684"/>
                </a:cubicBezTo>
                <a:close/>
                <a:moveTo>
                  <a:pt x="1296749" y="0"/>
                </a:moveTo>
                <a:lnTo>
                  <a:pt x="1335755" y="0"/>
                </a:lnTo>
                <a:lnTo>
                  <a:pt x="1350278" y="10270"/>
                </a:lnTo>
                <a:cubicBezTo>
                  <a:pt x="1359937" y="19861"/>
                  <a:pt x="1366467" y="32649"/>
                  <a:pt x="1365923" y="45165"/>
                </a:cubicBezTo>
                <a:cubicBezTo>
                  <a:pt x="1364291" y="71829"/>
                  <a:pt x="1343068" y="93052"/>
                  <a:pt x="1315315" y="93052"/>
                </a:cubicBezTo>
                <a:cubicBezTo>
                  <a:pt x="1290283" y="95229"/>
                  <a:pt x="1266339" y="69109"/>
                  <a:pt x="1266339" y="44076"/>
                </a:cubicBezTo>
                <a:cubicBezTo>
                  <a:pt x="1266339" y="30472"/>
                  <a:pt x="1273141" y="18228"/>
                  <a:pt x="1282732" y="9317"/>
                </a:cubicBezTo>
                <a:close/>
                <a:moveTo>
                  <a:pt x="1148085" y="0"/>
                </a:moveTo>
                <a:lnTo>
                  <a:pt x="1161802" y="0"/>
                </a:lnTo>
                <a:lnTo>
                  <a:pt x="1169637" y="1315"/>
                </a:lnTo>
                <a:cubicBezTo>
                  <a:pt x="1186447" y="8432"/>
                  <a:pt x="1199813" y="26798"/>
                  <a:pt x="1199405" y="45164"/>
                </a:cubicBezTo>
                <a:cubicBezTo>
                  <a:pt x="1198861" y="69652"/>
                  <a:pt x="1175462" y="93596"/>
                  <a:pt x="1151518" y="91419"/>
                </a:cubicBezTo>
                <a:cubicBezTo>
                  <a:pt x="1123765" y="88154"/>
                  <a:pt x="1109072" y="72373"/>
                  <a:pt x="1105807" y="44620"/>
                </a:cubicBezTo>
                <a:cubicBezTo>
                  <a:pt x="1107440" y="30472"/>
                  <a:pt x="1111657" y="19588"/>
                  <a:pt x="1119139" y="11902"/>
                </a:cubicBezTo>
                <a:close/>
              </a:path>
            </a:pathLst>
          </a:custGeom>
          <a:solidFill>
            <a:srgbClr val="9AA8C5">
              <a:alpha val="17000"/>
            </a:srgbClr>
          </a:solidFill>
          <a:ln w="5432" cap="flat">
            <a:noFill/>
            <a:prstDash val="solid"/>
            <a:miter/>
          </a:ln>
        </p:spPr>
        <p:txBody>
          <a:bodyPr rtlCol="0" anchor="ctr"/>
          <a:lstStyle/>
          <a:p>
            <a:endParaRPr lang="en-IN"/>
          </a:p>
        </p:txBody>
      </p:sp>
    </p:spTree>
    <p:extLst>
      <p:ext uri="{BB962C8B-B14F-4D97-AF65-F5344CB8AC3E}">
        <p14:creationId xmlns:p14="http://schemas.microsoft.com/office/powerpoint/2010/main" val="410653481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1_4 pillar">
    <p:spTree>
      <p:nvGrpSpPr>
        <p:cNvPr id="1" name=""/>
        <p:cNvGrpSpPr/>
        <p:nvPr/>
      </p:nvGrpSpPr>
      <p:grpSpPr>
        <a:xfrm>
          <a:off x="0" y="0"/>
          <a:ext cx="0" cy="0"/>
          <a:chOff x="0" y="0"/>
          <a:chExt cx="0" cy="0"/>
        </a:xfrm>
      </p:grpSpPr>
      <p:sp>
        <p:nvSpPr>
          <p:cNvPr id="41" name="Title 11">
            <a:extLst>
              <a:ext uri="{FF2B5EF4-FFF2-40B4-BE49-F238E27FC236}">
                <a16:creationId xmlns:a16="http://schemas.microsoft.com/office/drawing/2014/main" id="{DDA87447-1017-4301-A6CE-4D2A98BB0C96}"/>
              </a:ext>
            </a:extLst>
          </p:cNvPr>
          <p:cNvSpPr>
            <a:spLocks noGrp="1"/>
          </p:cNvSpPr>
          <p:nvPr>
            <p:ph type="title" hasCustomPrompt="1"/>
          </p:nvPr>
        </p:nvSpPr>
        <p:spPr>
          <a:xfrm>
            <a:off x="374011" y="185817"/>
            <a:ext cx="10515600" cy="608663"/>
          </a:xfrm>
          <a:prstGeom prst="rect">
            <a:avLst/>
          </a:prstGeom>
        </p:spPr>
        <p:txBody>
          <a:bodyPr/>
          <a:lstStyle>
            <a:lvl1pPr>
              <a:defRPr sz="2600" b="1">
                <a:solidFill>
                  <a:srgbClr val="334D8B"/>
                </a:solidFill>
                <a:latin typeface="+mn-lt"/>
              </a:defRPr>
            </a:lvl1pPr>
          </a:lstStyle>
          <a:p>
            <a:r>
              <a:rPr lang="en-US"/>
              <a:t>Write your Heading here</a:t>
            </a:r>
          </a:p>
        </p:txBody>
      </p:sp>
      <p:cxnSp>
        <p:nvCxnSpPr>
          <p:cNvPr id="22" name="Straight Connector 21">
            <a:extLst>
              <a:ext uri="{FF2B5EF4-FFF2-40B4-BE49-F238E27FC236}">
                <a16:creationId xmlns:a16="http://schemas.microsoft.com/office/drawing/2014/main" id="{408152C8-C481-964A-848C-47121E239699}"/>
              </a:ext>
            </a:extLst>
          </p:cNvPr>
          <p:cNvCxnSpPr>
            <a:cxnSpLocks/>
          </p:cNvCxnSpPr>
          <p:nvPr/>
        </p:nvCxnSpPr>
        <p:spPr>
          <a:xfrm>
            <a:off x="3222554" y="1637790"/>
            <a:ext cx="0" cy="4663440"/>
          </a:xfrm>
          <a:prstGeom prst="line">
            <a:avLst/>
          </a:prstGeom>
          <a:ln w="952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B1071EA7-FAD6-2947-8A8E-E0BBCFD50285}"/>
              </a:ext>
            </a:extLst>
          </p:cNvPr>
          <p:cNvCxnSpPr>
            <a:cxnSpLocks/>
          </p:cNvCxnSpPr>
          <p:nvPr/>
        </p:nvCxnSpPr>
        <p:spPr>
          <a:xfrm>
            <a:off x="6051614" y="1547158"/>
            <a:ext cx="0" cy="4663440"/>
          </a:xfrm>
          <a:prstGeom prst="line">
            <a:avLst/>
          </a:prstGeom>
          <a:ln w="952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32455726-460A-4143-B2F7-2160BC4B1AAF}"/>
              </a:ext>
            </a:extLst>
          </p:cNvPr>
          <p:cNvCxnSpPr>
            <a:cxnSpLocks/>
          </p:cNvCxnSpPr>
          <p:nvPr/>
        </p:nvCxnSpPr>
        <p:spPr>
          <a:xfrm>
            <a:off x="8880674" y="1677505"/>
            <a:ext cx="0" cy="4663440"/>
          </a:xfrm>
          <a:prstGeom prst="line">
            <a:avLst/>
          </a:prstGeom>
          <a:ln w="952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BD4A8238-8581-0B48-9D2A-2C23B4454818}"/>
              </a:ext>
            </a:extLst>
          </p:cNvPr>
          <p:cNvCxnSpPr>
            <a:cxnSpLocks/>
          </p:cNvCxnSpPr>
          <p:nvPr/>
        </p:nvCxnSpPr>
        <p:spPr>
          <a:xfrm>
            <a:off x="371475" y="4425016"/>
            <a:ext cx="11338564" cy="27001"/>
          </a:xfrm>
          <a:prstGeom prst="line">
            <a:avLst/>
          </a:prstGeom>
          <a:ln w="952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10" name="Group 9">
            <a:extLst>
              <a:ext uri="{FF2B5EF4-FFF2-40B4-BE49-F238E27FC236}">
                <a16:creationId xmlns:a16="http://schemas.microsoft.com/office/drawing/2014/main" id="{CBDDE579-FB72-4746-BAA0-235546931132}"/>
              </a:ext>
            </a:extLst>
          </p:cNvPr>
          <p:cNvGrpSpPr/>
          <p:nvPr/>
        </p:nvGrpSpPr>
        <p:grpSpPr>
          <a:xfrm>
            <a:off x="318000" y="1066621"/>
            <a:ext cx="11556000" cy="648030"/>
            <a:chOff x="784413" y="1119139"/>
            <a:chExt cx="11006428" cy="1170178"/>
          </a:xfrm>
        </p:grpSpPr>
        <p:sp>
          <p:nvSpPr>
            <p:cNvPr id="11" name="Rectangle: Rounded Corners 77">
              <a:extLst>
                <a:ext uri="{FF2B5EF4-FFF2-40B4-BE49-F238E27FC236}">
                  <a16:creationId xmlns:a16="http://schemas.microsoft.com/office/drawing/2014/main" id="{BBB9C7B4-A603-4E4A-9CC3-4F950A43ABCE}"/>
                </a:ext>
              </a:extLst>
            </p:cNvPr>
            <p:cNvSpPr/>
            <p:nvPr/>
          </p:nvSpPr>
          <p:spPr>
            <a:xfrm>
              <a:off x="784413" y="1119139"/>
              <a:ext cx="11006428" cy="1170178"/>
            </a:xfrm>
            <a:prstGeom prst="roundRect">
              <a:avLst>
                <a:gd name="adj" fmla="val 13628"/>
              </a:avLst>
            </a:prstGeom>
            <a:solidFill>
              <a:schemeClr val="bg1"/>
            </a:solidFill>
            <a:ln>
              <a:noFill/>
            </a:ln>
            <a:effectLst>
              <a:outerShdw blurRad="190500" sx="102000" sy="102000" algn="ctr"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16" name="Rectangle 73">
              <a:extLst>
                <a:ext uri="{FF2B5EF4-FFF2-40B4-BE49-F238E27FC236}">
                  <a16:creationId xmlns:a16="http://schemas.microsoft.com/office/drawing/2014/main" id="{EB5B0021-62EE-5A47-B5B4-4E6D6656115B}"/>
                </a:ext>
              </a:extLst>
            </p:cNvPr>
            <p:cNvSpPr/>
            <p:nvPr/>
          </p:nvSpPr>
          <p:spPr>
            <a:xfrm>
              <a:off x="900153" y="1218296"/>
              <a:ext cx="10780433" cy="932229"/>
            </a:xfrm>
            <a:prstGeom prst="roundRect">
              <a:avLst>
                <a:gd name="adj" fmla="val 14071"/>
              </a:avLst>
            </a:prstGeom>
            <a:solidFill>
              <a:srgbClr val="46AAC5"/>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Calibri"/>
                <a:ea typeface="+mn-ea"/>
                <a:cs typeface="+mn-cs"/>
              </a:endParaRPr>
            </a:p>
          </p:txBody>
        </p:sp>
        <p:cxnSp>
          <p:nvCxnSpPr>
            <p:cNvPr id="13" name="Straight Connector 12">
              <a:extLst>
                <a:ext uri="{FF2B5EF4-FFF2-40B4-BE49-F238E27FC236}">
                  <a16:creationId xmlns:a16="http://schemas.microsoft.com/office/drawing/2014/main" id="{27A682AC-4A82-D74C-B804-C1F3A3D20F1E}"/>
                </a:ext>
              </a:extLst>
            </p:cNvPr>
            <p:cNvCxnSpPr>
              <a:cxnSpLocks/>
            </p:cNvCxnSpPr>
            <p:nvPr/>
          </p:nvCxnSpPr>
          <p:spPr>
            <a:xfrm>
              <a:off x="3582197" y="1381956"/>
              <a:ext cx="0" cy="604911"/>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C45F4A70-12D9-CC40-9C31-5A495A95FEC3}"/>
                </a:ext>
              </a:extLst>
            </p:cNvPr>
            <p:cNvCxnSpPr>
              <a:cxnSpLocks/>
            </p:cNvCxnSpPr>
            <p:nvPr/>
          </p:nvCxnSpPr>
          <p:spPr>
            <a:xfrm>
              <a:off x="6295615" y="1381956"/>
              <a:ext cx="0" cy="604911"/>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F10FF3F4-152B-3C46-887E-B58C15BDB4A0}"/>
                </a:ext>
              </a:extLst>
            </p:cNvPr>
            <p:cNvCxnSpPr>
              <a:cxnSpLocks/>
            </p:cNvCxnSpPr>
            <p:nvPr/>
          </p:nvCxnSpPr>
          <p:spPr>
            <a:xfrm>
              <a:off x="8977280" y="1381956"/>
              <a:ext cx="0" cy="604911"/>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27" name="Text Placeholder 2">
            <a:extLst>
              <a:ext uri="{FF2B5EF4-FFF2-40B4-BE49-F238E27FC236}">
                <a16:creationId xmlns:a16="http://schemas.microsoft.com/office/drawing/2014/main" id="{D4D53367-56E8-384C-BCFC-1D832F0EC3F8}"/>
              </a:ext>
            </a:extLst>
          </p:cNvPr>
          <p:cNvSpPr>
            <a:spLocks noGrp="1"/>
          </p:cNvSpPr>
          <p:nvPr>
            <p:ph type="body" idx="18" hasCustomPrompt="1"/>
          </p:nvPr>
        </p:nvSpPr>
        <p:spPr>
          <a:xfrm>
            <a:off x="879552" y="1181090"/>
            <a:ext cx="1899851" cy="416119"/>
          </a:xfrm>
          <a:prstGeom prst="rect">
            <a:avLst/>
          </a:prstGeom>
        </p:spPr>
        <p:txBody>
          <a:bodyPr anchor="ctr"/>
          <a:lstStyle>
            <a:lvl1pPr marL="0" indent="0" algn="ctr">
              <a:buNone/>
              <a:defRPr sz="1800" b="1">
                <a:solidFill>
                  <a:schemeClr val="bg1">
                    <a:lumMod val="95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Heading</a:t>
            </a:r>
          </a:p>
        </p:txBody>
      </p:sp>
      <p:sp>
        <p:nvSpPr>
          <p:cNvPr id="28" name="Text Placeholder 2">
            <a:extLst>
              <a:ext uri="{FF2B5EF4-FFF2-40B4-BE49-F238E27FC236}">
                <a16:creationId xmlns:a16="http://schemas.microsoft.com/office/drawing/2014/main" id="{C05B4DD3-B6F6-E84B-944A-60A8D4D4D759}"/>
              </a:ext>
            </a:extLst>
          </p:cNvPr>
          <p:cNvSpPr>
            <a:spLocks noGrp="1"/>
          </p:cNvSpPr>
          <p:nvPr>
            <p:ph type="body" idx="19" hasCustomPrompt="1"/>
          </p:nvPr>
        </p:nvSpPr>
        <p:spPr>
          <a:xfrm>
            <a:off x="3702265" y="1181090"/>
            <a:ext cx="1899851" cy="416119"/>
          </a:xfrm>
          <a:prstGeom prst="rect">
            <a:avLst/>
          </a:prstGeom>
        </p:spPr>
        <p:txBody>
          <a:bodyPr anchor="ctr"/>
          <a:lstStyle>
            <a:lvl1pPr marL="0" indent="0" algn="ctr">
              <a:buNone/>
              <a:defRPr sz="1800" b="1">
                <a:solidFill>
                  <a:schemeClr val="bg1">
                    <a:lumMod val="95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Heading</a:t>
            </a:r>
          </a:p>
        </p:txBody>
      </p:sp>
      <p:sp>
        <p:nvSpPr>
          <p:cNvPr id="36" name="Text Placeholder 2">
            <a:extLst>
              <a:ext uri="{FF2B5EF4-FFF2-40B4-BE49-F238E27FC236}">
                <a16:creationId xmlns:a16="http://schemas.microsoft.com/office/drawing/2014/main" id="{85060853-75A4-6346-BA15-3E30A2BA42A0}"/>
              </a:ext>
            </a:extLst>
          </p:cNvPr>
          <p:cNvSpPr>
            <a:spLocks noGrp="1"/>
          </p:cNvSpPr>
          <p:nvPr>
            <p:ph type="body" idx="20" hasCustomPrompt="1"/>
          </p:nvPr>
        </p:nvSpPr>
        <p:spPr>
          <a:xfrm>
            <a:off x="6524978" y="1181090"/>
            <a:ext cx="1899851" cy="416119"/>
          </a:xfrm>
          <a:prstGeom prst="rect">
            <a:avLst/>
          </a:prstGeom>
        </p:spPr>
        <p:txBody>
          <a:bodyPr anchor="ctr"/>
          <a:lstStyle>
            <a:lvl1pPr marL="0" indent="0" algn="ctr">
              <a:buNone/>
              <a:defRPr sz="1800" b="1">
                <a:solidFill>
                  <a:schemeClr val="bg1">
                    <a:lumMod val="95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Heading</a:t>
            </a:r>
          </a:p>
        </p:txBody>
      </p:sp>
      <p:sp>
        <p:nvSpPr>
          <p:cNvPr id="37" name="Text Placeholder 2">
            <a:extLst>
              <a:ext uri="{FF2B5EF4-FFF2-40B4-BE49-F238E27FC236}">
                <a16:creationId xmlns:a16="http://schemas.microsoft.com/office/drawing/2014/main" id="{01437074-2C4C-B549-99D0-7B19C7B143C2}"/>
              </a:ext>
            </a:extLst>
          </p:cNvPr>
          <p:cNvSpPr>
            <a:spLocks noGrp="1"/>
          </p:cNvSpPr>
          <p:nvPr>
            <p:ph type="body" idx="21" hasCustomPrompt="1"/>
          </p:nvPr>
        </p:nvSpPr>
        <p:spPr>
          <a:xfrm>
            <a:off x="9347692" y="1181090"/>
            <a:ext cx="1899851" cy="416119"/>
          </a:xfrm>
          <a:prstGeom prst="rect">
            <a:avLst/>
          </a:prstGeom>
        </p:spPr>
        <p:txBody>
          <a:bodyPr anchor="ctr"/>
          <a:lstStyle>
            <a:lvl1pPr marL="0" indent="0" algn="ctr">
              <a:buNone/>
              <a:defRPr sz="1800" b="1">
                <a:solidFill>
                  <a:schemeClr val="bg1">
                    <a:lumMod val="95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Heading</a:t>
            </a:r>
          </a:p>
        </p:txBody>
      </p:sp>
      <p:sp>
        <p:nvSpPr>
          <p:cNvPr id="3" name="Text Placeholder 2">
            <a:extLst>
              <a:ext uri="{FF2B5EF4-FFF2-40B4-BE49-F238E27FC236}">
                <a16:creationId xmlns:a16="http://schemas.microsoft.com/office/drawing/2014/main" id="{1CB59A62-4237-C940-8549-4BD909FAC4C1}"/>
              </a:ext>
            </a:extLst>
          </p:cNvPr>
          <p:cNvSpPr>
            <a:spLocks noGrp="1"/>
          </p:cNvSpPr>
          <p:nvPr>
            <p:ph type="body" sz="quarter" idx="22" hasCustomPrompt="1"/>
          </p:nvPr>
        </p:nvSpPr>
        <p:spPr>
          <a:xfrm>
            <a:off x="559387" y="2101261"/>
            <a:ext cx="2540181" cy="2246894"/>
          </a:xfrm>
          <a:prstGeom prst="rect">
            <a:avLst/>
          </a:prstGeom>
        </p:spPr>
        <p:txBody>
          <a:bodyPr/>
          <a:lstStyle>
            <a:lvl1pPr marL="285750" indent="-285750">
              <a:buFont typeface="Wingdings" pitchFamily="2" charset="2"/>
              <a:buChar char="§"/>
              <a:defRPr sz="1400"/>
            </a:lvl1pPr>
          </a:lstStyle>
          <a:p>
            <a:pPr lvl="0"/>
            <a:r>
              <a:rPr lang="en-GB"/>
              <a:t>Write your text here</a:t>
            </a:r>
          </a:p>
        </p:txBody>
      </p:sp>
      <p:sp>
        <p:nvSpPr>
          <p:cNvPr id="39" name="Text Placeholder 2">
            <a:extLst>
              <a:ext uri="{FF2B5EF4-FFF2-40B4-BE49-F238E27FC236}">
                <a16:creationId xmlns:a16="http://schemas.microsoft.com/office/drawing/2014/main" id="{7F3E554D-59F3-4346-B458-A0C3FB411A4E}"/>
              </a:ext>
            </a:extLst>
          </p:cNvPr>
          <p:cNvSpPr>
            <a:spLocks noGrp="1"/>
          </p:cNvSpPr>
          <p:nvPr>
            <p:ph type="body" sz="quarter" idx="23" hasCustomPrompt="1"/>
          </p:nvPr>
        </p:nvSpPr>
        <p:spPr>
          <a:xfrm>
            <a:off x="3382100" y="2101261"/>
            <a:ext cx="2540181" cy="2246894"/>
          </a:xfrm>
          <a:prstGeom prst="rect">
            <a:avLst/>
          </a:prstGeom>
        </p:spPr>
        <p:txBody>
          <a:bodyPr/>
          <a:lstStyle>
            <a:lvl1pPr marL="285750" indent="-285750">
              <a:buFont typeface="Wingdings" pitchFamily="2" charset="2"/>
              <a:buChar char="§"/>
              <a:defRPr sz="1400"/>
            </a:lvl1pPr>
          </a:lstStyle>
          <a:p>
            <a:pPr lvl="0"/>
            <a:r>
              <a:rPr lang="en-GB"/>
              <a:t>Write your text here</a:t>
            </a:r>
          </a:p>
        </p:txBody>
      </p:sp>
      <p:sp>
        <p:nvSpPr>
          <p:cNvPr id="40" name="Text Placeholder 2">
            <a:extLst>
              <a:ext uri="{FF2B5EF4-FFF2-40B4-BE49-F238E27FC236}">
                <a16:creationId xmlns:a16="http://schemas.microsoft.com/office/drawing/2014/main" id="{49A64BEF-43C4-1243-AD2E-D0A806BC284E}"/>
              </a:ext>
            </a:extLst>
          </p:cNvPr>
          <p:cNvSpPr>
            <a:spLocks noGrp="1"/>
          </p:cNvSpPr>
          <p:nvPr>
            <p:ph type="body" sz="quarter" idx="24" hasCustomPrompt="1"/>
          </p:nvPr>
        </p:nvSpPr>
        <p:spPr>
          <a:xfrm>
            <a:off x="6204813" y="2101261"/>
            <a:ext cx="2540181" cy="2246894"/>
          </a:xfrm>
          <a:prstGeom prst="rect">
            <a:avLst/>
          </a:prstGeom>
        </p:spPr>
        <p:txBody>
          <a:bodyPr/>
          <a:lstStyle>
            <a:lvl1pPr marL="285750" indent="-285750">
              <a:buFont typeface="Wingdings" pitchFamily="2" charset="2"/>
              <a:buChar char="§"/>
              <a:defRPr sz="1400"/>
            </a:lvl1pPr>
          </a:lstStyle>
          <a:p>
            <a:pPr lvl="0"/>
            <a:r>
              <a:rPr lang="en-GB"/>
              <a:t>Write your text here</a:t>
            </a:r>
          </a:p>
        </p:txBody>
      </p:sp>
      <p:sp>
        <p:nvSpPr>
          <p:cNvPr id="43" name="Text Placeholder 2">
            <a:extLst>
              <a:ext uri="{FF2B5EF4-FFF2-40B4-BE49-F238E27FC236}">
                <a16:creationId xmlns:a16="http://schemas.microsoft.com/office/drawing/2014/main" id="{D0C4729F-2420-C94D-9CA1-320FF9E06FA2}"/>
              </a:ext>
            </a:extLst>
          </p:cNvPr>
          <p:cNvSpPr>
            <a:spLocks noGrp="1"/>
          </p:cNvSpPr>
          <p:nvPr>
            <p:ph type="body" sz="quarter" idx="25" hasCustomPrompt="1"/>
          </p:nvPr>
        </p:nvSpPr>
        <p:spPr>
          <a:xfrm>
            <a:off x="9027527" y="2101261"/>
            <a:ext cx="2540181" cy="2246894"/>
          </a:xfrm>
          <a:prstGeom prst="rect">
            <a:avLst/>
          </a:prstGeom>
        </p:spPr>
        <p:txBody>
          <a:bodyPr/>
          <a:lstStyle>
            <a:lvl1pPr marL="285750" indent="-285750">
              <a:buFont typeface="Wingdings" pitchFamily="2" charset="2"/>
              <a:buChar char="§"/>
              <a:defRPr sz="1400"/>
            </a:lvl1pPr>
          </a:lstStyle>
          <a:p>
            <a:pPr lvl="0"/>
            <a:r>
              <a:rPr lang="en-GB"/>
              <a:t>Write your text here</a:t>
            </a:r>
          </a:p>
        </p:txBody>
      </p:sp>
      <p:sp>
        <p:nvSpPr>
          <p:cNvPr id="30" name="Slide Number Placeholder 5">
            <a:extLst>
              <a:ext uri="{FF2B5EF4-FFF2-40B4-BE49-F238E27FC236}">
                <a16:creationId xmlns:a16="http://schemas.microsoft.com/office/drawing/2014/main" id="{582ED664-7AE8-4A5E-B945-4F6A26BCFF64}"/>
              </a:ext>
            </a:extLst>
          </p:cNvPr>
          <p:cNvSpPr txBox="1">
            <a:spLocks/>
          </p:cNvSpPr>
          <p:nvPr userDrawn="1"/>
        </p:nvSpPr>
        <p:spPr>
          <a:xfrm>
            <a:off x="11373135" y="6506785"/>
            <a:ext cx="609600" cy="261610"/>
          </a:xfrm>
          <a:prstGeom prst="rect">
            <a:avLst/>
          </a:prstGeom>
          <a:noFill/>
        </p:spPr>
        <p:txBody>
          <a:bodyPr>
            <a:spAutoFit/>
          </a:bodyPr>
          <a:lstStyle>
            <a:defPPr>
              <a:defRPr lang="en-US"/>
            </a:defPPr>
            <a:lvl1pPr marL="0" algn="ctr" defTabSz="914400" rtl="0" eaLnBrk="1" latinLnBrk="0" hangingPunct="1">
              <a:defRPr lang="en-US" sz="1800" kern="1200" smtClean="0">
                <a:solidFill>
                  <a:schemeClr val="bg1"/>
                </a:solidFill>
                <a:latin typeface="Tahoma" pitchFamily="34" charset="0"/>
                <a:ea typeface="Tahoma" pitchFamily="34" charset="0"/>
                <a:cs typeface="Tahoma"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fld id="{3413C1ED-5599-4BB6-878F-244F2E6B8E4A}" type="slidenum">
              <a:rPr lang="en-IN" sz="1100">
                <a:solidFill>
                  <a:prstClr val="black">
                    <a:lumMod val="50000"/>
                    <a:lumOff val="50000"/>
                  </a:prstClr>
                </a:solidFill>
              </a:rPr>
              <a:pPr fontAlgn="auto">
                <a:spcBef>
                  <a:spcPts val="0"/>
                </a:spcBef>
                <a:spcAft>
                  <a:spcPts val="0"/>
                </a:spcAft>
                <a:defRPr/>
              </a:pPr>
              <a:t>‹#›</a:t>
            </a:fld>
            <a:endParaRPr lang="en-IN" sz="1100">
              <a:solidFill>
                <a:prstClr val="black">
                  <a:lumMod val="50000"/>
                  <a:lumOff val="50000"/>
                </a:prstClr>
              </a:solidFill>
            </a:endParaRPr>
          </a:p>
        </p:txBody>
      </p:sp>
      <p:pic>
        <p:nvPicPr>
          <p:cNvPr id="31" name="Picture 30">
            <a:extLst>
              <a:ext uri="{FF2B5EF4-FFF2-40B4-BE49-F238E27FC236}">
                <a16:creationId xmlns:a16="http://schemas.microsoft.com/office/drawing/2014/main" id="{66492063-DCA5-4B89-842F-7A3DFC324BA7}"/>
              </a:ext>
            </a:extLst>
          </p:cNvPr>
          <p:cNvPicPr>
            <a:picLocks noChangeAspect="1"/>
          </p:cNvPicPr>
          <p:nvPr userDrawn="1"/>
        </p:nvPicPr>
        <p:blipFill>
          <a:blip r:embed="rId2"/>
          <a:stretch>
            <a:fillRect/>
          </a:stretch>
        </p:blipFill>
        <p:spPr>
          <a:xfrm>
            <a:off x="464908" y="6506785"/>
            <a:ext cx="1148260" cy="138938"/>
          </a:xfrm>
          <a:prstGeom prst="rect">
            <a:avLst/>
          </a:prstGeom>
        </p:spPr>
      </p:pic>
      <p:sp>
        <p:nvSpPr>
          <p:cNvPr id="32" name="Freeform: Shape 14">
            <a:extLst>
              <a:ext uri="{FF2B5EF4-FFF2-40B4-BE49-F238E27FC236}">
                <a16:creationId xmlns:a16="http://schemas.microsoft.com/office/drawing/2014/main" id="{5B9F124B-7702-4DB4-9BD2-404C282A12E7}"/>
              </a:ext>
            </a:extLst>
          </p:cNvPr>
          <p:cNvSpPr/>
          <p:nvPr userDrawn="1"/>
        </p:nvSpPr>
        <p:spPr>
          <a:xfrm rot="5400000" flipH="1">
            <a:off x="10650813" y="-6388"/>
            <a:ext cx="1528833" cy="1553542"/>
          </a:xfrm>
          <a:custGeom>
            <a:avLst/>
            <a:gdLst>
              <a:gd name="connsiteX0" fmla="*/ 2051041 w 2051041"/>
              <a:gd name="connsiteY0" fmla="*/ 2080382 h 2084191"/>
              <a:gd name="connsiteX1" fmla="*/ 2051041 w 2051041"/>
              <a:gd name="connsiteY1" fmla="*/ 2083967 h 2084191"/>
              <a:gd name="connsiteX2" fmla="*/ 2047231 w 2051041"/>
              <a:gd name="connsiteY2" fmla="*/ 2084191 h 2084191"/>
              <a:gd name="connsiteX3" fmla="*/ 2045599 w 2051041"/>
              <a:gd name="connsiteY3" fmla="*/ 2081470 h 2084191"/>
              <a:gd name="connsiteX4" fmla="*/ 1478568 w 2051041"/>
              <a:gd name="connsiteY4" fmla="*/ 1997668 h 2084191"/>
              <a:gd name="connsiteX5" fmla="*/ 1484554 w 2051041"/>
              <a:gd name="connsiteY5" fmla="*/ 2004743 h 2084191"/>
              <a:gd name="connsiteX6" fmla="*/ 1478568 w 2051041"/>
              <a:gd name="connsiteY6" fmla="*/ 2009096 h 2084191"/>
              <a:gd name="connsiteX7" fmla="*/ 1473126 w 2051041"/>
              <a:gd name="connsiteY7" fmla="*/ 2003654 h 2084191"/>
              <a:gd name="connsiteX8" fmla="*/ 1478568 w 2051041"/>
              <a:gd name="connsiteY8" fmla="*/ 1997668 h 2084191"/>
              <a:gd name="connsiteX9" fmla="*/ 1641820 w 2051041"/>
              <a:gd name="connsiteY9" fmla="*/ 1993859 h 2084191"/>
              <a:gd name="connsiteX10" fmla="*/ 1652160 w 2051041"/>
              <a:gd name="connsiteY10" fmla="*/ 2003654 h 2084191"/>
              <a:gd name="connsiteX11" fmla="*/ 1641820 w 2051041"/>
              <a:gd name="connsiteY11" fmla="*/ 2013449 h 2084191"/>
              <a:gd name="connsiteX12" fmla="*/ 1632025 w 2051041"/>
              <a:gd name="connsiteY12" fmla="*/ 2003654 h 2084191"/>
              <a:gd name="connsiteX13" fmla="*/ 1641820 w 2051041"/>
              <a:gd name="connsiteY13" fmla="*/ 1993859 h 2084191"/>
              <a:gd name="connsiteX14" fmla="*/ 1969414 w 2051041"/>
              <a:gd name="connsiteY14" fmla="*/ 1992226 h 2084191"/>
              <a:gd name="connsiteX15" fmla="*/ 1979753 w 2051041"/>
              <a:gd name="connsiteY15" fmla="*/ 2003654 h 2084191"/>
              <a:gd name="connsiteX16" fmla="*/ 1968325 w 2051041"/>
              <a:gd name="connsiteY16" fmla="*/ 2014537 h 2084191"/>
              <a:gd name="connsiteX17" fmla="*/ 1957986 w 2051041"/>
              <a:gd name="connsiteY17" fmla="*/ 2003110 h 2084191"/>
              <a:gd name="connsiteX18" fmla="*/ 1969414 w 2051041"/>
              <a:gd name="connsiteY18" fmla="*/ 1992226 h 2084191"/>
              <a:gd name="connsiteX19" fmla="*/ 1805073 w 2051041"/>
              <a:gd name="connsiteY19" fmla="*/ 1992226 h 2084191"/>
              <a:gd name="connsiteX20" fmla="*/ 1815956 w 2051041"/>
              <a:gd name="connsiteY20" fmla="*/ 2002565 h 2084191"/>
              <a:gd name="connsiteX21" fmla="*/ 1805073 w 2051041"/>
              <a:gd name="connsiteY21" fmla="*/ 2014537 h 2084191"/>
              <a:gd name="connsiteX22" fmla="*/ 1794189 w 2051041"/>
              <a:gd name="connsiteY22" fmla="*/ 2004198 h 2084191"/>
              <a:gd name="connsiteX23" fmla="*/ 1805073 w 2051041"/>
              <a:gd name="connsiteY23" fmla="*/ 1992226 h 2084191"/>
              <a:gd name="connsiteX24" fmla="*/ 1234233 w 2051041"/>
              <a:gd name="connsiteY24" fmla="*/ 1916042 h 2084191"/>
              <a:gd name="connsiteX25" fmla="*/ 1240219 w 2051041"/>
              <a:gd name="connsiteY25" fmla="*/ 1923660 h 2084191"/>
              <a:gd name="connsiteX26" fmla="*/ 1236953 w 2051041"/>
              <a:gd name="connsiteY26" fmla="*/ 1926381 h 2084191"/>
              <a:gd name="connsiteX27" fmla="*/ 1229335 w 2051041"/>
              <a:gd name="connsiteY27" fmla="*/ 1918762 h 2084191"/>
              <a:gd name="connsiteX28" fmla="*/ 1234233 w 2051041"/>
              <a:gd name="connsiteY28" fmla="*/ 1916042 h 2084191"/>
              <a:gd name="connsiteX29" fmla="*/ 1397486 w 2051041"/>
              <a:gd name="connsiteY29" fmla="*/ 1911144 h 2084191"/>
              <a:gd name="connsiteX30" fmla="*/ 1408369 w 2051041"/>
              <a:gd name="connsiteY30" fmla="*/ 1921483 h 2084191"/>
              <a:gd name="connsiteX31" fmla="*/ 1399118 w 2051041"/>
              <a:gd name="connsiteY31" fmla="*/ 1931823 h 2084191"/>
              <a:gd name="connsiteX32" fmla="*/ 1387146 w 2051041"/>
              <a:gd name="connsiteY32" fmla="*/ 1922028 h 2084191"/>
              <a:gd name="connsiteX33" fmla="*/ 1397486 w 2051041"/>
              <a:gd name="connsiteY33" fmla="*/ 1911144 h 2084191"/>
              <a:gd name="connsiteX34" fmla="*/ 1560194 w 2051041"/>
              <a:gd name="connsiteY34" fmla="*/ 1906790 h 2084191"/>
              <a:gd name="connsiteX35" fmla="*/ 1574342 w 2051041"/>
              <a:gd name="connsiteY35" fmla="*/ 1921482 h 2084191"/>
              <a:gd name="connsiteX36" fmla="*/ 1560738 w 2051041"/>
              <a:gd name="connsiteY36" fmla="*/ 1935631 h 2084191"/>
              <a:gd name="connsiteX37" fmla="*/ 1547134 w 2051041"/>
              <a:gd name="connsiteY37" fmla="*/ 1922027 h 2084191"/>
              <a:gd name="connsiteX38" fmla="*/ 1560194 w 2051041"/>
              <a:gd name="connsiteY38" fmla="*/ 1906790 h 2084191"/>
              <a:gd name="connsiteX39" fmla="*/ 2049952 w 2051041"/>
              <a:gd name="connsiteY39" fmla="*/ 1905702 h 2084191"/>
              <a:gd name="connsiteX40" fmla="*/ 2051041 w 2051041"/>
              <a:gd name="connsiteY40" fmla="*/ 1906027 h 2084191"/>
              <a:gd name="connsiteX41" fmla="*/ 2051041 w 2051041"/>
              <a:gd name="connsiteY41" fmla="*/ 1938133 h 2084191"/>
              <a:gd name="connsiteX42" fmla="*/ 2050496 w 2051041"/>
              <a:gd name="connsiteY42" fmla="*/ 1938353 h 2084191"/>
              <a:gd name="connsiteX43" fmla="*/ 2034171 w 2051041"/>
              <a:gd name="connsiteY43" fmla="*/ 1922572 h 2084191"/>
              <a:gd name="connsiteX44" fmla="*/ 2049952 w 2051041"/>
              <a:gd name="connsiteY44" fmla="*/ 1905702 h 2084191"/>
              <a:gd name="connsiteX45" fmla="*/ 1723447 w 2051041"/>
              <a:gd name="connsiteY45" fmla="*/ 1905702 h 2084191"/>
              <a:gd name="connsiteX46" fmla="*/ 1739772 w 2051041"/>
              <a:gd name="connsiteY46" fmla="*/ 1920939 h 2084191"/>
              <a:gd name="connsiteX47" fmla="*/ 1724535 w 2051041"/>
              <a:gd name="connsiteY47" fmla="*/ 1937264 h 2084191"/>
              <a:gd name="connsiteX48" fmla="*/ 1708210 w 2051041"/>
              <a:gd name="connsiteY48" fmla="*/ 1922027 h 2084191"/>
              <a:gd name="connsiteX49" fmla="*/ 1723447 w 2051041"/>
              <a:gd name="connsiteY49" fmla="*/ 1905702 h 2084191"/>
              <a:gd name="connsiteX50" fmla="*/ 1887787 w 2051041"/>
              <a:gd name="connsiteY50" fmla="*/ 1905158 h 2084191"/>
              <a:gd name="connsiteX51" fmla="*/ 1904113 w 2051041"/>
              <a:gd name="connsiteY51" fmla="*/ 1922028 h 2084191"/>
              <a:gd name="connsiteX52" fmla="*/ 1886699 w 2051041"/>
              <a:gd name="connsiteY52" fmla="*/ 1937809 h 2084191"/>
              <a:gd name="connsiteX53" fmla="*/ 1870918 w 2051041"/>
              <a:gd name="connsiteY53" fmla="*/ 1921483 h 2084191"/>
              <a:gd name="connsiteX54" fmla="*/ 1887787 w 2051041"/>
              <a:gd name="connsiteY54" fmla="*/ 1905158 h 2084191"/>
              <a:gd name="connsiteX55" fmla="*/ 1152606 w 2051041"/>
              <a:gd name="connsiteY55" fmla="*/ 1831693 h 2084191"/>
              <a:gd name="connsiteX56" fmla="*/ 1161313 w 2051041"/>
              <a:gd name="connsiteY56" fmla="*/ 1839312 h 2084191"/>
              <a:gd name="connsiteX57" fmla="*/ 1153694 w 2051041"/>
              <a:gd name="connsiteY57" fmla="*/ 1852916 h 2084191"/>
              <a:gd name="connsiteX58" fmla="*/ 1144988 w 2051041"/>
              <a:gd name="connsiteY58" fmla="*/ 1841489 h 2084191"/>
              <a:gd name="connsiteX59" fmla="*/ 1152606 w 2051041"/>
              <a:gd name="connsiteY59" fmla="*/ 1831693 h 2084191"/>
              <a:gd name="connsiteX60" fmla="*/ 1315315 w 2051041"/>
              <a:gd name="connsiteY60" fmla="*/ 1825708 h 2084191"/>
              <a:gd name="connsiteX61" fmla="*/ 1330552 w 2051041"/>
              <a:gd name="connsiteY61" fmla="*/ 1840401 h 2084191"/>
              <a:gd name="connsiteX62" fmla="*/ 1316404 w 2051041"/>
              <a:gd name="connsiteY62" fmla="*/ 1854549 h 2084191"/>
              <a:gd name="connsiteX63" fmla="*/ 1301711 w 2051041"/>
              <a:gd name="connsiteY63" fmla="*/ 1840945 h 2084191"/>
              <a:gd name="connsiteX64" fmla="*/ 1315315 w 2051041"/>
              <a:gd name="connsiteY64" fmla="*/ 1825708 h 2084191"/>
              <a:gd name="connsiteX65" fmla="*/ 1479656 w 2051041"/>
              <a:gd name="connsiteY65" fmla="*/ 1822987 h 2084191"/>
              <a:gd name="connsiteX66" fmla="*/ 1495981 w 2051041"/>
              <a:gd name="connsiteY66" fmla="*/ 1840401 h 2084191"/>
              <a:gd name="connsiteX67" fmla="*/ 1478567 w 2051041"/>
              <a:gd name="connsiteY67" fmla="*/ 1856182 h 2084191"/>
              <a:gd name="connsiteX68" fmla="*/ 1462242 w 2051041"/>
              <a:gd name="connsiteY68" fmla="*/ 1839312 h 2084191"/>
              <a:gd name="connsiteX69" fmla="*/ 1479656 w 2051041"/>
              <a:gd name="connsiteY69" fmla="*/ 1822987 h 2084191"/>
              <a:gd name="connsiteX70" fmla="*/ 1642365 w 2051041"/>
              <a:gd name="connsiteY70" fmla="*/ 1821355 h 2084191"/>
              <a:gd name="connsiteX71" fmla="*/ 1660867 w 2051041"/>
              <a:gd name="connsiteY71" fmla="*/ 1840401 h 2084191"/>
              <a:gd name="connsiteX72" fmla="*/ 1642365 w 2051041"/>
              <a:gd name="connsiteY72" fmla="*/ 1857270 h 2084191"/>
              <a:gd name="connsiteX73" fmla="*/ 1624407 w 2051041"/>
              <a:gd name="connsiteY73" fmla="*/ 1839857 h 2084191"/>
              <a:gd name="connsiteX74" fmla="*/ 1642365 w 2051041"/>
              <a:gd name="connsiteY74" fmla="*/ 1821355 h 2084191"/>
              <a:gd name="connsiteX75" fmla="*/ 1806162 w 2051041"/>
              <a:gd name="connsiteY75" fmla="*/ 1819723 h 2084191"/>
              <a:gd name="connsiteX76" fmla="*/ 1826840 w 2051041"/>
              <a:gd name="connsiteY76" fmla="*/ 1840945 h 2084191"/>
              <a:gd name="connsiteX77" fmla="*/ 1804529 w 2051041"/>
              <a:gd name="connsiteY77" fmla="*/ 1861080 h 2084191"/>
              <a:gd name="connsiteX78" fmla="*/ 1784395 w 2051041"/>
              <a:gd name="connsiteY78" fmla="*/ 1839313 h 2084191"/>
              <a:gd name="connsiteX79" fmla="*/ 1806162 w 2051041"/>
              <a:gd name="connsiteY79" fmla="*/ 1819723 h 2084191"/>
              <a:gd name="connsiteX80" fmla="*/ 1968870 w 2051041"/>
              <a:gd name="connsiteY80" fmla="*/ 1819178 h 2084191"/>
              <a:gd name="connsiteX81" fmla="*/ 1990093 w 2051041"/>
              <a:gd name="connsiteY81" fmla="*/ 1840401 h 2084191"/>
              <a:gd name="connsiteX82" fmla="*/ 1968870 w 2051041"/>
              <a:gd name="connsiteY82" fmla="*/ 1861624 h 2084191"/>
              <a:gd name="connsiteX83" fmla="*/ 1947647 w 2051041"/>
              <a:gd name="connsiteY83" fmla="*/ 1840401 h 2084191"/>
              <a:gd name="connsiteX84" fmla="*/ 1968870 w 2051041"/>
              <a:gd name="connsiteY84" fmla="*/ 1819178 h 2084191"/>
              <a:gd name="connsiteX85" fmla="*/ 1070436 w 2051041"/>
              <a:gd name="connsiteY85" fmla="*/ 1747347 h 2084191"/>
              <a:gd name="connsiteX86" fmla="*/ 1081863 w 2051041"/>
              <a:gd name="connsiteY86" fmla="*/ 1758231 h 2084191"/>
              <a:gd name="connsiteX87" fmla="*/ 1070980 w 2051041"/>
              <a:gd name="connsiteY87" fmla="*/ 1769658 h 2084191"/>
              <a:gd name="connsiteX88" fmla="*/ 1059552 w 2051041"/>
              <a:gd name="connsiteY88" fmla="*/ 1758775 h 2084191"/>
              <a:gd name="connsiteX89" fmla="*/ 1070436 w 2051041"/>
              <a:gd name="connsiteY89" fmla="*/ 1747347 h 2084191"/>
              <a:gd name="connsiteX90" fmla="*/ 1233688 w 2051041"/>
              <a:gd name="connsiteY90" fmla="*/ 1742449 h 2084191"/>
              <a:gd name="connsiteX91" fmla="*/ 1250558 w 2051041"/>
              <a:gd name="connsiteY91" fmla="*/ 1758774 h 2084191"/>
              <a:gd name="connsiteX92" fmla="*/ 1233688 w 2051041"/>
              <a:gd name="connsiteY92" fmla="*/ 1775099 h 2084191"/>
              <a:gd name="connsiteX93" fmla="*/ 1217907 w 2051041"/>
              <a:gd name="connsiteY93" fmla="*/ 1759318 h 2084191"/>
              <a:gd name="connsiteX94" fmla="*/ 1233688 w 2051041"/>
              <a:gd name="connsiteY94" fmla="*/ 1742449 h 2084191"/>
              <a:gd name="connsiteX95" fmla="*/ 1399662 w 2051041"/>
              <a:gd name="connsiteY95" fmla="*/ 1739728 h 2084191"/>
              <a:gd name="connsiteX96" fmla="*/ 1417076 w 2051041"/>
              <a:gd name="connsiteY96" fmla="*/ 1760407 h 2084191"/>
              <a:gd name="connsiteX97" fmla="*/ 1396941 w 2051041"/>
              <a:gd name="connsiteY97" fmla="*/ 1779453 h 2084191"/>
              <a:gd name="connsiteX98" fmla="*/ 1377895 w 2051041"/>
              <a:gd name="connsiteY98" fmla="*/ 1757686 h 2084191"/>
              <a:gd name="connsiteX99" fmla="*/ 1399662 w 2051041"/>
              <a:gd name="connsiteY99" fmla="*/ 1739728 h 2084191"/>
              <a:gd name="connsiteX100" fmla="*/ 1723991 w 2051041"/>
              <a:gd name="connsiteY100" fmla="*/ 1735919 h 2084191"/>
              <a:gd name="connsiteX101" fmla="*/ 1746847 w 2051041"/>
              <a:gd name="connsiteY101" fmla="*/ 1758774 h 2084191"/>
              <a:gd name="connsiteX102" fmla="*/ 1723991 w 2051041"/>
              <a:gd name="connsiteY102" fmla="*/ 1781086 h 2084191"/>
              <a:gd name="connsiteX103" fmla="*/ 1701680 w 2051041"/>
              <a:gd name="connsiteY103" fmla="*/ 1758774 h 2084191"/>
              <a:gd name="connsiteX104" fmla="*/ 1723991 w 2051041"/>
              <a:gd name="connsiteY104" fmla="*/ 1735919 h 2084191"/>
              <a:gd name="connsiteX105" fmla="*/ 1560194 w 2051041"/>
              <a:gd name="connsiteY105" fmla="*/ 1735919 h 2084191"/>
              <a:gd name="connsiteX106" fmla="*/ 1582505 w 2051041"/>
              <a:gd name="connsiteY106" fmla="*/ 1758230 h 2084191"/>
              <a:gd name="connsiteX107" fmla="*/ 1560738 w 2051041"/>
              <a:gd name="connsiteY107" fmla="*/ 1779997 h 2084191"/>
              <a:gd name="connsiteX108" fmla="*/ 1538427 w 2051041"/>
              <a:gd name="connsiteY108" fmla="*/ 1758230 h 2084191"/>
              <a:gd name="connsiteX109" fmla="*/ 1560194 w 2051041"/>
              <a:gd name="connsiteY109" fmla="*/ 1735919 h 2084191"/>
              <a:gd name="connsiteX110" fmla="*/ 2051041 w 2051041"/>
              <a:gd name="connsiteY110" fmla="*/ 1734831 h 2084191"/>
              <a:gd name="connsiteX111" fmla="*/ 2051041 w 2051041"/>
              <a:gd name="connsiteY111" fmla="*/ 1781438 h 2084191"/>
              <a:gd name="connsiteX112" fmla="*/ 2050496 w 2051041"/>
              <a:gd name="connsiteY112" fmla="*/ 1781630 h 2084191"/>
              <a:gd name="connsiteX113" fmla="*/ 2027097 w 2051041"/>
              <a:gd name="connsiteY113" fmla="*/ 1758775 h 2084191"/>
              <a:gd name="connsiteX114" fmla="*/ 2051041 w 2051041"/>
              <a:gd name="connsiteY114" fmla="*/ 1734831 h 2084191"/>
              <a:gd name="connsiteX115" fmla="*/ 1887788 w 2051041"/>
              <a:gd name="connsiteY115" fmla="*/ 1734831 h 2084191"/>
              <a:gd name="connsiteX116" fmla="*/ 1910099 w 2051041"/>
              <a:gd name="connsiteY116" fmla="*/ 1758775 h 2084191"/>
              <a:gd name="connsiteX117" fmla="*/ 1886699 w 2051041"/>
              <a:gd name="connsiteY117" fmla="*/ 1781086 h 2084191"/>
              <a:gd name="connsiteX118" fmla="*/ 1863844 w 2051041"/>
              <a:gd name="connsiteY118" fmla="*/ 1757687 h 2084191"/>
              <a:gd name="connsiteX119" fmla="*/ 1887788 w 2051041"/>
              <a:gd name="connsiteY119" fmla="*/ 1734831 h 2084191"/>
              <a:gd name="connsiteX120" fmla="*/ 826100 w 2051041"/>
              <a:gd name="connsiteY120" fmla="*/ 1671706 h 2084191"/>
              <a:gd name="connsiteX121" fmla="*/ 832086 w 2051041"/>
              <a:gd name="connsiteY121" fmla="*/ 1677692 h 2084191"/>
              <a:gd name="connsiteX122" fmla="*/ 825556 w 2051041"/>
              <a:gd name="connsiteY122" fmla="*/ 1683134 h 2084191"/>
              <a:gd name="connsiteX123" fmla="*/ 820658 w 2051041"/>
              <a:gd name="connsiteY123" fmla="*/ 1676603 h 2084191"/>
              <a:gd name="connsiteX124" fmla="*/ 826100 w 2051041"/>
              <a:gd name="connsiteY124" fmla="*/ 1671706 h 2084191"/>
              <a:gd name="connsiteX125" fmla="*/ 989354 w 2051041"/>
              <a:gd name="connsiteY125" fmla="*/ 1661912 h 2084191"/>
              <a:gd name="connsiteX126" fmla="*/ 1004046 w 2051041"/>
              <a:gd name="connsiteY126" fmla="*/ 1676604 h 2084191"/>
              <a:gd name="connsiteX127" fmla="*/ 989354 w 2051041"/>
              <a:gd name="connsiteY127" fmla="*/ 1690209 h 2084191"/>
              <a:gd name="connsiteX128" fmla="*/ 975205 w 2051041"/>
              <a:gd name="connsiteY128" fmla="*/ 1677693 h 2084191"/>
              <a:gd name="connsiteX129" fmla="*/ 989354 w 2051041"/>
              <a:gd name="connsiteY129" fmla="*/ 1661912 h 2084191"/>
              <a:gd name="connsiteX130" fmla="*/ 1153151 w 2051041"/>
              <a:gd name="connsiteY130" fmla="*/ 1659734 h 2084191"/>
              <a:gd name="connsiteX131" fmla="*/ 1170564 w 2051041"/>
              <a:gd name="connsiteY131" fmla="*/ 1677692 h 2084191"/>
              <a:gd name="connsiteX132" fmla="*/ 1152062 w 2051041"/>
              <a:gd name="connsiteY132" fmla="*/ 1694562 h 2084191"/>
              <a:gd name="connsiteX133" fmla="*/ 1135737 w 2051041"/>
              <a:gd name="connsiteY133" fmla="*/ 1677148 h 2084191"/>
              <a:gd name="connsiteX134" fmla="*/ 1153151 w 2051041"/>
              <a:gd name="connsiteY134" fmla="*/ 1659734 h 2084191"/>
              <a:gd name="connsiteX135" fmla="*/ 1315315 w 2051041"/>
              <a:gd name="connsiteY135" fmla="*/ 1655381 h 2084191"/>
              <a:gd name="connsiteX136" fmla="*/ 1337082 w 2051041"/>
              <a:gd name="connsiteY136" fmla="*/ 1676603 h 2084191"/>
              <a:gd name="connsiteX137" fmla="*/ 1315315 w 2051041"/>
              <a:gd name="connsiteY137" fmla="*/ 1698915 h 2084191"/>
              <a:gd name="connsiteX138" fmla="*/ 1294092 w 2051041"/>
              <a:gd name="connsiteY138" fmla="*/ 1677148 h 2084191"/>
              <a:gd name="connsiteX139" fmla="*/ 1315315 w 2051041"/>
              <a:gd name="connsiteY139" fmla="*/ 1655381 h 2084191"/>
              <a:gd name="connsiteX140" fmla="*/ 1479111 w 2051041"/>
              <a:gd name="connsiteY140" fmla="*/ 1654293 h 2084191"/>
              <a:gd name="connsiteX141" fmla="*/ 1501967 w 2051041"/>
              <a:gd name="connsiteY141" fmla="*/ 1677692 h 2084191"/>
              <a:gd name="connsiteX142" fmla="*/ 1479111 w 2051041"/>
              <a:gd name="connsiteY142" fmla="*/ 1700548 h 2084191"/>
              <a:gd name="connsiteX143" fmla="*/ 1455712 w 2051041"/>
              <a:gd name="connsiteY143" fmla="*/ 1676604 h 2084191"/>
              <a:gd name="connsiteX144" fmla="*/ 1479111 w 2051041"/>
              <a:gd name="connsiteY144" fmla="*/ 1654293 h 2084191"/>
              <a:gd name="connsiteX145" fmla="*/ 1643452 w 2051041"/>
              <a:gd name="connsiteY145" fmla="*/ 1650483 h 2084191"/>
              <a:gd name="connsiteX146" fmla="*/ 1668484 w 2051041"/>
              <a:gd name="connsiteY146" fmla="*/ 1676603 h 2084191"/>
              <a:gd name="connsiteX147" fmla="*/ 1643452 w 2051041"/>
              <a:gd name="connsiteY147" fmla="*/ 1703268 h 2084191"/>
              <a:gd name="connsiteX148" fmla="*/ 1617332 w 2051041"/>
              <a:gd name="connsiteY148" fmla="*/ 1677692 h 2084191"/>
              <a:gd name="connsiteX149" fmla="*/ 1643452 w 2051041"/>
              <a:gd name="connsiteY149" fmla="*/ 1650483 h 2084191"/>
              <a:gd name="connsiteX150" fmla="*/ 1968326 w 2051041"/>
              <a:gd name="connsiteY150" fmla="*/ 1649940 h 2084191"/>
              <a:gd name="connsiteX151" fmla="*/ 1995535 w 2051041"/>
              <a:gd name="connsiteY151" fmla="*/ 1676604 h 2084191"/>
              <a:gd name="connsiteX152" fmla="*/ 1968870 w 2051041"/>
              <a:gd name="connsiteY152" fmla="*/ 1704357 h 2084191"/>
              <a:gd name="connsiteX153" fmla="*/ 1941661 w 2051041"/>
              <a:gd name="connsiteY153" fmla="*/ 1677148 h 2084191"/>
              <a:gd name="connsiteX154" fmla="*/ 1968326 w 2051041"/>
              <a:gd name="connsiteY154" fmla="*/ 1649940 h 2084191"/>
              <a:gd name="connsiteX155" fmla="*/ 1805617 w 2051041"/>
              <a:gd name="connsiteY155" fmla="*/ 1649939 h 2084191"/>
              <a:gd name="connsiteX156" fmla="*/ 1832826 w 2051041"/>
              <a:gd name="connsiteY156" fmla="*/ 1677148 h 2084191"/>
              <a:gd name="connsiteX157" fmla="*/ 1805073 w 2051041"/>
              <a:gd name="connsiteY157" fmla="*/ 1704357 h 2084191"/>
              <a:gd name="connsiteX158" fmla="*/ 1778409 w 2051041"/>
              <a:gd name="connsiteY158" fmla="*/ 1677148 h 2084191"/>
              <a:gd name="connsiteX159" fmla="*/ 1805617 w 2051041"/>
              <a:gd name="connsiteY159" fmla="*/ 1649939 h 2084191"/>
              <a:gd name="connsiteX160" fmla="*/ 744474 w 2051041"/>
              <a:gd name="connsiteY160" fmla="*/ 1588992 h 2084191"/>
              <a:gd name="connsiteX161" fmla="*/ 751004 w 2051041"/>
              <a:gd name="connsiteY161" fmla="*/ 1594978 h 2084191"/>
              <a:gd name="connsiteX162" fmla="*/ 745562 w 2051041"/>
              <a:gd name="connsiteY162" fmla="*/ 1602052 h 2084191"/>
              <a:gd name="connsiteX163" fmla="*/ 738488 w 2051041"/>
              <a:gd name="connsiteY163" fmla="*/ 1594978 h 2084191"/>
              <a:gd name="connsiteX164" fmla="*/ 744474 w 2051041"/>
              <a:gd name="connsiteY164" fmla="*/ 1588992 h 2084191"/>
              <a:gd name="connsiteX165" fmla="*/ 907183 w 2051041"/>
              <a:gd name="connsiteY165" fmla="*/ 1579741 h 2084191"/>
              <a:gd name="connsiteX166" fmla="*/ 923508 w 2051041"/>
              <a:gd name="connsiteY166" fmla="*/ 1594978 h 2084191"/>
              <a:gd name="connsiteX167" fmla="*/ 908815 w 2051041"/>
              <a:gd name="connsiteY167" fmla="*/ 1610759 h 2084191"/>
              <a:gd name="connsiteX168" fmla="*/ 892490 w 2051041"/>
              <a:gd name="connsiteY168" fmla="*/ 1595522 h 2084191"/>
              <a:gd name="connsiteX169" fmla="*/ 907183 w 2051041"/>
              <a:gd name="connsiteY169" fmla="*/ 1579741 h 2084191"/>
              <a:gd name="connsiteX170" fmla="*/ 1071524 w 2051041"/>
              <a:gd name="connsiteY170" fmla="*/ 1574843 h 2084191"/>
              <a:gd name="connsiteX171" fmla="*/ 1091114 w 2051041"/>
              <a:gd name="connsiteY171" fmla="*/ 1595522 h 2084191"/>
              <a:gd name="connsiteX172" fmla="*/ 1070980 w 2051041"/>
              <a:gd name="connsiteY172" fmla="*/ 1615656 h 2084191"/>
              <a:gd name="connsiteX173" fmla="*/ 1050301 w 2051041"/>
              <a:gd name="connsiteY173" fmla="*/ 1595522 h 2084191"/>
              <a:gd name="connsiteX174" fmla="*/ 1071524 w 2051041"/>
              <a:gd name="connsiteY174" fmla="*/ 1574843 h 2084191"/>
              <a:gd name="connsiteX175" fmla="*/ 1233688 w 2051041"/>
              <a:gd name="connsiteY175" fmla="*/ 1573210 h 2084191"/>
              <a:gd name="connsiteX176" fmla="*/ 1256544 w 2051041"/>
              <a:gd name="connsiteY176" fmla="*/ 1595522 h 2084191"/>
              <a:gd name="connsiteX177" fmla="*/ 1233688 w 2051041"/>
              <a:gd name="connsiteY177" fmla="*/ 1618377 h 2084191"/>
              <a:gd name="connsiteX178" fmla="*/ 1211377 w 2051041"/>
              <a:gd name="connsiteY178" fmla="*/ 1596610 h 2084191"/>
              <a:gd name="connsiteX179" fmla="*/ 1233688 w 2051041"/>
              <a:gd name="connsiteY179" fmla="*/ 1573210 h 2084191"/>
              <a:gd name="connsiteX180" fmla="*/ 1398030 w 2051041"/>
              <a:gd name="connsiteY180" fmla="*/ 1569402 h 2084191"/>
              <a:gd name="connsiteX181" fmla="*/ 1423062 w 2051041"/>
              <a:gd name="connsiteY181" fmla="*/ 1595522 h 2084191"/>
              <a:gd name="connsiteX182" fmla="*/ 1397485 w 2051041"/>
              <a:gd name="connsiteY182" fmla="*/ 1621099 h 2084191"/>
              <a:gd name="connsiteX183" fmla="*/ 1371365 w 2051041"/>
              <a:gd name="connsiteY183" fmla="*/ 1595522 h 2084191"/>
              <a:gd name="connsiteX184" fmla="*/ 1398030 w 2051041"/>
              <a:gd name="connsiteY184" fmla="*/ 1569402 h 2084191"/>
              <a:gd name="connsiteX185" fmla="*/ 1560194 w 2051041"/>
              <a:gd name="connsiteY185" fmla="*/ 1568313 h 2084191"/>
              <a:gd name="connsiteX186" fmla="*/ 1587947 w 2051041"/>
              <a:gd name="connsiteY186" fmla="*/ 1594433 h 2084191"/>
              <a:gd name="connsiteX187" fmla="*/ 1560194 w 2051041"/>
              <a:gd name="connsiteY187" fmla="*/ 1622730 h 2084191"/>
              <a:gd name="connsiteX188" fmla="*/ 1532985 w 2051041"/>
              <a:gd name="connsiteY188" fmla="*/ 1594977 h 2084191"/>
              <a:gd name="connsiteX189" fmla="*/ 1560194 w 2051041"/>
              <a:gd name="connsiteY189" fmla="*/ 1568313 h 2084191"/>
              <a:gd name="connsiteX190" fmla="*/ 1887244 w 2051041"/>
              <a:gd name="connsiteY190" fmla="*/ 1567225 h 2084191"/>
              <a:gd name="connsiteX191" fmla="*/ 1915541 w 2051041"/>
              <a:gd name="connsiteY191" fmla="*/ 1594978 h 2084191"/>
              <a:gd name="connsiteX192" fmla="*/ 1886699 w 2051041"/>
              <a:gd name="connsiteY192" fmla="*/ 1623819 h 2084191"/>
              <a:gd name="connsiteX193" fmla="*/ 1858947 w 2051041"/>
              <a:gd name="connsiteY193" fmla="*/ 1594978 h 2084191"/>
              <a:gd name="connsiteX194" fmla="*/ 1887244 w 2051041"/>
              <a:gd name="connsiteY194" fmla="*/ 1567225 h 2084191"/>
              <a:gd name="connsiteX195" fmla="*/ 1724535 w 2051041"/>
              <a:gd name="connsiteY195" fmla="*/ 1567225 h 2084191"/>
              <a:gd name="connsiteX196" fmla="*/ 1752288 w 2051041"/>
              <a:gd name="connsiteY196" fmla="*/ 1594978 h 2084191"/>
              <a:gd name="connsiteX197" fmla="*/ 1724535 w 2051041"/>
              <a:gd name="connsiteY197" fmla="*/ 1623275 h 2084191"/>
              <a:gd name="connsiteX198" fmla="*/ 1696238 w 2051041"/>
              <a:gd name="connsiteY198" fmla="*/ 1594978 h 2084191"/>
              <a:gd name="connsiteX199" fmla="*/ 1724535 w 2051041"/>
              <a:gd name="connsiteY199" fmla="*/ 1567225 h 2084191"/>
              <a:gd name="connsiteX200" fmla="*/ 2050496 w 2051041"/>
              <a:gd name="connsiteY200" fmla="*/ 1566680 h 2084191"/>
              <a:gd name="connsiteX201" fmla="*/ 2051041 w 2051041"/>
              <a:gd name="connsiteY201" fmla="*/ 1566888 h 2084191"/>
              <a:gd name="connsiteX202" fmla="*/ 2051041 w 2051041"/>
              <a:gd name="connsiteY202" fmla="*/ 1623794 h 2084191"/>
              <a:gd name="connsiteX203" fmla="*/ 2049408 w 2051041"/>
              <a:gd name="connsiteY203" fmla="*/ 1624363 h 2084191"/>
              <a:gd name="connsiteX204" fmla="*/ 2021655 w 2051041"/>
              <a:gd name="connsiteY204" fmla="*/ 1594977 h 2084191"/>
              <a:gd name="connsiteX205" fmla="*/ 2050496 w 2051041"/>
              <a:gd name="connsiteY205" fmla="*/ 1566680 h 2084191"/>
              <a:gd name="connsiteX206" fmla="*/ 663392 w 2051041"/>
              <a:gd name="connsiteY206" fmla="*/ 1505188 h 2084191"/>
              <a:gd name="connsiteX207" fmla="*/ 674819 w 2051041"/>
              <a:gd name="connsiteY207" fmla="*/ 1513895 h 2084191"/>
              <a:gd name="connsiteX208" fmla="*/ 662848 w 2051041"/>
              <a:gd name="connsiteY208" fmla="*/ 1522058 h 2084191"/>
              <a:gd name="connsiteX209" fmla="*/ 654685 w 2051041"/>
              <a:gd name="connsiteY209" fmla="*/ 1513351 h 2084191"/>
              <a:gd name="connsiteX210" fmla="*/ 663392 w 2051041"/>
              <a:gd name="connsiteY210" fmla="*/ 1505188 h 2084191"/>
              <a:gd name="connsiteX211" fmla="*/ 826101 w 2051041"/>
              <a:gd name="connsiteY211" fmla="*/ 1497570 h 2084191"/>
              <a:gd name="connsiteX212" fmla="*/ 842970 w 2051041"/>
              <a:gd name="connsiteY212" fmla="*/ 1513351 h 2084191"/>
              <a:gd name="connsiteX213" fmla="*/ 826645 w 2051041"/>
              <a:gd name="connsiteY213" fmla="*/ 1529676 h 2084191"/>
              <a:gd name="connsiteX214" fmla="*/ 810319 w 2051041"/>
              <a:gd name="connsiteY214" fmla="*/ 1514983 h 2084191"/>
              <a:gd name="connsiteX215" fmla="*/ 826101 w 2051041"/>
              <a:gd name="connsiteY215" fmla="*/ 1497570 h 2084191"/>
              <a:gd name="connsiteX216" fmla="*/ 988265 w 2051041"/>
              <a:gd name="connsiteY216" fmla="*/ 1492128 h 2084191"/>
              <a:gd name="connsiteX217" fmla="*/ 1010577 w 2051041"/>
              <a:gd name="connsiteY217" fmla="*/ 1513351 h 2084191"/>
              <a:gd name="connsiteX218" fmla="*/ 989354 w 2051041"/>
              <a:gd name="connsiteY218" fmla="*/ 1534574 h 2084191"/>
              <a:gd name="connsiteX219" fmla="*/ 968131 w 2051041"/>
              <a:gd name="connsiteY219" fmla="*/ 1513895 h 2084191"/>
              <a:gd name="connsiteX220" fmla="*/ 988265 w 2051041"/>
              <a:gd name="connsiteY220" fmla="*/ 1492128 h 2084191"/>
              <a:gd name="connsiteX221" fmla="*/ 1152606 w 2051041"/>
              <a:gd name="connsiteY221" fmla="*/ 1490496 h 2084191"/>
              <a:gd name="connsiteX222" fmla="*/ 1176006 w 2051041"/>
              <a:gd name="connsiteY222" fmla="*/ 1513351 h 2084191"/>
              <a:gd name="connsiteX223" fmla="*/ 1152606 w 2051041"/>
              <a:gd name="connsiteY223" fmla="*/ 1537839 h 2084191"/>
              <a:gd name="connsiteX224" fmla="*/ 1129207 w 2051041"/>
              <a:gd name="connsiteY224" fmla="*/ 1514984 h 2084191"/>
              <a:gd name="connsiteX225" fmla="*/ 1152606 w 2051041"/>
              <a:gd name="connsiteY225" fmla="*/ 1490496 h 2084191"/>
              <a:gd name="connsiteX226" fmla="*/ 1316403 w 2051041"/>
              <a:gd name="connsiteY226" fmla="*/ 1487231 h 2084191"/>
              <a:gd name="connsiteX227" fmla="*/ 1342523 w 2051041"/>
              <a:gd name="connsiteY227" fmla="*/ 1513896 h 2084191"/>
              <a:gd name="connsiteX228" fmla="*/ 1315314 w 2051041"/>
              <a:gd name="connsiteY228" fmla="*/ 1540560 h 2084191"/>
              <a:gd name="connsiteX229" fmla="*/ 1288650 w 2051041"/>
              <a:gd name="connsiteY229" fmla="*/ 1513896 h 2084191"/>
              <a:gd name="connsiteX230" fmla="*/ 1316403 w 2051041"/>
              <a:gd name="connsiteY230" fmla="*/ 1487231 h 2084191"/>
              <a:gd name="connsiteX231" fmla="*/ 1479656 w 2051041"/>
              <a:gd name="connsiteY231" fmla="*/ 1485054 h 2084191"/>
              <a:gd name="connsiteX232" fmla="*/ 1507409 w 2051041"/>
              <a:gd name="connsiteY232" fmla="*/ 1513895 h 2084191"/>
              <a:gd name="connsiteX233" fmla="*/ 1479112 w 2051041"/>
              <a:gd name="connsiteY233" fmla="*/ 1541648 h 2084191"/>
              <a:gd name="connsiteX234" fmla="*/ 1451359 w 2051041"/>
              <a:gd name="connsiteY234" fmla="*/ 1513351 h 2084191"/>
              <a:gd name="connsiteX235" fmla="*/ 1479656 w 2051041"/>
              <a:gd name="connsiteY235" fmla="*/ 1485054 h 2084191"/>
              <a:gd name="connsiteX236" fmla="*/ 1641820 w 2051041"/>
              <a:gd name="connsiteY236" fmla="*/ 1482334 h 2084191"/>
              <a:gd name="connsiteX237" fmla="*/ 1673382 w 2051041"/>
              <a:gd name="connsiteY237" fmla="*/ 1512807 h 2084191"/>
              <a:gd name="connsiteX238" fmla="*/ 1642909 w 2051041"/>
              <a:gd name="connsiteY238" fmla="*/ 1544370 h 2084191"/>
              <a:gd name="connsiteX239" fmla="*/ 1612435 w 2051041"/>
              <a:gd name="connsiteY239" fmla="*/ 1513351 h 2084191"/>
              <a:gd name="connsiteX240" fmla="*/ 1641820 w 2051041"/>
              <a:gd name="connsiteY240" fmla="*/ 1482334 h 2084191"/>
              <a:gd name="connsiteX241" fmla="*/ 1804529 w 2051041"/>
              <a:gd name="connsiteY241" fmla="*/ 1481788 h 2084191"/>
              <a:gd name="connsiteX242" fmla="*/ 1837180 w 2051041"/>
              <a:gd name="connsiteY242" fmla="*/ 1513351 h 2084191"/>
              <a:gd name="connsiteX243" fmla="*/ 1805617 w 2051041"/>
              <a:gd name="connsiteY243" fmla="*/ 1545457 h 2084191"/>
              <a:gd name="connsiteX244" fmla="*/ 1773511 w 2051041"/>
              <a:gd name="connsiteY244" fmla="*/ 1514983 h 2084191"/>
              <a:gd name="connsiteX245" fmla="*/ 1804529 w 2051041"/>
              <a:gd name="connsiteY245" fmla="*/ 1481788 h 2084191"/>
              <a:gd name="connsiteX246" fmla="*/ 1968870 w 2051041"/>
              <a:gd name="connsiteY246" fmla="*/ 1480700 h 2084191"/>
              <a:gd name="connsiteX247" fmla="*/ 2000977 w 2051041"/>
              <a:gd name="connsiteY247" fmla="*/ 1513351 h 2084191"/>
              <a:gd name="connsiteX248" fmla="*/ 1968870 w 2051041"/>
              <a:gd name="connsiteY248" fmla="*/ 1545457 h 2084191"/>
              <a:gd name="connsiteX249" fmla="*/ 1936764 w 2051041"/>
              <a:gd name="connsiteY249" fmla="*/ 1513351 h 2084191"/>
              <a:gd name="connsiteX250" fmla="*/ 1968870 w 2051041"/>
              <a:gd name="connsiteY250" fmla="*/ 1480700 h 2084191"/>
              <a:gd name="connsiteX251" fmla="*/ 581221 w 2051041"/>
              <a:gd name="connsiteY251" fmla="*/ 1423562 h 2084191"/>
              <a:gd name="connsiteX252" fmla="*/ 588840 w 2051041"/>
              <a:gd name="connsiteY252" fmla="*/ 1431725 h 2084191"/>
              <a:gd name="connsiteX253" fmla="*/ 581765 w 2051041"/>
              <a:gd name="connsiteY253" fmla="*/ 1443153 h 2084191"/>
              <a:gd name="connsiteX254" fmla="*/ 573059 w 2051041"/>
              <a:gd name="connsiteY254" fmla="*/ 1432813 h 2084191"/>
              <a:gd name="connsiteX255" fmla="*/ 581221 w 2051041"/>
              <a:gd name="connsiteY255" fmla="*/ 1423562 h 2084191"/>
              <a:gd name="connsiteX256" fmla="*/ 745562 w 2051041"/>
              <a:gd name="connsiteY256" fmla="*/ 1414855 h 2084191"/>
              <a:gd name="connsiteX257" fmla="*/ 761344 w 2051041"/>
              <a:gd name="connsiteY257" fmla="*/ 1432269 h 2084191"/>
              <a:gd name="connsiteX258" fmla="*/ 745018 w 2051041"/>
              <a:gd name="connsiteY258" fmla="*/ 1448050 h 2084191"/>
              <a:gd name="connsiteX259" fmla="*/ 728693 w 2051041"/>
              <a:gd name="connsiteY259" fmla="*/ 1431725 h 2084191"/>
              <a:gd name="connsiteX260" fmla="*/ 745562 w 2051041"/>
              <a:gd name="connsiteY260" fmla="*/ 1414855 h 2084191"/>
              <a:gd name="connsiteX261" fmla="*/ 908815 w 2051041"/>
              <a:gd name="connsiteY261" fmla="*/ 1409958 h 2084191"/>
              <a:gd name="connsiteX262" fmla="*/ 930038 w 2051041"/>
              <a:gd name="connsiteY262" fmla="*/ 1431725 h 2084191"/>
              <a:gd name="connsiteX263" fmla="*/ 907183 w 2051041"/>
              <a:gd name="connsiteY263" fmla="*/ 1453492 h 2084191"/>
              <a:gd name="connsiteX264" fmla="*/ 885960 w 2051041"/>
              <a:gd name="connsiteY264" fmla="*/ 1431725 h 2084191"/>
              <a:gd name="connsiteX265" fmla="*/ 908815 w 2051041"/>
              <a:gd name="connsiteY265" fmla="*/ 1409958 h 2084191"/>
              <a:gd name="connsiteX266" fmla="*/ 1070436 w 2051041"/>
              <a:gd name="connsiteY266" fmla="*/ 1406693 h 2084191"/>
              <a:gd name="connsiteX267" fmla="*/ 1096012 w 2051041"/>
              <a:gd name="connsiteY267" fmla="*/ 1432269 h 2084191"/>
              <a:gd name="connsiteX268" fmla="*/ 1070436 w 2051041"/>
              <a:gd name="connsiteY268" fmla="*/ 1457846 h 2084191"/>
              <a:gd name="connsiteX269" fmla="*/ 1045404 w 2051041"/>
              <a:gd name="connsiteY269" fmla="*/ 1431181 h 2084191"/>
              <a:gd name="connsiteX270" fmla="*/ 1070436 w 2051041"/>
              <a:gd name="connsiteY270" fmla="*/ 1406693 h 2084191"/>
              <a:gd name="connsiteX271" fmla="*/ 1235865 w 2051041"/>
              <a:gd name="connsiteY271" fmla="*/ 1404516 h 2084191"/>
              <a:gd name="connsiteX272" fmla="*/ 1261986 w 2051041"/>
              <a:gd name="connsiteY272" fmla="*/ 1433358 h 2084191"/>
              <a:gd name="connsiteX273" fmla="*/ 1233689 w 2051041"/>
              <a:gd name="connsiteY273" fmla="*/ 1459478 h 2084191"/>
              <a:gd name="connsiteX274" fmla="*/ 1206480 w 2051041"/>
              <a:gd name="connsiteY274" fmla="*/ 1432269 h 2084191"/>
              <a:gd name="connsiteX275" fmla="*/ 1235865 w 2051041"/>
              <a:gd name="connsiteY275" fmla="*/ 1404516 h 2084191"/>
              <a:gd name="connsiteX276" fmla="*/ 1397485 w 2051041"/>
              <a:gd name="connsiteY276" fmla="*/ 1400162 h 2084191"/>
              <a:gd name="connsiteX277" fmla="*/ 1427959 w 2051041"/>
              <a:gd name="connsiteY277" fmla="*/ 1431724 h 2084191"/>
              <a:gd name="connsiteX278" fmla="*/ 1398029 w 2051041"/>
              <a:gd name="connsiteY278" fmla="*/ 1463287 h 2084191"/>
              <a:gd name="connsiteX279" fmla="*/ 1366467 w 2051041"/>
              <a:gd name="connsiteY279" fmla="*/ 1432813 h 2084191"/>
              <a:gd name="connsiteX280" fmla="*/ 1397485 w 2051041"/>
              <a:gd name="connsiteY280" fmla="*/ 1400162 h 2084191"/>
              <a:gd name="connsiteX281" fmla="*/ 1561282 w 2051041"/>
              <a:gd name="connsiteY281" fmla="*/ 1399618 h 2084191"/>
              <a:gd name="connsiteX282" fmla="*/ 1593388 w 2051041"/>
              <a:gd name="connsiteY282" fmla="*/ 1432269 h 2084191"/>
              <a:gd name="connsiteX283" fmla="*/ 1560738 w 2051041"/>
              <a:gd name="connsiteY283" fmla="*/ 1464375 h 2084191"/>
              <a:gd name="connsiteX284" fmla="*/ 1528631 w 2051041"/>
              <a:gd name="connsiteY284" fmla="*/ 1432813 h 2084191"/>
              <a:gd name="connsiteX285" fmla="*/ 1561282 w 2051041"/>
              <a:gd name="connsiteY285" fmla="*/ 1399618 h 2084191"/>
              <a:gd name="connsiteX286" fmla="*/ 1723446 w 2051041"/>
              <a:gd name="connsiteY286" fmla="*/ 1399074 h 2084191"/>
              <a:gd name="connsiteX287" fmla="*/ 1757185 w 2051041"/>
              <a:gd name="connsiteY287" fmla="*/ 1432269 h 2084191"/>
              <a:gd name="connsiteX288" fmla="*/ 1723991 w 2051041"/>
              <a:gd name="connsiteY288" fmla="*/ 1465464 h 2084191"/>
              <a:gd name="connsiteX289" fmla="*/ 1691340 w 2051041"/>
              <a:gd name="connsiteY289" fmla="*/ 1433357 h 2084191"/>
              <a:gd name="connsiteX290" fmla="*/ 1723446 w 2051041"/>
              <a:gd name="connsiteY290" fmla="*/ 1399074 h 2084191"/>
              <a:gd name="connsiteX291" fmla="*/ 1886700 w 2051041"/>
              <a:gd name="connsiteY291" fmla="*/ 1398530 h 2084191"/>
              <a:gd name="connsiteX292" fmla="*/ 1920439 w 2051041"/>
              <a:gd name="connsiteY292" fmla="*/ 1432269 h 2084191"/>
              <a:gd name="connsiteX293" fmla="*/ 1887788 w 2051041"/>
              <a:gd name="connsiteY293" fmla="*/ 1464920 h 2084191"/>
              <a:gd name="connsiteX294" fmla="*/ 1854049 w 2051041"/>
              <a:gd name="connsiteY294" fmla="*/ 1433358 h 2084191"/>
              <a:gd name="connsiteX295" fmla="*/ 1886700 w 2051041"/>
              <a:gd name="connsiteY295" fmla="*/ 1398530 h 2084191"/>
              <a:gd name="connsiteX296" fmla="*/ 2051041 w 2051041"/>
              <a:gd name="connsiteY296" fmla="*/ 1398217 h 2084191"/>
              <a:gd name="connsiteX297" fmla="*/ 2051041 w 2051041"/>
              <a:gd name="connsiteY297" fmla="*/ 1464535 h 2084191"/>
              <a:gd name="connsiteX298" fmla="*/ 2049953 w 2051041"/>
              <a:gd name="connsiteY298" fmla="*/ 1464920 h 2084191"/>
              <a:gd name="connsiteX299" fmla="*/ 2017302 w 2051041"/>
              <a:gd name="connsiteY299" fmla="*/ 1431725 h 2084191"/>
              <a:gd name="connsiteX300" fmla="*/ 2027709 w 2051041"/>
              <a:gd name="connsiteY300" fmla="*/ 1408121 h 2084191"/>
              <a:gd name="connsiteX301" fmla="*/ 500139 w 2051041"/>
              <a:gd name="connsiteY301" fmla="*/ 1341936 h 2084191"/>
              <a:gd name="connsiteX302" fmla="*/ 511023 w 2051041"/>
              <a:gd name="connsiteY302" fmla="*/ 1350643 h 2084191"/>
              <a:gd name="connsiteX303" fmla="*/ 499595 w 2051041"/>
              <a:gd name="connsiteY303" fmla="*/ 1358261 h 2084191"/>
              <a:gd name="connsiteX304" fmla="*/ 491432 w 2051041"/>
              <a:gd name="connsiteY304" fmla="*/ 1349010 h 2084191"/>
              <a:gd name="connsiteX305" fmla="*/ 500139 w 2051041"/>
              <a:gd name="connsiteY305" fmla="*/ 1341936 h 2084191"/>
              <a:gd name="connsiteX306" fmla="*/ 662848 w 2051041"/>
              <a:gd name="connsiteY306" fmla="*/ 1333773 h 2084191"/>
              <a:gd name="connsiteX307" fmla="*/ 679173 w 2051041"/>
              <a:gd name="connsiteY307" fmla="*/ 1350643 h 2084191"/>
              <a:gd name="connsiteX308" fmla="*/ 662848 w 2051041"/>
              <a:gd name="connsiteY308" fmla="*/ 1366424 h 2084191"/>
              <a:gd name="connsiteX309" fmla="*/ 647067 w 2051041"/>
              <a:gd name="connsiteY309" fmla="*/ 1350098 h 2084191"/>
              <a:gd name="connsiteX310" fmla="*/ 662848 w 2051041"/>
              <a:gd name="connsiteY310" fmla="*/ 1333773 h 2084191"/>
              <a:gd name="connsiteX311" fmla="*/ 826645 w 2051041"/>
              <a:gd name="connsiteY311" fmla="*/ 1328331 h 2084191"/>
              <a:gd name="connsiteX312" fmla="*/ 847868 w 2051041"/>
              <a:gd name="connsiteY312" fmla="*/ 1350642 h 2084191"/>
              <a:gd name="connsiteX313" fmla="*/ 825556 w 2051041"/>
              <a:gd name="connsiteY313" fmla="*/ 1372409 h 2084191"/>
              <a:gd name="connsiteX314" fmla="*/ 804334 w 2051041"/>
              <a:gd name="connsiteY314" fmla="*/ 1349554 h 2084191"/>
              <a:gd name="connsiteX315" fmla="*/ 826645 w 2051041"/>
              <a:gd name="connsiteY315" fmla="*/ 1328331 h 2084191"/>
              <a:gd name="connsiteX316" fmla="*/ 989353 w 2051041"/>
              <a:gd name="connsiteY316" fmla="*/ 1323978 h 2084191"/>
              <a:gd name="connsiteX317" fmla="*/ 1015473 w 2051041"/>
              <a:gd name="connsiteY317" fmla="*/ 1350098 h 2084191"/>
              <a:gd name="connsiteX318" fmla="*/ 989353 w 2051041"/>
              <a:gd name="connsiteY318" fmla="*/ 1376763 h 2084191"/>
              <a:gd name="connsiteX319" fmla="*/ 963777 w 2051041"/>
              <a:gd name="connsiteY319" fmla="*/ 1350642 h 2084191"/>
              <a:gd name="connsiteX320" fmla="*/ 989353 w 2051041"/>
              <a:gd name="connsiteY320" fmla="*/ 1323978 h 2084191"/>
              <a:gd name="connsiteX321" fmla="*/ 1152606 w 2051041"/>
              <a:gd name="connsiteY321" fmla="*/ 1322889 h 2084191"/>
              <a:gd name="connsiteX322" fmla="*/ 1181447 w 2051041"/>
              <a:gd name="connsiteY322" fmla="*/ 1350098 h 2084191"/>
              <a:gd name="connsiteX323" fmla="*/ 1152606 w 2051041"/>
              <a:gd name="connsiteY323" fmla="*/ 1379483 h 2084191"/>
              <a:gd name="connsiteX324" fmla="*/ 1124853 w 2051041"/>
              <a:gd name="connsiteY324" fmla="*/ 1350642 h 2084191"/>
              <a:gd name="connsiteX325" fmla="*/ 1152606 w 2051041"/>
              <a:gd name="connsiteY325" fmla="*/ 1322889 h 2084191"/>
              <a:gd name="connsiteX326" fmla="*/ 1315315 w 2051041"/>
              <a:gd name="connsiteY326" fmla="*/ 1318536 h 2084191"/>
              <a:gd name="connsiteX327" fmla="*/ 1347966 w 2051041"/>
              <a:gd name="connsiteY327" fmla="*/ 1350098 h 2084191"/>
              <a:gd name="connsiteX328" fmla="*/ 1315315 w 2051041"/>
              <a:gd name="connsiteY328" fmla="*/ 1381661 h 2084191"/>
              <a:gd name="connsiteX329" fmla="*/ 1284297 w 2051041"/>
              <a:gd name="connsiteY329" fmla="*/ 1350098 h 2084191"/>
              <a:gd name="connsiteX330" fmla="*/ 1315315 w 2051041"/>
              <a:gd name="connsiteY330" fmla="*/ 1318536 h 2084191"/>
              <a:gd name="connsiteX331" fmla="*/ 1480744 w 2051041"/>
              <a:gd name="connsiteY331" fmla="*/ 1317448 h 2084191"/>
              <a:gd name="connsiteX332" fmla="*/ 1512306 w 2051041"/>
              <a:gd name="connsiteY332" fmla="*/ 1351731 h 2084191"/>
              <a:gd name="connsiteX333" fmla="*/ 1477479 w 2051041"/>
              <a:gd name="connsiteY333" fmla="*/ 1383293 h 2084191"/>
              <a:gd name="connsiteX334" fmla="*/ 1446461 w 2051041"/>
              <a:gd name="connsiteY334" fmla="*/ 1349554 h 2084191"/>
              <a:gd name="connsiteX335" fmla="*/ 1480744 w 2051041"/>
              <a:gd name="connsiteY335" fmla="*/ 1317448 h 2084191"/>
              <a:gd name="connsiteX336" fmla="*/ 1642908 w 2051041"/>
              <a:gd name="connsiteY336" fmla="*/ 1315815 h 2084191"/>
              <a:gd name="connsiteX337" fmla="*/ 1676647 w 2051041"/>
              <a:gd name="connsiteY337" fmla="*/ 1351731 h 2084191"/>
              <a:gd name="connsiteX338" fmla="*/ 1640732 w 2051041"/>
              <a:gd name="connsiteY338" fmla="*/ 1383837 h 2084191"/>
              <a:gd name="connsiteX339" fmla="*/ 1608081 w 2051041"/>
              <a:gd name="connsiteY339" fmla="*/ 1349554 h 2084191"/>
              <a:gd name="connsiteX340" fmla="*/ 1642908 w 2051041"/>
              <a:gd name="connsiteY340" fmla="*/ 1315815 h 2084191"/>
              <a:gd name="connsiteX341" fmla="*/ 1968870 w 2051041"/>
              <a:gd name="connsiteY341" fmla="*/ 1314183 h 2084191"/>
              <a:gd name="connsiteX342" fmla="*/ 2005329 w 2051041"/>
              <a:gd name="connsiteY342" fmla="*/ 1351187 h 2084191"/>
              <a:gd name="connsiteX343" fmla="*/ 1967781 w 2051041"/>
              <a:gd name="connsiteY343" fmla="*/ 1388191 h 2084191"/>
              <a:gd name="connsiteX344" fmla="*/ 1931866 w 2051041"/>
              <a:gd name="connsiteY344" fmla="*/ 1350098 h 2084191"/>
              <a:gd name="connsiteX345" fmla="*/ 1968870 w 2051041"/>
              <a:gd name="connsiteY345" fmla="*/ 1314183 h 2084191"/>
              <a:gd name="connsiteX346" fmla="*/ 1806161 w 2051041"/>
              <a:gd name="connsiteY346" fmla="*/ 1313639 h 2084191"/>
              <a:gd name="connsiteX347" fmla="*/ 1841533 w 2051041"/>
              <a:gd name="connsiteY347" fmla="*/ 1351187 h 2084191"/>
              <a:gd name="connsiteX348" fmla="*/ 1830105 w 2051041"/>
              <a:gd name="connsiteY348" fmla="*/ 1376763 h 2084191"/>
              <a:gd name="connsiteX349" fmla="*/ 1803984 w 2051041"/>
              <a:gd name="connsiteY349" fmla="*/ 1387102 h 2084191"/>
              <a:gd name="connsiteX350" fmla="*/ 1768613 w 2051041"/>
              <a:gd name="connsiteY350" fmla="*/ 1350098 h 2084191"/>
              <a:gd name="connsiteX351" fmla="*/ 1806161 w 2051041"/>
              <a:gd name="connsiteY351" fmla="*/ 1313639 h 2084191"/>
              <a:gd name="connsiteX352" fmla="*/ 419057 w 2051041"/>
              <a:gd name="connsiteY352" fmla="*/ 1262486 h 2084191"/>
              <a:gd name="connsiteX353" fmla="*/ 424499 w 2051041"/>
              <a:gd name="connsiteY353" fmla="*/ 1269016 h 2084191"/>
              <a:gd name="connsiteX354" fmla="*/ 417969 w 2051041"/>
              <a:gd name="connsiteY354" fmla="*/ 1278811 h 2084191"/>
              <a:gd name="connsiteX355" fmla="*/ 411983 w 2051041"/>
              <a:gd name="connsiteY355" fmla="*/ 1269016 h 2084191"/>
              <a:gd name="connsiteX356" fmla="*/ 419057 w 2051041"/>
              <a:gd name="connsiteY356" fmla="*/ 1262486 h 2084191"/>
              <a:gd name="connsiteX357" fmla="*/ 581221 w 2051041"/>
              <a:gd name="connsiteY357" fmla="*/ 1252147 h 2084191"/>
              <a:gd name="connsiteX358" fmla="*/ 597547 w 2051041"/>
              <a:gd name="connsiteY358" fmla="*/ 1269017 h 2084191"/>
              <a:gd name="connsiteX359" fmla="*/ 580133 w 2051041"/>
              <a:gd name="connsiteY359" fmla="*/ 1284254 h 2084191"/>
              <a:gd name="connsiteX360" fmla="*/ 564896 w 2051041"/>
              <a:gd name="connsiteY360" fmla="*/ 1268472 h 2084191"/>
              <a:gd name="connsiteX361" fmla="*/ 581221 w 2051041"/>
              <a:gd name="connsiteY361" fmla="*/ 1252147 h 2084191"/>
              <a:gd name="connsiteX362" fmla="*/ 745018 w 2051041"/>
              <a:gd name="connsiteY362" fmla="*/ 1246705 h 2084191"/>
              <a:gd name="connsiteX363" fmla="*/ 766241 w 2051041"/>
              <a:gd name="connsiteY363" fmla="*/ 1269560 h 2084191"/>
              <a:gd name="connsiteX364" fmla="*/ 744474 w 2051041"/>
              <a:gd name="connsiteY364" fmla="*/ 1290783 h 2084191"/>
              <a:gd name="connsiteX365" fmla="*/ 722707 w 2051041"/>
              <a:gd name="connsiteY365" fmla="*/ 1267928 h 2084191"/>
              <a:gd name="connsiteX366" fmla="*/ 745018 w 2051041"/>
              <a:gd name="connsiteY366" fmla="*/ 1246705 h 2084191"/>
              <a:gd name="connsiteX367" fmla="*/ 907727 w 2051041"/>
              <a:gd name="connsiteY367" fmla="*/ 1241807 h 2084191"/>
              <a:gd name="connsiteX368" fmla="*/ 933847 w 2051041"/>
              <a:gd name="connsiteY368" fmla="*/ 1269016 h 2084191"/>
              <a:gd name="connsiteX369" fmla="*/ 907183 w 2051041"/>
              <a:gd name="connsiteY369" fmla="*/ 1295136 h 2084191"/>
              <a:gd name="connsiteX370" fmla="*/ 880518 w 2051041"/>
              <a:gd name="connsiteY370" fmla="*/ 1267927 h 2084191"/>
              <a:gd name="connsiteX371" fmla="*/ 907727 w 2051041"/>
              <a:gd name="connsiteY371" fmla="*/ 1241807 h 2084191"/>
              <a:gd name="connsiteX372" fmla="*/ 1070979 w 2051041"/>
              <a:gd name="connsiteY372" fmla="*/ 1240719 h 2084191"/>
              <a:gd name="connsiteX373" fmla="*/ 1099821 w 2051041"/>
              <a:gd name="connsiteY373" fmla="*/ 1268472 h 2084191"/>
              <a:gd name="connsiteX374" fmla="*/ 1070435 w 2051041"/>
              <a:gd name="connsiteY374" fmla="*/ 1297858 h 2084191"/>
              <a:gd name="connsiteX375" fmla="*/ 1042138 w 2051041"/>
              <a:gd name="connsiteY375" fmla="*/ 1269560 h 2084191"/>
              <a:gd name="connsiteX376" fmla="*/ 1070979 w 2051041"/>
              <a:gd name="connsiteY376" fmla="*/ 1240719 h 2084191"/>
              <a:gd name="connsiteX377" fmla="*/ 1234233 w 2051041"/>
              <a:gd name="connsiteY377" fmla="*/ 1235821 h 2084191"/>
              <a:gd name="connsiteX378" fmla="*/ 1266883 w 2051041"/>
              <a:gd name="connsiteY378" fmla="*/ 1269016 h 2084191"/>
              <a:gd name="connsiteX379" fmla="*/ 1234233 w 2051041"/>
              <a:gd name="connsiteY379" fmla="*/ 1300578 h 2084191"/>
              <a:gd name="connsiteX380" fmla="*/ 1201582 w 2051041"/>
              <a:gd name="connsiteY380" fmla="*/ 1267383 h 2084191"/>
              <a:gd name="connsiteX381" fmla="*/ 1234233 w 2051041"/>
              <a:gd name="connsiteY381" fmla="*/ 1235821 h 2084191"/>
              <a:gd name="connsiteX382" fmla="*/ 1396397 w 2051041"/>
              <a:gd name="connsiteY382" fmla="*/ 1234733 h 2084191"/>
              <a:gd name="connsiteX383" fmla="*/ 1431224 w 2051041"/>
              <a:gd name="connsiteY383" fmla="*/ 1268472 h 2084191"/>
              <a:gd name="connsiteX384" fmla="*/ 1396941 w 2051041"/>
              <a:gd name="connsiteY384" fmla="*/ 1302755 h 2084191"/>
              <a:gd name="connsiteX385" fmla="*/ 1363746 w 2051041"/>
              <a:gd name="connsiteY385" fmla="*/ 1269016 h 2084191"/>
              <a:gd name="connsiteX386" fmla="*/ 1396397 w 2051041"/>
              <a:gd name="connsiteY386" fmla="*/ 1234733 h 2084191"/>
              <a:gd name="connsiteX387" fmla="*/ 1559649 w 2051041"/>
              <a:gd name="connsiteY387" fmla="*/ 1232557 h 2084191"/>
              <a:gd name="connsiteX388" fmla="*/ 1597742 w 2051041"/>
              <a:gd name="connsiteY388" fmla="*/ 1268472 h 2084191"/>
              <a:gd name="connsiteX389" fmla="*/ 1561826 w 2051041"/>
              <a:gd name="connsiteY389" fmla="*/ 1305476 h 2084191"/>
              <a:gd name="connsiteX390" fmla="*/ 1523734 w 2051041"/>
              <a:gd name="connsiteY390" fmla="*/ 1269561 h 2084191"/>
              <a:gd name="connsiteX391" fmla="*/ 1559649 w 2051041"/>
              <a:gd name="connsiteY391" fmla="*/ 1232557 h 2084191"/>
              <a:gd name="connsiteX392" fmla="*/ 1723990 w 2051041"/>
              <a:gd name="connsiteY392" fmla="*/ 1231468 h 2084191"/>
              <a:gd name="connsiteX393" fmla="*/ 1762083 w 2051041"/>
              <a:gd name="connsiteY393" fmla="*/ 1268472 h 2084191"/>
              <a:gd name="connsiteX394" fmla="*/ 1724535 w 2051041"/>
              <a:gd name="connsiteY394" fmla="*/ 1307109 h 2084191"/>
              <a:gd name="connsiteX395" fmla="*/ 1686442 w 2051041"/>
              <a:gd name="connsiteY395" fmla="*/ 1270105 h 2084191"/>
              <a:gd name="connsiteX396" fmla="*/ 1723990 w 2051041"/>
              <a:gd name="connsiteY396" fmla="*/ 1231468 h 2084191"/>
              <a:gd name="connsiteX397" fmla="*/ 1888332 w 2051041"/>
              <a:gd name="connsiteY397" fmla="*/ 1230924 h 2084191"/>
              <a:gd name="connsiteX398" fmla="*/ 1925336 w 2051041"/>
              <a:gd name="connsiteY398" fmla="*/ 1269561 h 2084191"/>
              <a:gd name="connsiteX399" fmla="*/ 1887243 w 2051041"/>
              <a:gd name="connsiteY399" fmla="*/ 1307653 h 2084191"/>
              <a:gd name="connsiteX400" fmla="*/ 1849151 w 2051041"/>
              <a:gd name="connsiteY400" fmla="*/ 1267928 h 2084191"/>
              <a:gd name="connsiteX401" fmla="*/ 1888332 w 2051041"/>
              <a:gd name="connsiteY401" fmla="*/ 1230924 h 2084191"/>
              <a:gd name="connsiteX402" fmla="*/ 2049952 w 2051041"/>
              <a:gd name="connsiteY402" fmla="*/ 1230380 h 2084191"/>
              <a:gd name="connsiteX403" fmla="*/ 2051041 w 2051041"/>
              <a:gd name="connsiteY403" fmla="*/ 1230805 h 2084191"/>
              <a:gd name="connsiteX404" fmla="*/ 2051041 w 2051041"/>
              <a:gd name="connsiteY404" fmla="*/ 1307109 h 2084191"/>
              <a:gd name="connsiteX405" fmla="*/ 2012404 w 2051041"/>
              <a:gd name="connsiteY405" fmla="*/ 1268472 h 2084191"/>
              <a:gd name="connsiteX406" fmla="*/ 2049952 w 2051041"/>
              <a:gd name="connsiteY406" fmla="*/ 1230380 h 2084191"/>
              <a:gd name="connsiteX407" fmla="*/ 337431 w 2051041"/>
              <a:gd name="connsiteY407" fmla="*/ 1181404 h 2084191"/>
              <a:gd name="connsiteX408" fmla="*/ 345050 w 2051041"/>
              <a:gd name="connsiteY408" fmla="*/ 1187934 h 2084191"/>
              <a:gd name="connsiteX409" fmla="*/ 336343 w 2051041"/>
              <a:gd name="connsiteY409" fmla="*/ 1192288 h 2084191"/>
              <a:gd name="connsiteX410" fmla="*/ 330901 w 2051041"/>
              <a:gd name="connsiteY410" fmla="*/ 1185758 h 2084191"/>
              <a:gd name="connsiteX411" fmla="*/ 337431 w 2051041"/>
              <a:gd name="connsiteY411" fmla="*/ 1181404 h 2084191"/>
              <a:gd name="connsiteX412" fmla="*/ 499051 w 2051041"/>
              <a:gd name="connsiteY412" fmla="*/ 1171065 h 2084191"/>
              <a:gd name="connsiteX413" fmla="*/ 516465 w 2051041"/>
              <a:gd name="connsiteY413" fmla="*/ 1187390 h 2084191"/>
              <a:gd name="connsiteX414" fmla="*/ 500140 w 2051041"/>
              <a:gd name="connsiteY414" fmla="*/ 1202627 h 2084191"/>
              <a:gd name="connsiteX415" fmla="*/ 483814 w 2051041"/>
              <a:gd name="connsiteY415" fmla="*/ 1187390 h 2084191"/>
              <a:gd name="connsiteX416" fmla="*/ 499051 w 2051041"/>
              <a:gd name="connsiteY416" fmla="*/ 1171065 h 2084191"/>
              <a:gd name="connsiteX417" fmla="*/ 662848 w 2051041"/>
              <a:gd name="connsiteY417" fmla="*/ 1165623 h 2084191"/>
              <a:gd name="connsiteX418" fmla="*/ 684615 w 2051041"/>
              <a:gd name="connsiteY418" fmla="*/ 1187390 h 2084191"/>
              <a:gd name="connsiteX419" fmla="*/ 662848 w 2051041"/>
              <a:gd name="connsiteY419" fmla="*/ 1209157 h 2084191"/>
              <a:gd name="connsiteX420" fmla="*/ 641081 w 2051041"/>
              <a:gd name="connsiteY420" fmla="*/ 1186846 h 2084191"/>
              <a:gd name="connsiteX421" fmla="*/ 662848 w 2051041"/>
              <a:gd name="connsiteY421" fmla="*/ 1165623 h 2084191"/>
              <a:gd name="connsiteX422" fmla="*/ 825556 w 2051041"/>
              <a:gd name="connsiteY422" fmla="*/ 1160725 h 2084191"/>
              <a:gd name="connsiteX423" fmla="*/ 852765 w 2051041"/>
              <a:gd name="connsiteY423" fmla="*/ 1186846 h 2084191"/>
              <a:gd name="connsiteX424" fmla="*/ 826645 w 2051041"/>
              <a:gd name="connsiteY424" fmla="*/ 1213511 h 2084191"/>
              <a:gd name="connsiteX425" fmla="*/ 798892 w 2051041"/>
              <a:gd name="connsiteY425" fmla="*/ 1188479 h 2084191"/>
              <a:gd name="connsiteX426" fmla="*/ 825556 w 2051041"/>
              <a:gd name="connsiteY426" fmla="*/ 1160725 h 2084191"/>
              <a:gd name="connsiteX427" fmla="*/ 989353 w 2051041"/>
              <a:gd name="connsiteY427" fmla="*/ 1158004 h 2084191"/>
              <a:gd name="connsiteX428" fmla="*/ 1018195 w 2051041"/>
              <a:gd name="connsiteY428" fmla="*/ 1187934 h 2084191"/>
              <a:gd name="connsiteX429" fmla="*/ 988809 w 2051041"/>
              <a:gd name="connsiteY429" fmla="*/ 1216775 h 2084191"/>
              <a:gd name="connsiteX430" fmla="*/ 959968 w 2051041"/>
              <a:gd name="connsiteY430" fmla="*/ 1187934 h 2084191"/>
              <a:gd name="connsiteX431" fmla="*/ 989353 w 2051041"/>
              <a:gd name="connsiteY431" fmla="*/ 1158004 h 2084191"/>
              <a:gd name="connsiteX432" fmla="*/ 1152062 w 2051041"/>
              <a:gd name="connsiteY432" fmla="*/ 1153651 h 2084191"/>
              <a:gd name="connsiteX433" fmla="*/ 1185801 w 2051041"/>
              <a:gd name="connsiteY433" fmla="*/ 1186301 h 2084191"/>
              <a:gd name="connsiteX434" fmla="*/ 1153150 w 2051041"/>
              <a:gd name="connsiteY434" fmla="*/ 1219496 h 2084191"/>
              <a:gd name="connsiteX435" fmla="*/ 1119956 w 2051041"/>
              <a:gd name="connsiteY435" fmla="*/ 1187390 h 2084191"/>
              <a:gd name="connsiteX436" fmla="*/ 1152062 w 2051041"/>
              <a:gd name="connsiteY436" fmla="*/ 1153651 h 2084191"/>
              <a:gd name="connsiteX437" fmla="*/ 1315315 w 2051041"/>
              <a:gd name="connsiteY437" fmla="*/ 1152018 h 2084191"/>
              <a:gd name="connsiteX438" fmla="*/ 1351230 w 2051041"/>
              <a:gd name="connsiteY438" fmla="*/ 1186845 h 2084191"/>
              <a:gd name="connsiteX439" fmla="*/ 1315859 w 2051041"/>
              <a:gd name="connsiteY439" fmla="*/ 1221673 h 2084191"/>
              <a:gd name="connsiteX440" fmla="*/ 1281576 w 2051041"/>
              <a:gd name="connsiteY440" fmla="*/ 1187390 h 2084191"/>
              <a:gd name="connsiteX441" fmla="*/ 1315315 w 2051041"/>
              <a:gd name="connsiteY441" fmla="*/ 1152018 h 2084191"/>
              <a:gd name="connsiteX442" fmla="*/ 1479656 w 2051041"/>
              <a:gd name="connsiteY442" fmla="*/ 1149298 h 2084191"/>
              <a:gd name="connsiteX443" fmla="*/ 1516660 w 2051041"/>
              <a:gd name="connsiteY443" fmla="*/ 1188479 h 2084191"/>
              <a:gd name="connsiteX444" fmla="*/ 1478023 w 2051041"/>
              <a:gd name="connsiteY444" fmla="*/ 1224394 h 2084191"/>
              <a:gd name="connsiteX445" fmla="*/ 1441563 w 2051041"/>
              <a:gd name="connsiteY445" fmla="*/ 1185758 h 2084191"/>
              <a:gd name="connsiteX446" fmla="*/ 1479656 w 2051041"/>
              <a:gd name="connsiteY446" fmla="*/ 1149298 h 2084191"/>
              <a:gd name="connsiteX447" fmla="*/ 1642365 w 2051041"/>
              <a:gd name="connsiteY447" fmla="*/ 1148209 h 2084191"/>
              <a:gd name="connsiteX448" fmla="*/ 1681001 w 2051041"/>
              <a:gd name="connsiteY448" fmla="*/ 1187390 h 2084191"/>
              <a:gd name="connsiteX449" fmla="*/ 1641821 w 2051041"/>
              <a:gd name="connsiteY449" fmla="*/ 1226026 h 2084191"/>
              <a:gd name="connsiteX450" fmla="*/ 1603728 w 2051041"/>
              <a:gd name="connsiteY450" fmla="*/ 1186846 h 2084191"/>
              <a:gd name="connsiteX451" fmla="*/ 1642365 w 2051041"/>
              <a:gd name="connsiteY451" fmla="*/ 1148209 h 2084191"/>
              <a:gd name="connsiteX452" fmla="*/ 1969414 w 2051041"/>
              <a:gd name="connsiteY452" fmla="*/ 1147665 h 2084191"/>
              <a:gd name="connsiteX453" fmla="*/ 2009139 w 2051041"/>
              <a:gd name="connsiteY453" fmla="*/ 1187934 h 2084191"/>
              <a:gd name="connsiteX454" fmla="*/ 1968870 w 2051041"/>
              <a:gd name="connsiteY454" fmla="*/ 1227114 h 2084191"/>
              <a:gd name="connsiteX455" fmla="*/ 1929145 w 2051041"/>
              <a:gd name="connsiteY455" fmla="*/ 1186301 h 2084191"/>
              <a:gd name="connsiteX456" fmla="*/ 1969414 w 2051041"/>
              <a:gd name="connsiteY456" fmla="*/ 1147665 h 2084191"/>
              <a:gd name="connsiteX457" fmla="*/ 1805617 w 2051041"/>
              <a:gd name="connsiteY457" fmla="*/ 1147665 h 2084191"/>
              <a:gd name="connsiteX458" fmla="*/ 1844798 w 2051041"/>
              <a:gd name="connsiteY458" fmla="*/ 1187934 h 2084191"/>
              <a:gd name="connsiteX459" fmla="*/ 1805073 w 2051041"/>
              <a:gd name="connsiteY459" fmla="*/ 1226571 h 2084191"/>
              <a:gd name="connsiteX460" fmla="*/ 1766981 w 2051041"/>
              <a:gd name="connsiteY460" fmla="*/ 1186845 h 2084191"/>
              <a:gd name="connsiteX461" fmla="*/ 1805617 w 2051041"/>
              <a:gd name="connsiteY461" fmla="*/ 1147665 h 2084191"/>
              <a:gd name="connsiteX462" fmla="*/ 417425 w 2051041"/>
              <a:gd name="connsiteY462" fmla="*/ 1090527 h 2084191"/>
              <a:gd name="connsiteX463" fmla="*/ 432662 w 2051041"/>
              <a:gd name="connsiteY463" fmla="*/ 1105764 h 2084191"/>
              <a:gd name="connsiteX464" fmla="*/ 417969 w 2051041"/>
              <a:gd name="connsiteY464" fmla="*/ 1120457 h 2084191"/>
              <a:gd name="connsiteX465" fmla="*/ 402732 w 2051041"/>
              <a:gd name="connsiteY465" fmla="*/ 1105219 h 2084191"/>
              <a:gd name="connsiteX466" fmla="*/ 417425 w 2051041"/>
              <a:gd name="connsiteY466" fmla="*/ 1090527 h 2084191"/>
              <a:gd name="connsiteX467" fmla="*/ 580677 w 2051041"/>
              <a:gd name="connsiteY467" fmla="*/ 1083996 h 2084191"/>
              <a:gd name="connsiteX468" fmla="*/ 602444 w 2051041"/>
              <a:gd name="connsiteY468" fmla="*/ 1105219 h 2084191"/>
              <a:gd name="connsiteX469" fmla="*/ 581221 w 2051041"/>
              <a:gd name="connsiteY469" fmla="*/ 1127530 h 2084191"/>
              <a:gd name="connsiteX470" fmla="*/ 558910 w 2051041"/>
              <a:gd name="connsiteY470" fmla="*/ 1105219 h 2084191"/>
              <a:gd name="connsiteX471" fmla="*/ 580677 w 2051041"/>
              <a:gd name="connsiteY471" fmla="*/ 1083996 h 2084191"/>
              <a:gd name="connsiteX472" fmla="*/ 743386 w 2051041"/>
              <a:gd name="connsiteY472" fmla="*/ 1079099 h 2084191"/>
              <a:gd name="connsiteX473" fmla="*/ 770595 w 2051041"/>
              <a:gd name="connsiteY473" fmla="*/ 1105219 h 2084191"/>
              <a:gd name="connsiteX474" fmla="*/ 745019 w 2051041"/>
              <a:gd name="connsiteY474" fmla="*/ 1132428 h 2084191"/>
              <a:gd name="connsiteX475" fmla="*/ 717810 w 2051041"/>
              <a:gd name="connsiteY475" fmla="*/ 1106308 h 2084191"/>
              <a:gd name="connsiteX476" fmla="*/ 743386 w 2051041"/>
              <a:gd name="connsiteY476" fmla="*/ 1079099 h 2084191"/>
              <a:gd name="connsiteX477" fmla="*/ 907727 w 2051041"/>
              <a:gd name="connsiteY477" fmla="*/ 1076378 h 2084191"/>
              <a:gd name="connsiteX478" fmla="*/ 937112 w 2051041"/>
              <a:gd name="connsiteY478" fmla="*/ 1105219 h 2084191"/>
              <a:gd name="connsiteX479" fmla="*/ 908271 w 2051041"/>
              <a:gd name="connsiteY479" fmla="*/ 1134061 h 2084191"/>
              <a:gd name="connsiteX480" fmla="*/ 878885 w 2051041"/>
              <a:gd name="connsiteY480" fmla="*/ 1105764 h 2084191"/>
              <a:gd name="connsiteX481" fmla="*/ 907727 w 2051041"/>
              <a:gd name="connsiteY481" fmla="*/ 1076378 h 2084191"/>
              <a:gd name="connsiteX482" fmla="*/ 1071524 w 2051041"/>
              <a:gd name="connsiteY482" fmla="*/ 1072569 h 2084191"/>
              <a:gd name="connsiteX483" fmla="*/ 1104174 w 2051041"/>
              <a:gd name="connsiteY483" fmla="*/ 1105220 h 2084191"/>
              <a:gd name="connsiteX484" fmla="*/ 1070435 w 2051041"/>
              <a:gd name="connsiteY484" fmla="*/ 1137870 h 2084191"/>
              <a:gd name="connsiteX485" fmla="*/ 1038329 w 2051041"/>
              <a:gd name="connsiteY485" fmla="*/ 1105764 h 2084191"/>
              <a:gd name="connsiteX486" fmla="*/ 1071524 w 2051041"/>
              <a:gd name="connsiteY486" fmla="*/ 1072569 h 2084191"/>
              <a:gd name="connsiteX487" fmla="*/ 1235865 w 2051041"/>
              <a:gd name="connsiteY487" fmla="*/ 1068760 h 2084191"/>
              <a:gd name="connsiteX488" fmla="*/ 1271237 w 2051041"/>
              <a:gd name="connsiteY488" fmla="*/ 1106852 h 2084191"/>
              <a:gd name="connsiteX489" fmla="*/ 1234777 w 2051041"/>
              <a:gd name="connsiteY489" fmla="*/ 1142223 h 2084191"/>
              <a:gd name="connsiteX490" fmla="*/ 1198861 w 2051041"/>
              <a:gd name="connsiteY490" fmla="*/ 1105219 h 2084191"/>
              <a:gd name="connsiteX491" fmla="*/ 1235865 w 2051041"/>
              <a:gd name="connsiteY491" fmla="*/ 1068760 h 2084191"/>
              <a:gd name="connsiteX492" fmla="*/ 1396397 w 2051041"/>
              <a:gd name="connsiteY492" fmla="*/ 1067127 h 2084191"/>
              <a:gd name="connsiteX493" fmla="*/ 1435578 w 2051041"/>
              <a:gd name="connsiteY493" fmla="*/ 1105219 h 2084191"/>
              <a:gd name="connsiteX494" fmla="*/ 1396941 w 2051041"/>
              <a:gd name="connsiteY494" fmla="*/ 1143856 h 2084191"/>
              <a:gd name="connsiteX495" fmla="*/ 1358849 w 2051041"/>
              <a:gd name="connsiteY495" fmla="*/ 1105763 h 2084191"/>
              <a:gd name="connsiteX496" fmla="*/ 1396397 w 2051041"/>
              <a:gd name="connsiteY496" fmla="*/ 1067127 h 2084191"/>
              <a:gd name="connsiteX497" fmla="*/ 1560738 w 2051041"/>
              <a:gd name="connsiteY497" fmla="*/ 1066582 h 2084191"/>
              <a:gd name="connsiteX498" fmla="*/ 1599919 w 2051041"/>
              <a:gd name="connsiteY498" fmla="*/ 1105763 h 2084191"/>
              <a:gd name="connsiteX499" fmla="*/ 1560738 w 2051041"/>
              <a:gd name="connsiteY499" fmla="*/ 1144400 h 2084191"/>
              <a:gd name="connsiteX500" fmla="*/ 1521013 w 2051041"/>
              <a:gd name="connsiteY500" fmla="*/ 1105763 h 2084191"/>
              <a:gd name="connsiteX501" fmla="*/ 1560738 w 2051041"/>
              <a:gd name="connsiteY501" fmla="*/ 1066582 h 2084191"/>
              <a:gd name="connsiteX502" fmla="*/ 1723447 w 2051041"/>
              <a:gd name="connsiteY502" fmla="*/ 1064406 h 2084191"/>
              <a:gd name="connsiteX503" fmla="*/ 1764260 w 2051041"/>
              <a:gd name="connsiteY503" fmla="*/ 1104675 h 2084191"/>
              <a:gd name="connsiteX504" fmla="*/ 1724535 w 2051041"/>
              <a:gd name="connsiteY504" fmla="*/ 1146032 h 2084191"/>
              <a:gd name="connsiteX505" fmla="*/ 1683178 w 2051041"/>
              <a:gd name="connsiteY505" fmla="*/ 1105764 h 2084191"/>
              <a:gd name="connsiteX506" fmla="*/ 1723447 w 2051041"/>
              <a:gd name="connsiteY506" fmla="*/ 1064406 h 2084191"/>
              <a:gd name="connsiteX507" fmla="*/ 2051041 w 2051041"/>
              <a:gd name="connsiteY507" fmla="*/ 1063318 h 2084191"/>
              <a:gd name="connsiteX508" fmla="*/ 2051041 w 2051041"/>
              <a:gd name="connsiteY508" fmla="*/ 1147740 h 2084191"/>
              <a:gd name="connsiteX509" fmla="*/ 2049952 w 2051041"/>
              <a:gd name="connsiteY509" fmla="*/ 1148210 h 2084191"/>
              <a:gd name="connsiteX510" fmla="*/ 2008051 w 2051041"/>
              <a:gd name="connsiteY510" fmla="*/ 1105764 h 2084191"/>
              <a:gd name="connsiteX511" fmla="*/ 2051041 w 2051041"/>
              <a:gd name="connsiteY511" fmla="*/ 1063318 h 2084191"/>
              <a:gd name="connsiteX512" fmla="*/ 1887787 w 2051041"/>
              <a:gd name="connsiteY512" fmla="*/ 1062773 h 2084191"/>
              <a:gd name="connsiteX513" fmla="*/ 1929145 w 2051041"/>
              <a:gd name="connsiteY513" fmla="*/ 1105763 h 2084191"/>
              <a:gd name="connsiteX514" fmla="*/ 1886699 w 2051041"/>
              <a:gd name="connsiteY514" fmla="*/ 1147665 h 2084191"/>
              <a:gd name="connsiteX515" fmla="*/ 1844798 w 2051041"/>
              <a:gd name="connsiteY515" fmla="*/ 1105219 h 2084191"/>
              <a:gd name="connsiteX516" fmla="*/ 1887787 w 2051041"/>
              <a:gd name="connsiteY516" fmla="*/ 1062773 h 2084191"/>
              <a:gd name="connsiteX517" fmla="*/ 335798 w 2051041"/>
              <a:gd name="connsiteY517" fmla="*/ 1011621 h 2084191"/>
              <a:gd name="connsiteX518" fmla="*/ 348314 w 2051041"/>
              <a:gd name="connsiteY518" fmla="*/ 1023049 h 2084191"/>
              <a:gd name="connsiteX519" fmla="*/ 336886 w 2051041"/>
              <a:gd name="connsiteY519" fmla="*/ 1036109 h 2084191"/>
              <a:gd name="connsiteX520" fmla="*/ 324370 w 2051041"/>
              <a:gd name="connsiteY520" fmla="*/ 1024681 h 2084191"/>
              <a:gd name="connsiteX521" fmla="*/ 335798 w 2051041"/>
              <a:gd name="connsiteY521" fmla="*/ 1011621 h 2084191"/>
              <a:gd name="connsiteX522" fmla="*/ 499051 w 2051041"/>
              <a:gd name="connsiteY522" fmla="*/ 1002914 h 2084191"/>
              <a:gd name="connsiteX523" fmla="*/ 520818 w 2051041"/>
              <a:gd name="connsiteY523" fmla="*/ 1024137 h 2084191"/>
              <a:gd name="connsiteX524" fmla="*/ 499595 w 2051041"/>
              <a:gd name="connsiteY524" fmla="*/ 1045360 h 2084191"/>
              <a:gd name="connsiteX525" fmla="*/ 478372 w 2051041"/>
              <a:gd name="connsiteY525" fmla="*/ 1024137 h 2084191"/>
              <a:gd name="connsiteX526" fmla="*/ 499051 w 2051041"/>
              <a:gd name="connsiteY526" fmla="*/ 1002914 h 2084191"/>
              <a:gd name="connsiteX527" fmla="*/ 663392 w 2051041"/>
              <a:gd name="connsiteY527" fmla="*/ 997473 h 2084191"/>
              <a:gd name="connsiteX528" fmla="*/ 688424 w 2051041"/>
              <a:gd name="connsiteY528" fmla="*/ 1024138 h 2084191"/>
              <a:gd name="connsiteX529" fmla="*/ 661759 w 2051041"/>
              <a:gd name="connsiteY529" fmla="*/ 1050258 h 2084191"/>
              <a:gd name="connsiteX530" fmla="*/ 636727 w 2051041"/>
              <a:gd name="connsiteY530" fmla="*/ 1023593 h 2084191"/>
              <a:gd name="connsiteX531" fmla="*/ 663392 w 2051041"/>
              <a:gd name="connsiteY531" fmla="*/ 997473 h 2084191"/>
              <a:gd name="connsiteX532" fmla="*/ 826645 w 2051041"/>
              <a:gd name="connsiteY532" fmla="*/ 995840 h 2084191"/>
              <a:gd name="connsiteX533" fmla="*/ 854942 w 2051041"/>
              <a:gd name="connsiteY533" fmla="*/ 1024137 h 2084191"/>
              <a:gd name="connsiteX534" fmla="*/ 825557 w 2051041"/>
              <a:gd name="connsiteY534" fmla="*/ 1052978 h 2084191"/>
              <a:gd name="connsiteX535" fmla="*/ 797260 w 2051041"/>
              <a:gd name="connsiteY535" fmla="*/ 1023593 h 2084191"/>
              <a:gd name="connsiteX536" fmla="*/ 826645 w 2051041"/>
              <a:gd name="connsiteY536" fmla="*/ 995840 h 2084191"/>
              <a:gd name="connsiteX537" fmla="*/ 990441 w 2051041"/>
              <a:gd name="connsiteY537" fmla="*/ 990942 h 2084191"/>
              <a:gd name="connsiteX538" fmla="*/ 1022548 w 2051041"/>
              <a:gd name="connsiteY538" fmla="*/ 1025225 h 2084191"/>
              <a:gd name="connsiteX539" fmla="*/ 988809 w 2051041"/>
              <a:gd name="connsiteY539" fmla="*/ 1056787 h 2084191"/>
              <a:gd name="connsiteX540" fmla="*/ 956702 w 2051041"/>
              <a:gd name="connsiteY540" fmla="*/ 1023593 h 2084191"/>
              <a:gd name="connsiteX541" fmla="*/ 990441 w 2051041"/>
              <a:gd name="connsiteY541" fmla="*/ 990942 h 2084191"/>
              <a:gd name="connsiteX542" fmla="*/ 1150974 w 2051041"/>
              <a:gd name="connsiteY542" fmla="*/ 987678 h 2084191"/>
              <a:gd name="connsiteX543" fmla="*/ 1189610 w 2051041"/>
              <a:gd name="connsiteY543" fmla="*/ 1023593 h 2084191"/>
              <a:gd name="connsiteX544" fmla="*/ 1152062 w 2051041"/>
              <a:gd name="connsiteY544" fmla="*/ 1061685 h 2084191"/>
              <a:gd name="connsiteX545" fmla="*/ 1115058 w 2051041"/>
              <a:gd name="connsiteY545" fmla="*/ 1024682 h 2084191"/>
              <a:gd name="connsiteX546" fmla="*/ 1150974 w 2051041"/>
              <a:gd name="connsiteY546" fmla="*/ 987678 h 2084191"/>
              <a:gd name="connsiteX547" fmla="*/ 1315314 w 2051041"/>
              <a:gd name="connsiteY547" fmla="*/ 985501 h 2084191"/>
              <a:gd name="connsiteX548" fmla="*/ 1354495 w 2051041"/>
              <a:gd name="connsiteY548" fmla="*/ 1023593 h 2084191"/>
              <a:gd name="connsiteX549" fmla="*/ 1315858 w 2051041"/>
              <a:gd name="connsiteY549" fmla="*/ 1062230 h 2084191"/>
              <a:gd name="connsiteX550" fmla="*/ 1277222 w 2051041"/>
              <a:gd name="connsiteY550" fmla="*/ 1024137 h 2084191"/>
              <a:gd name="connsiteX551" fmla="*/ 1315314 w 2051041"/>
              <a:gd name="connsiteY551" fmla="*/ 985501 h 2084191"/>
              <a:gd name="connsiteX552" fmla="*/ 1479656 w 2051041"/>
              <a:gd name="connsiteY552" fmla="*/ 984412 h 2084191"/>
              <a:gd name="connsiteX553" fmla="*/ 1519380 w 2051041"/>
              <a:gd name="connsiteY553" fmla="*/ 1025225 h 2084191"/>
              <a:gd name="connsiteX554" fmla="*/ 1478567 w 2051041"/>
              <a:gd name="connsiteY554" fmla="*/ 1063318 h 2084191"/>
              <a:gd name="connsiteX555" fmla="*/ 1439387 w 2051041"/>
              <a:gd name="connsiteY555" fmla="*/ 1023593 h 2084191"/>
              <a:gd name="connsiteX556" fmla="*/ 1479656 w 2051041"/>
              <a:gd name="connsiteY556" fmla="*/ 984412 h 2084191"/>
              <a:gd name="connsiteX557" fmla="*/ 1641820 w 2051041"/>
              <a:gd name="connsiteY557" fmla="*/ 981691 h 2084191"/>
              <a:gd name="connsiteX558" fmla="*/ 1684810 w 2051041"/>
              <a:gd name="connsiteY558" fmla="*/ 1023592 h 2084191"/>
              <a:gd name="connsiteX559" fmla="*/ 1642909 w 2051041"/>
              <a:gd name="connsiteY559" fmla="*/ 1066038 h 2084191"/>
              <a:gd name="connsiteX560" fmla="*/ 1599919 w 2051041"/>
              <a:gd name="connsiteY560" fmla="*/ 1023592 h 2084191"/>
              <a:gd name="connsiteX561" fmla="*/ 1641820 w 2051041"/>
              <a:gd name="connsiteY561" fmla="*/ 981691 h 2084191"/>
              <a:gd name="connsiteX562" fmla="*/ 1806161 w 2051041"/>
              <a:gd name="connsiteY562" fmla="*/ 980603 h 2084191"/>
              <a:gd name="connsiteX563" fmla="*/ 1849151 w 2051041"/>
              <a:gd name="connsiteY563" fmla="*/ 1023592 h 2084191"/>
              <a:gd name="connsiteX564" fmla="*/ 1805617 w 2051041"/>
              <a:gd name="connsiteY564" fmla="*/ 1067127 h 2084191"/>
              <a:gd name="connsiteX565" fmla="*/ 1762083 w 2051041"/>
              <a:gd name="connsiteY565" fmla="*/ 1023592 h 2084191"/>
              <a:gd name="connsiteX566" fmla="*/ 1806161 w 2051041"/>
              <a:gd name="connsiteY566" fmla="*/ 980603 h 2084191"/>
              <a:gd name="connsiteX567" fmla="*/ 1969414 w 2051041"/>
              <a:gd name="connsiteY567" fmla="*/ 980059 h 2084191"/>
              <a:gd name="connsiteX568" fmla="*/ 2012404 w 2051041"/>
              <a:gd name="connsiteY568" fmla="*/ 1024137 h 2084191"/>
              <a:gd name="connsiteX569" fmla="*/ 1968870 w 2051041"/>
              <a:gd name="connsiteY569" fmla="*/ 1067127 h 2084191"/>
              <a:gd name="connsiteX570" fmla="*/ 1924792 w 2051041"/>
              <a:gd name="connsiteY570" fmla="*/ 1024137 h 2084191"/>
              <a:gd name="connsiteX571" fmla="*/ 1969414 w 2051041"/>
              <a:gd name="connsiteY571" fmla="*/ 980059 h 2084191"/>
              <a:gd name="connsiteX572" fmla="*/ 254171 w 2051041"/>
              <a:gd name="connsiteY572" fmla="*/ 931083 h 2084191"/>
              <a:gd name="connsiteX573" fmla="*/ 265599 w 2051041"/>
              <a:gd name="connsiteY573" fmla="*/ 941967 h 2084191"/>
              <a:gd name="connsiteX574" fmla="*/ 254171 w 2051041"/>
              <a:gd name="connsiteY574" fmla="*/ 952850 h 2084191"/>
              <a:gd name="connsiteX575" fmla="*/ 243832 w 2051041"/>
              <a:gd name="connsiteY575" fmla="*/ 941967 h 2084191"/>
              <a:gd name="connsiteX576" fmla="*/ 254171 w 2051041"/>
              <a:gd name="connsiteY576" fmla="*/ 931083 h 2084191"/>
              <a:gd name="connsiteX577" fmla="*/ 417968 w 2051041"/>
              <a:gd name="connsiteY577" fmla="*/ 922377 h 2084191"/>
              <a:gd name="connsiteX578" fmla="*/ 437559 w 2051041"/>
              <a:gd name="connsiteY578" fmla="*/ 942511 h 2084191"/>
              <a:gd name="connsiteX579" fmla="*/ 417968 w 2051041"/>
              <a:gd name="connsiteY579" fmla="*/ 961557 h 2084191"/>
              <a:gd name="connsiteX580" fmla="*/ 397834 w 2051041"/>
              <a:gd name="connsiteY580" fmla="*/ 941423 h 2084191"/>
              <a:gd name="connsiteX581" fmla="*/ 417968 w 2051041"/>
              <a:gd name="connsiteY581" fmla="*/ 922377 h 2084191"/>
              <a:gd name="connsiteX582" fmla="*/ 581222 w 2051041"/>
              <a:gd name="connsiteY582" fmla="*/ 916934 h 2084191"/>
              <a:gd name="connsiteX583" fmla="*/ 606798 w 2051041"/>
              <a:gd name="connsiteY583" fmla="*/ 943054 h 2084191"/>
              <a:gd name="connsiteX584" fmla="*/ 581222 w 2051041"/>
              <a:gd name="connsiteY584" fmla="*/ 967542 h 2084191"/>
              <a:gd name="connsiteX585" fmla="*/ 556190 w 2051041"/>
              <a:gd name="connsiteY585" fmla="*/ 943054 h 2084191"/>
              <a:gd name="connsiteX586" fmla="*/ 581222 w 2051041"/>
              <a:gd name="connsiteY586" fmla="*/ 916934 h 2084191"/>
              <a:gd name="connsiteX587" fmla="*/ 744474 w 2051041"/>
              <a:gd name="connsiteY587" fmla="*/ 913669 h 2084191"/>
              <a:gd name="connsiteX588" fmla="*/ 773315 w 2051041"/>
              <a:gd name="connsiteY588" fmla="*/ 942510 h 2084191"/>
              <a:gd name="connsiteX589" fmla="*/ 743930 w 2051041"/>
              <a:gd name="connsiteY589" fmla="*/ 970807 h 2084191"/>
              <a:gd name="connsiteX590" fmla="*/ 716177 w 2051041"/>
              <a:gd name="connsiteY590" fmla="*/ 941966 h 2084191"/>
              <a:gd name="connsiteX591" fmla="*/ 744474 w 2051041"/>
              <a:gd name="connsiteY591" fmla="*/ 913669 h 2084191"/>
              <a:gd name="connsiteX592" fmla="*/ 908271 w 2051041"/>
              <a:gd name="connsiteY592" fmla="*/ 908772 h 2084191"/>
              <a:gd name="connsiteX593" fmla="*/ 940377 w 2051041"/>
              <a:gd name="connsiteY593" fmla="*/ 944144 h 2084191"/>
              <a:gd name="connsiteX594" fmla="*/ 906094 w 2051041"/>
              <a:gd name="connsiteY594" fmla="*/ 975162 h 2084191"/>
              <a:gd name="connsiteX595" fmla="*/ 874532 w 2051041"/>
              <a:gd name="connsiteY595" fmla="*/ 940879 h 2084191"/>
              <a:gd name="connsiteX596" fmla="*/ 908271 w 2051041"/>
              <a:gd name="connsiteY596" fmla="*/ 908772 h 2084191"/>
              <a:gd name="connsiteX597" fmla="*/ 1072068 w 2051041"/>
              <a:gd name="connsiteY597" fmla="*/ 906051 h 2084191"/>
              <a:gd name="connsiteX598" fmla="*/ 1107984 w 2051041"/>
              <a:gd name="connsiteY598" fmla="*/ 942511 h 2084191"/>
              <a:gd name="connsiteX599" fmla="*/ 1070980 w 2051041"/>
              <a:gd name="connsiteY599" fmla="*/ 979515 h 2084191"/>
              <a:gd name="connsiteX600" fmla="*/ 1034520 w 2051041"/>
              <a:gd name="connsiteY600" fmla="*/ 942511 h 2084191"/>
              <a:gd name="connsiteX601" fmla="*/ 1072068 w 2051041"/>
              <a:gd name="connsiteY601" fmla="*/ 906051 h 2084191"/>
              <a:gd name="connsiteX602" fmla="*/ 1235321 w 2051041"/>
              <a:gd name="connsiteY602" fmla="*/ 903874 h 2084191"/>
              <a:gd name="connsiteX603" fmla="*/ 1272325 w 2051041"/>
              <a:gd name="connsiteY603" fmla="*/ 943054 h 2084191"/>
              <a:gd name="connsiteX604" fmla="*/ 1233688 w 2051041"/>
              <a:gd name="connsiteY604" fmla="*/ 981147 h 2084191"/>
              <a:gd name="connsiteX605" fmla="*/ 1195596 w 2051041"/>
              <a:gd name="connsiteY605" fmla="*/ 940878 h 2084191"/>
              <a:gd name="connsiteX606" fmla="*/ 1235321 w 2051041"/>
              <a:gd name="connsiteY606" fmla="*/ 903874 h 2084191"/>
              <a:gd name="connsiteX607" fmla="*/ 1397486 w 2051041"/>
              <a:gd name="connsiteY607" fmla="*/ 901153 h 2084191"/>
              <a:gd name="connsiteX608" fmla="*/ 1438299 w 2051041"/>
              <a:gd name="connsiteY608" fmla="*/ 942511 h 2084191"/>
              <a:gd name="connsiteX609" fmla="*/ 1396941 w 2051041"/>
              <a:gd name="connsiteY609" fmla="*/ 983324 h 2084191"/>
              <a:gd name="connsiteX610" fmla="*/ 1356128 w 2051041"/>
              <a:gd name="connsiteY610" fmla="*/ 941967 h 2084191"/>
              <a:gd name="connsiteX611" fmla="*/ 1397486 w 2051041"/>
              <a:gd name="connsiteY611" fmla="*/ 901153 h 2084191"/>
              <a:gd name="connsiteX612" fmla="*/ 1560738 w 2051041"/>
              <a:gd name="connsiteY612" fmla="*/ 898977 h 2084191"/>
              <a:gd name="connsiteX613" fmla="*/ 1603728 w 2051041"/>
              <a:gd name="connsiteY613" fmla="*/ 942511 h 2084191"/>
              <a:gd name="connsiteX614" fmla="*/ 1560738 w 2051041"/>
              <a:gd name="connsiteY614" fmla="*/ 985501 h 2084191"/>
              <a:gd name="connsiteX615" fmla="*/ 1517204 w 2051041"/>
              <a:gd name="connsiteY615" fmla="*/ 941423 h 2084191"/>
              <a:gd name="connsiteX616" fmla="*/ 1560738 w 2051041"/>
              <a:gd name="connsiteY616" fmla="*/ 898977 h 2084191"/>
              <a:gd name="connsiteX617" fmla="*/ 1723990 w 2051041"/>
              <a:gd name="connsiteY617" fmla="*/ 897888 h 2084191"/>
              <a:gd name="connsiteX618" fmla="*/ 1768069 w 2051041"/>
              <a:gd name="connsiteY618" fmla="*/ 942510 h 2084191"/>
              <a:gd name="connsiteX619" fmla="*/ 1723990 w 2051041"/>
              <a:gd name="connsiteY619" fmla="*/ 986589 h 2084191"/>
              <a:gd name="connsiteX620" fmla="*/ 1679912 w 2051041"/>
              <a:gd name="connsiteY620" fmla="*/ 941422 h 2084191"/>
              <a:gd name="connsiteX621" fmla="*/ 1723990 w 2051041"/>
              <a:gd name="connsiteY621" fmla="*/ 897888 h 2084191"/>
              <a:gd name="connsiteX622" fmla="*/ 2050497 w 2051041"/>
              <a:gd name="connsiteY622" fmla="*/ 897344 h 2084191"/>
              <a:gd name="connsiteX623" fmla="*/ 2051041 w 2051041"/>
              <a:gd name="connsiteY623" fmla="*/ 897453 h 2084191"/>
              <a:gd name="connsiteX624" fmla="*/ 2051041 w 2051041"/>
              <a:gd name="connsiteY624" fmla="*/ 986917 h 2084191"/>
              <a:gd name="connsiteX625" fmla="*/ 2049952 w 2051041"/>
              <a:gd name="connsiteY625" fmla="*/ 987133 h 2084191"/>
              <a:gd name="connsiteX626" fmla="*/ 2005330 w 2051041"/>
              <a:gd name="connsiteY626" fmla="*/ 941422 h 2084191"/>
              <a:gd name="connsiteX627" fmla="*/ 2050497 w 2051041"/>
              <a:gd name="connsiteY627" fmla="*/ 897344 h 2084191"/>
              <a:gd name="connsiteX628" fmla="*/ 1887243 w 2051041"/>
              <a:gd name="connsiteY628" fmla="*/ 897344 h 2084191"/>
              <a:gd name="connsiteX629" fmla="*/ 1931866 w 2051041"/>
              <a:gd name="connsiteY629" fmla="*/ 942511 h 2084191"/>
              <a:gd name="connsiteX630" fmla="*/ 1887243 w 2051041"/>
              <a:gd name="connsiteY630" fmla="*/ 986589 h 2084191"/>
              <a:gd name="connsiteX631" fmla="*/ 1843165 w 2051041"/>
              <a:gd name="connsiteY631" fmla="*/ 941422 h 2084191"/>
              <a:gd name="connsiteX632" fmla="*/ 1887243 w 2051041"/>
              <a:gd name="connsiteY632" fmla="*/ 897344 h 2084191"/>
              <a:gd name="connsiteX633" fmla="*/ 172545 w 2051041"/>
              <a:gd name="connsiteY633" fmla="*/ 854354 h 2084191"/>
              <a:gd name="connsiteX634" fmla="*/ 179619 w 2051041"/>
              <a:gd name="connsiteY634" fmla="*/ 860884 h 2084191"/>
              <a:gd name="connsiteX635" fmla="*/ 173634 w 2051041"/>
              <a:gd name="connsiteY635" fmla="*/ 866870 h 2084191"/>
              <a:gd name="connsiteX636" fmla="*/ 166015 w 2051041"/>
              <a:gd name="connsiteY636" fmla="*/ 861973 h 2084191"/>
              <a:gd name="connsiteX637" fmla="*/ 172545 w 2051041"/>
              <a:gd name="connsiteY637" fmla="*/ 854354 h 2084191"/>
              <a:gd name="connsiteX638" fmla="*/ 336342 w 2051041"/>
              <a:gd name="connsiteY638" fmla="*/ 843471 h 2084191"/>
              <a:gd name="connsiteX639" fmla="*/ 353211 w 2051041"/>
              <a:gd name="connsiteY639" fmla="*/ 860340 h 2084191"/>
              <a:gd name="connsiteX640" fmla="*/ 336886 w 2051041"/>
              <a:gd name="connsiteY640" fmla="*/ 877210 h 2084191"/>
              <a:gd name="connsiteX641" fmla="*/ 320017 w 2051041"/>
              <a:gd name="connsiteY641" fmla="*/ 860884 h 2084191"/>
              <a:gd name="connsiteX642" fmla="*/ 336342 w 2051041"/>
              <a:gd name="connsiteY642" fmla="*/ 843471 h 2084191"/>
              <a:gd name="connsiteX643" fmla="*/ 500139 w 2051041"/>
              <a:gd name="connsiteY643" fmla="*/ 837485 h 2084191"/>
              <a:gd name="connsiteX644" fmla="*/ 522994 w 2051041"/>
              <a:gd name="connsiteY644" fmla="*/ 861428 h 2084191"/>
              <a:gd name="connsiteX645" fmla="*/ 499595 w 2051041"/>
              <a:gd name="connsiteY645" fmla="*/ 884284 h 2084191"/>
              <a:gd name="connsiteX646" fmla="*/ 476739 w 2051041"/>
              <a:gd name="connsiteY646" fmla="*/ 860340 h 2084191"/>
              <a:gd name="connsiteX647" fmla="*/ 500139 w 2051041"/>
              <a:gd name="connsiteY647" fmla="*/ 837485 h 2084191"/>
              <a:gd name="connsiteX648" fmla="*/ 662848 w 2051041"/>
              <a:gd name="connsiteY648" fmla="*/ 832587 h 2084191"/>
              <a:gd name="connsiteX649" fmla="*/ 690057 w 2051041"/>
              <a:gd name="connsiteY649" fmla="*/ 860340 h 2084191"/>
              <a:gd name="connsiteX650" fmla="*/ 662848 w 2051041"/>
              <a:gd name="connsiteY650" fmla="*/ 888637 h 2084191"/>
              <a:gd name="connsiteX651" fmla="*/ 634551 w 2051041"/>
              <a:gd name="connsiteY651" fmla="*/ 861428 h 2084191"/>
              <a:gd name="connsiteX652" fmla="*/ 662848 w 2051041"/>
              <a:gd name="connsiteY652" fmla="*/ 832587 h 2084191"/>
              <a:gd name="connsiteX653" fmla="*/ 826101 w 2051041"/>
              <a:gd name="connsiteY653" fmla="*/ 827146 h 2084191"/>
              <a:gd name="connsiteX654" fmla="*/ 859295 w 2051041"/>
              <a:gd name="connsiteY654" fmla="*/ 860885 h 2084191"/>
              <a:gd name="connsiteX655" fmla="*/ 825556 w 2051041"/>
              <a:gd name="connsiteY655" fmla="*/ 892991 h 2084191"/>
              <a:gd name="connsiteX656" fmla="*/ 793450 w 2051041"/>
              <a:gd name="connsiteY656" fmla="*/ 860885 h 2084191"/>
              <a:gd name="connsiteX657" fmla="*/ 826101 w 2051041"/>
              <a:gd name="connsiteY657" fmla="*/ 827146 h 2084191"/>
              <a:gd name="connsiteX658" fmla="*/ 988809 w 2051041"/>
              <a:gd name="connsiteY658" fmla="*/ 824424 h 2084191"/>
              <a:gd name="connsiteX659" fmla="*/ 1025813 w 2051041"/>
              <a:gd name="connsiteY659" fmla="*/ 860339 h 2084191"/>
              <a:gd name="connsiteX660" fmla="*/ 989897 w 2051041"/>
              <a:gd name="connsiteY660" fmla="*/ 897344 h 2084191"/>
              <a:gd name="connsiteX661" fmla="*/ 953437 w 2051041"/>
              <a:gd name="connsiteY661" fmla="*/ 861972 h 2084191"/>
              <a:gd name="connsiteX662" fmla="*/ 988809 w 2051041"/>
              <a:gd name="connsiteY662" fmla="*/ 824424 h 2084191"/>
              <a:gd name="connsiteX663" fmla="*/ 1153695 w 2051041"/>
              <a:gd name="connsiteY663" fmla="*/ 821704 h 2084191"/>
              <a:gd name="connsiteX664" fmla="*/ 1191243 w 2051041"/>
              <a:gd name="connsiteY664" fmla="*/ 861429 h 2084191"/>
              <a:gd name="connsiteX665" fmla="*/ 1152606 w 2051041"/>
              <a:gd name="connsiteY665" fmla="*/ 899521 h 2084191"/>
              <a:gd name="connsiteX666" fmla="*/ 1114514 w 2051041"/>
              <a:gd name="connsiteY666" fmla="*/ 859252 h 2084191"/>
              <a:gd name="connsiteX667" fmla="*/ 1153695 w 2051041"/>
              <a:gd name="connsiteY667" fmla="*/ 821704 h 2084191"/>
              <a:gd name="connsiteX668" fmla="*/ 1316403 w 2051041"/>
              <a:gd name="connsiteY668" fmla="*/ 818982 h 2084191"/>
              <a:gd name="connsiteX669" fmla="*/ 1357216 w 2051041"/>
              <a:gd name="connsiteY669" fmla="*/ 860884 h 2084191"/>
              <a:gd name="connsiteX670" fmla="*/ 1315315 w 2051041"/>
              <a:gd name="connsiteY670" fmla="*/ 901697 h 2084191"/>
              <a:gd name="connsiteX671" fmla="*/ 1274501 w 2051041"/>
              <a:gd name="connsiteY671" fmla="*/ 860340 h 2084191"/>
              <a:gd name="connsiteX672" fmla="*/ 1316403 w 2051041"/>
              <a:gd name="connsiteY672" fmla="*/ 818982 h 2084191"/>
              <a:gd name="connsiteX673" fmla="*/ 1479112 w 2051041"/>
              <a:gd name="connsiteY673" fmla="*/ 816806 h 2084191"/>
              <a:gd name="connsiteX674" fmla="*/ 1522646 w 2051041"/>
              <a:gd name="connsiteY674" fmla="*/ 860340 h 2084191"/>
              <a:gd name="connsiteX675" fmla="*/ 1479656 w 2051041"/>
              <a:gd name="connsiteY675" fmla="*/ 904419 h 2084191"/>
              <a:gd name="connsiteX676" fmla="*/ 1435578 w 2051041"/>
              <a:gd name="connsiteY676" fmla="*/ 860884 h 2084191"/>
              <a:gd name="connsiteX677" fmla="*/ 1479112 w 2051041"/>
              <a:gd name="connsiteY677" fmla="*/ 816806 h 2084191"/>
              <a:gd name="connsiteX678" fmla="*/ 1642909 w 2051041"/>
              <a:gd name="connsiteY678" fmla="*/ 815718 h 2084191"/>
              <a:gd name="connsiteX679" fmla="*/ 1686987 w 2051041"/>
              <a:gd name="connsiteY679" fmla="*/ 860885 h 2084191"/>
              <a:gd name="connsiteX680" fmla="*/ 1641276 w 2051041"/>
              <a:gd name="connsiteY680" fmla="*/ 905507 h 2084191"/>
              <a:gd name="connsiteX681" fmla="*/ 1597742 w 2051041"/>
              <a:gd name="connsiteY681" fmla="*/ 860340 h 2084191"/>
              <a:gd name="connsiteX682" fmla="*/ 1642909 w 2051041"/>
              <a:gd name="connsiteY682" fmla="*/ 815718 h 2084191"/>
              <a:gd name="connsiteX683" fmla="*/ 1806161 w 2051041"/>
              <a:gd name="connsiteY683" fmla="*/ 815173 h 2084191"/>
              <a:gd name="connsiteX684" fmla="*/ 1852416 w 2051041"/>
              <a:gd name="connsiteY684" fmla="*/ 860884 h 2084191"/>
              <a:gd name="connsiteX685" fmla="*/ 1805617 w 2051041"/>
              <a:gd name="connsiteY685" fmla="*/ 906594 h 2084191"/>
              <a:gd name="connsiteX686" fmla="*/ 1759906 w 2051041"/>
              <a:gd name="connsiteY686" fmla="*/ 860884 h 2084191"/>
              <a:gd name="connsiteX687" fmla="*/ 1806161 w 2051041"/>
              <a:gd name="connsiteY687" fmla="*/ 815173 h 2084191"/>
              <a:gd name="connsiteX688" fmla="*/ 1968326 w 2051041"/>
              <a:gd name="connsiteY688" fmla="*/ 812453 h 2084191"/>
              <a:gd name="connsiteX689" fmla="*/ 2000977 w 2051041"/>
              <a:gd name="connsiteY689" fmla="*/ 826057 h 2084191"/>
              <a:gd name="connsiteX690" fmla="*/ 2015670 w 2051041"/>
              <a:gd name="connsiteY690" fmla="*/ 859796 h 2084191"/>
              <a:gd name="connsiteX691" fmla="*/ 1969415 w 2051041"/>
              <a:gd name="connsiteY691" fmla="*/ 907684 h 2084191"/>
              <a:gd name="connsiteX692" fmla="*/ 1922071 w 2051041"/>
              <a:gd name="connsiteY692" fmla="*/ 860885 h 2084191"/>
              <a:gd name="connsiteX693" fmla="*/ 1968326 w 2051041"/>
              <a:gd name="connsiteY693" fmla="*/ 812453 h 2084191"/>
              <a:gd name="connsiteX694" fmla="*/ 255260 w 2051041"/>
              <a:gd name="connsiteY694" fmla="*/ 762932 h 2084191"/>
              <a:gd name="connsiteX695" fmla="*/ 270497 w 2051041"/>
              <a:gd name="connsiteY695" fmla="*/ 779802 h 2084191"/>
              <a:gd name="connsiteX696" fmla="*/ 254172 w 2051041"/>
              <a:gd name="connsiteY696" fmla="*/ 795038 h 2084191"/>
              <a:gd name="connsiteX697" fmla="*/ 238935 w 2051041"/>
              <a:gd name="connsiteY697" fmla="*/ 778713 h 2084191"/>
              <a:gd name="connsiteX698" fmla="*/ 255260 w 2051041"/>
              <a:gd name="connsiteY698" fmla="*/ 762932 h 2084191"/>
              <a:gd name="connsiteX699" fmla="*/ 416881 w 2051041"/>
              <a:gd name="connsiteY699" fmla="*/ 756402 h 2084191"/>
              <a:gd name="connsiteX700" fmla="*/ 440280 w 2051041"/>
              <a:gd name="connsiteY700" fmla="*/ 778713 h 2084191"/>
              <a:gd name="connsiteX701" fmla="*/ 419057 w 2051041"/>
              <a:gd name="connsiteY701" fmla="*/ 801024 h 2084191"/>
              <a:gd name="connsiteX702" fmla="*/ 396202 w 2051041"/>
              <a:gd name="connsiteY702" fmla="*/ 779257 h 2084191"/>
              <a:gd name="connsiteX703" fmla="*/ 416881 w 2051041"/>
              <a:gd name="connsiteY703" fmla="*/ 756402 h 2084191"/>
              <a:gd name="connsiteX704" fmla="*/ 581766 w 2051041"/>
              <a:gd name="connsiteY704" fmla="*/ 751505 h 2084191"/>
              <a:gd name="connsiteX705" fmla="*/ 608975 w 2051041"/>
              <a:gd name="connsiteY705" fmla="*/ 779802 h 2084191"/>
              <a:gd name="connsiteX706" fmla="*/ 580678 w 2051041"/>
              <a:gd name="connsiteY706" fmla="*/ 806467 h 2084191"/>
              <a:gd name="connsiteX707" fmla="*/ 553469 w 2051041"/>
              <a:gd name="connsiteY707" fmla="*/ 778714 h 2084191"/>
              <a:gd name="connsiteX708" fmla="*/ 581766 w 2051041"/>
              <a:gd name="connsiteY708" fmla="*/ 751505 h 2084191"/>
              <a:gd name="connsiteX709" fmla="*/ 746107 w 2051041"/>
              <a:gd name="connsiteY709" fmla="*/ 746607 h 2084191"/>
              <a:gd name="connsiteX710" fmla="*/ 777125 w 2051041"/>
              <a:gd name="connsiteY710" fmla="*/ 780346 h 2084191"/>
              <a:gd name="connsiteX711" fmla="*/ 742842 w 2051041"/>
              <a:gd name="connsiteY711" fmla="*/ 811364 h 2084191"/>
              <a:gd name="connsiteX712" fmla="*/ 712368 w 2051041"/>
              <a:gd name="connsiteY712" fmla="*/ 778713 h 2084191"/>
              <a:gd name="connsiteX713" fmla="*/ 746107 w 2051041"/>
              <a:gd name="connsiteY713" fmla="*/ 746607 h 2084191"/>
              <a:gd name="connsiteX714" fmla="*/ 907727 w 2051041"/>
              <a:gd name="connsiteY714" fmla="*/ 741710 h 2084191"/>
              <a:gd name="connsiteX715" fmla="*/ 944187 w 2051041"/>
              <a:gd name="connsiteY715" fmla="*/ 778714 h 2084191"/>
              <a:gd name="connsiteX716" fmla="*/ 907727 w 2051041"/>
              <a:gd name="connsiteY716" fmla="*/ 815174 h 2084191"/>
              <a:gd name="connsiteX717" fmla="*/ 872355 w 2051041"/>
              <a:gd name="connsiteY717" fmla="*/ 779258 h 2084191"/>
              <a:gd name="connsiteX718" fmla="*/ 907727 w 2051041"/>
              <a:gd name="connsiteY718" fmla="*/ 741710 h 2084191"/>
              <a:gd name="connsiteX719" fmla="*/ 1070979 w 2051041"/>
              <a:gd name="connsiteY719" fmla="*/ 740621 h 2084191"/>
              <a:gd name="connsiteX720" fmla="*/ 1110160 w 2051041"/>
              <a:gd name="connsiteY720" fmla="*/ 779258 h 2084191"/>
              <a:gd name="connsiteX721" fmla="*/ 1070979 w 2051041"/>
              <a:gd name="connsiteY721" fmla="*/ 817894 h 2084191"/>
              <a:gd name="connsiteX722" fmla="*/ 1031799 w 2051041"/>
              <a:gd name="connsiteY722" fmla="*/ 778714 h 2084191"/>
              <a:gd name="connsiteX723" fmla="*/ 1070979 w 2051041"/>
              <a:gd name="connsiteY723" fmla="*/ 740621 h 2084191"/>
              <a:gd name="connsiteX724" fmla="*/ 1233688 w 2051041"/>
              <a:gd name="connsiteY724" fmla="*/ 736268 h 2084191"/>
              <a:gd name="connsiteX725" fmla="*/ 1276134 w 2051041"/>
              <a:gd name="connsiteY725" fmla="*/ 777625 h 2084191"/>
              <a:gd name="connsiteX726" fmla="*/ 1235320 w 2051041"/>
              <a:gd name="connsiteY726" fmla="*/ 820615 h 2084191"/>
              <a:gd name="connsiteX727" fmla="*/ 1192331 w 2051041"/>
              <a:gd name="connsiteY727" fmla="*/ 779258 h 2084191"/>
              <a:gd name="connsiteX728" fmla="*/ 1233688 w 2051041"/>
              <a:gd name="connsiteY728" fmla="*/ 736268 h 2084191"/>
              <a:gd name="connsiteX729" fmla="*/ 1397485 w 2051041"/>
              <a:gd name="connsiteY729" fmla="*/ 735724 h 2084191"/>
              <a:gd name="connsiteX730" fmla="*/ 1441019 w 2051041"/>
              <a:gd name="connsiteY730" fmla="*/ 779802 h 2084191"/>
              <a:gd name="connsiteX731" fmla="*/ 1396397 w 2051041"/>
              <a:gd name="connsiteY731" fmla="*/ 823336 h 2084191"/>
              <a:gd name="connsiteX732" fmla="*/ 1352863 w 2051041"/>
              <a:gd name="connsiteY732" fmla="*/ 779258 h 2084191"/>
              <a:gd name="connsiteX733" fmla="*/ 1397485 w 2051041"/>
              <a:gd name="connsiteY733" fmla="*/ 735724 h 2084191"/>
              <a:gd name="connsiteX734" fmla="*/ 1562371 w 2051041"/>
              <a:gd name="connsiteY734" fmla="*/ 734636 h 2084191"/>
              <a:gd name="connsiteX735" fmla="*/ 1605905 w 2051041"/>
              <a:gd name="connsiteY735" fmla="*/ 779802 h 2084191"/>
              <a:gd name="connsiteX736" fmla="*/ 1560194 w 2051041"/>
              <a:gd name="connsiteY736" fmla="*/ 823881 h 2084191"/>
              <a:gd name="connsiteX737" fmla="*/ 1515572 w 2051041"/>
              <a:gd name="connsiteY737" fmla="*/ 777626 h 2084191"/>
              <a:gd name="connsiteX738" fmla="*/ 1562371 w 2051041"/>
              <a:gd name="connsiteY738" fmla="*/ 734636 h 2084191"/>
              <a:gd name="connsiteX739" fmla="*/ 1724535 w 2051041"/>
              <a:gd name="connsiteY739" fmla="*/ 730827 h 2084191"/>
              <a:gd name="connsiteX740" fmla="*/ 1772422 w 2051041"/>
              <a:gd name="connsiteY740" fmla="*/ 779258 h 2084191"/>
              <a:gd name="connsiteX741" fmla="*/ 1723446 w 2051041"/>
              <a:gd name="connsiteY741" fmla="*/ 826602 h 2084191"/>
              <a:gd name="connsiteX742" fmla="*/ 1676647 w 2051041"/>
              <a:gd name="connsiteY742" fmla="*/ 778714 h 2084191"/>
              <a:gd name="connsiteX743" fmla="*/ 1724535 w 2051041"/>
              <a:gd name="connsiteY743" fmla="*/ 730827 h 2084191"/>
              <a:gd name="connsiteX744" fmla="*/ 1886699 w 2051041"/>
              <a:gd name="connsiteY744" fmla="*/ 730826 h 2084191"/>
              <a:gd name="connsiteX745" fmla="*/ 1935131 w 2051041"/>
              <a:gd name="connsiteY745" fmla="*/ 778713 h 2084191"/>
              <a:gd name="connsiteX746" fmla="*/ 1887244 w 2051041"/>
              <a:gd name="connsiteY746" fmla="*/ 827145 h 2084191"/>
              <a:gd name="connsiteX747" fmla="*/ 1838812 w 2051041"/>
              <a:gd name="connsiteY747" fmla="*/ 778713 h 2084191"/>
              <a:gd name="connsiteX748" fmla="*/ 1886699 w 2051041"/>
              <a:gd name="connsiteY748" fmla="*/ 730826 h 2084191"/>
              <a:gd name="connsiteX749" fmla="*/ 2050496 w 2051041"/>
              <a:gd name="connsiteY749" fmla="*/ 730282 h 2084191"/>
              <a:gd name="connsiteX750" fmla="*/ 2051041 w 2051041"/>
              <a:gd name="connsiteY750" fmla="*/ 730396 h 2084191"/>
              <a:gd name="connsiteX751" fmla="*/ 2051041 w 2051041"/>
              <a:gd name="connsiteY751" fmla="*/ 826942 h 2084191"/>
              <a:gd name="connsiteX752" fmla="*/ 2049952 w 2051041"/>
              <a:gd name="connsiteY752" fmla="*/ 827145 h 2084191"/>
              <a:gd name="connsiteX753" fmla="*/ 2002065 w 2051041"/>
              <a:gd name="connsiteY753" fmla="*/ 778169 h 2084191"/>
              <a:gd name="connsiteX754" fmla="*/ 2050496 w 2051041"/>
              <a:gd name="connsiteY754" fmla="*/ 730282 h 2084191"/>
              <a:gd name="connsiteX755" fmla="*/ 173634 w 2051041"/>
              <a:gd name="connsiteY755" fmla="*/ 685660 h 2084191"/>
              <a:gd name="connsiteX756" fmla="*/ 184518 w 2051041"/>
              <a:gd name="connsiteY756" fmla="*/ 698176 h 2084191"/>
              <a:gd name="connsiteX757" fmla="*/ 172546 w 2051041"/>
              <a:gd name="connsiteY757" fmla="*/ 709059 h 2084191"/>
              <a:gd name="connsiteX758" fmla="*/ 161118 w 2051041"/>
              <a:gd name="connsiteY758" fmla="*/ 697088 h 2084191"/>
              <a:gd name="connsiteX759" fmla="*/ 173634 w 2051041"/>
              <a:gd name="connsiteY759" fmla="*/ 685660 h 2084191"/>
              <a:gd name="connsiteX760" fmla="*/ 335798 w 2051041"/>
              <a:gd name="connsiteY760" fmla="*/ 675320 h 2084191"/>
              <a:gd name="connsiteX761" fmla="*/ 357565 w 2051041"/>
              <a:gd name="connsiteY761" fmla="*/ 696543 h 2084191"/>
              <a:gd name="connsiteX762" fmla="*/ 336342 w 2051041"/>
              <a:gd name="connsiteY762" fmla="*/ 718854 h 2084191"/>
              <a:gd name="connsiteX763" fmla="*/ 315120 w 2051041"/>
              <a:gd name="connsiteY763" fmla="*/ 697631 h 2084191"/>
              <a:gd name="connsiteX764" fmla="*/ 335798 w 2051041"/>
              <a:gd name="connsiteY764" fmla="*/ 675320 h 2084191"/>
              <a:gd name="connsiteX765" fmla="*/ 499051 w 2051041"/>
              <a:gd name="connsiteY765" fmla="*/ 670423 h 2084191"/>
              <a:gd name="connsiteX766" fmla="*/ 526804 w 2051041"/>
              <a:gd name="connsiteY766" fmla="*/ 697088 h 2084191"/>
              <a:gd name="connsiteX767" fmla="*/ 499595 w 2051041"/>
              <a:gd name="connsiteY767" fmla="*/ 724296 h 2084191"/>
              <a:gd name="connsiteX768" fmla="*/ 472930 w 2051041"/>
              <a:gd name="connsiteY768" fmla="*/ 697632 h 2084191"/>
              <a:gd name="connsiteX769" fmla="*/ 499051 w 2051041"/>
              <a:gd name="connsiteY769" fmla="*/ 670423 h 2084191"/>
              <a:gd name="connsiteX770" fmla="*/ 662848 w 2051041"/>
              <a:gd name="connsiteY770" fmla="*/ 665525 h 2084191"/>
              <a:gd name="connsiteX771" fmla="*/ 694954 w 2051041"/>
              <a:gd name="connsiteY771" fmla="*/ 697087 h 2084191"/>
              <a:gd name="connsiteX772" fmla="*/ 663392 w 2051041"/>
              <a:gd name="connsiteY772" fmla="*/ 729194 h 2084191"/>
              <a:gd name="connsiteX773" fmla="*/ 632374 w 2051041"/>
              <a:gd name="connsiteY773" fmla="*/ 698176 h 2084191"/>
              <a:gd name="connsiteX774" fmla="*/ 662848 w 2051041"/>
              <a:gd name="connsiteY774" fmla="*/ 665525 h 2084191"/>
              <a:gd name="connsiteX775" fmla="*/ 825013 w 2051041"/>
              <a:gd name="connsiteY775" fmla="*/ 663349 h 2084191"/>
              <a:gd name="connsiteX776" fmla="*/ 860384 w 2051041"/>
              <a:gd name="connsiteY776" fmla="*/ 697632 h 2084191"/>
              <a:gd name="connsiteX777" fmla="*/ 826101 w 2051041"/>
              <a:gd name="connsiteY777" fmla="*/ 731915 h 2084191"/>
              <a:gd name="connsiteX778" fmla="*/ 791818 w 2051041"/>
              <a:gd name="connsiteY778" fmla="*/ 698176 h 2084191"/>
              <a:gd name="connsiteX779" fmla="*/ 825013 w 2051041"/>
              <a:gd name="connsiteY779" fmla="*/ 663349 h 2084191"/>
              <a:gd name="connsiteX780" fmla="*/ 988809 w 2051041"/>
              <a:gd name="connsiteY780" fmla="*/ 658995 h 2084191"/>
              <a:gd name="connsiteX781" fmla="*/ 1027446 w 2051041"/>
              <a:gd name="connsiteY781" fmla="*/ 697087 h 2084191"/>
              <a:gd name="connsiteX782" fmla="*/ 989353 w 2051041"/>
              <a:gd name="connsiteY782" fmla="*/ 735723 h 2084191"/>
              <a:gd name="connsiteX783" fmla="*/ 950717 w 2051041"/>
              <a:gd name="connsiteY783" fmla="*/ 697631 h 2084191"/>
              <a:gd name="connsiteX784" fmla="*/ 988809 w 2051041"/>
              <a:gd name="connsiteY784" fmla="*/ 658995 h 2084191"/>
              <a:gd name="connsiteX785" fmla="*/ 1152607 w 2051041"/>
              <a:gd name="connsiteY785" fmla="*/ 655729 h 2084191"/>
              <a:gd name="connsiteX786" fmla="*/ 1195052 w 2051041"/>
              <a:gd name="connsiteY786" fmla="*/ 697087 h 2084191"/>
              <a:gd name="connsiteX787" fmla="*/ 1153151 w 2051041"/>
              <a:gd name="connsiteY787" fmla="*/ 739533 h 2084191"/>
              <a:gd name="connsiteX788" fmla="*/ 1110705 w 2051041"/>
              <a:gd name="connsiteY788" fmla="*/ 697631 h 2084191"/>
              <a:gd name="connsiteX789" fmla="*/ 1152607 w 2051041"/>
              <a:gd name="connsiteY789" fmla="*/ 655729 h 2084191"/>
              <a:gd name="connsiteX790" fmla="*/ 1316948 w 2051041"/>
              <a:gd name="connsiteY790" fmla="*/ 653554 h 2084191"/>
              <a:gd name="connsiteX791" fmla="*/ 1359937 w 2051041"/>
              <a:gd name="connsiteY791" fmla="*/ 697632 h 2084191"/>
              <a:gd name="connsiteX792" fmla="*/ 1315315 w 2051041"/>
              <a:gd name="connsiteY792" fmla="*/ 740622 h 2084191"/>
              <a:gd name="connsiteX793" fmla="*/ 1271781 w 2051041"/>
              <a:gd name="connsiteY793" fmla="*/ 696544 h 2084191"/>
              <a:gd name="connsiteX794" fmla="*/ 1316948 w 2051041"/>
              <a:gd name="connsiteY794" fmla="*/ 653554 h 2084191"/>
              <a:gd name="connsiteX795" fmla="*/ 1479112 w 2051041"/>
              <a:gd name="connsiteY795" fmla="*/ 651921 h 2084191"/>
              <a:gd name="connsiteX796" fmla="*/ 1524823 w 2051041"/>
              <a:gd name="connsiteY796" fmla="*/ 697088 h 2084191"/>
              <a:gd name="connsiteX797" fmla="*/ 1479112 w 2051041"/>
              <a:gd name="connsiteY797" fmla="*/ 742254 h 2084191"/>
              <a:gd name="connsiteX798" fmla="*/ 1433945 w 2051041"/>
              <a:gd name="connsiteY798" fmla="*/ 697088 h 2084191"/>
              <a:gd name="connsiteX799" fmla="*/ 1479112 w 2051041"/>
              <a:gd name="connsiteY799" fmla="*/ 651921 h 2084191"/>
              <a:gd name="connsiteX800" fmla="*/ 1642909 w 2051041"/>
              <a:gd name="connsiteY800" fmla="*/ 649744 h 2084191"/>
              <a:gd name="connsiteX801" fmla="*/ 1690796 w 2051041"/>
              <a:gd name="connsiteY801" fmla="*/ 697087 h 2084191"/>
              <a:gd name="connsiteX802" fmla="*/ 1642909 w 2051041"/>
              <a:gd name="connsiteY802" fmla="*/ 745519 h 2084191"/>
              <a:gd name="connsiteX803" fmla="*/ 1594477 w 2051041"/>
              <a:gd name="connsiteY803" fmla="*/ 697632 h 2084191"/>
              <a:gd name="connsiteX804" fmla="*/ 1642909 w 2051041"/>
              <a:gd name="connsiteY804" fmla="*/ 649744 h 2084191"/>
              <a:gd name="connsiteX805" fmla="*/ 1805617 w 2051041"/>
              <a:gd name="connsiteY805" fmla="*/ 648112 h 2084191"/>
              <a:gd name="connsiteX806" fmla="*/ 1854593 w 2051041"/>
              <a:gd name="connsiteY806" fmla="*/ 698176 h 2084191"/>
              <a:gd name="connsiteX807" fmla="*/ 1805073 w 2051041"/>
              <a:gd name="connsiteY807" fmla="*/ 746607 h 2084191"/>
              <a:gd name="connsiteX808" fmla="*/ 1756097 w 2051041"/>
              <a:gd name="connsiteY808" fmla="*/ 697087 h 2084191"/>
              <a:gd name="connsiteX809" fmla="*/ 1805617 w 2051041"/>
              <a:gd name="connsiteY809" fmla="*/ 648112 h 2084191"/>
              <a:gd name="connsiteX810" fmla="*/ 1969414 w 2051041"/>
              <a:gd name="connsiteY810" fmla="*/ 647023 h 2084191"/>
              <a:gd name="connsiteX811" fmla="*/ 2018934 w 2051041"/>
              <a:gd name="connsiteY811" fmla="*/ 698176 h 2084191"/>
              <a:gd name="connsiteX812" fmla="*/ 1968326 w 2051041"/>
              <a:gd name="connsiteY812" fmla="*/ 746063 h 2084191"/>
              <a:gd name="connsiteX813" fmla="*/ 1918806 w 2051041"/>
              <a:gd name="connsiteY813" fmla="*/ 697087 h 2084191"/>
              <a:gd name="connsiteX814" fmla="*/ 1969414 w 2051041"/>
              <a:gd name="connsiteY814" fmla="*/ 647023 h 2084191"/>
              <a:gd name="connsiteX815" fmla="*/ 90919 w 2051041"/>
              <a:gd name="connsiteY815" fmla="*/ 606754 h 2084191"/>
              <a:gd name="connsiteX816" fmla="*/ 99626 w 2051041"/>
              <a:gd name="connsiteY816" fmla="*/ 615460 h 2084191"/>
              <a:gd name="connsiteX817" fmla="*/ 92007 w 2051041"/>
              <a:gd name="connsiteY817" fmla="*/ 627976 h 2084191"/>
              <a:gd name="connsiteX818" fmla="*/ 82756 w 2051041"/>
              <a:gd name="connsiteY818" fmla="*/ 616005 h 2084191"/>
              <a:gd name="connsiteX819" fmla="*/ 90919 w 2051041"/>
              <a:gd name="connsiteY819" fmla="*/ 606754 h 2084191"/>
              <a:gd name="connsiteX820" fmla="*/ 254172 w 2051041"/>
              <a:gd name="connsiteY820" fmla="*/ 598047 h 2084191"/>
              <a:gd name="connsiteX821" fmla="*/ 272674 w 2051041"/>
              <a:gd name="connsiteY821" fmla="*/ 614917 h 2084191"/>
              <a:gd name="connsiteX822" fmla="*/ 255260 w 2051041"/>
              <a:gd name="connsiteY822" fmla="*/ 633419 h 2084191"/>
              <a:gd name="connsiteX823" fmla="*/ 236758 w 2051041"/>
              <a:gd name="connsiteY823" fmla="*/ 616005 h 2084191"/>
              <a:gd name="connsiteX824" fmla="*/ 254172 w 2051041"/>
              <a:gd name="connsiteY824" fmla="*/ 598047 h 2084191"/>
              <a:gd name="connsiteX825" fmla="*/ 418513 w 2051041"/>
              <a:gd name="connsiteY825" fmla="*/ 590429 h 2084191"/>
              <a:gd name="connsiteX826" fmla="*/ 443001 w 2051041"/>
              <a:gd name="connsiteY826" fmla="*/ 614917 h 2084191"/>
              <a:gd name="connsiteX827" fmla="*/ 419058 w 2051041"/>
              <a:gd name="connsiteY827" fmla="*/ 640493 h 2084191"/>
              <a:gd name="connsiteX828" fmla="*/ 392937 w 2051041"/>
              <a:gd name="connsiteY828" fmla="*/ 616005 h 2084191"/>
              <a:gd name="connsiteX829" fmla="*/ 418513 w 2051041"/>
              <a:gd name="connsiteY829" fmla="*/ 590429 h 2084191"/>
              <a:gd name="connsiteX830" fmla="*/ 581222 w 2051041"/>
              <a:gd name="connsiteY830" fmla="*/ 587163 h 2084191"/>
              <a:gd name="connsiteX831" fmla="*/ 610063 w 2051041"/>
              <a:gd name="connsiteY831" fmla="*/ 616549 h 2084191"/>
              <a:gd name="connsiteX832" fmla="*/ 580677 w 2051041"/>
              <a:gd name="connsiteY832" fmla="*/ 645390 h 2084191"/>
              <a:gd name="connsiteX833" fmla="*/ 551836 w 2051041"/>
              <a:gd name="connsiteY833" fmla="*/ 615461 h 2084191"/>
              <a:gd name="connsiteX834" fmla="*/ 581222 w 2051041"/>
              <a:gd name="connsiteY834" fmla="*/ 587163 h 2084191"/>
              <a:gd name="connsiteX835" fmla="*/ 743930 w 2051041"/>
              <a:gd name="connsiteY835" fmla="*/ 582266 h 2084191"/>
              <a:gd name="connsiteX836" fmla="*/ 779301 w 2051041"/>
              <a:gd name="connsiteY836" fmla="*/ 616005 h 2084191"/>
              <a:gd name="connsiteX837" fmla="*/ 745563 w 2051041"/>
              <a:gd name="connsiteY837" fmla="*/ 649744 h 2084191"/>
              <a:gd name="connsiteX838" fmla="*/ 711824 w 2051041"/>
              <a:gd name="connsiteY838" fmla="*/ 616549 h 2084191"/>
              <a:gd name="connsiteX839" fmla="*/ 743930 w 2051041"/>
              <a:gd name="connsiteY839" fmla="*/ 582266 h 2084191"/>
              <a:gd name="connsiteX840" fmla="*/ 907183 w 2051041"/>
              <a:gd name="connsiteY840" fmla="*/ 577913 h 2084191"/>
              <a:gd name="connsiteX841" fmla="*/ 945276 w 2051041"/>
              <a:gd name="connsiteY841" fmla="*/ 615461 h 2084191"/>
              <a:gd name="connsiteX842" fmla="*/ 907727 w 2051041"/>
              <a:gd name="connsiteY842" fmla="*/ 654098 h 2084191"/>
              <a:gd name="connsiteX843" fmla="*/ 869091 w 2051041"/>
              <a:gd name="connsiteY843" fmla="*/ 616006 h 2084191"/>
              <a:gd name="connsiteX844" fmla="*/ 907183 w 2051041"/>
              <a:gd name="connsiteY844" fmla="*/ 577913 h 2084191"/>
              <a:gd name="connsiteX845" fmla="*/ 1069891 w 2051041"/>
              <a:gd name="connsiteY845" fmla="*/ 574648 h 2084191"/>
              <a:gd name="connsiteX846" fmla="*/ 1111248 w 2051041"/>
              <a:gd name="connsiteY846" fmla="*/ 615461 h 2084191"/>
              <a:gd name="connsiteX847" fmla="*/ 1070435 w 2051041"/>
              <a:gd name="connsiteY847" fmla="*/ 656274 h 2084191"/>
              <a:gd name="connsiteX848" fmla="*/ 1029622 w 2051041"/>
              <a:gd name="connsiteY848" fmla="*/ 614917 h 2084191"/>
              <a:gd name="connsiteX849" fmla="*/ 1069891 w 2051041"/>
              <a:gd name="connsiteY849" fmla="*/ 574648 h 2084191"/>
              <a:gd name="connsiteX850" fmla="*/ 1235321 w 2051041"/>
              <a:gd name="connsiteY850" fmla="*/ 572472 h 2084191"/>
              <a:gd name="connsiteX851" fmla="*/ 1277222 w 2051041"/>
              <a:gd name="connsiteY851" fmla="*/ 616550 h 2084191"/>
              <a:gd name="connsiteX852" fmla="*/ 1233688 w 2051041"/>
              <a:gd name="connsiteY852" fmla="*/ 660084 h 2084191"/>
              <a:gd name="connsiteX853" fmla="*/ 1190154 w 2051041"/>
              <a:gd name="connsiteY853" fmla="*/ 614917 h 2084191"/>
              <a:gd name="connsiteX854" fmla="*/ 1235321 w 2051041"/>
              <a:gd name="connsiteY854" fmla="*/ 572472 h 2084191"/>
              <a:gd name="connsiteX855" fmla="*/ 1397485 w 2051041"/>
              <a:gd name="connsiteY855" fmla="*/ 569206 h 2084191"/>
              <a:gd name="connsiteX856" fmla="*/ 1443196 w 2051041"/>
              <a:gd name="connsiteY856" fmla="*/ 616005 h 2084191"/>
              <a:gd name="connsiteX857" fmla="*/ 1396941 w 2051041"/>
              <a:gd name="connsiteY857" fmla="*/ 661172 h 2084191"/>
              <a:gd name="connsiteX858" fmla="*/ 1351775 w 2051041"/>
              <a:gd name="connsiteY858" fmla="*/ 614373 h 2084191"/>
              <a:gd name="connsiteX859" fmla="*/ 1397485 w 2051041"/>
              <a:gd name="connsiteY859" fmla="*/ 569206 h 2084191"/>
              <a:gd name="connsiteX860" fmla="*/ 1560738 w 2051041"/>
              <a:gd name="connsiteY860" fmla="*/ 567029 h 2084191"/>
              <a:gd name="connsiteX861" fmla="*/ 1609714 w 2051041"/>
              <a:gd name="connsiteY861" fmla="*/ 615461 h 2084191"/>
              <a:gd name="connsiteX862" fmla="*/ 1561283 w 2051041"/>
              <a:gd name="connsiteY862" fmla="*/ 663892 h 2084191"/>
              <a:gd name="connsiteX863" fmla="*/ 1512851 w 2051041"/>
              <a:gd name="connsiteY863" fmla="*/ 616005 h 2084191"/>
              <a:gd name="connsiteX864" fmla="*/ 1560738 w 2051041"/>
              <a:gd name="connsiteY864" fmla="*/ 567029 h 2084191"/>
              <a:gd name="connsiteX865" fmla="*/ 1725624 w 2051041"/>
              <a:gd name="connsiteY865" fmla="*/ 565397 h 2084191"/>
              <a:gd name="connsiteX866" fmla="*/ 1774599 w 2051041"/>
              <a:gd name="connsiteY866" fmla="*/ 616005 h 2084191"/>
              <a:gd name="connsiteX867" fmla="*/ 1723447 w 2051041"/>
              <a:gd name="connsiteY867" fmla="*/ 664981 h 2084191"/>
              <a:gd name="connsiteX868" fmla="*/ 1674471 w 2051041"/>
              <a:gd name="connsiteY868" fmla="*/ 615461 h 2084191"/>
              <a:gd name="connsiteX869" fmla="*/ 1725624 w 2051041"/>
              <a:gd name="connsiteY869" fmla="*/ 565397 h 2084191"/>
              <a:gd name="connsiteX870" fmla="*/ 1886699 w 2051041"/>
              <a:gd name="connsiteY870" fmla="*/ 564853 h 2084191"/>
              <a:gd name="connsiteX871" fmla="*/ 1938396 w 2051041"/>
              <a:gd name="connsiteY871" fmla="*/ 614917 h 2084191"/>
              <a:gd name="connsiteX872" fmla="*/ 1887787 w 2051041"/>
              <a:gd name="connsiteY872" fmla="*/ 665525 h 2084191"/>
              <a:gd name="connsiteX873" fmla="*/ 1837179 w 2051041"/>
              <a:gd name="connsiteY873" fmla="*/ 615461 h 2084191"/>
              <a:gd name="connsiteX874" fmla="*/ 1886699 w 2051041"/>
              <a:gd name="connsiteY874" fmla="*/ 564853 h 2084191"/>
              <a:gd name="connsiteX875" fmla="*/ 2050496 w 2051041"/>
              <a:gd name="connsiteY875" fmla="*/ 564852 h 2084191"/>
              <a:gd name="connsiteX876" fmla="*/ 2051041 w 2051041"/>
              <a:gd name="connsiteY876" fmla="*/ 564962 h 2084191"/>
              <a:gd name="connsiteX877" fmla="*/ 2051041 w 2051041"/>
              <a:gd name="connsiteY877" fmla="*/ 665899 h 2084191"/>
              <a:gd name="connsiteX878" fmla="*/ 2049952 w 2051041"/>
              <a:gd name="connsiteY878" fmla="*/ 666069 h 2084191"/>
              <a:gd name="connsiteX879" fmla="*/ 1999344 w 2051041"/>
              <a:gd name="connsiteY879" fmla="*/ 615460 h 2084191"/>
              <a:gd name="connsiteX880" fmla="*/ 2050496 w 2051041"/>
              <a:gd name="connsiteY880" fmla="*/ 564852 h 2084191"/>
              <a:gd name="connsiteX881" fmla="*/ 173090 w 2051041"/>
              <a:gd name="connsiteY881" fmla="*/ 517509 h 2084191"/>
              <a:gd name="connsiteX882" fmla="*/ 189959 w 2051041"/>
              <a:gd name="connsiteY882" fmla="*/ 533834 h 2084191"/>
              <a:gd name="connsiteX883" fmla="*/ 173634 w 2051041"/>
              <a:gd name="connsiteY883" fmla="*/ 550160 h 2084191"/>
              <a:gd name="connsiteX884" fmla="*/ 157308 w 2051041"/>
              <a:gd name="connsiteY884" fmla="*/ 534923 h 2084191"/>
              <a:gd name="connsiteX885" fmla="*/ 173090 w 2051041"/>
              <a:gd name="connsiteY885" fmla="*/ 517509 h 2084191"/>
              <a:gd name="connsiteX886" fmla="*/ 335798 w 2051041"/>
              <a:gd name="connsiteY886" fmla="*/ 511523 h 2084191"/>
              <a:gd name="connsiteX887" fmla="*/ 358654 w 2051041"/>
              <a:gd name="connsiteY887" fmla="*/ 533834 h 2084191"/>
              <a:gd name="connsiteX888" fmla="*/ 336343 w 2051041"/>
              <a:gd name="connsiteY888" fmla="*/ 556689 h 2084191"/>
              <a:gd name="connsiteX889" fmla="*/ 312943 w 2051041"/>
              <a:gd name="connsiteY889" fmla="*/ 534378 h 2084191"/>
              <a:gd name="connsiteX890" fmla="*/ 335798 w 2051041"/>
              <a:gd name="connsiteY890" fmla="*/ 511523 h 2084191"/>
              <a:gd name="connsiteX891" fmla="*/ 500139 w 2051041"/>
              <a:gd name="connsiteY891" fmla="*/ 506626 h 2084191"/>
              <a:gd name="connsiteX892" fmla="*/ 527348 w 2051041"/>
              <a:gd name="connsiteY892" fmla="*/ 535467 h 2084191"/>
              <a:gd name="connsiteX893" fmla="*/ 497963 w 2051041"/>
              <a:gd name="connsiteY893" fmla="*/ 561587 h 2084191"/>
              <a:gd name="connsiteX894" fmla="*/ 471842 w 2051041"/>
              <a:gd name="connsiteY894" fmla="*/ 533290 h 2084191"/>
              <a:gd name="connsiteX895" fmla="*/ 500139 w 2051041"/>
              <a:gd name="connsiteY895" fmla="*/ 506626 h 2084191"/>
              <a:gd name="connsiteX896" fmla="*/ 662304 w 2051041"/>
              <a:gd name="connsiteY896" fmla="*/ 500639 h 2084191"/>
              <a:gd name="connsiteX897" fmla="*/ 696042 w 2051041"/>
              <a:gd name="connsiteY897" fmla="*/ 533290 h 2084191"/>
              <a:gd name="connsiteX898" fmla="*/ 663392 w 2051041"/>
              <a:gd name="connsiteY898" fmla="*/ 566485 h 2084191"/>
              <a:gd name="connsiteX899" fmla="*/ 630197 w 2051041"/>
              <a:gd name="connsiteY899" fmla="*/ 534378 h 2084191"/>
              <a:gd name="connsiteX900" fmla="*/ 662304 w 2051041"/>
              <a:gd name="connsiteY900" fmla="*/ 500639 h 2084191"/>
              <a:gd name="connsiteX901" fmla="*/ 825557 w 2051041"/>
              <a:gd name="connsiteY901" fmla="*/ 496830 h 2084191"/>
              <a:gd name="connsiteX902" fmla="*/ 863649 w 2051041"/>
              <a:gd name="connsiteY902" fmla="*/ 534923 h 2084191"/>
              <a:gd name="connsiteX903" fmla="*/ 825557 w 2051041"/>
              <a:gd name="connsiteY903" fmla="*/ 571383 h 2084191"/>
              <a:gd name="connsiteX904" fmla="*/ 788553 w 2051041"/>
              <a:gd name="connsiteY904" fmla="*/ 534379 h 2084191"/>
              <a:gd name="connsiteX905" fmla="*/ 825557 w 2051041"/>
              <a:gd name="connsiteY905" fmla="*/ 496830 h 2084191"/>
              <a:gd name="connsiteX906" fmla="*/ 989898 w 2051041"/>
              <a:gd name="connsiteY906" fmla="*/ 494110 h 2084191"/>
              <a:gd name="connsiteX907" fmla="*/ 1029078 w 2051041"/>
              <a:gd name="connsiteY907" fmla="*/ 534923 h 2084191"/>
              <a:gd name="connsiteX908" fmla="*/ 989353 w 2051041"/>
              <a:gd name="connsiteY908" fmla="*/ 574104 h 2084191"/>
              <a:gd name="connsiteX909" fmla="*/ 949629 w 2051041"/>
              <a:gd name="connsiteY909" fmla="*/ 533835 h 2084191"/>
              <a:gd name="connsiteX910" fmla="*/ 989898 w 2051041"/>
              <a:gd name="connsiteY910" fmla="*/ 494110 h 2084191"/>
              <a:gd name="connsiteX911" fmla="*/ 1152062 w 2051041"/>
              <a:gd name="connsiteY911" fmla="*/ 490301 h 2084191"/>
              <a:gd name="connsiteX912" fmla="*/ 1196140 w 2051041"/>
              <a:gd name="connsiteY912" fmla="*/ 533835 h 2084191"/>
              <a:gd name="connsiteX913" fmla="*/ 1152606 w 2051041"/>
              <a:gd name="connsiteY913" fmla="*/ 577369 h 2084191"/>
              <a:gd name="connsiteX914" fmla="*/ 1109072 w 2051041"/>
              <a:gd name="connsiteY914" fmla="*/ 534379 h 2084191"/>
              <a:gd name="connsiteX915" fmla="*/ 1152062 w 2051041"/>
              <a:gd name="connsiteY915" fmla="*/ 490301 h 2084191"/>
              <a:gd name="connsiteX916" fmla="*/ 1316947 w 2051041"/>
              <a:gd name="connsiteY916" fmla="*/ 489212 h 2084191"/>
              <a:gd name="connsiteX917" fmla="*/ 1361570 w 2051041"/>
              <a:gd name="connsiteY917" fmla="*/ 534923 h 2084191"/>
              <a:gd name="connsiteX918" fmla="*/ 1315859 w 2051041"/>
              <a:gd name="connsiteY918" fmla="*/ 580090 h 2084191"/>
              <a:gd name="connsiteX919" fmla="*/ 1270693 w 2051041"/>
              <a:gd name="connsiteY919" fmla="*/ 533835 h 2084191"/>
              <a:gd name="connsiteX920" fmla="*/ 1316947 w 2051041"/>
              <a:gd name="connsiteY920" fmla="*/ 489212 h 2084191"/>
              <a:gd name="connsiteX921" fmla="*/ 1479112 w 2051041"/>
              <a:gd name="connsiteY921" fmla="*/ 484315 h 2084191"/>
              <a:gd name="connsiteX922" fmla="*/ 1528087 w 2051041"/>
              <a:gd name="connsiteY922" fmla="*/ 533835 h 2084191"/>
              <a:gd name="connsiteX923" fmla="*/ 1479656 w 2051041"/>
              <a:gd name="connsiteY923" fmla="*/ 582267 h 2084191"/>
              <a:gd name="connsiteX924" fmla="*/ 1431224 w 2051041"/>
              <a:gd name="connsiteY924" fmla="*/ 533835 h 2084191"/>
              <a:gd name="connsiteX925" fmla="*/ 1479112 w 2051041"/>
              <a:gd name="connsiteY925" fmla="*/ 484315 h 2084191"/>
              <a:gd name="connsiteX926" fmla="*/ 1643452 w 2051041"/>
              <a:gd name="connsiteY926" fmla="*/ 484314 h 2084191"/>
              <a:gd name="connsiteX927" fmla="*/ 1692973 w 2051041"/>
              <a:gd name="connsiteY927" fmla="*/ 534923 h 2084191"/>
              <a:gd name="connsiteX928" fmla="*/ 1641276 w 2051041"/>
              <a:gd name="connsiteY928" fmla="*/ 583898 h 2084191"/>
              <a:gd name="connsiteX929" fmla="*/ 1592300 w 2051041"/>
              <a:gd name="connsiteY929" fmla="*/ 532202 h 2084191"/>
              <a:gd name="connsiteX930" fmla="*/ 1643452 w 2051041"/>
              <a:gd name="connsiteY930" fmla="*/ 484314 h 2084191"/>
              <a:gd name="connsiteX931" fmla="*/ 1806162 w 2051041"/>
              <a:gd name="connsiteY931" fmla="*/ 481594 h 2084191"/>
              <a:gd name="connsiteX932" fmla="*/ 1857858 w 2051041"/>
              <a:gd name="connsiteY932" fmla="*/ 536011 h 2084191"/>
              <a:gd name="connsiteX933" fmla="*/ 1803441 w 2051041"/>
              <a:gd name="connsiteY933" fmla="*/ 586075 h 2084191"/>
              <a:gd name="connsiteX934" fmla="*/ 1753377 w 2051041"/>
              <a:gd name="connsiteY934" fmla="*/ 533290 h 2084191"/>
              <a:gd name="connsiteX935" fmla="*/ 1806162 w 2051041"/>
              <a:gd name="connsiteY935" fmla="*/ 481594 h 2084191"/>
              <a:gd name="connsiteX936" fmla="*/ 1968326 w 2051041"/>
              <a:gd name="connsiteY936" fmla="*/ 480505 h 2084191"/>
              <a:gd name="connsiteX937" fmla="*/ 2022200 w 2051041"/>
              <a:gd name="connsiteY937" fmla="*/ 534379 h 2084191"/>
              <a:gd name="connsiteX938" fmla="*/ 1969415 w 2051041"/>
              <a:gd name="connsiteY938" fmla="*/ 588252 h 2084191"/>
              <a:gd name="connsiteX939" fmla="*/ 1915541 w 2051041"/>
              <a:gd name="connsiteY939" fmla="*/ 534923 h 2084191"/>
              <a:gd name="connsiteX940" fmla="*/ 1968326 w 2051041"/>
              <a:gd name="connsiteY940" fmla="*/ 480505 h 2084191"/>
              <a:gd name="connsiteX941" fmla="*/ 91464 w 2051041"/>
              <a:gd name="connsiteY941" fmla="*/ 440780 h 2084191"/>
              <a:gd name="connsiteX942" fmla="*/ 102891 w 2051041"/>
              <a:gd name="connsiteY942" fmla="*/ 451664 h 2084191"/>
              <a:gd name="connsiteX943" fmla="*/ 92008 w 2051041"/>
              <a:gd name="connsiteY943" fmla="*/ 464179 h 2084191"/>
              <a:gd name="connsiteX944" fmla="*/ 80036 w 2051041"/>
              <a:gd name="connsiteY944" fmla="*/ 452752 h 2084191"/>
              <a:gd name="connsiteX945" fmla="*/ 91464 w 2051041"/>
              <a:gd name="connsiteY945" fmla="*/ 440780 h 2084191"/>
              <a:gd name="connsiteX946" fmla="*/ 254172 w 2051041"/>
              <a:gd name="connsiteY946" fmla="*/ 430441 h 2084191"/>
              <a:gd name="connsiteX947" fmla="*/ 275939 w 2051041"/>
              <a:gd name="connsiteY947" fmla="*/ 452208 h 2084191"/>
              <a:gd name="connsiteX948" fmla="*/ 254716 w 2051041"/>
              <a:gd name="connsiteY948" fmla="*/ 473975 h 2084191"/>
              <a:gd name="connsiteX949" fmla="*/ 232405 w 2051041"/>
              <a:gd name="connsiteY949" fmla="*/ 452752 h 2084191"/>
              <a:gd name="connsiteX950" fmla="*/ 254172 w 2051041"/>
              <a:gd name="connsiteY950" fmla="*/ 430441 h 2084191"/>
              <a:gd name="connsiteX951" fmla="*/ 417969 w 2051041"/>
              <a:gd name="connsiteY951" fmla="*/ 424999 h 2084191"/>
              <a:gd name="connsiteX952" fmla="*/ 444634 w 2051041"/>
              <a:gd name="connsiteY952" fmla="*/ 452752 h 2084191"/>
              <a:gd name="connsiteX953" fmla="*/ 417425 w 2051041"/>
              <a:gd name="connsiteY953" fmla="*/ 479417 h 2084191"/>
              <a:gd name="connsiteX954" fmla="*/ 390760 w 2051041"/>
              <a:gd name="connsiteY954" fmla="*/ 452208 h 2084191"/>
              <a:gd name="connsiteX955" fmla="*/ 417969 w 2051041"/>
              <a:gd name="connsiteY955" fmla="*/ 424999 h 2084191"/>
              <a:gd name="connsiteX956" fmla="*/ 580677 w 2051041"/>
              <a:gd name="connsiteY956" fmla="*/ 419558 h 2084191"/>
              <a:gd name="connsiteX957" fmla="*/ 612783 w 2051041"/>
              <a:gd name="connsiteY957" fmla="*/ 452208 h 2084191"/>
              <a:gd name="connsiteX958" fmla="*/ 581221 w 2051041"/>
              <a:gd name="connsiteY958" fmla="*/ 484315 h 2084191"/>
              <a:gd name="connsiteX959" fmla="*/ 549115 w 2051041"/>
              <a:gd name="connsiteY959" fmla="*/ 452208 h 2084191"/>
              <a:gd name="connsiteX960" fmla="*/ 580677 w 2051041"/>
              <a:gd name="connsiteY960" fmla="*/ 419558 h 2084191"/>
              <a:gd name="connsiteX961" fmla="*/ 743931 w 2051041"/>
              <a:gd name="connsiteY961" fmla="*/ 415748 h 2084191"/>
              <a:gd name="connsiteX962" fmla="*/ 780390 w 2051041"/>
              <a:gd name="connsiteY962" fmla="*/ 452208 h 2084191"/>
              <a:gd name="connsiteX963" fmla="*/ 744475 w 2051041"/>
              <a:gd name="connsiteY963" fmla="*/ 489212 h 2084191"/>
              <a:gd name="connsiteX964" fmla="*/ 708559 w 2051041"/>
              <a:gd name="connsiteY964" fmla="*/ 453840 h 2084191"/>
              <a:gd name="connsiteX965" fmla="*/ 743931 w 2051041"/>
              <a:gd name="connsiteY965" fmla="*/ 415748 h 2084191"/>
              <a:gd name="connsiteX966" fmla="*/ 908271 w 2051041"/>
              <a:gd name="connsiteY966" fmla="*/ 414116 h 2084191"/>
              <a:gd name="connsiteX967" fmla="*/ 946363 w 2051041"/>
              <a:gd name="connsiteY967" fmla="*/ 453296 h 2084191"/>
              <a:gd name="connsiteX968" fmla="*/ 906638 w 2051041"/>
              <a:gd name="connsiteY968" fmla="*/ 491933 h 2084191"/>
              <a:gd name="connsiteX969" fmla="*/ 868546 w 2051041"/>
              <a:gd name="connsiteY969" fmla="*/ 452208 h 2084191"/>
              <a:gd name="connsiteX970" fmla="*/ 908271 w 2051041"/>
              <a:gd name="connsiteY970" fmla="*/ 414116 h 2084191"/>
              <a:gd name="connsiteX971" fmla="*/ 1072068 w 2051041"/>
              <a:gd name="connsiteY971" fmla="*/ 409218 h 2084191"/>
              <a:gd name="connsiteX972" fmla="*/ 1113970 w 2051041"/>
              <a:gd name="connsiteY972" fmla="*/ 452752 h 2084191"/>
              <a:gd name="connsiteX973" fmla="*/ 1070436 w 2051041"/>
              <a:gd name="connsiteY973" fmla="*/ 495198 h 2084191"/>
              <a:gd name="connsiteX974" fmla="*/ 1028534 w 2051041"/>
              <a:gd name="connsiteY974" fmla="*/ 451120 h 2084191"/>
              <a:gd name="connsiteX975" fmla="*/ 1072068 w 2051041"/>
              <a:gd name="connsiteY975" fmla="*/ 409218 h 2084191"/>
              <a:gd name="connsiteX976" fmla="*/ 1235865 w 2051041"/>
              <a:gd name="connsiteY976" fmla="*/ 408130 h 2084191"/>
              <a:gd name="connsiteX977" fmla="*/ 1279400 w 2051041"/>
              <a:gd name="connsiteY977" fmla="*/ 453296 h 2084191"/>
              <a:gd name="connsiteX978" fmla="*/ 1233689 w 2051041"/>
              <a:gd name="connsiteY978" fmla="*/ 497374 h 2084191"/>
              <a:gd name="connsiteX979" fmla="*/ 1189611 w 2051041"/>
              <a:gd name="connsiteY979" fmla="*/ 451664 h 2084191"/>
              <a:gd name="connsiteX980" fmla="*/ 1235865 w 2051041"/>
              <a:gd name="connsiteY980" fmla="*/ 408130 h 2084191"/>
              <a:gd name="connsiteX981" fmla="*/ 1396941 w 2051041"/>
              <a:gd name="connsiteY981" fmla="*/ 403776 h 2084191"/>
              <a:gd name="connsiteX982" fmla="*/ 1446461 w 2051041"/>
              <a:gd name="connsiteY982" fmla="*/ 450575 h 2084191"/>
              <a:gd name="connsiteX983" fmla="*/ 1399118 w 2051041"/>
              <a:gd name="connsiteY983" fmla="*/ 500640 h 2084191"/>
              <a:gd name="connsiteX984" fmla="*/ 1349598 w 2051041"/>
              <a:gd name="connsiteY984" fmla="*/ 453296 h 2084191"/>
              <a:gd name="connsiteX985" fmla="*/ 1396941 w 2051041"/>
              <a:gd name="connsiteY985" fmla="*/ 403776 h 2084191"/>
              <a:gd name="connsiteX986" fmla="*/ 1560738 w 2051041"/>
              <a:gd name="connsiteY986" fmla="*/ 402144 h 2084191"/>
              <a:gd name="connsiteX987" fmla="*/ 1611347 w 2051041"/>
              <a:gd name="connsiteY987" fmla="*/ 453297 h 2084191"/>
              <a:gd name="connsiteX988" fmla="*/ 1560194 w 2051041"/>
              <a:gd name="connsiteY988" fmla="*/ 502272 h 2084191"/>
              <a:gd name="connsiteX989" fmla="*/ 1511218 w 2051041"/>
              <a:gd name="connsiteY989" fmla="*/ 451664 h 2084191"/>
              <a:gd name="connsiteX990" fmla="*/ 1560738 w 2051041"/>
              <a:gd name="connsiteY990" fmla="*/ 402144 h 2084191"/>
              <a:gd name="connsiteX991" fmla="*/ 1723991 w 2051041"/>
              <a:gd name="connsiteY991" fmla="*/ 399423 h 2084191"/>
              <a:gd name="connsiteX992" fmla="*/ 1776776 w 2051041"/>
              <a:gd name="connsiteY992" fmla="*/ 452752 h 2084191"/>
              <a:gd name="connsiteX993" fmla="*/ 1725079 w 2051041"/>
              <a:gd name="connsiteY993" fmla="*/ 504993 h 2084191"/>
              <a:gd name="connsiteX994" fmla="*/ 1671750 w 2051041"/>
              <a:gd name="connsiteY994" fmla="*/ 452752 h 2084191"/>
              <a:gd name="connsiteX995" fmla="*/ 1723991 w 2051041"/>
              <a:gd name="connsiteY995" fmla="*/ 399423 h 2084191"/>
              <a:gd name="connsiteX996" fmla="*/ 2051040 w 2051041"/>
              <a:gd name="connsiteY996" fmla="*/ 398335 h 2084191"/>
              <a:gd name="connsiteX997" fmla="*/ 2051041 w 2051041"/>
              <a:gd name="connsiteY997" fmla="*/ 398335 h 2084191"/>
              <a:gd name="connsiteX998" fmla="*/ 2051041 w 2051041"/>
              <a:gd name="connsiteY998" fmla="*/ 506936 h 2084191"/>
              <a:gd name="connsiteX999" fmla="*/ 2049952 w 2051041"/>
              <a:gd name="connsiteY999" fmla="*/ 507170 h 2084191"/>
              <a:gd name="connsiteX1000" fmla="*/ 1995534 w 2051041"/>
              <a:gd name="connsiteY1000" fmla="*/ 452208 h 2084191"/>
              <a:gd name="connsiteX1001" fmla="*/ 2051040 w 2051041"/>
              <a:gd name="connsiteY1001" fmla="*/ 398335 h 2084191"/>
              <a:gd name="connsiteX1002" fmla="*/ 1888332 w 2051041"/>
              <a:gd name="connsiteY1002" fmla="*/ 398335 h 2084191"/>
              <a:gd name="connsiteX1003" fmla="*/ 1941661 w 2051041"/>
              <a:gd name="connsiteY1003" fmla="*/ 452208 h 2084191"/>
              <a:gd name="connsiteX1004" fmla="*/ 1886699 w 2051041"/>
              <a:gd name="connsiteY1004" fmla="*/ 506082 h 2084191"/>
              <a:gd name="connsiteX1005" fmla="*/ 1833370 w 2051041"/>
              <a:gd name="connsiteY1005" fmla="*/ 452208 h 2084191"/>
              <a:gd name="connsiteX1006" fmla="*/ 1888332 w 2051041"/>
              <a:gd name="connsiteY1006" fmla="*/ 398335 h 2084191"/>
              <a:gd name="connsiteX1007" fmla="*/ 12014 w 2051041"/>
              <a:gd name="connsiteY1007" fmla="*/ 364052 h 2084191"/>
              <a:gd name="connsiteX1008" fmla="*/ 15823 w 2051041"/>
              <a:gd name="connsiteY1008" fmla="*/ 370038 h 2084191"/>
              <a:gd name="connsiteX1009" fmla="*/ 9293 w 2051041"/>
              <a:gd name="connsiteY1009" fmla="*/ 377656 h 2084191"/>
              <a:gd name="connsiteX1010" fmla="*/ 3307 w 2051041"/>
              <a:gd name="connsiteY1010" fmla="*/ 371126 h 2084191"/>
              <a:gd name="connsiteX1011" fmla="*/ 12014 w 2051041"/>
              <a:gd name="connsiteY1011" fmla="*/ 364052 h 2084191"/>
              <a:gd name="connsiteX1012" fmla="*/ 172545 w 2051041"/>
              <a:gd name="connsiteY1012" fmla="*/ 353713 h 2084191"/>
              <a:gd name="connsiteX1013" fmla="*/ 190503 w 2051041"/>
              <a:gd name="connsiteY1013" fmla="*/ 370582 h 2084191"/>
              <a:gd name="connsiteX1014" fmla="*/ 173090 w 2051041"/>
              <a:gd name="connsiteY1014" fmla="*/ 387996 h 2084191"/>
              <a:gd name="connsiteX1015" fmla="*/ 155676 w 2051041"/>
              <a:gd name="connsiteY1015" fmla="*/ 371126 h 2084191"/>
              <a:gd name="connsiteX1016" fmla="*/ 172545 w 2051041"/>
              <a:gd name="connsiteY1016" fmla="*/ 353713 h 2084191"/>
              <a:gd name="connsiteX1017" fmla="*/ 336886 w 2051041"/>
              <a:gd name="connsiteY1017" fmla="*/ 345550 h 2084191"/>
              <a:gd name="connsiteX1018" fmla="*/ 361374 w 2051041"/>
              <a:gd name="connsiteY1018" fmla="*/ 371670 h 2084191"/>
              <a:gd name="connsiteX1019" fmla="*/ 335798 w 2051041"/>
              <a:gd name="connsiteY1019" fmla="*/ 395070 h 2084191"/>
              <a:gd name="connsiteX1020" fmla="*/ 311854 w 2051041"/>
              <a:gd name="connsiteY1020" fmla="*/ 370038 h 2084191"/>
              <a:gd name="connsiteX1021" fmla="*/ 336886 w 2051041"/>
              <a:gd name="connsiteY1021" fmla="*/ 345550 h 2084191"/>
              <a:gd name="connsiteX1022" fmla="*/ 499596 w 2051041"/>
              <a:gd name="connsiteY1022" fmla="*/ 342284 h 2084191"/>
              <a:gd name="connsiteX1023" fmla="*/ 528437 w 2051041"/>
              <a:gd name="connsiteY1023" fmla="*/ 370582 h 2084191"/>
              <a:gd name="connsiteX1024" fmla="*/ 499051 w 2051041"/>
              <a:gd name="connsiteY1024" fmla="*/ 399423 h 2084191"/>
              <a:gd name="connsiteX1025" fmla="*/ 470210 w 2051041"/>
              <a:gd name="connsiteY1025" fmla="*/ 370037 h 2084191"/>
              <a:gd name="connsiteX1026" fmla="*/ 499596 w 2051041"/>
              <a:gd name="connsiteY1026" fmla="*/ 342284 h 2084191"/>
              <a:gd name="connsiteX1027" fmla="*/ 663392 w 2051041"/>
              <a:gd name="connsiteY1027" fmla="*/ 337387 h 2084191"/>
              <a:gd name="connsiteX1028" fmla="*/ 697131 w 2051041"/>
              <a:gd name="connsiteY1028" fmla="*/ 371126 h 2084191"/>
              <a:gd name="connsiteX1029" fmla="*/ 662304 w 2051041"/>
              <a:gd name="connsiteY1029" fmla="*/ 404321 h 2084191"/>
              <a:gd name="connsiteX1030" fmla="*/ 629109 w 2051041"/>
              <a:gd name="connsiteY1030" fmla="*/ 371126 h 2084191"/>
              <a:gd name="connsiteX1031" fmla="*/ 663392 w 2051041"/>
              <a:gd name="connsiteY1031" fmla="*/ 337387 h 2084191"/>
              <a:gd name="connsiteX1032" fmla="*/ 825556 w 2051041"/>
              <a:gd name="connsiteY1032" fmla="*/ 332489 h 2084191"/>
              <a:gd name="connsiteX1033" fmla="*/ 864737 w 2051041"/>
              <a:gd name="connsiteY1033" fmla="*/ 370037 h 2084191"/>
              <a:gd name="connsiteX1034" fmla="*/ 826645 w 2051041"/>
              <a:gd name="connsiteY1034" fmla="*/ 409218 h 2084191"/>
              <a:gd name="connsiteX1035" fmla="*/ 787464 w 2051041"/>
              <a:gd name="connsiteY1035" fmla="*/ 371126 h 2084191"/>
              <a:gd name="connsiteX1036" fmla="*/ 825556 w 2051041"/>
              <a:gd name="connsiteY1036" fmla="*/ 332489 h 2084191"/>
              <a:gd name="connsiteX1037" fmla="*/ 989898 w 2051041"/>
              <a:gd name="connsiteY1037" fmla="*/ 328680 h 2084191"/>
              <a:gd name="connsiteX1038" fmla="*/ 1031255 w 2051041"/>
              <a:gd name="connsiteY1038" fmla="*/ 371126 h 2084191"/>
              <a:gd name="connsiteX1039" fmla="*/ 989354 w 2051041"/>
              <a:gd name="connsiteY1039" fmla="*/ 413027 h 2084191"/>
              <a:gd name="connsiteX1040" fmla="*/ 947452 w 2051041"/>
              <a:gd name="connsiteY1040" fmla="*/ 370037 h 2084191"/>
              <a:gd name="connsiteX1041" fmla="*/ 989898 w 2051041"/>
              <a:gd name="connsiteY1041" fmla="*/ 328680 h 2084191"/>
              <a:gd name="connsiteX1042" fmla="*/ 1153150 w 2051041"/>
              <a:gd name="connsiteY1042" fmla="*/ 326504 h 2084191"/>
              <a:gd name="connsiteX1043" fmla="*/ 1197228 w 2051041"/>
              <a:gd name="connsiteY1043" fmla="*/ 370582 h 2084191"/>
              <a:gd name="connsiteX1044" fmla="*/ 1152606 w 2051041"/>
              <a:gd name="connsiteY1044" fmla="*/ 414661 h 2084191"/>
              <a:gd name="connsiteX1045" fmla="*/ 1108528 w 2051041"/>
              <a:gd name="connsiteY1045" fmla="*/ 370038 h 2084191"/>
              <a:gd name="connsiteX1046" fmla="*/ 1153150 w 2051041"/>
              <a:gd name="connsiteY1046" fmla="*/ 326504 h 2084191"/>
              <a:gd name="connsiteX1047" fmla="*/ 1317492 w 2051041"/>
              <a:gd name="connsiteY1047" fmla="*/ 323239 h 2084191"/>
              <a:gd name="connsiteX1048" fmla="*/ 1364835 w 2051041"/>
              <a:gd name="connsiteY1048" fmla="*/ 372215 h 2084191"/>
              <a:gd name="connsiteX1049" fmla="*/ 1314771 w 2051041"/>
              <a:gd name="connsiteY1049" fmla="*/ 419014 h 2084191"/>
              <a:gd name="connsiteX1050" fmla="*/ 1268516 w 2051041"/>
              <a:gd name="connsiteY1050" fmla="*/ 370582 h 2084191"/>
              <a:gd name="connsiteX1051" fmla="*/ 1317492 w 2051041"/>
              <a:gd name="connsiteY1051" fmla="*/ 323239 h 2084191"/>
              <a:gd name="connsiteX1052" fmla="*/ 1479112 w 2051041"/>
              <a:gd name="connsiteY1052" fmla="*/ 320517 h 2084191"/>
              <a:gd name="connsiteX1053" fmla="*/ 1529720 w 2051041"/>
              <a:gd name="connsiteY1053" fmla="*/ 371670 h 2084191"/>
              <a:gd name="connsiteX1054" fmla="*/ 1478568 w 2051041"/>
              <a:gd name="connsiteY1054" fmla="*/ 420101 h 2084191"/>
              <a:gd name="connsiteX1055" fmla="*/ 1429592 w 2051041"/>
              <a:gd name="connsiteY1055" fmla="*/ 370037 h 2084191"/>
              <a:gd name="connsiteX1056" fmla="*/ 1479112 w 2051041"/>
              <a:gd name="connsiteY1056" fmla="*/ 320517 h 2084191"/>
              <a:gd name="connsiteX1057" fmla="*/ 1642364 w 2051041"/>
              <a:gd name="connsiteY1057" fmla="*/ 318341 h 2084191"/>
              <a:gd name="connsiteX1058" fmla="*/ 1695694 w 2051041"/>
              <a:gd name="connsiteY1058" fmla="*/ 370582 h 2084191"/>
              <a:gd name="connsiteX1059" fmla="*/ 1643453 w 2051041"/>
              <a:gd name="connsiteY1059" fmla="*/ 424455 h 2084191"/>
              <a:gd name="connsiteX1060" fmla="*/ 1589035 w 2051041"/>
              <a:gd name="connsiteY1060" fmla="*/ 371670 h 2084191"/>
              <a:gd name="connsiteX1061" fmla="*/ 1642364 w 2051041"/>
              <a:gd name="connsiteY1061" fmla="*/ 318341 h 2084191"/>
              <a:gd name="connsiteX1062" fmla="*/ 90919 w 2051041"/>
              <a:gd name="connsiteY1062" fmla="*/ 273718 h 2084191"/>
              <a:gd name="connsiteX1063" fmla="*/ 106700 w 2051041"/>
              <a:gd name="connsiteY1063" fmla="*/ 288411 h 2084191"/>
              <a:gd name="connsiteX1064" fmla="*/ 91463 w 2051041"/>
              <a:gd name="connsiteY1064" fmla="*/ 303648 h 2084191"/>
              <a:gd name="connsiteX1065" fmla="*/ 76770 w 2051041"/>
              <a:gd name="connsiteY1065" fmla="*/ 288411 h 2084191"/>
              <a:gd name="connsiteX1066" fmla="*/ 90919 w 2051041"/>
              <a:gd name="connsiteY1066" fmla="*/ 273718 h 2084191"/>
              <a:gd name="connsiteX1067" fmla="*/ 254716 w 2051041"/>
              <a:gd name="connsiteY1067" fmla="*/ 267733 h 2084191"/>
              <a:gd name="connsiteX1068" fmla="*/ 276483 w 2051041"/>
              <a:gd name="connsiteY1068" fmla="*/ 288956 h 2084191"/>
              <a:gd name="connsiteX1069" fmla="*/ 254172 w 2051041"/>
              <a:gd name="connsiteY1069" fmla="*/ 311811 h 2084191"/>
              <a:gd name="connsiteX1070" fmla="*/ 232405 w 2051041"/>
              <a:gd name="connsiteY1070" fmla="*/ 289500 h 2084191"/>
              <a:gd name="connsiteX1071" fmla="*/ 254716 w 2051041"/>
              <a:gd name="connsiteY1071" fmla="*/ 267733 h 2084191"/>
              <a:gd name="connsiteX1072" fmla="*/ 1941117 w 2051041"/>
              <a:gd name="connsiteY1072" fmla="*/ 263202 h 2084191"/>
              <a:gd name="connsiteX1073" fmla="*/ 1936219 w 2051041"/>
              <a:gd name="connsiteY1073" fmla="*/ 266467 h 2084191"/>
              <a:gd name="connsiteX1074" fmla="*/ 1938396 w 2051041"/>
              <a:gd name="connsiteY1074" fmla="*/ 272453 h 2084191"/>
              <a:gd name="connsiteX1075" fmla="*/ 1932954 w 2051041"/>
              <a:gd name="connsiteY1075" fmla="*/ 325782 h 2084191"/>
              <a:gd name="connsiteX1076" fmla="*/ 1930777 w 2051041"/>
              <a:gd name="connsiteY1076" fmla="*/ 331224 h 2084191"/>
              <a:gd name="connsiteX1077" fmla="*/ 1936219 w 2051041"/>
              <a:gd name="connsiteY1077" fmla="*/ 330136 h 2084191"/>
              <a:gd name="connsiteX1078" fmla="*/ 1966693 w 2051041"/>
              <a:gd name="connsiteY1078" fmla="*/ 320340 h 2084191"/>
              <a:gd name="connsiteX1079" fmla="*/ 1998799 w 2051041"/>
              <a:gd name="connsiteY1079" fmla="*/ 328503 h 2084191"/>
              <a:gd name="connsiteX1080" fmla="*/ 2003153 w 2051041"/>
              <a:gd name="connsiteY1080" fmla="*/ 330136 h 2084191"/>
              <a:gd name="connsiteX1081" fmla="*/ 2001520 w 2051041"/>
              <a:gd name="connsiteY1081" fmla="*/ 324694 h 2084191"/>
              <a:gd name="connsiteX1082" fmla="*/ 1994446 w 2051041"/>
              <a:gd name="connsiteY1082" fmla="*/ 309457 h 2084191"/>
              <a:gd name="connsiteX1083" fmla="*/ 1998255 w 2051041"/>
              <a:gd name="connsiteY1083" fmla="*/ 267555 h 2084191"/>
              <a:gd name="connsiteX1084" fmla="*/ 2000976 w 2051041"/>
              <a:gd name="connsiteY1084" fmla="*/ 263746 h 2084191"/>
              <a:gd name="connsiteX1085" fmla="*/ 1995534 w 2051041"/>
              <a:gd name="connsiteY1085" fmla="*/ 263746 h 2084191"/>
              <a:gd name="connsiteX1086" fmla="*/ 1941117 w 2051041"/>
              <a:gd name="connsiteY1086" fmla="*/ 263202 h 2084191"/>
              <a:gd name="connsiteX1087" fmla="*/ 417425 w 2051041"/>
              <a:gd name="connsiteY1087" fmla="*/ 262291 h 2084191"/>
              <a:gd name="connsiteX1088" fmla="*/ 445178 w 2051041"/>
              <a:gd name="connsiteY1088" fmla="*/ 288956 h 2084191"/>
              <a:gd name="connsiteX1089" fmla="*/ 417969 w 2051041"/>
              <a:gd name="connsiteY1089" fmla="*/ 317253 h 2084191"/>
              <a:gd name="connsiteX1090" fmla="*/ 390216 w 2051041"/>
              <a:gd name="connsiteY1090" fmla="*/ 290044 h 2084191"/>
              <a:gd name="connsiteX1091" fmla="*/ 417425 w 2051041"/>
              <a:gd name="connsiteY1091" fmla="*/ 262291 h 2084191"/>
              <a:gd name="connsiteX1092" fmla="*/ 580678 w 2051041"/>
              <a:gd name="connsiteY1092" fmla="*/ 256304 h 2084191"/>
              <a:gd name="connsiteX1093" fmla="*/ 613872 w 2051041"/>
              <a:gd name="connsiteY1093" fmla="*/ 288955 h 2084191"/>
              <a:gd name="connsiteX1094" fmla="*/ 581222 w 2051041"/>
              <a:gd name="connsiteY1094" fmla="*/ 322150 h 2084191"/>
              <a:gd name="connsiteX1095" fmla="*/ 548027 w 2051041"/>
              <a:gd name="connsiteY1095" fmla="*/ 289499 h 2084191"/>
              <a:gd name="connsiteX1096" fmla="*/ 580678 w 2051041"/>
              <a:gd name="connsiteY1096" fmla="*/ 256304 h 2084191"/>
              <a:gd name="connsiteX1097" fmla="*/ 743930 w 2051041"/>
              <a:gd name="connsiteY1097" fmla="*/ 251951 h 2084191"/>
              <a:gd name="connsiteX1098" fmla="*/ 782022 w 2051041"/>
              <a:gd name="connsiteY1098" fmla="*/ 289499 h 2084191"/>
              <a:gd name="connsiteX1099" fmla="*/ 744474 w 2051041"/>
              <a:gd name="connsiteY1099" fmla="*/ 326503 h 2084191"/>
              <a:gd name="connsiteX1100" fmla="*/ 707470 w 2051041"/>
              <a:gd name="connsiteY1100" fmla="*/ 289499 h 2084191"/>
              <a:gd name="connsiteX1101" fmla="*/ 743930 w 2051041"/>
              <a:gd name="connsiteY1101" fmla="*/ 251951 h 2084191"/>
              <a:gd name="connsiteX1102" fmla="*/ 907183 w 2051041"/>
              <a:gd name="connsiteY1102" fmla="*/ 249775 h 2084191"/>
              <a:gd name="connsiteX1103" fmla="*/ 947452 w 2051041"/>
              <a:gd name="connsiteY1103" fmla="*/ 289500 h 2084191"/>
              <a:gd name="connsiteX1104" fmla="*/ 908271 w 2051041"/>
              <a:gd name="connsiteY1104" fmla="*/ 329225 h 2084191"/>
              <a:gd name="connsiteX1105" fmla="*/ 867458 w 2051041"/>
              <a:gd name="connsiteY1105" fmla="*/ 290044 h 2084191"/>
              <a:gd name="connsiteX1106" fmla="*/ 907183 w 2051041"/>
              <a:gd name="connsiteY1106" fmla="*/ 249775 h 2084191"/>
              <a:gd name="connsiteX1107" fmla="*/ 1070435 w 2051041"/>
              <a:gd name="connsiteY1107" fmla="*/ 245965 h 2084191"/>
              <a:gd name="connsiteX1108" fmla="*/ 1114513 w 2051041"/>
              <a:gd name="connsiteY1108" fmla="*/ 290043 h 2084191"/>
              <a:gd name="connsiteX1109" fmla="*/ 1069347 w 2051041"/>
              <a:gd name="connsiteY1109" fmla="*/ 333578 h 2084191"/>
              <a:gd name="connsiteX1110" fmla="*/ 1026357 w 2051041"/>
              <a:gd name="connsiteY1110" fmla="*/ 288955 h 2084191"/>
              <a:gd name="connsiteX1111" fmla="*/ 1070435 w 2051041"/>
              <a:gd name="connsiteY1111" fmla="*/ 245965 h 2084191"/>
              <a:gd name="connsiteX1112" fmla="*/ 1233689 w 2051041"/>
              <a:gd name="connsiteY1112" fmla="*/ 241613 h 2084191"/>
              <a:gd name="connsiteX1113" fmla="*/ 1282120 w 2051041"/>
              <a:gd name="connsiteY1113" fmla="*/ 288412 h 2084191"/>
              <a:gd name="connsiteX1114" fmla="*/ 1235321 w 2051041"/>
              <a:gd name="connsiteY1114" fmla="*/ 335755 h 2084191"/>
              <a:gd name="connsiteX1115" fmla="*/ 1187434 w 2051041"/>
              <a:gd name="connsiteY1115" fmla="*/ 289500 h 2084191"/>
              <a:gd name="connsiteX1116" fmla="*/ 1233689 w 2051041"/>
              <a:gd name="connsiteY1116" fmla="*/ 241613 h 2084191"/>
              <a:gd name="connsiteX1117" fmla="*/ 1397485 w 2051041"/>
              <a:gd name="connsiteY1117" fmla="*/ 238891 h 2084191"/>
              <a:gd name="connsiteX1118" fmla="*/ 1448094 w 2051041"/>
              <a:gd name="connsiteY1118" fmla="*/ 288955 h 2084191"/>
              <a:gd name="connsiteX1119" fmla="*/ 1398029 w 2051041"/>
              <a:gd name="connsiteY1119" fmla="*/ 338475 h 2084191"/>
              <a:gd name="connsiteX1120" fmla="*/ 1348509 w 2051041"/>
              <a:gd name="connsiteY1120" fmla="*/ 289499 h 2084191"/>
              <a:gd name="connsiteX1121" fmla="*/ 1397485 w 2051041"/>
              <a:gd name="connsiteY1121" fmla="*/ 238891 h 2084191"/>
              <a:gd name="connsiteX1122" fmla="*/ 1559650 w 2051041"/>
              <a:gd name="connsiteY1122" fmla="*/ 237258 h 2084191"/>
              <a:gd name="connsiteX1123" fmla="*/ 1613523 w 2051041"/>
              <a:gd name="connsiteY1123" fmla="*/ 288955 h 2084191"/>
              <a:gd name="connsiteX1124" fmla="*/ 1560738 w 2051041"/>
              <a:gd name="connsiteY1124" fmla="*/ 342829 h 2084191"/>
              <a:gd name="connsiteX1125" fmla="*/ 1507953 w 2051041"/>
              <a:gd name="connsiteY1125" fmla="*/ 289499 h 2084191"/>
              <a:gd name="connsiteX1126" fmla="*/ 1559650 w 2051041"/>
              <a:gd name="connsiteY1126" fmla="*/ 237258 h 2084191"/>
              <a:gd name="connsiteX1127" fmla="*/ 9837 w 2051041"/>
              <a:gd name="connsiteY1127" fmla="*/ 198078 h 2084191"/>
              <a:gd name="connsiteX1128" fmla="*/ 19632 w 2051041"/>
              <a:gd name="connsiteY1128" fmla="*/ 207873 h 2084191"/>
              <a:gd name="connsiteX1129" fmla="*/ 10381 w 2051041"/>
              <a:gd name="connsiteY1129" fmla="*/ 218213 h 2084191"/>
              <a:gd name="connsiteX1130" fmla="*/ 42 w 2051041"/>
              <a:gd name="connsiteY1130" fmla="*/ 207873 h 2084191"/>
              <a:gd name="connsiteX1131" fmla="*/ 9837 w 2051041"/>
              <a:gd name="connsiteY1131" fmla="*/ 198078 h 2084191"/>
              <a:gd name="connsiteX1132" fmla="*/ 173090 w 2051041"/>
              <a:gd name="connsiteY1132" fmla="*/ 187739 h 2084191"/>
              <a:gd name="connsiteX1133" fmla="*/ 192136 w 2051041"/>
              <a:gd name="connsiteY1133" fmla="*/ 207329 h 2084191"/>
              <a:gd name="connsiteX1134" fmla="*/ 172546 w 2051041"/>
              <a:gd name="connsiteY1134" fmla="*/ 227464 h 2084191"/>
              <a:gd name="connsiteX1135" fmla="*/ 154044 w 2051041"/>
              <a:gd name="connsiteY1135" fmla="*/ 208418 h 2084191"/>
              <a:gd name="connsiteX1136" fmla="*/ 173090 w 2051041"/>
              <a:gd name="connsiteY1136" fmla="*/ 187739 h 2084191"/>
              <a:gd name="connsiteX1137" fmla="*/ 336887 w 2051041"/>
              <a:gd name="connsiteY1137" fmla="*/ 182297 h 2084191"/>
              <a:gd name="connsiteX1138" fmla="*/ 363007 w 2051041"/>
              <a:gd name="connsiteY1138" fmla="*/ 207329 h 2084191"/>
              <a:gd name="connsiteX1139" fmla="*/ 336887 w 2051041"/>
              <a:gd name="connsiteY1139" fmla="*/ 233994 h 2084191"/>
              <a:gd name="connsiteX1140" fmla="*/ 310766 w 2051041"/>
              <a:gd name="connsiteY1140" fmla="*/ 208961 h 2084191"/>
              <a:gd name="connsiteX1141" fmla="*/ 336887 w 2051041"/>
              <a:gd name="connsiteY1141" fmla="*/ 182297 h 2084191"/>
              <a:gd name="connsiteX1142" fmla="*/ 1856225 w 2051041"/>
              <a:gd name="connsiteY1142" fmla="*/ 180487 h 2084191"/>
              <a:gd name="connsiteX1143" fmla="*/ 1855681 w 2051041"/>
              <a:gd name="connsiteY1143" fmla="*/ 185929 h 2084191"/>
              <a:gd name="connsiteX1144" fmla="*/ 1851872 w 2051041"/>
              <a:gd name="connsiteY1144" fmla="*/ 244700 h 2084191"/>
              <a:gd name="connsiteX1145" fmla="*/ 1851328 w 2051041"/>
              <a:gd name="connsiteY1145" fmla="*/ 247965 h 2084191"/>
              <a:gd name="connsiteX1146" fmla="*/ 1854593 w 2051041"/>
              <a:gd name="connsiteY1146" fmla="*/ 247421 h 2084191"/>
              <a:gd name="connsiteX1147" fmla="*/ 1899215 w 2051041"/>
              <a:gd name="connsiteY1147" fmla="*/ 238714 h 2084191"/>
              <a:gd name="connsiteX1148" fmla="*/ 1913908 w 2051041"/>
              <a:gd name="connsiteY1148" fmla="*/ 243067 h 2084191"/>
              <a:gd name="connsiteX1149" fmla="*/ 1918806 w 2051041"/>
              <a:gd name="connsiteY1149" fmla="*/ 242523 h 2084191"/>
              <a:gd name="connsiteX1150" fmla="*/ 1918261 w 2051041"/>
              <a:gd name="connsiteY1150" fmla="*/ 238170 h 2084191"/>
              <a:gd name="connsiteX1151" fmla="*/ 1917173 w 2051041"/>
              <a:gd name="connsiteY1151" fmla="*/ 185929 h 2084191"/>
              <a:gd name="connsiteX1152" fmla="*/ 1918261 w 2051041"/>
              <a:gd name="connsiteY1152" fmla="*/ 181576 h 2084191"/>
              <a:gd name="connsiteX1153" fmla="*/ 1913908 w 2051041"/>
              <a:gd name="connsiteY1153" fmla="*/ 182664 h 2084191"/>
              <a:gd name="connsiteX1154" fmla="*/ 1860579 w 2051041"/>
              <a:gd name="connsiteY1154" fmla="*/ 180487 h 2084191"/>
              <a:gd name="connsiteX1155" fmla="*/ 1856225 w 2051041"/>
              <a:gd name="connsiteY1155" fmla="*/ 180487 h 2084191"/>
              <a:gd name="connsiteX1156" fmla="*/ 499595 w 2051041"/>
              <a:gd name="connsiteY1156" fmla="*/ 175767 h 2084191"/>
              <a:gd name="connsiteX1157" fmla="*/ 531158 w 2051041"/>
              <a:gd name="connsiteY1157" fmla="*/ 207874 h 2084191"/>
              <a:gd name="connsiteX1158" fmla="*/ 498507 w 2051041"/>
              <a:gd name="connsiteY1158" fmla="*/ 238347 h 2084191"/>
              <a:gd name="connsiteX1159" fmla="*/ 468033 w 2051041"/>
              <a:gd name="connsiteY1159" fmla="*/ 207329 h 2084191"/>
              <a:gd name="connsiteX1160" fmla="*/ 499595 w 2051041"/>
              <a:gd name="connsiteY1160" fmla="*/ 175767 h 2084191"/>
              <a:gd name="connsiteX1161" fmla="*/ 662304 w 2051041"/>
              <a:gd name="connsiteY1161" fmla="*/ 173046 h 2084191"/>
              <a:gd name="connsiteX1162" fmla="*/ 697676 w 2051041"/>
              <a:gd name="connsiteY1162" fmla="*/ 207873 h 2084191"/>
              <a:gd name="connsiteX1163" fmla="*/ 662304 w 2051041"/>
              <a:gd name="connsiteY1163" fmla="*/ 242156 h 2084191"/>
              <a:gd name="connsiteX1164" fmla="*/ 628021 w 2051041"/>
              <a:gd name="connsiteY1164" fmla="*/ 207873 h 2084191"/>
              <a:gd name="connsiteX1165" fmla="*/ 662304 w 2051041"/>
              <a:gd name="connsiteY1165" fmla="*/ 173046 h 2084191"/>
              <a:gd name="connsiteX1166" fmla="*/ 826645 w 2051041"/>
              <a:gd name="connsiteY1166" fmla="*/ 168148 h 2084191"/>
              <a:gd name="connsiteX1167" fmla="*/ 864737 w 2051041"/>
              <a:gd name="connsiteY1167" fmla="*/ 207329 h 2084191"/>
              <a:gd name="connsiteX1168" fmla="*/ 826100 w 2051041"/>
              <a:gd name="connsiteY1168" fmla="*/ 247054 h 2084191"/>
              <a:gd name="connsiteX1169" fmla="*/ 787464 w 2051041"/>
              <a:gd name="connsiteY1169" fmla="*/ 207873 h 2084191"/>
              <a:gd name="connsiteX1170" fmla="*/ 826645 w 2051041"/>
              <a:gd name="connsiteY1170" fmla="*/ 168148 h 2084191"/>
              <a:gd name="connsiteX1171" fmla="*/ 987721 w 2051041"/>
              <a:gd name="connsiteY1171" fmla="*/ 164883 h 2084191"/>
              <a:gd name="connsiteX1172" fmla="*/ 1031799 w 2051041"/>
              <a:gd name="connsiteY1172" fmla="*/ 207329 h 2084191"/>
              <a:gd name="connsiteX1173" fmla="*/ 988809 w 2051041"/>
              <a:gd name="connsiteY1173" fmla="*/ 250319 h 2084191"/>
              <a:gd name="connsiteX1174" fmla="*/ 945819 w 2051041"/>
              <a:gd name="connsiteY1174" fmla="*/ 208417 h 2084191"/>
              <a:gd name="connsiteX1175" fmla="*/ 987721 w 2051041"/>
              <a:gd name="connsiteY1175" fmla="*/ 164883 h 2084191"/>
              <a:gd name="connsiteX1176" fmla="*/ 1153150 w 2051041"/>
              <a:gd name="connsiteY1176" fmla="*/ 162707 h 2084191"/>
              <a:gd name="connsiteX1177" fmla="*/ 1197772 w 2051041"/>
              <a:gd name="connsiteY1177" fmla="*/ 207874 h 2084191"/>
              <a:gd name="connsiteX1178" fmla="*/ 1151517 w 2051041"/>
              <a:gd name="connsiteY1178" fmla="*/ 253584 h 2084191"/>
              <a:gd name="connsiteX1179" fmla="*/ 1107439 w 2051041"/>
              <a:gd name="connsiteY1179" fmla="*/ 207329 h 2084191"/>
              <a:gd name="connsiteX1180" fmla="*/ 1153150 w 2051041"/>
              <a:gd name="connsiteY1180" fmla="*/ 162707 h 2084191"/>
              <a:gd name="connsiteX1181" fmla="*/ 1315315 w 2051041"/>
              <a:gd name="connsiteY1181" fmla="*/ 158353 h 2084191"/>
              <a:gd name="connsiteX1182" fmla="*/ 1365379 w 2051041"/>
              <a:gd name="connsiteY1182" fmla="*/ 206785 h 2084191"/>
              <a:gd name="connsiteX1183" fmla="*/ 1315859 w 2051041"/>
              <a:gd name="connsiteY1183" fmla="*/ 256305 h 2084191"/>
              <a:gd name="connsiteX1184" fmla="*/ 1266883 w 2051041"/>
              <a:gd name="connsiteY1184" fmla="*/ 207873 h 2084191"/>
              <a:gd name="connsiteX1185" fmla="*/ 1315315 w 2051041"/>
              <a:gd name="connsiteY1185" fmla="*/ 158353 h 2084191"/>
              <a:gd name="connsiteX1186" fmla="*/ 1478567 w 2051041"/>
              <a:gd name="connsiteY1186" fmla="*/ 156721 h 2084191"/>
              <a:gd name="connsiteX1187" fmla="*/ 1529720 w 2051041"/>
              <a:gd name="connsiteY1187" fmla="*/ 207329 h 2084191"/>
              <a:gd name="connsiteX1188" fmla="*/ 1478567 w 2051041"/>
              <a:gd name="connsiteY1188" fmla="*/ 258482 h 2084191"/>
              <a:gd name="connsiteX1189" fmla="*/ 1427959 w 2051041"/>
              <a:gd name="connsiteY1189" fmla="*/ 207874 h 2084191"/>
              <a:gd name="connsiteX1190" fmla="*/ 1478567 w 2051041"/>
              <a:gd name="connsiteY1190" fmla="*/ 156721 h 2084191"/>
              <a:gd name="connsiteX1191" fmla="*/ 1644541 w 2051041"/>
              <a:gd name="connsiteY1191" fmla="*/ 153456 h 2084191"/>
              <a:gd name="connsiteX1192" fmla="*/ 1697326 w 2051041"/>
              <a:gd name="connsiteY1192" fmla="*/ 209506 h 2084191"/>
              <a:gd name="connsiteX1193" fmla="*/ 1641276 w 2051041"/>
              <a:gd name="connsiteY1193" fmla="*/ 262835 h 2084191"/>
              <a:gd name="connsiteX1194" fmla="*/ 1587947 w 2051041"/>
              <a:gd name="connsiteY1194" fmla="*/ 206785 h 2084191"/>
              <a:gd name="connsiteX1195" fmla="*/ 1644541 w 2051041"/>
              <a:gd name="connsiteY1195" fmla="*/ 153456 h 2084191"/>
              <a:gd name="connsiteX1196" fmla="*/ 91463 w 2051041"/>
              <a:gd name="connsiteY1196" fmla="*/ 109922 h 2084191"/>
              <a:gd name="connsiteX1197" fmla="*/ 107244 w 2051041"/>
              <a:gd name="connsiteY1197" fmla="*/ 126247 h 2084191"/>
              <a:gd name="connsiteX1198" fmla="*/ 91463 w 2051041"/>
              <a:gd name="connsiteY1198" fmla="*/ 142028 h 2084191"/>
              <a:gd name="connsiteX1199" fmla="*/ 75682 w 2051041"/>
              <a:gd name="connsiteY1199" fmla="*/ 126247 h 2084191"/>
              <a:gd name="connsiteX1200" fmla="*/ 91463 w 2051041"/>
              <a:gd name="connsiteY1200" fmla="*/ 109922 h 2084191"/>
              <a:gd name="connsiteX1201" fmla="*/ 1942341 w 2051041"/>
              <a:gd name="connsiteY1201" fmla="*/ 104915 h 2084191"/>
              <a:gd name="connsiteX1202" fmla="*/ 1942205 w 2051041"/>
              <a:gd name="connsiteY1202" fmla="*/ 111377 h 2084191"/>
              <a:gd name="connsiteX1203" fmla="*/ 1946559 w 2051041"/>
              <a:gd name="connsiteY1203" fmla="*/ 131511 h 2084191"/>
              <a:gd name="connsiteX1204" fmla="*/ 1939484 w 2051041"/>
              <a:gd name="connsiteY1204" fmla="*/ 157088 h 2084191"/>
              <a:gd name="connsiteX1205" fmla="*/ 1941117 w 2051041"/>
              <a:gd name="connsiteY1205" fmla="*/ 160353 h 2084191"/>
              <a:gd name="connsiteX1206" fmla="*/ 1986828 w 2051041"/>
              <a:gd name="connsiteY1206" fmla="*/ 157088 h 2084191"/>
              <a:gd name="connsiteX1207" fmla="*/ 1987916 w 2051041"/>
              <a:gd name="connsiteY1207" fmla="*/ 157088 h 2084191"/>
              <a:gd name="connsiteX1208" fmla="*/ 1993902 w 2051041"/>
              <a:gd name="connsiteY1208" fmla="*/ 150013 h 2084191"/>
              <a:gd name="connsiteX1209" fmla="*/ 1993902 w 2051041"/>
              <a:gd name="connsiteY1209" fmla="*/ 109744 h 2084191"/>
              <a:gd name="connsiteX1210" fmla="*/ 1989004 w 2051041"/>
              <a:gd name="connsiteY1210" fmla="*/ 105391 h 2084191"/>
              <a:gd name="connsiteX1211" fmla="*/ 1948191 w 2051041"/>
              <a:gd name="connsiteY1211" fmla="*/ 105391 h 2084191"/>
              <a:gd name="connsiteX1212" fmla="*/ 1942341 w 2051041"/>
              <a:gd name="connsiteY1212" fmla="*/ 104915 h 2084191"/>
              <a:gd name="connsiteX1213" fmla="*/ 255804 w 2051041"/>
              <a:gd name="connsiteY1213" fmla="*/ 103392 h 2084191"/>
              <a:gd name="connsiteX1214" fmla="*/ 277571 w 2051041"/>
              <a:gd name="connsiteY1214" fmla="*/ 126791 h 2084191"/>
              <a:gd name="connsiteX1215" fmla="*/ 254172 w 2051041"/>
              <a:gd name="connsiteY1215" fmla="*/ 148014 h 2084191"/>
              <a:gd name="connsiteX1216" fmla="*/ 232405 w 2051041"/>
              <a:gd name="connsiteY1216" fmla="*/ 125159 h 2084191"/>
              <a:gd name="connsiteX1217" fmla="*/ 255804 w 2051041"/>
              <a:gd name="connsiteY1217" fmla="*/ 103392 h 2084191"/>
              <a:gd name="connsiteX1218" fmla="*/ 1773511 w 2051041"/>
              <a:gd name="connsiteY1218" fmla="*/ 99405 h 2084191"/>
              <a:gd name="connsiteX1219" fmla="*/ 1773511 w 2051041"/>
              <a:gd name="connsiteY1219" fmla="*/ 107023 h 2084191"/>
              <a:gd name="connsiteX1220" fmla="*/ 1780585 w 2051041"/>
              <a:gd name="connsiteY1220" fmla="*/ 130423 h 2084191"/>
              <a:gd name="connsiteX1221" fmla="*/ 1773511 w 2051041"/>
              <a:gd name="connsiteY1221" fmla="*/ 155999 h 2084191"/>
              <a:gd name="connsiteX1222" fmla="*/ 1774055 w 2051041"/>
              <a:gd name="connsiteY1222" fmla="*/ 161985 h 2084191"/>
              <a:gd name="connsiteX1223" fmla="*/ 1780041 w 2051041"/>
              <a:gd name="connsiteY1223" fmla="*/ 162529 h 2084191"/>
              <a:gd name="connsiteX1224" fmla="*/ 1811059 w 2051041"/>
              <a:gd name="connsiteY1224" fmla="*/ 157632 h 2084191"/>
              <a:gd name="connsiteX1225" fmla="*/ 1829561 w 2051041"/>
              <a:gd name="connsiteY1225" fmla="*/ 161985 h 2084191"/>
              <a:gd name="connsiteX1226" fmla="*/ 1836635 w 2051041"/>
              <a:gd name="connsiteY1226" fmla="*/ 161985 h 2084191"/>
              <a:gd name="connsiteX1227" fmla="*/ 1833914 w 2051041"/>
              <a:gd name="connsiteY1227" fmla="*/ 157088 h 2084191"/>
              <a:gd name="connsiteX1228" fmla="*/ 1834458 w 2051041"/>
              <a:gd name="connsiteY1228" fmla="*/ 104303 h 2084191"/>
              <a:gd name="connsiteX1229" fmla="*/ 1835547 w 2051041"/>
              <a:gd name="connsiteY1229" fmla="*/ 99405 h 2084191"/>
              <a:gd name="connsiteX1230" fmla="*/ 1831193 w 2051041"/>
              <a:gd name="connsiteY1230" fmla="*/ 101038 h 2084191"/>
              <a:gd name="connsiteX1231" fmla="*/ 1780041 w 2051041"/>
              <a:gd name="connsiteY1231" fmla="*/ 101582 h 2084191"/>
              <a:gd name="connsiteX1232" fmla="*/ 1773511 w 2051041"/>
              <a:gd name="connsiteY1232" fmla="*/ 99405 h 2084191"/>
              <a:gd name="connsiteX1233" fmla="*/ 417424 w 2051041"/>
              <a:gd name="connsiteY1233" fmla="*/ 97950 h 2084191"/>
              <a:gd name="connsiteX1234" fmla="*/ 445721 w 2051041"/>
              <a:gd name="connsiteY1234" fmla="*/ 126247 h 2084191"/>
              <a:gd name="connsiteX1235" fmla="*/ 417424 w 2051041"/>
              <a:gd name="connsiteY1235" fmla="*/ 153456 h 2084191"/>
              <a:gd name="connsiteX1236" fmla="*/ 390215 w 2051041"/>
              <a:gd name="connsiteY1236" fmla="*/ 125159 h 2084191"/>
              <a:gd name="connsiteX1237" fmla="*/ 417424 w 2051041"/>
              <a:gd name="connsiteY1237" fmla="*/ 97950 h 2084191"/>
              <a:gd name="connsiteX1238" fmla="*/ 580677 w 2051041"/>
              <a:gd name="connsiteY1238" fmla="*/ 92508 h 2084191"/>
              <a:gd name="connsiteX1239" fmla="*/ 614960 w 2051041"/>
              <a:gd name="connsiteY1239" fmla="*/ 125159 h 2084191"/>
              <a:gd name="connsiteX1240" fmla="*/ 581766 w 2051041"/>
              <a:gd name="connsiteY1240" fmla="*/ 158353 h 2084191"/>
              <a:gd name="connsiteX1241" fmla="*/ 548571 w 2051041"/>
              <a:gd name="connsiteY1241" fmla="*/ 125703 h 2084191"/>
              <a:gd name="connsiteX1242" fmla="*/ 580677 w 2051041"/>
              <a:gd name="connsiteY1242" fmla="*/ 92508 h 2084191"/>
              <a:gd name="connsiteX1243" fmla="*/ 745019 w 2051041"/>
              <a:gd name="connsiteY1243" fmla="*/ 88154 h 2084191"/>
              <a:gd name="connsiteX1244" fmla="*/ 782567 w 2051041"/>
              <a:gd name="connsiteY1244" fmla="*/ 126791 h 2084191"/>
              <a:gd name="connsiteX1245" fmla="*/ 743930 w 2051041"/>
              <a:gd name="connsiteY1245" fmla="*/ 164339 h 2084191"/>
              <a:gd name="connsiteX1246" fmla="*/ 706382 w 2051041"/>
              <a:gd name="connsiteY1246" fmla="*/ 125702 h 2084191"/>
              <a:gd name="connsiteX1247" fmla="*/ 745019 w 2051041"/>
              <a:gd name="connsiteY1247" fmla="*/ 88154 h 2084191"/>
              <a:gd name="connsiteX1248" fmla="*/ 1685898 w 2051041"/>
              <a:gd name="connsiteY1248" fmla="*/ 84712 h 2084191"/>
              <a:gd name="connsiteX1249" fmla="*/ 1685681 w 2051041"/>
              <a:gd name="connsiteY1249" fmla="*/ 85147 h 2084191"/>
              <a:gd name="connsiteX1250" fmla="*/ 1685354 w 2051041"/>
              <a:gd name="connsiteY1250" fmla="*/ 85256 h 2084191"/>
              <a:gd name="connsiteX1251" fmla="*/ 1685898 w 2051041"/>
              <a:gd name="connsiteY1251" fmla="*/ 84712 h 2084191"/>
              <a:gd name="connsiteX1252" fmla="*/ 907183 w 2051041"/>
              <a:gd name="connsiteY1252" fmla="*/ 84345 h 2084191"/>
              <a:gd name="connsiteX1253" fmla="*/ 934935 w 2051041"/>
              <a:gd name="connsiteY1253" fmla="*/ 95228 h 2084191"/>
              <a:gd name="connsiteX1254" fmla="*/ 949628 w 2051041"/>
              <a:gd name="connsiteY1254" fmla="*/ 125158 h 2084191"/>
              <a:gd name="connsiteX1255" fmla="*/ 908271 w 2051041"/>
              <a:gd name="connsiteY1255" fmla="*/ 167060 h 2084191"/>
              <a:gd name="connsiteX1256" fmla="*/ 866369 w 2051041"/>
              <a:gd name="connsiteY1256" fmla="*/ 125702 h 2084191"/>
              <a:gd name="connsiteX1257" fmla="*/ 907183 w 2051041"/>
              <a:gd name="connsiteY1257" fmla="*/ 84345 h 2084191"/>
              <a:gd name="connsiteX1258" fmla="*/ 1070979 w 2051041"/>
              <a:gd name="connsiteY1258" fmla="*/ 82169 h 2084191"/>
              <a:gd name="connsiteX1259" fmla="*/ 1115602 w 2051041"/>
              <a:gd name="connsiteY1259" fmla="*/ 126247 h 2084191"/>
              <a:gd name="connsiteX1260" fmla="*/ 1071524 w 2051041"/>
              <a:gd name="connsiteY1260" fmla="*/ 170325 h 2084191"/>
              <a:gd name="connsiteX1261" fmla="*/ 1026357 w 2051041"/>
              <a:gd name="connsiteY1261" fmla="*/ 125703 h 2084191"/>
              <a:gd name="connsiteX1262" fmla="*/ 1070979 w 2051041"/>
              <a:gd name="connsiteY1262" fmla="*/ 82169 h 2084191"/>
              <a:gd name="connsiteX1263" fmla="*/ 1684811 w 2051041"/>
              <a:gd name="connsiteY1263" fmla="*/ 82168 h 2084191"/>
              <a:gd name="connsiteX1264" fmla="*/ 1684266 w 2051041"/>
              <a:gd name="connsiteY1264" fmla="*/ 82713 h 2084191"/>
              <a:gd name="connsiteX1265" fmla="*/ 1684469 w 2051041"/>
              <a:gd name="connsiteY1265" fmla="*/ 82365 h 2084191"/>
              <a:gd name="connsiteX1266" fmla="*/ 1234777 w 2051041"/>
              <a:gd name="connsiteY1266" fmla="*/ 78360 h 2084191"/>
              <a:gd name="connsiteX1267" fmla="*/ 1282664 w 2051041"/>
              <a:gd name="connsiteY1267" fmla="*/ 126791 h 2084191"/>
              <a:gd name="connsiteX1268" fmla="*/ 1234232 w 2051041"/>
              <a:gd name="connsiteY1268" fmla="*/ 174135 h 2084191"/>
              <a:gd name="connsiteX1269" fmla="*/ 1186889 w 2051041"/>
              <a:gd name="connsiteY1269" fmla="*/ 126791 h 2084191"/>
              <a:gd name="connsiteX1270" fmla="*/ 1234777 w 2051041"/>
              <a:gd name="connsiteY1270" fmla="*/ 78360 h 2084191"/>
              <a:gd name="connsiteX1271" fmla="*/ 1398574 w 2051041"/>
              <a:gd name="connsiteY1271" fmla="*/ 76182 h 2084191"/>
              <a:gd name="connsiteX1272" fmla="*/ 1448094 w 2051041"/>
              <a:gd name="connsiteY1272" fmla="*/ 127335 h 2084191"/>
              <a:gd name="connsiteX1273" fmla="*/ 1396941 w 2051041"/>
              <a:gd name="connsiteY1273" fmla="*/ 175766 h 2084191"/>
              <a:gd name="connsiteX1274" fmla="*/ 1347421 w 2051041"/>
              <a:gd name="connsiteY1274" fmla="*/ 125702 h 2084191"/>
              <a:gd name="connsiteX1275" fmla="*/ 1398574 w 2051041"/>
              <a:gd name="connsiteY1275" fmla="*/ 76182 h 2084191"/>
              <a:gd name="connsiteX1276" fmla="*/ 1561282 w 2051041"/>
              <a:gd name="connsiteY1276" fmla="*/ 72373 h 2084191"/>
              <a:gd name="connsiteX1277" fmla="*/ 1614611 w 2051041"/>
              <a:gd name="connsiteY1277" fmla="*/ 126247 h 2084191"/>
              <a:gd name="connsiteX1278" fmla="*/ 1560738 w 2051041"/>
              <a:gd name="connsiteY1278" fmla="*/ 179576 h 2084191"/>
              <a:gd name="connsiteX1279" fmla="*/ 1507409 w 2051041"/>
              <a:gd name="connsiteY1279" fmla="*/ 126247 h 2084191"/>
              <a:gd name="connsiteX1280" fmla="*/ 1561282 w 2051041"/>
              <a:gd name="connsiteY1280" fmla="*/ 72373 h 2084191"/>
              <a:gd name="connsiteX1281" fmla="*/ 10381 w 2051041"/>
              <a:gd name="connsiteY1281" fmla="*/ 33737 h 2084191"/>
              <a:gd name="connsiteX1282" fmla="*/ 20720 w 2051041"/>
              <a:gd name="connsiteY1282" fmla="*/ 45165 h 2084191"/>
              <a:gd name="connsiteX1283" fmla="*/ 9292 w 2051041"/>
              <a:gd name="connsiteY1283" fmla="*/ 54960 h 2084191"/>
              <a:gd name="connsiteX1284" fmla="*/ 41 w 2051041"/>
              <a:gd name="connsiteY1284" fmla="*/ 44621 h 2084191"/>
              <a:gd name="connsiteX1285" fmla="*/ 10381 w 2051041"/>
              <a:gd name="connsiteY1285" fmla="*/ 33737 h 2084191"/>
              <a:gd name="connsiteX1286" fmla="*/ 172546 w 2051041"/>
              <a:gd name="connsiteY1286" fmla="*/ 23942 h 2084191"/>
              <a:gd name="connsiteX1287" fmla="*/ 193224 w 2051041"/>
              <a:gd name="connsiteY1287" fmla="*/ 44621 h 2084191"/>
              <a:gd name="connsiteX1288" fmla="*/ 173090 w 2051041"/>
              <a:gd name="connsiteY1288" fmla="*/ 64755 h 2084191"/>
              <a:gd name="connsiteX1289" fmla="*/ 152411 w 2051041"/>
              <a:gd name="connsiteY1289" fmla="*/ 44621 h 2084191"/>
              <a:gd name="connsiteX1290" fmla="*/ 172546 w 2051041"/>
              <a:gd name="connsiteY1290" fmla="*/ 23942 h 2084191"/>
              <a:gd name="connsiteX1291" fmla="*/ 1861123 w 2051041"/>
              <a:gd name="connsiteY1291" fmla="*/ 22132 h 2084191"/>
              <a:gd name="connsiteX1292" fmla="*/ 1861123 w 2051041"/>
              <a:gd name="connsiteY1292" fmla="*/ 35737 h 2084191"/>
              <a:gd name="connsiteX1293" fmla="*/ 1861123 w 2051041"/>
              <a:gd name="connsiteY1293" fmla="*/ 61313 h 2084191"/>
              <a:gd name="connsiteX1294" fmla="*/ 1858946 w 2051041"/>
              <a:gd name="connsiteY1294" fmla="*/ 72740 h 2084191"/>
              <a:gd name="connsiteX1295" fmla="*/ 1866021 w 2051041"/>
              <a:gd name="connsiteY1295" fmla="*/ 76550 h 2084191"/>
              <a:gd name="connsiteX1296" fmla="*/ 1873639 w 2051041"/>
              <a:gd name="connsiteY1296" fmla="*/ 74917 h 2084191"/>
              <a:gd name="connsiteX1297" fmla="*/ 1900304 w 2051041"/>
              <a:gd name="connsiteY1297" fmla="*/ 74373 h 2084191"/>
              <a:gd name="connsiteX1298" fmla="*/ 1907922 w 2051041"/>
              <a:gd name="connsiteY1298" fmla="*/ 76006 h 2084191"/>
              <a:gd name="connsiteX1299" fmla="*/ 1912820 w 2051041"/>
              <a:gd name="connsiteY1299" fmla="*/ 70020 h 2084191"/>
              <a:gd name="connsiteX1300" fmla="*/ 1912820 w 2051041"/>
              <a:gd name="connsiteY1300" fmla="*/ 27030 h 2084191"/>
              <a:gd name="connsiteX1301" fmla="*/ 1908466 w 2051041"/>
              <a:gd name="connsiteY1301" fmla="*/ 22132 h 2084191"/>
              <a:gd name="connsiteX1302" fmla="*/ 1902480 w 2051041"/>
              <a:gd name="connsiteY1302" fmla="*/ 24309 h 2084191"/>
              <a:gd name="connsiteX1303" fmla="*/ 1873095 w 2051041"/>
              <a:gd name="connsiteY1303" fmla="*/ 24309 h 2084191"/>
              <a:gd name="connsiteX1304" fmla="*/ 1861123 w 2051041"/>
              <a:gd name="connsiteY1304" fmla="*/ 22132 h 2084191"/>
              <a:gd name="connsiteX1305" fmla="*/ 336886 w 2051041"/>
              <a:gd name="connsiteY1305" fmla="*/ 17412 h 2084191"/>
              <a:gd name="connsiteX1306" fmla="*/ 363007 w 2051041"/>
              <a:gd name="connsiteY1306" fmla="*/ 44077 h 2084191"/>
              <a:gd name="connsiteX1307" fmla="*/ 337431 w 2051041"/>
              <a:gd name="connsiteY1307" fmla="*/ 71285 h 2084191"/>
              <a:gd name="connsiteX1308" fmla="*/ 310222 w 2051041"/>
              <a:gd name="connsiteY1308" fmla="*/ 45165 h 2084191"/>
              <a:gd name="connsiteX1309" fmla="*/ 336886 w 2051041"/>
              <a:gd name="connsiteY1309" fmla="*/ 17412 h 2084191"/>
              <a:gd name="connsiteX1310" fmla="*/ 498507 w 2051041"/>
              <a:gd name="connsiteY1310" fmla="*/ 13059 h 2084191"/>
              <a:gd name="connsiteX1311" fmla="*/ 531702 w 2051041"/>
              <a:gd name="connsiteY1311" fmla="*/ 44621 h 2084191"/>
              <a:gd name="connsiteX1312" fmla="*/ 499595 w 2051041"/>
              <a:gd name="connsiteY1312" fmla="*/ 76727 h 2084191"/>
              <a:gd name="connsiteX1313" fmla="*/ 467489 w 2051041"/>
              <a:gd name="connsiteY1313" fmla="*/ 45165 h 2084191"/>
              <a:gd name="connsiteX1314" fmla="*/ 498507 w 2051041"/>
              <a:gd name="connsiteY1314" fmla="*/ 13059 h 2084191"/>
              <a:gd name="connsiteX1315" fmla="*/ 662303 w 2051041"/>
              <a:gd name="connsiteY1315" fmla="*/ 7616 h 2084191"/>
              <a:gd name="connsiteX1316" fmla="*/ 698763 w 2051041"/>
              <a:gd name="connsiteY1316" fmla="*/ 44076 h 2084191"/>
              <a:gd name="connsiteX1317" fmla="*/ 662303 w 2051041"/>
              <a:gd name="connsiteY1317" fmla="*/ 81080 h 2084191"/>
              <a:gd name="connsiteX1318" fmla="*/ 626932 w 2051041"/>
              <a:gd name="connsiteY1318" fmla="*/ 44076 h 2084191"/>
              <a:gd name="connsiteX1319" fmla="*/ 662303 w 2051041"/>
              <a:gd name="connsiteY1319" fmla="*/ 7616 h 2084191"/>
              <a:gd name="connsiteX1320" fmla="*/ 825557 w 2051041"/>
              <a:gd name="connsiteY1320" fmla="*/ 5440 h 2084191"/>
              <a:gd name="connsiteX1321" fmla="*/ 865281 w 2051041"/>
              <a:gd name="connsiteY1321" fmla="*/ 44621 h 2084191"/>
              <a:gd name="connsiteX1322" fmla="*/ 826101 w 2051041"/>
              <a:gd name="connsiteY1322" fmla="*/ 83257 h 2084191"/>
              <a:gd name="connsiteX1323" fmla="*/ 786920 w 2051041"/>
              <a:gd name="connsiteY1323" fmla="*/ 44621 h 2084191"/>
              <a:gd name="connsiteX1324" fmla="*/ 825557 w 2051041"/>
              <a:gd name="connsiteY1324" fmla="*/ 5440 h 2084191"/>
              <a:gd name="connsiteX1325" fmla="*/ 989353 w 2051041"/>
              <a:gd name="connsiteY1325" fmla="*/ 1086 h 2084191"/>
              <a:gd name="connsiteX1326" fmla="*/ 1032343 w 2051041"/>
              <a:gd name="connsiteY1326" fmla="*/ 43532 h 2084191"/>
              <a:gd name="connsiteX1327" fmla="*/ 989897 w 2051041"/>
              <a:gd name="connsiteY1327" fmla="*/ 87610 h 2084191"/>
              <a:gd name="connsiteX1328" fmla="*/ 945819 w 2051041"/>
              <a:gd name="connsiteY1328" fmla="*/ 44620 h 2084191"/>
              <a:gd name="connsiteX1329" fmla="*/ 989353 w 2051041"/>
              <a:gd name="connsiteY1329" fmla="*/ 1086 h 2084191"/>
              <a:gd name="connsiteX1330" fmla="*/ 1614056 w 2051041"/>
              <a:gd name="connsiteY1330" fmla="*/ 0 h 2084191"/>
              <a:gd name="connsiteX1331" fmla="*/ 1675529 w 2051041"/>
              <a:gd name="connsiteY1331" fmla="*/ 0 h 2084191"/>
              <a:gd name="connsiteX1332" fmla="*/ 1682905 w 2051041"/>
              <a:gd name="connsiteY1332" fmla="*/ 4720 h 2084191"/>
              <a:gd name="connsiteX1333" fmla="*/ 1933639 w 2051041"/>
              <a:gd name="connsiteY1333" fmla="*/ 4720 h 2084191"/>
              <a:gd name="connsiteX1334" fmla="*/ 2016655 w 2051041"/>
              <a:gd name="connsiteY1334" fmla="*/ 39107 h 2084191"/>
              <a:gd name="connsiteX1335" fmla="*/ 2028934 w 2051041"/>
              <a:gd name="connsiteY1335" fmla="*/ 57318 h 2084191"/>
              <a:gd name="connsiteX1336" fmla="*/ 2026008 w 2051041"/>
              <a:gd name="connsiteY1336" fmla="*/ 71108 h 2084191"/>
              <a:gd name="connsiteX1337" fmla="*/ 2030906 w 2051041"/>
              <a:gd name="connsiteY1337" fmla="*/ 75461 h 2084191"/>
              <a:gd name="connsiteX1338" fmla="*/ 2039929 w 2051041"/>
              <a:gd name="connsiteY1338" fmla="*/ 73627 h 2084191"/>
              <a:gd name="connsiteX1339" fmla="*/ 2041815 w 2051041"/>
              <a:gd name="connsiteY1339" fmla="*/ 76424 h 2084191"/>
              <a:gd name="connsiteX1340" fmla="*/ 2051041 w 2051041"/>
              <a:gd name="connsiteY1340" fmla="*/ 122122 h 2084191"/>
              <a:gd name="connsiteX1341" fmla="*/ 2051041 w 2051041"/>
              <a:gd name="connsiteY1341" fmla="*/ 186473 h 2084191"/>
              <a:gd name="connsiteX1342" fmla="*/ 2029818 w 2051041"/>
              <a:gd name="connsiteY1342" fmla="*/ 186473 h 2084191"/>
              <a:gd name="connsiteX1343" fmla="*/ 2023287 w 2051041"/>
              <a:gd name="connsiteY1343" fmla="*/ 192459 h 2084191"/>
              <a:gd name="connsiteX1344" fmla="*/ 2023832 w 2051041"/>
              <a:gd name="connsiteY1344" fmla="*/ 196268 h 2084191"/>
              <a:gd name="connsiteX1345" fmla="*/ 2019478 w 2051041"/>
              <a:gd name="connsiteY1345" fmla="*/ 239258 h 2084191"/>
              <a:gd name="connsiteX1346" fmla="*/ 2020022 w 2051041"/>
              <a:gd name="connsiteY1346" fmla="*/ 242523 h 2084191"/>
              <a:gd name="connsiteX1347" fmla="*/ 2023287 w 2051041"/>
              <a:gd name="connsiteY1347" fmla="*/ 243067 h 2084191"/>
              <a:gd name="connsiteX1348" fmla="*/ 2050224 w 2051041"/>
              <a:gd name="connsiteY1348" fmla="*/ 237150 h 2084191"/>
              <a:gd name="connsiteX1349" fmla="*/ 2051041 w 2051041"/>
              <a:gd name="connsiteY1349" fmla="*/ 237329 h 2084191"/>
              <a:gd name="connsiteX1350" fmla="*/ 2051041 w 2051041"/>
              <a:gd name="connsiteY1350" fmla="*/ 348996 h 2084191"/>
              <a:gd name="connsiteX1351" fmla="*/ 2036552 w 2051041"/>
              <a:gd name="connsiteY1351" fmla="*/ 347754 h 2084191"/>
              <a:gd name="connsiteX1352" fmla="*/ 2021111 w 2051041"/>
              <a:gd name="connsiteY1352" fmla="*/ 341019 h 2084191"/>
              <a:gd name="connsiteX1353" fmla="*/ 2016757 w 2051041"/>
              <a:gd name="connsiteY1353" fmla="*/ 338842 h 2084191"/>
              <a:gd name="connsiteX1354" fmla="*/ 2017301 w 2051041"/>
              <a:gd name="connsiteY1354" fmla="*/ 344284 h 2084191"/>
              <a:gd name="connsiteX1355" fmla="*/ 2025464 w 2051041"/>
              <a:gd name="connsiteY1355" fmla="*/ 376391 h 2084191"/>
              <a:gd name="connsiteX1356" fmla="*/ 1994446 w 2051041"/>
              <a:gd name="connsiteY1356" fmla="*/ 424278 h 2084191"/>
              <a:gd name="connsiteX1357" fmla="*/ 1933498 w 2051041"/>
              <a:gd name="connsiteY1357" fmla="*/ 416115 h 2084191"/>
              <a:gd name="connsiteX1358" fmla="*/ 1920438 w 2051041"/>
              <a:gd name="connsiteY1358" fmla="*/ 352447 h 2084191"/>
              <a:gd name="connsiteX1359" fmla="*/ 1925336 w 2051041"/>
              <a:gd name="connsiteY1359" fmla="*/ 338298 h 2084191"/>
              <a:gd name="connsiteX1360" fmla="*/ 1911731 w 2051041"/>
              <a:gd name="connsiteY1360" fmla="*/ 343196 h 2084191"/>
              <a:gd name="connsiteX1361" fmla="*/ 1898671 w 2051041"/>
              <a:gd name="connsiteY1361" fmla="*/ 347005 h 2084191"/>
              <a:gd name="connsiteX1362" fmla="*/ 1854593 w 2051041"/>
              <a:gd name="connsiteY1362" fmla="*/ 336666 h 2084191"/>
              <a:gd name="connsiteX1363" fmla="*/ 1847690 w 2051041"/>
              <a:gd name="connsiteY1363" fmla="*/ 333480 h 2084191"/>
              <a:gd name="connsiteX1364" fmla="*/ 1852961 w 2051041"/>
              <a:gd name="connsiteY1364" fmla="*/ 344461 h 2084191"/>
              <a:gd name="connsiteX1365" fmla="*/ 1826840 w 2051041"/>
              <a:gd name="connsiteY1365" fmla="*/ 420646 h 2084191"/>
              <a:gd name="connsiteX1366" fmla="*/ 1765893 w 2051041"/>
              <a:gd name="connsiteY1366" fmla="*/ 408130 h 2084191"/>
              <a:gd name="connsiteX1367" fmla="*/ 1759362 w 2051041"/>
              <a:gd name="connsiteY1367" fmla="*/ 342829 h 2084191"/>
              <a:gd name="connsiteX1368" fmla="*/ 1815991 w 2051041"/>
              <a:gd name="connsiteY1368" fmla="*/ 317193 h 2084191"/>
              <a:gd name="connsiteX1369" fmla="*/ 1834459 w 2051041"/>
              <a:gd name="connsiteY1369" fmla="*/ 325415 h 2084191"/>
              <a:gd name="connsiteX1370" fmla="*/ 1845023 w 2051041"/>
              <a:gd name="connsiteY1370" fmla="*/ 330169 h 2084191"/>
              <a:gd name="connsiteX1371" fmla="*/ 1840444 w 2051041"/>
              <a:gd name="connsiteY1371" fmla="*/ 321429 h 2084191"/>
              <a:gd name="connsiteX1372" fmla="*/ 1834458 w 2051041"/>
              <a:gd name="connsiteY1372" fmla="*/ 275174 h 2084191"/>
              <a:gd name="connsiteX1373" fmla="*/ 1840988 w 2051041"/>
              <a:gd name="connsiteY1373" fmla="*/ 259937 h 2084191"/>
              <a:gd name="connsiteX1374" fmla="*/ 1842077 w 2051041"/>
              <a:gd name="connsiteY1374" fmla="*/ 255584 h 2084191"/>
              <a:gd name="connsiteX1375" fmla="*/ 1837723 w 2051041"/>
              <a:gd name="connsiteY1375" fmla="*/ 257216 h 2084191"/>
              <a:gd name="connsiteX1376" fmla="*/ 1817589 w 2051041"/>
              <a:gd name="connsiteY1376" fmla="*/ 264834 h 2084191"/>
              <a:gd name="connsiteX1377" fmla="*/ 1768069 w 2051041"/>
              <a:gd name="connsiteY1377" fmla="*/ 251774 h 2084191"/>
              <a:gd name="connsiteX1378" fmla="*/ 1764740 w 2051041"/>
              <a:gd name="connsiteY1378" fmla="*/ 250110 h 2084191"/>
              <a:gd name="connsiteX1379" fmla="*/ 1773510 w 2051041"/>
              <a:gd name="connsiteY1379" fmla="*/ 267189 h 2084191"/>
              <a:gd name="connsiteX1380" fmla="*/ 1750655 w 2051041"/>
              <a:gd name="connsiteY1380" fmla="*/ 336843 h 2084191"/>
              <a:gd name="connsiteX1381" fmla="*/ 1673926 w 2051041"/>
              <a:gd name="connsiteY1381" fmla="*/ 310723 h 2084191"/>
              <a:gd name="connsiteX1382" fmla="*/ 1681545 w 2051041"/>
              <a:gd name="connsiteY1382" fmla="*/ 254673 h 2084191"/>
              <a:gd name="connsiteX1383" fmla="*/ 1733786 w 2051041"/>
              <a:gd name="connsiteY1383" fmla="*/ 235083 h 2084191"/>
              <a:gd name="connsiteX1384" fmla="*/ 1751743 w 2051041"/>
              <a:gd name="connsiteY1384" fmla="*/ 242157 h 2084191"/>
              <a:gd name="connsiteX1385" fmla="*/ 1762506 w 2051041"/>
              <a:gd name="connsiteY1385" fmla="*/ 246769 h 2084191"/>
              <a:gd name="connsiteX1386" fmla="*/ 1757185 w 2051041"/>
              <a:gd name="connsiteY1386" fmla="*/ 236537 h 2084191"/>
              <a:gd name="connsiteX1387" fmla="*/ 1756097 w 2051041"/>
              <a:gd name="connsiteY1387" fmla="*/ 185929 h 2084191"/>
              <a:gd name="connsiteX1388" fmla="*/ 1757185 w 2051041"/>
              <a:gd name="connsiteY1388" fmla="*/ 177766 h 2084191"/>
              <a:gd name="connsiteX1389" fmla="*/ 1749023 w 2051041"/>
              <a:gd name="connsiteY1389" fmla="*/ 178311 h 2084191"/>
              <a:gd name="connsiteX1390" fmla="*/ 1676103 w 2051041"/>
              <a:gd name="connsiteY1390" fmla="*/ 154911 h 2084191"/>
              <a:gd name="connsiteX1391" fmla="*/ 1681001 w 2051041"/>
              <a:gd name="connsiteY1391" fmla="*/ 94507 h 2084191"/>
              <a:gd name="connsiteX1392" fmla="*/ 1685681 w 2051041"/>
              <a:gd name="connsiteY1392" fmla="*/ 85147 h 2084191"/>
              <a:gd name="connsiteX1393" fmla="*/ 1693517 w 2051041"/>
              <a:gd name="connsiteY1393" fmla="*/ 82536 h 2084191"/>
              <a:gd name="connsiteX1394" fmla="*/ 1747934 w 2051041"/>
              <a:gd name="connsiteY1394" fmla="*/ 77638 h 2084191"/>
              <a:gd name="connsiteX1395" fmla="*/ 1756641 w 2051041"/>
              <a:gd name="connsiteY1395" fmla="*/ 79271 h 2084191"/>
              <a:gd name="connsiteX1396" fmla="*/ 1754464 w 2051041"/>
              <a:gd name="connsiteY1396" fmla="*/ 71652 h 2084191"/>
              <a:gd name="connsiteX1397" fmla="*/ 1752832 w 2051041"/>
              <a:gd name="connsiteY1397" fmla="*/ 68387 h 2084191"/>
              <a:gd name="connsiteX1398" fmla="*/ 1756097 w 2051041"/>
              <a:gd name="connsiteY1398" fmla="*/ 20500 h 2084191"/>
              <a:gd name="connsiteX1399" fmla="*/ 1756641 w 2051041"/>
              <a:gd name="connsiteY1399" fmla="*/ 16146 h 2084191"/>
              <a:gd name="connsiteX1400" fmla="*/ 1751744 w 2051041"/>
              <a:gd name="connsiteY1400" fmla="*/ 15058 h 2084191"/>
              <a:gd name="connsiteX1401" fmla="*/ 1741404 w 2051041"/>
              <a:gd name="connsiteY1401" fmla="*/ 19955 h 2084191"/>
              <a:gd name="connsiteX1402" fmla="*/ 1691884 w 2051041"/>
              <a:gd name="connsiteY1402" fmla="*/ 11249 h 2084191"/>
              <a:gd name="connsiteX1403" fmla="*/ 1685645 w 2051041"/>
              <a:gd name="connsiteY1403" fmla="*/ 8369 h 2084191"/>
              <a:gd name="connsiteX1404" fmla="*/ 1688620 w 2051041"/>
              <a:gd name="connsiteY1404" fmla="*/ 14691 h 2084191"/>
              <a:gd name="connsiteX1405" fmla="*/ 1691885 w 2051041"/>
              <a:gd name="connsiteY1405" fmla="*/ 69652 h 2084191"/>
              <a:gd name="connsiteX1406" fmla="*/ 1684469 w 2051041"/>
              <a:gd name="connsiteY1406" fmla="*/ 82365 h 2084191"/>
              <a:gd name="connsiteX1407" fmla="*/ 1663044 w 2051041"/>
              <a:gd name="connsiteY1407" fmla="*/ 94684 h 2084191"/>
              <a:gd name="connsiteX1408" fmla="*/ 1626584 w 2051041"/>
              <a:gd name="connsiteY1408" fmla="*/ 96861 h 2084191"/>
              <a:gd name="connsiteX1409" fmla="*/ 1590124 w 2051041"/>
              <a:gd name="connsiteY1409" fmla="*/ 60401 h 2084191"/>
              <a:gd name="connsiteX1410" fmla="*/ 1591757 w 2051041"/>
              <a:gd name="connsiteY1410" fmla="*/ 25030 h 2084191"/>
              <a:gd name="connsiteX1411" fmla="*/ 1460066 w 2051041"/>
              <a:gd name="connsiteY1411" fmla="*/ 0 h 2084191"/>
              <a:gd name="connsiteX1412" fmla="*/ 1498513 w 2051041"/>
              <a:gd name="connsiteY1412" fmla="*/ 0 h 2084191"/>
              <a:gd name="connsiteX1413" fmla="*/ 1517204 w 2051041"/>
              <a:gd name="connsiteY1413" fmla="*/ 8092 h 2084191"/>
              <a:gd name="connsiteX1414" fmla="*/ 1531896 w 2051041"/>
              <a:gd name="connsiteY1414" fmla="*/ 45164 h 2084191"/>
              <a:gd name="connsiteX1415" fmla="*/ 1479111 w 2051041"/>
              <a:gd name="connsiteY1415" fmla="*/ 97949 h 2084191"/>
              <a:gd name="connsiteX1416" fmla="*/ 1426870 w 2051041"/>
              <a:gd name="connsiteY1416" fmla="*/ 45164 h 2084191"/>
              <a:gd name="connsiteX1417" fmla="*/ 1441631 w 2051041"/>
              <a:gd name="connsiteY1417" fmla="*/ 7684 h 2084191"/>
              <a:gd name="connsiteX1418" fmla="*/ 1296749 w 2051041"/>
              <a:gd name="connsiteY1418" fmla="*/ 0 h 2084191"/>
              <a:gd name="connsiteX1419" fmla="*/ 1335755 w 2051041"/>
              <a:gd name="connsiteY1419" fmla="*/ 0 h 2084191"/>
              <a:gd name="connsiteX1420" fmla="*/ 1350278 w 2051041"/>
              <a:gd name="connsiteY1420" fmla="*/ 10270 h 2084191"/>
              <a:gd name="connsiteX1421" fmla="*/ 1365923 w 2051041"/>
              <a:gd name="connsiteY1421" fmla="*/ 45165 h 2084191"/>
              <a:gd name="connsiteX1422" fmla="*/ 1315315 w 2051041"/>
              <a:gd name="connsiteY1422" fmla="*/ 93052 h 2084191"/>
              <a:gd name="connsiteX1423" fmla="*/ 1266339 w 2051041"/>
              <a:gd name="connsiteY1423" fmla="*/ 44076 h 2084191"/>
              <a:gd name="connsiteX1424" fmla="*/ 1282732 w 2051041"/>
              <a:gd name="connsiteY1424" fmla="*/ 9317 h 2084191"/>
              <a:gd name="connsiteX1425" fmla="*/ 1148085 w 2051041"/>
              <a:gd name="connsiteY1425" fmla="*/ 0 h 2084191"/>
              <a:gd name="connsiteX1426" fmla="*/ 1161802 w 2051041"/>
              <a:gd name="connsiteY1426" fmla="*/ 0 h 2084191"/>
              <a:gd name="connsiteX1427" fmla="*/ 1169637 w 2051041"/>
              <a:gd name="connsiteY1427" fmla="*/ 1315 h 2084191"/>
              <a:gd name="connsiteX1428" fmla="*/ 1199405 w 2051041"/>
              <a:gd name="connsiteY1428" fmla="*/ 45164 h 2084191"/>
              <a:gd name="connsiteX1429" fmla="*/ 1151518 w 2051041"/>
              <a:gd name="connsiteY1429" fmla="*/ 91419 h 2084191"/>
              <a:gd name="connsiteX1430" fmla="*/ 1105807 w 2051041"/>
              <a:gd name="connsiteY1430" fmla="*/ 44620 h 2084191"/>
              <a:gd name="connsiteX1431" fmla="*/ 1119139 w 2051041"/>
              <a:gd name="connsiteY1431" fmla="*/ 11902 h 20841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Lst>
            <a:rect l="l" t="t" r="r" b="b"/>
            <a:pathLst>
              <a:path w="2051041" h="2084191">
                <a:moveTo>
                  <a:pt x="2051041" y="2080382"/>
                </a:moveTo>
                <a:lnTo>
                  <a:pt x="2051041" y="2083967"/>
                </a:lnTo>
                <a:lnTo>
                  <a:pt x="2047231" y="2084191"/>
                </a:lnTo>
                <a:cubicBezTo>
                  <a:pt x="2046687" y="2084191"/>
                  <a:pt x="2046143" y="2082559"/>
                  <a:pt x="2045599" y="2081470"/>
                </a:cubicBezTo>
                <a:close/>
                <a:moveTo>
                  <a:pt x="1478568" y="1997668"/>
                </a:moveTo>
                <a:cubicBezTo>
                  <a:pt x="1484010" y="1997668"/>
                  <a:pt x="1485642" y="2000933"/>
                  <a:pt x="1484554" y="2004743"/>
                </a:cubicBezTo>
                <a:cubicBezTo>
                  <a:pt x="1484010" y="2006919"/>
                  <a:pt x="1480745" y="2008551"/>
                  <a:pt x="1478568" y="2009096"/>
                </a:cubicBezTo>
                <a:cubicBezTo>
                  <a:pt x="1474759" y="2009640"/>
                  <a:pt x="1473126" y="2007463"/>
                  <a:pt x="1473126" y="2003654"/>
                </a:cubicBezTo>
                <a:cubicBezTo>
                  <a:pt x="1473126" y="1998756"/>
                  <a:pt x="1475303" y="1997124"/>
                  <a:pt x="1478568" y="1997668"/>
                </a:cubicBezTo>
                <a:close/>
                <a:moveTo>
                  <a:pt x="1641820" y="1993859"/>
                </a:moveTo>
                <a:cubicBezTo>
                  <a:pt x="1646718" y="1993314"/>
                  <a:pt x="1652160" y="1999300"/>
                  <a:pt x="1652160" y="2003654"/>
                </a:cubicBezTo>
                <a:cubicBezTo>
                  <a:pt x="1652160" y="2008551"/>
                  <a:pt x="1646718" y="2013449"/>
                  <a:pt x="1641820" y="2013449"/>
                </a:cubicBezTo>
                <a:cubicBezTo>
                  <a:pt x="1636923" y="2013449"/>
                  <a:pt x="1632025" y="2008007"/>
                  <a:pt x="1632025" y="2003654"/>
                </a:cubicBezTo>
                <a:cubicBezTo>
                  <a:pt x="1632025" y="1999300"/>
                  <a:pt x="1638011" y="1993859"/>
                  <a:pt x="1641820" y="1993859"/>
                </a:cubicBezTo>
                <a:close/>
                <a:moveTo>
                  <a:pt x="1969414" y="1992226"/>
                </a:moveTo>
                <a:cubicBezTo>
                  <a:pt x="1976488" y="1992226"/>
                  <a:pt x="1979753" y="1996035"/>
                  <a:pt x="1979753" y="2003654"/>
                </a:cubicBezTo>
                <a:cubicBezTo>
                  <a:pt x="1979753" y="2011272"/>
                  <a:pt x="1975944" y="2014537"/>
                  <a:pt x="1968325" y="2014537"/>
                </a:cubicBezTo>
                <a:cubicBezTo>
                  <a:pt x="1960707" y="2014537"/>
                  <a:pt x="1957442" y="2010728"/>
                  <a:pt x="1957986" y="2003110"/>
                </a:cubicBezTo>
                <a:cubicBezTo>
                  <a:pt x="1957986" y="1994947"/>
                  <a:pt x="1961251" y="1992226"/>
                  <a:pt x="1969414" y="1992226"/>
                </a:cubicBezTo>
                <a:close/>
                <a:moveTo>
                  <a:pt x="1805073" y="1992226"/>
                </a:moveTo>
                <a:cubicBezTo>
                  <a:pt x="1811058" y="1992226"/>
                  <a:pt x="1815956" y="1996035"/>
                  <a:pt x="1815956" y="2002565"/>
                </a:cubicBezTo>
                <a:cubicBezTo>
                  <a:pt x="1816500" y="2009096"/>
                  <a:pt x="1812147" y="2014537"/>
                  <a:pt x="1805073" y="2014537"/>
                </a:cubicBezTo>
                <a:cubicBezTo>
                  <a:pt x="1799087" y="2014537"/>
                  <a:pt x="1794189" y="2010184"/>
                  <a:pt x="1794189" y="2004198"/>
                </a:cubicBezTo>
                <a:cubicBezTo>
                  <a:pt x="1794189" y="1997668"/>
                  <a:pt x="1799087" y="1992770"/>
                  <a:pt x="1805073" y="1992226"/>
                </a:cubicBezTo>
                <a:close/>
                <a:moveTo>
                  <a:pt x="1234233" y="1916042"/>
                </a:moveTo>
                <a:cubicBezTo>
                  <a:pt x="1238586" y="1915497"/>
                  <a:pt x="1240763" y="1917674"/>
                  <a:pt x="1240219" y="1923660"/>
                </a:cubicBezTo>
                <a:cubicBezTo>
                  <a:pt x="1239674" y="1924204"/>
                  <a:pt x="1237498" y="1926381"/>
                  <a:pt x="1236953" y="1926381"/>
                </a:cubicBezTo>
                <a:cubicBezTo>
                  <a:pt x="1234233" y="1924204"/>
                  <a:pt x="1231512" y="1921483"/>
                  <a:pt x="1229335" y="1918762"/>
                </a:cubicBezTo>
                <a:cubicBezTo>
                  <a:pt x="1230968" y="1917674"/>
                  <a:pt x="1232600" y="1916586"/>
                  <a:pt x="1234233" y="1916042"/>
                </a:cubicBezTo>
                <a:close/>
                <a:moveTo>
                  <a:pt x="1397486" y="1911144"/>
                </a:moveTo>
                <a:cubicBezTo>
                  <a:pt x="1402927" y="1911144"/>
                  <a:pt x="1408369" y="1916041"/>
                  <a:pt x="1408369" y="1921483"/>
                </a:cubicBezTo>
                <a:cubicBezTo>
                  <a:pt x="1408369" y="1926925"/>
                  <a:pt x="1404016" y="1931279"/>
                  <a:pt x="1399118" y="1931823"/>
                </a:cubicBezTo>
                <a:cubicBezTo>
                  <a:pt x="1392588" y="1932367"/>
                  <a:pt x="1387146" y="1928013"/>
                  <a:pt x="1387146" y="1922028"/>
                </a:cubicBezTo>
                <a:cubicBezTo>
                  <a:pt x="1386602" y="1916586"/>
                  <a:pt x="1391500" y="1911144"/>
                  <a:pt x="1397486" y="1911144"/>
                </a:cubicBezTo>
                <a:close/>
                <a:moveTo>
                  <a:pt x="1560194" y="1906790"/>
                </a:moveTo>
                <a:cubicBezTo>
                  <a:pt x="1566180" y="1906790"/>
                  <a:pt x="1574342" y="1914953"/>
                  <a:pt x="1574342" y="1921482"/>
                </a:cubicBezTo>
                <a:cubicBezTo>
                  <a:pt x="1574342" y="1928013"/>
                  <a:pt x="1566724" y="1936175"/>
                  <a:pt x="1560738" y="1935631"/>
                </a:cubicBezTo>
                <a:cubicBezTo>
                  <a:pt x="1554752" y="1935631"/>
                  <a:pt x="1547678" y="1928557"/>
                  <a:pt x="1547134" y="1922027"/>
                </a:cubicBezTo>
                <a:cubicBezTo>
                  <a:pt x="1546589" y="1915497"/>
                  <a:pt x="1554208" y="1907334"/>
                  <a:pt x="1560194" y="1906790"/>
                </a:cubicBezTo>
                <a:close/>
                <a:moveTo>
                  <a:pt x="2049952" y="1905702"/>
                </a:moveTo>
                <a:lnTo>
                  <a:pt x="2051041" y="1906027"/>
                </a:lnTo>
                <a:lnTo>
                  <a:pt x="2051041" y="1938133"/>
                </a:lnTo>
                <a:lnTo>
                  <a:pt x="2050496" y="1938353"/>
                </a:lnTo>
                <a:cubicBezTo>
                  <a:pt x="2039613" y="1937808"/>
                  <a:pt x="2034715" y="1933455"/>
                  <a:pt x="2034171" y="1922572"/>
                </a:cubicBezTo>
                <a:cubicBezTo>
                  <a:pt x="2034171" y="1911144"/>
                  <a:pt x="2039069" y="1905702"/>
                  <a:pt x="2049952" y="1905702"/>
                </a:cubicBezTo>
                <a:close/>
                <a:moveTo>
                  <a:pt x="1723447" y="1905702"/>
                </a:moveTo>
                <a:cubicBezTo>
                  <a:pt x="1730521" y="1905702"/>
                  <a:pt x="1739772" y="1914409"/>
                  <a:pt x="1739772" y="1920939"/>
                </a:cubicBezTo>
                <a:cubicBezTo>
                  <a:pt x="1740316" y="1929101"/>
                  <a:pt x="1732698" y="1936720"/>
                  <a:pt x="1724535" y="1937264"/>
                </a:cubicBezTo>
                <a:cubicBezTo>
                  <a:pt x="1716373" y="1937264"/>
                  <a:pt x="1708754" y="1930190"/>
                  <a:pt x="1708210" y="1922027"/>
                </a:cubicBezTo>
                <a:cubicBezTo>
                  <a:pt x="1708210" y="1914953"/>
                  <a:pt x="1716373" y="1905702"/>
                  <a:pt x="1723447" y="1905702"/>
                </a:cubicBezTo>
                <a:close/>
                <a:moveTo>
                  <a:pt x="1887787" y="1905158"/>
                </a:moveTo>
                <a:cubicBezTo>
                  <a:pt x="1898671" y="1905158"/>
                  <a:pt x="1904113" y="1911144"/>
                  <a:pt x="1904113" y="1922028"/>
                </a:cubicBezTo>
                <a:cubicBezTo>
                  <a:pt x="1904113" y="1932367"/>
                  <a:pt x="1898127" y="1937809"/>
                  <a:pt x="1886699" y="1937809"/>
                </a:cubicBezTo>
                <a:cubicBezTo>
                  <a:pt x="1876360" y="1937809"/>
                  <a:pt x="1870918" y="1931823"/>
                  <a:pt x="1870918" y="1921483"/>
                </a:cubicBezTo>
                <a:cubicBezTo>
                  <a:pt x="1870918" y="1910600"/>
                  <a:pt x="1876904" y="1904614"/>
                  <a:pt x="1887787" y="1905158"/>
                </a:cubicBezTo>
                <a:close/>
                <a:moveTo>
                  <a:pt x="1152606" y="1831693"/>
                </a:moveTo>
                <a:cubicBezTo>
                  <a:pt x="1155871" y="1832782"/>
                  <a:pt x="1160769" y="1836591"/>
                  <a:pt x="1161313" y="1839312"/>
                </a:cubicBezTo>
                <a:cubicBezTo>
                  <a:pt x="1160769" y="1843121"/>
                  <a:pt x="1156959" y="1846931"/>
                  <a:pt x="1153694" y="1852916"/>
                </a:cubicBezTo>
                <a:cubicBezTo>
                  <a:pt x="1149341" y="1847475"/>
                  <a:pt x="1146076" y="1844754"/>
                  <a:pt x="1144988" y="1841489"/>
                </a:cubicBezTo>
                <a:cubicBezTo>
                  <a:pt x="1143355" y="1837135"/>
                  <a:pt x="1148797" y="1830605"/>
                  <a:pt x="1152606" y="1831693"/>
                </a:cubicBezTo>
                <a:close/>
                <a:moveTo>
                  <a:pt x="1315315" y="1825708"/>
                </a:moveTo>
                <a:cubicBezTo>
                  <a:pt x="1321301" y="1825164"/>
                  <a:pt x="1331096" y="1834415"/>
                  <a:pt x="1330552" y="1840401"/>
                </a:cubicBezTo>
                <a:cubicBezTo>
                  <a:pt x="1330552" y="1845298"/>
                  <a:pt x="1321301" y="1854549"/>
                  <a:pt x="1316404" y="1854549"/>
                </a:cubicBezTo>
                <a:cubicBezTo>
                  <a:pt x="1310962" y="1855094"/>
                  <a:pt x="1302255" y="1846387"/>
                  <a:pt x="1301711" y="1840945"/>
                </a:cubicBezTo>
                <a:cubicBezTo>
                  <a:pt x="1301167" y="1834959"/>
                  <a:pt x="1309329" y="1826252"/>
                  <a:pt x="1315315" y="1825708"/>
                </a:cubicBezTo>
                <a:close/>
                <a:moveTo>
                  <a:pt x="1479656" y="1822987"/>
                </a:moveTo>
                <a:cubicBezTo>
                  <a:pt x="1489995" y="1823531"/>
                  <a:pt x="1495981" y="1830061"/>
                  <a:pt x="1495981" y="1840401"/>
                </a:cubicBezTo>
                <a:cubicBezTo>
                  <a:pt x="1495981" y="1851284"/>
                  <a:pt x="1490539" y="1856726"/>
                  <a:pt x="1478567" y="1856182"/>
                </a:cubicBezTo>
                <a:cubicBezTo>
                  <a:pt x="1467140" y="1856182"/>
                  <a:pt x="1462242" y="1850740"/>
                  <a:pt x="1462242" y="1839312"/>
                </a:cubicBezTo>
                <a:cubicBezTo>
                  <a:pt x="1462242" y="1828429"/>
                  <a:pt x="1468772" y="1822443"/>
                  <a:pt x="1479656" y="1822987"/>
                </a:cubicBezTo>
                <a:close/>
                <a:moveTo>
                  <a:pt x="1642365" y="1821355"/>
                </a:moveTo>
                <a:cubicBezTo>
                  <a:pt x="1653248" y="1821355"/>
                  <a:pt x="1661955" y="1829518"/>
                  <a:pt x="1660867" y="1840401"/>
                </a:cubicBezTo>
                <a:cubicBezTo>
                  <a:pt x="1659778" y="1853461"/>
                  <a:pt x="1653792" y="1857270"/>
                  <a:pt x="1642365" y="1857270"/>
                </a:cubicBezTo>
                <a:cubicBezTo>
                  <a:pt x="1630937" y="1857270"/>
                  <a:pt x="1624407" y="1850740"/>
                  <a:pt x="1624407" y="1839857"/>
                </a:cubicBezTo>
                <a:cubicBezTo>
                  <a:pt x="1624407" y="1828973"/>
                  <a:pt x="1632025" y="1821355"/>
                  <a:pt x="1642365" y="1821355"/>
                </a:cubicBezTo>
                <a:close/>
                <a:moveTo>
                  <a:pt x="1806162" y="1819723"/>
                </a:moveTo>
                <a:cubicBezTo>
                  <a:pt x="1816501" y="1819723"/>
                  <a:pt x="1827385" y="1831150"/>
                  <a:pt x="1826840" y="1840945"/>
                </a:cubicBezTo>
                <a:cubicBezTo>
                  <a:pt x="1826296" y="1850740"/>
                  <a:pt x="1813780" y="1862168"/>
                  <a:pt x="1804529" y="1861080"/>
                </a:cubicBezTo>
                <a:cubicBezTo>
                  <a:pt x="1795278" y="1860536"/>
                  <a:pt x="1783851" y="1847476"/>
                  <a:pt x="1784395" y="1839313"/>
                </a:cubicBezTo>
                <a:cubicBezTo>
                  <a:pt x="1784939" y="1828973"/>
                  <a:pt x="1796367" y="1819178"/>
                  <a:pt x="1806162" y="1819723"/>
                </a:cubicBezTo>
                <a:close/>
                <a:moveTo>
                  <a:pt x="1968870" y="1819178"/>
                </a:moveTo>
                <a:cubicBezTo>
                  <a:pt x="1980298" y="1819178"/>
                  <a:pt x="1990093" y="1828973"/>
                  <a:pt x="1990093" y="1840401"/>
                </a:cubicBezTo>
                <a:cubicBezTo>
                  <a:pt x="1990093" y="1851285"/>
                  <a:pt x="1980298" y="1861624"/>
                  <a:pt x="1968870" y="1861624"/>
                </a:cubicBezTo>
                <a:cubicBezTo>
                  <a:pt x="1957986" y="1861624"/>
                  <a:pt x="1947647" y="1851285"/>
                  <a:pt x="1947647" y="1840401"/>
                </a:cubicBezTo>
                <a:cubicBezTo>
                  <a:pt x="1947647" y="1828973"/>
                  <a:pt x="1957986" y="1819178"/>
                  <a:pt x="1968870" y="1819178"/>
                </a:cubicBezTo>
                <a:close/>
                <a:moveTo>
                  <a:pt x="1070436" y="1747347"/>
                </a:moveTo>
                <a:cubicBezTo>
                  <a:pt x="1078598" y="1747347"/>
                  <a:pt x="1081863" y="1750612"/>
                  <a:pt x="1081863" y="1758231"/>
                </a:cubicBezTo>
                <a:cubicBezTo>
                  <a:pt x="1081863" y="1766393"/>
                  <a:pt x="1078598" y="1769658"/>
                  <a:pt x="1070980" y="1769658"/>
                </a:cubicBezTo>
                <a:cubicBezTo>
                  <a:pt x="1063361" y="1769658"/>
                  <a:pt x="1060096" y="1766393"/>
                  <a:pt x="1059552" y="1758775"/>
                </a:cubicBezTo>
                <a:cubicBezTo>
                  <a:pt x="1059552" y="1751156"/>
                  <a:pt x="1062817" y="1747347"/>
                  <a:pt x="1070436" y="1747347"/>
                </a:cubicBezTo>
                <a:close/>
                <a:moveTo>
                  <a:pt x="1233688" y="1742449"/>
                </a:moveTo>
                <a:cubicBezTo>
                  <a:pt x="1242939" y="1741904"/>
                  <a:pt x="1250558" y="1750067"/>
                  <a:pt x="1250558" y="1758774"/>
                </a:cubicBezTo>
                <a:cubicBezTo>
                  <a:pt x="1250558" y="1767481"/>
                  <a:pt x="1242939" y="1775099"/>
                  <a:pt x="1233688" y="1775099"/>
                </a:cubicBezTo>
                <a:cubicBezTo>
                  <a:pt x="1224981" y="1775099"/>
                  <a:pt x="1218451" y="1768025"/>
                  <a:pt x="1217907" y="1759318"/>
                </a:cubicBezTo>
                <a:cubicBezTo>
                  <a:pt x="1217907" y="1750067"/>
                  <a:pt x="1224981" y="1742449"/>
                  <a:pt x="1233688" y="1742449"/>
                </a:cubicBezTo>
                <a:close/>
                <a:moveTo>
                  <a:pt x="1399662" y="1739728"/>
                </a:moveTo>
                <a:cubicBezTo>
                  <a:pt x="1410002" y="1740817"/>
                  <a:pt x="1418164" y="1750068"/>
                  <a:pt x="1417076" y="1760407"/>
                </a:cubicBezTo>
                <a:cubicBezTo>
                  <a:pt x="1415988" y="1769114"/>
                  <a:pt x="1404560" y="1779997"/>
                  <a:pt x="1396941" y="1779453"/>
                </a:cubicBezTo>
                <a:cubicBezTo>
                  <a:pt x="1388779" y="1778909"/>
                  <a:pt x="1376807" y="1765305"/>
                  <a:pt x="1377895" y="1757686"/>
                </a:cubicBezTo>
                <a:cubicBezTo>
                  <a:pt x="1379528" y="1746803"/>
                  <a:pt x="1389867" y="1738640"/>
                  <a:pt x="1399662" y="1739728"/>
                </a:cubicBezTo>
                <a:close/>
                <a:moveTo>
                  <a:pt x="1723991" y="1735919"/>
                </a:moveTo>
                <a:cubicBezTo>
                  <a:pt x="1738140" y="1735919"/>
                  <a:pt x="1746847" y="1744626"/>
                  <a:pt x="1746847" y="1758774"/>
                </a:cubicBezTo>
                <a:cubicBezTo>
                  <a:pt x="1746847" y="1772379"/>
                  <a:pt x="1738140" y="1781086"/>
                  <a:pt x="1723991" y="1781086"/>
                </a:cubicBezTo>
                <a:cubicBezTo>
                  <a:pt x="1709299" y="1781086"/>
                  <a:pt x="1701680" y="1773467"/>
                  <a:pt x="1701680" y="1758774"/>
                </a:cubicBezTo>
                <a:cubicBezTo>
                  <a:pt x="1701680" y="1744626"/>
                  <a:pt x="1709843" y="1735919"/>
                  <a:pt x="1723991" y="1735919"/>
                </a:cubicBezTo>
                <a:close/>
                <a:moveTo>
                  <a:pt x="1560194" y="1735919"/>
                </a:moveTo>
                <a:cubicBezTo>
                  <a:pt x="1572710" y="1736463"/>
                  <a:pt x="1582505" y="1746258"/>
                  <a:pt x="1582505" y="1758230"/>
                </a:cubicBezTo>
                <a:cubicBezTo>
                  <a:pt x="1582505" y="1770202"/>
                  <a:pt x="1572710" y="1779997"/>
                  <a:pt x="1560738" y="1779997"/>
                </a:cubicBezTo>
                <a:cubicBezTo>
                  <a:pt x="1549855" y="1779997"/>
                  <a:pt x="1538427" y="1769114"/>
                  <a:pt x="1538427" y="1758230"/>
                </a:cubicBezTo>
                <a:cubicBezTo>
                  <a:pt x="1538427" y="1746803"/>
                  <a:pt x="1548766" y="1735919"/>
                  <a:pt x="1560194" y="1735919"/>
                </a:cubicBezTo>
                <a:close/>
                <a:moveTo>
                  <a:pt x="2051041" y="1734831"/>
                </a:moveTo>
                <a:lnTo>
                  <a:pt x="2051041" y="1781438"/>
                </a:lnTo>
                <a:lnTo>
                  <a:pt x="2050496" y="1781630"/>
                </a:lnTo>
                <a:cubicBezTo>
                  <a:pt x="2033627" y="1782174"/>
                  <a:pt x="2027097" y="1772379"/>
                  <a:pt x="2027097" y="1758775"/>
                </a:cubicBezTo>
                <a:cubicBezTo>
                  <a:pt x="2027097" y="1744082"/>
                  <a:pt x="2033627" y="1734831"/>
                  <a:pt x="2051041" y="1734831"/>
                </a:cubicBezTo>
                <a:close/>
                <a:moveTo>
                  <a:pt x="1887788" y="1734831"/>
                </a:moveTo>
                <a:cubicBezTo>
                  <a:pt x="1902481" y="1735375"/>
                  <a:pt x="1910099" y="1742994"/>
                  <a:pt x="1910099" y="1758775"/>
                </a:cubicBezTo>
                <a:cubicBezTo>
                  <a:pt x="1910099" y="1771835"/>
                  <a:pt x="1903025" y="1782718"/>
                  <a:pt x="1886699" y="1781086"/>
                </a:cubicBezTo>
                <a:cubicBezTo>
                  <a:pt x="1872551" y="1782174"/>
                  <a:pt x="1863844" y="1770203"/>
                  <a:pt x="1863844" y="1757687"/>
                </a:cubicBezTo>
                <a:cubicBezTo>
                  <a:pt x="1863844" y="1742994"/>
                  <a:pt x="1874728" y="1734287"/>
                  <a:pt x="1887788" y="1734831"/>
                </a:cubicBezTo>
                <a:close/>
                <a:moveTo>
                  <a:pt x="826100" y="1671706"/>
                </a:moveTo>
                <a:cubicBezTo>
                  <a:pt x="830454" y="1670618"/>
                  <a:pt x="832086" y="1673338"/>
                  <a:pt x="832086" y="1677692"/>
                </a:cubicBezTo>
                <a:cubicBezTo>
                  <a:pt x="832086" y="1681501"/>
                  <a:pt x="829365" y="1683134"/>
                  <a:pt x="825556" y="1683134"/>
                </a:cubicBezTo>
                <a:cubicBezTo>
                  <a:pt x="821203" y="1683134"/>
                  <a:pt x="819570" y="1679869"/>
                  <a:pt x="820658" y="1676603"/>
                </a:cubicBezTo>
                <a:cubicBezTo>
                  <a:pt x="821203" y="1674427"/>
                  <a:pt x="823924" y="1672250"/>
                  <a:pt x="826100" y="1671706"/>
                </a:cubicBezTo>
                <a:close/>
                <a:moveTo>
                  <a:pt x="989354" y="1661912"/>
                </a:moveTo>
                <a:cubicBezTo>
                  <a:pt x="994251" y="1661912"/>
                  <a:pt x="1004046" y="1671707"/>
                  <a:pt x="1004046" y="1676604"/>
                </a:cubicBezTo>
                <a:cubicBezTo>
                  <a:pt x="1004046" y="1682590"/>
                  <a:pt x="996428" y="1690209"/>
                  <a:pt x="989354" y="1690209"/>
                </a:cubicBezTo>
                <a:cubicBezTo>
                  <a:pt x="982823" y="1690209"/>
                  <a:pt x="975749" y="1683679"/>
                  <a:pt x="975205" y="1677693"/>
                </a:cubicBezTo>
                <a:cubicBezTo>
                  <a:pt x="974661" y="1671707"/>
                  <a:pt x="983912" y="1661367"/>
                  <a:pt x="989354" y="1661912"/>
                </a:cubicBezTo>
                <a:close/>
                <a:moveTo>
                  <a:pt x="1153151" y="1659734"/>
                </a:moveTo>
                <a:cubicBezTo>
                  <a:pt x="1162946" y="1658646"/>
                  <a:pt x="1171108" y="1667353"/>
                  <a:pt x="1170564" y="1677692"/>
                </a:cubicBezTo>
                <a:cubicBezTo>
                  <a:pt x="1170020" y="1688575"/>
                  <a:pt x="1162946" y="1694562"/>
                  <a:pt x="1152062" y="1694562"/>
                </a:cubicBezTo>
                <a:cubicBezTo>
                  <a:pt x="1141179" y="1694017"/>
                  <a:pt x="1135737" y="1688031"/>
                  <a:pt x="1135737" y="1677148"/>
                </a:cubicBezTo>
                <a:cubicBezTo>
                  <a:pt x="1135737" y="1664632"/>
                  <a:pt x="1141179" y="1659190"/>
                  <a:pt x="1153151" y="1659734"/>
                </a:cubicBezTo>
                <a:close/>
                <a:moveTo>
                  <a:pt x="1315315" y="1655381"/>
                </a:moveTo>
                <a:cubicBezTo>
                  <a:pt x="1327287" y="1654836"/>
                  <a:pt x="1337082" y="1664088"/>
                  <a:pt x="1337082" y="1676603"/>
                </a:cubicBezTo>
                <a:cubicBezTo>
                  <a:pt x="1337082" y="1688575"/>
                  <a:pt x="1326743" y="1698915"/>
                  <a:pt x="1315315" y="1698915"/>
                </a:cubicBezTo>
                <a:cubicBezTo>
                  <a:pt x="1304976" y="1698915"/>
                  <a:pt x="1294092" y="1687487"/>
                  <a:pt x="1294092" y="1677148"/>
                </a:cubicBezTo>
                <a:cubicBezTo>
                  <a:pt x="1294092" y="1666264"/>
                  <a:pt x="1304431" y="1655925"/>
                  <a:pt x="1315315" y="1655381"/>
                </a:cubicBezTo>
                <a:close/>
                <a:moveTo>
                  <a:pt x="1479111" y="1654293"/>
                </a:moveTo>
                <a:cubicBezTo>
                  <a:pt x="1495437" y="1653204"/>
                  <a:pt x="1501967" y="1664632"/>
                  <a:pt x="1501967" y="1677692"/>
                </a:cubicBezTo>
                <a:cubicBezTo>
                  <a:pt x="1501967" y="1689664"/>
                  <a:pt x="1492716" y="1700548"/>
                  <a:pt x="1479111" y="1700548"/>
                </a:cubicBezTo>
                <a:cubicBezTo>
                  <a:pt x="1466596" y="1700548"/>
                  <a:pt x="1455712" y="1690208"/>
                  <a:pt x="1455712" y="1676604"/>
                </a:cubicBezTo>
                <a:cubicBezTo>
                  <a:pt x="1456256" y="1663544"/>
                  <a:pt x="1464963" y="1653204"/>
                  <a:pt x="1479111" y="1654293"/>
                </a:cubicBezTo>
                <a:close/>
                <a:moveTo>
                  <a:pt x="1643452" y="1650483"/>
                </a:moveTo>
                <a:cubicBezTo>
                  <a:pt x="1654880" y="1651027"/>
                  <a:pt x="1667940" y="1664087"/>
                  <a:pt x="1668484" y="1676603"/>
                </a:cubicBezTo>
                <a:cubicBezTo>
                  <a:pt x="1669029" y="1689120"/>
                  <a:pt x="1655968" y="1702724"/>
                  <a:pt x="1643452" y="1703268"/>
                </a:cubicBezTo>
                <a:cubicBezTo>
                  <a:pt x="1631480" y="1703812"/>
                  <a:pt x="1617332" y="1690208"/>
                  <a:pt x="1617332" y="1677692"/>
                </a:cubicBezTo>
                <a:cubicBezTo>
                  <a:pt x="1616788" y="1664632"/>
                  <a:pt x="1630392" y="1650483"/>
                  <a:pt x="1643452" y="1650483"/>
                </a:cubicBezTo>
                <a:close/>
                <a:moveTo>
                  <a:pt x="1968326" y="1649940"/>
                </a:moveTo>
                <a:cubicBezTo>
                  <a:pt x="1983019" y="1649395"/>
                  <a:pt x="1997167" y="1664088"/>
                  <a:pt x="1995535" y="1676604"/>
                </a:cubicBezTo>
                <a:cubicBezTo>
                  <a:pt x="1997167" y="1689664"/>
                  <a:pt x="1982474" y="1704901"/>
                  <a:pt x="1968870" y="1704357"/>
                </a:cubicBezTo>
                <a:cubicBezTo>
                  <a:pt x="1954177" y="1703813"/>
                  <a:pt x="1942205" y="1691841"/>
                  <a:pt x="1941661" y="1677148"/>
                </a:cubicBezTo>
                <a:cubicBezTo>
                  <a:pt x="1941117" y="1662456"/>
                  <a:pt x="1956354" y="1649940"/>
                  <a:pt x="1968326" y="1649940"/>
                </a:cubicBezTo>
                <a:close/>
                <a:moveTo>
                  <a:pt x="1805617" y="1649939"/>
                </a:moveTo>
                <a:cubicBezTo>
                  <a:pt x="1819222" y="1648851"/>
                  <a:pt x="1832826" y="1664088"/>
                  <a:pt x="1832826" y="1677148"/>
                </a:cubicBezTo>
                <a:cubicBezTo>
                  <a:pt x="1832282" y="1690752"/>
                  <a:pt x="1819222" y="1703812"/>
                  <a:pt x="1805073" y="1704357"/>
                </a:cubicBezTo>
                <a:cubicBezTo>
                  <a:pt x="1792557" y="1704901"/>
                  <a:pt x="1777864" y="1688031"/>
                  <a:pt x="1778409" y="1677148"/>
                </a:cubicBezTo>
                <a:cubicBezTo>
                  <a:pt x="1779497" y="1662999"/>
                  <a:pt x="1791469" y="1649939"/>
                  <a:pt x="1805617" y="1649939"/>
                </a:cubicBezTo>
                <a:close/>
                <a:moveTo>
                  <a:pt x="744474" y="1588992"/>
                </a:moveTo>
                <a:cubicBezTo>
                  <a:pt x="748827" y="1588992"/>
                  <a:pt x="751004" y="1590624"/>
                  <a:pt x="751004" y="1594978"/>
                </a:cubicBezTo>
                <a:cubicBezTo>
                  <a:pt x="751004" y="1598787"/>
                  <a:pt x="749916" y="1601508"/>
                  <a:pt x="745562" y="1602052"/>
                </a:cubicBezTo>
                <a:cubicBezTo>
                  <a:pt x="740665" y="1602052"/>
                  <a:pt x="738488" y="1600420"/>
                  <a:pt x="738488" y="1594978"/>
                </a:cubicBezTo>
                <a:cubicBezTo>
                  <a:pt x="737944" y="1590624"/>
                  <a:pt x="740121" y="1588992"/>
                  <a:pt x="744474" y="1588992"/>
                </a:cubicBezTo>
                <a:close/>
                <a:moveTo>
                  <a:pt x="907183" y="1579741"/>
                </a:moveTo>
                <a:cubicBezTo>
                  <a:pt x="913169" y="1579197"/>
                  <a:pt x="923508" y="1588992"/>
                  <a:pt x="923508" y="1594978"/>
                </a:cubicBezTo>
                <a:cubicBezTo>
                  <a:pt x="923508" y="1600964"/>
                  <a:pt x="915345" y="1610215"/>
                  <a:pt x="908815" y="1610759"/>
                </a:cubicBezTo>
                <a:cubicBezTo>
                  <a:pt x="901197" y="1611303"/>
                  <a:pt x="892490" y="1603685"/>
                  <a:pt x="892490" y="1595522"/>
                </a:cubicBezTo>
                <a:cubicBezTo>
                  <a:pt x="892490" y="1588448"/>
                  <a:pt x="900653" y="1579741"/>
                  <a:pt x="907183" y="1579741"/>
                </a:cubicBezTo>
                <a:close/>
                <a:moveTo>
                  <a:pt x="1071524" y="1574843"/>
                </a:moveTo>
                <a:cubicBezTo>
                  <a:pt x="1081319" y="1575387"/>
                  <a:pt x="1091114" y="1585726"/>
                  <a:pt x="1091114" y="1595522"/>
                </a:cubicBezTo>
                <a:cubicBezTo>
                  <a:pt x="1091114" y="1605317"/>
                  <a:pt x="1080231" y="1615656"/>
                  <a:pt x="1070980" y="1615656"/>
                </a:cubicBezTo>
                <a:cubicBezTo>
                  <a:pt x="1062273" y="1615656"/>
                  <a:pt x="1050845" y="1604228"/>
                  <a:pt x="1050301" y="1595522"/>
                </a:cubicBezTo>
                <a:cubicBezTo>
                  <a:pt x="1050301" y="1586270"/>
                  <a:pt x="1062273" y="1574299"/>
                  <a:pt x="1071524" y="1574843"/>
                </a:cubicBezTo>
                <a:close/>
                <a:moveTo>
                  <a:pt x="1233688" y="1573210"/>
                </a:moveTo>
                <a:cubicBezTo>
                  <a:pt x="1247837" y="1573210"/>
                  <a:pt x="1256544" y="1581373"/>
                  <a:pt x="1256544" y="1595522"/>
                </a:cubicBezTo>
                <a:cubicBezTo>
                  <a:pt x="1256544" y="1609670"/>
                  <a:pt x="1247837" y="1618377"/>
                  <a:pt x="1233688" y="1618377"/>
                </a:cubicBezTo>
                <a:cubicBezTo>
                  <a:pt x="1221172" y="1618377"/>
                  <a:pt x="1212465" y="1608582"/>
                  <a:pt x="1211377" y="1596610"/>
                </a:cubicBezTo>
                <a:cubicBezTo>
                  <a:pt x="1210289" y="1584638"/>
                  <a:pt x="1222261" y="1571034"/>
                  <a:pt x="1233688" y="1573210"/>
                </a:cubicBezTo>
                <a:close/>
                <a:moveTo>
                  <a:pt x="1398030" y="1569402"/>
                </a:moveTo>
                <a:cubicBezTo>
                  <a:pt x="1411634" y="1569946"/>
                  <a:pt x="1423606" y="1582462"/>
                  <a:pt x="1423062" y="1595522"/>
                </a:cubicBezTo>
                <a:cubicBezTo>
                  <a:pt x="1423062" y="1608582"/>
                  <a:pt x="1410546" y="1621099"/>
                  <a:pt x="1397485" y="1621099"/>
                </a:cubicBezTo>
                <a:cubicBezTo>
                  <a:pt x="1384969" y="1621099"/>
                  <a:pt x="1371365" y="1608038"/>
                  <a:pt x="1371365" y="1595522"/>
                </a:cubicBezTo>
                <a:cubicBezTo>
                  <a:pt x="1371365" y="1582462"/>
                  <a:pt x="1384969" y="1568857"/>
                  <a:pt x="1398030" y="1569402"/>
                </a:cubicBezTo>
                <a:close/>
                <a:moveTo>
                  <a:pt x="1560194" y="1568313"/>
                </a:moveTo>
                <a:cubicBezTo>
                  <a:pt x="1574342" y="1566680"/>
                  <a:pt x="1587403" y="1581373"/>
                  <a:pt x="1587947" y="1594433"/>
                </a:cubicBezTo>
                <a:cubicBezTo>
                  <a:pt x="1588491" y="1608582"/>
                  <a:pt x="1574887" y="1622730"/>
                  <a:pt x="1560194" y="1622730"/>
                </a:cubicBezTo>
                <a:cubicBezTo>
                  <a:pt x="1547134" y="1622730"/>
                  <a:pt x="1532985" y="1608582"/>
                  <a:pt x="1532985" y="1594977"/>
                </a:cubicBezTo>
                <a:cubicBezTo>
                  <a:pt x="1532985" y="1581917"/>
                  <a:pt x="1547134" y="1566680"/>
                  <a:pt x="1560194" y="1568313"/>
                </a:cubicBezTo>
                <a:close/>
                <a:moveTo>
                  <a:pt x="1887244" y="1567225"/>
                </a:moveTo>
                <a:cubicBezTo>
                  <a:pt x="1905202" y="1567225"/>
                  <a:pt x="1915541" y="1578109"/>
                  <a:pt x="1915541" y="1594978"/>
                </a:cubicBezTo>
                <a:cubicBezTo>
                  <a:pt x="1915541" y="1612392"/>
                  <a:pt x="1903569" y="1624363"/>
                  <a:pt x="1886699" y="1623819"/>
                </a:cubicBezTo>
                <a:cubicBezTo>
                  <a:pt x="1872551" y="1623819"/>
                  <a:pt x="1857314" y="1613480"/>
                  <a:pt x="1858947" y="1594978"/>
                </a:cubicBezTo>
                <a:cubicBezTo>
                  <a:pt x="1857858" y="1577564"/>
                  <a:pt x="1870918" y="1567225"/>
                  <a:pt x="1887244" y="1567225"/>
                </a:cubicBezTo>
                <a:close/>
                <a:moveTo>
                  <a:pt x="1724535" y="1567225"/>
                </a:moveTo>
                <a:cubicBezTo>
                  <a:pt x="1743037" y="1567225"/>
                  <a:pt x="1752288" y="1581373"/>
                  <a:pt x="1752288" y="1594978"/>
                </a:cubicBezTo>
                <a:cubicBezTo>
                  <a:pt x="1752288" y="1609127"/>
                  <a:pt x="1741949" y="1623275"/>
                  <a:pt x="1724535" y="1623275"/>
                </a:cubicBezTo>
                <a:cubicBezTo>
                  <a:pt x="1710930" y="1623819"/>
                  <a:pt x="1694605" y="1613480"/>
                  <a:pt x="1696238" y="1594978"/>
                </a:cubicBezTo>
                <a:cubicBezTo>
                  <a:pt x="1694605" y="1577564"/>
                  <a:pt x="1708754" y="1567225"/>
                  <a:pt x="1724535" y="1567225"/>
                </a:cubicBezTo>
                <a:close/>
                <a:moveTo>
                  <a:pt x="2050496" y="1566680"/>
                </a:moveTo>
                <a:lnTo>
                  <a:pt x="2051041" y="1566888"/>
                </a:lnTo>
                <a:lnTo>
                  <a:pt x="2051041" y="1623794"/>
                </a:lnTo>
                <a:lnTo>
                  <a:pt x="2049408" y="1624363"/>
                </a:lnTo>
                <a:cubicBezTo>
                  <a:pt x="2033083" y="1623818"/>
                  <a:pt x="2021111" y="1611302"/>
                  <a:pt x="2021655" y="1594977"/>
                </a:cubicBezTo>
                <a:cubicBezTo>
                  <a:pt x="2022199" y="1575931"/>
                  <a:pt x="2033627" y="1567224"/>
                  <a:pt x="2050496" y="1566680"/>
                </a:cubicBezTo>
                <a:close/>
                <a:moveTo>
                  <a:pt x="663392" y="1505188"/>
                </a:moveTo>
                <a:cubicBezTo>
                  <a:pt x="666113" y="1505188"/>
                  <a:pt x="669922" y="1510086"/>
                  <a:pt x="674819" y="1513895"/>
                </a:cubicBezTo>
                <a:cubicBezTo>
                  <a:pt x="669378" y="1517704"/>
                  <a:pt x="665569" y="1522602"/>
                  <a:pt x="662848" y="1522058"/>
                </a:cubicBezTo>
                <a:cubicBezTo>
                  <a:pt x="659583" y="1521513"/>
                  <a:pt x="654685" y="1516072"/>
                  <a:pt x="654685" y="1513351"/>
                </a:cubicBezTo>
                <a:cubicBezTo>
                  <a:pt x="654685" y="1510086"/>
                  <a:pt x="660127" y="1505188"/>
                  <a:pt x="663392" y="1505188"/>
                </a:cubicBezTo>
                <a:close/>
                <a:moveTo>
                  <a:pt x="826101" y="1497570"/>
                </a:moveTo>
                <a:cubicBezTo>
                  <a:pt x="834263" y="1497025"/>
                  <a:pt x="842426" y="1505188"/>
                  <a:pt x="842970" y="1513351"/>
                </a:cubicBezTo>
                <a:cubicBezTo>
                  <a:pt x="842970" y="1522058"/>
                  <a:pt x="835352" y="1529676"/>
                  <a:pt x="826645" y="1529676"/>
                </a:cubicBezTo>
                <a:cubicBezTo>
                  <a:pt x="818482" y="1529676"/>
                  <a:pt x="810864" y="1523146"/>
                  <a:pt x="810319" y="1514983"/>
                </a:cubicBezTo>
                <a:cubicBezTo>
                  <a:pt x="809775" y="1506276"/>
                  <a:pt x="817394" y="1498114"/>
                  <a:pt x="826101" y="1497570"/>
                </a:cubicBezTo>
                <a:close/>
                <a:moveTo>
                  <a:pt x="988265" y="1492128"/>
                </a:moveTo>
                <a:cubicBezTo>
                  <a:pt x="998605" y="1492128"/>
                  <a:pt x="1010577" y="1501379"/>
                  <a:pt x="1010577" y="1513351"/>
                </a:cubicBezTo>
                <a:cubicBezTo>
                  <a:pt x="1010577" y="1524234"/>
                  <a:pt x="1000237" y="1534574"/>
                  <a:pt x="989354" y="1534574"/>
                </a:cubicBezTo>
                <a:cubicBezTo>
                  <a:pt x="979559" y="1534574"/>
                  <a:pt x="968675" y="1523690"/>
                  <a:pt x="968131" y="1513895"/>
                </a:cubicBezTo>
                <a:cubicBezTo>
                  <a:pt x="968131" y="1503556"/>
                  <a:pt x="977926" y="1492672"/>
                  <a:pt x="988265" y="1492128"/>
                </a:cubicBezTo>
                <a:close/>
                <a:moveTo>
                  <a:pt x="1152606" y="1490496"/>
                </a:moveTo>
                <a:cubicBezTo>
                  <a:pt x="1167299" y="1489407"/>
                  <a:pt x="1176006" y="1498658"/>
                  <a:pt x="1176006" y="1513351"/>
                </a:cubicBezTo>
                <a:cubicBezTo>
                  <a:pt x="1176006" y="1530764"/>
                  <a:pt x="1166755" y="1537295"/>
                  <a:pt x="1152606" y="1537839"/>
                </a:cubicBezTo>
                <a:cubicBezTo>
                  <a:pt x="1139546" y="1537839"/>
                  <a:pt x="1129207" y="1530764"/>
                  <a:pt x="1129207" y="1514984"/>
                </a:cubicBezTo>
                <a:cubicBezTo>
                  <a:pt x="1129207" y="1498114"/>
                  <a:pt x="1138458" y="1491040"/>
                  <a:pt x="1152606" y="1490496"/>
                </a:cubicBezTo>
                <a:close/>
                <a:moveTo>
                  <a:pt x="1316403" y="1487231"/>
                </a:moveTo>
                <a:cubicBezTo>
                  <a:pt x="1331095" y="1487775"/>
                  <a:pt x="1342523" y="1499203"/>
                  <a:pt x="1342523" y="1513896"/>
                </a:cubicBezTo>
                <a:cubicBezTo>
                  <a:pt x="1342523" y="1528588"/>
                  <a:pt x="1330551" y="1540560"/>
                  <a:pt x="1315314" y="1540560"/>
                </a:cubicBezTo>
                <a:cubicBezTo>
                  <a:pt x="1303887" y="1542193"/>
                  <a:pt x="1288106" y="1527500"/>
                  <a:pt x="1288650" y="1513896"/>
                </a:cubicBezTo>
                <a:cubicBezTo>
                  <a:pt x="1289194" y="1498659"/>
                  <a:pt x="1301166" y="1486687"/>
                  <a:pt x="1316403" y="1487231"/>
                </a:cubicBezTo>
                <a:close/>
                <a:moveTo>
                  <a:pt x="1479656" y="1485054"/>
                </a:moveTo>
                <a:cubicBezTo>
                  <a:pt x="1495437" y="1485598"/>
                  <a:pt x="1508497" y="1496482"/>
                  <a:pt x="1507409" y="1513895"/>
                </a:cubicBezTo>
                <a:cubicBezTo>
                  <a:pt x="1508497" y="1527500"/>
                  <a:pt x="1498158" y="1542192"/>
                  <a:pt x="1479112" y="1541648"/>
                </a:cubicBezTo>
                <a:cubicBezTo>
                  <a:pt x="1462787" y="1541648"/>
                  <a:pt x="1451359" y="1529676"/>
                  <a:pt x="1451359" y="1513351"/>
                </a:cubicBezTo>
                <a:cubicBezTo>
                  <a:pt x="1451359" y="1493761"/>
                  <a:pt x="1466596" y="1485054"/>
                  <a:pt x="1479656" y="1485054"/>
                </a:cubicBezTo>
                <a:close/>
                <a:moveTo>
                  <a:pt x="1641820" y="1482334"/>
                </a:moveTo>
                <a:cubicBezTo>
                  <a:pt x="1657057" y="1481789"/>
                  <a:pt x="1672838" y="1496482"/>
                  <a:pt x="1673382" y="1512807"/>
                </a:cubicBezTo>
                <a:cubicBezTo>
                  <a:pt x="1673927" y="1528044"/>
                  <a:pt x="1658145" y="1544370"/>
                  <a:pt x="1642909" y="1544370"/>
                </a:cubicBezTo>
                <a:cubicBezTo>
                  <a:pt x="1626039" y="1542193"/>
                  <a:pt x="1612979" y="1532942"/>
                  <a:pt x="1612435" y="1513351"/>
                </a:cubicBezTo>
                <a:cubicBezTo>
                  <a:pt x="1611890" y="1497571"/>
                  <a:pt x="1626583" y="1483422"/>
                  <a:pt x="1641820" y="1482334"/>
                </a:cubicBezTo>
                <a:close/>
                <a:moveTo>
                  <a:pt x="1804529" y="1481788"/>
                </a:moveTo>
                <a:cubicBezTo>
                  <a:pt x="1820855" y="1481244"/>
                  <a:pt x="1836091" y="1494304"/>
                  <a:pt x="1837180" y="1513351"/>
                </a:cubicBezTo>
                <a:cubicBezTo>
                  <a:pt x="1838812" y="1528043"/>
                  <a:pt x="1825208" y="1544913"/>
                  <a:pt x="1805617" y="1545457"/>
                </a:cubicBezTo>
                <a:cubicBezTo>
                  <a:pt x="1787660" y="1544913"/>
                  <a:pt x="1774055" y="1532397"/>
                  <a:pt x="1773511" y="1514983"/>
                </a:cubicBezTo>
                <a:cubicBezTo>
                  <a:pt x="1772967" y="1494849"/>
                  <a:pt x="1788204" y="1482333"/>
                  <a:pt x="1804529" y="1481788"/>
                </a:cubicBezTo>
                <a:close/>
                <a:moveTo>
                  <a:pt x="1968870" y="1480700"/>
                </a:moveTo>
                <a:cubicBezTo>
                  <a:pt x="1984651" y="1480700"/>
                  <a:pt x="2000977" y="1495937"/>
                  <a:pt x="2000977" y="1513351"/>
                </a:cubicBezTo>
                <a:cubicBezTo>
                  <a:pt x="2001521" y="1529132"/>
                  <a:pt x="1987916" y="1546001"/>
                  <a:pt x="1968870" y="1545457"/>
                </a:cubicBezTo>
                <a:cubicBezTo>
                  <a:pt x="1949824" y="1545457"/>
                  <a:pt x="1936764" y="1530764"/>
                  <a:pt x="1936764" y="1513351"/>
                </a:cubicBezTo>
                <a:cubicBezTo>
                  <a:pt x="1936764" y="1493760"/>
                  <a:pt x="1953633" y="1480700"/>
                  <a:pt x="1968870" y="1480700"/>
                </a:cubicBezTo>
                <a:close/>
                <a:moveTo>
                  <a:pt x="581221" y="1423562"/>
                </a:moveTo>
                <a:cubicBezTo>
                  <a:pt x="586663" y="1423562"/>
                  <a:pt x="589384" y="1427371"/>
                  <a:pt x="588840" y="1431725"/>
                </a:cubicBezTo>
                <a:cubicBezTo>
                  <a:pt x="588840" y="1434990"/>
                  <a:pt x="585030" y="1438255"/>
                  <a:pt x="581765" y="1443153"/>
                </a:cubicBezTo>
                <a:cubicBezTo>
                  <a:pt x="577412" y="1438255"/>
                  <a:pt x="574147" y="1436078"/>
                  <a:pt x="573059" y="1432813"/>
                </a:cubicBezTo>
                <a:cubicBezTo>
                  <a:pt x="571426" y="1429004"/>
                  <a:pt x="576868" y="1423562"/>
                  <a:pt x="581221" y="1423562"/>
                </a:cubicBezTo>
                <a:close/>
                <a:moveTo>
                  <a:pt x="745562" y="1414855"/>
                </a:moveTo>
                <a:cubicBezTo>
                  <a:pt x="754269" y="1415399"/>
                  <a:pt x="761344" y="1423018"/>
                  <a:pt x="761344" y="1432269"/>
                </a:cubicBezTo>
                <a:cubicBezTo>
                  <a:pt x="761344" y="1442064"/>
                  <a:pt x="754813" y="1448050"/>
                  <a:pt x="745018" y="1448050"/>
                </a:cubicBezTo>
                <a:cubicBezTo>
                  <a:pt x="734679" y="1448050"/>
                  <a:pt x="728693" y="1442064"/>
                  <a:pt x="728693" y="1431725"/>
                </a:cubicBezTo>
                <a:cubicBezTo>
                  <a:pt x="728693" y="1421386"/>
                  <a:pt x="735223" y="1414311"/>
                  <a:pt x="745562" y="1414855"/>
                </a:cubicBezTo>
                <a:close/>
                <a:moveTo>
                  <a:pt x="908815" y="1409958"/>
                </a:moveTo>
                <a:cubicBezTo>
                  <a:pt x="920243" y="1410502"/>
                  <a:pt x="930038" y="1420297"/>
                  <a:pt x="930038" y="1431725"/>
                </a:cubicBezTo>
                <a:cubicBezTo>
                  <a:pt x="929494" y="1443697"/>
                  <a:pt x="919155" y="1454036"/>
                  <a:pt x="907183" y="1453492"/>
                </a:cubicBezTo>
                <a:cubicBezTo>
                  <a:pt x="896844" y="1453492"/>
                  <a:pt x="885960" y="1442064"/>
                  <a:pt x="885960" y="1431725"/>
                </a:cubicBezTo>
                <a:cubicBezTo>
                  <a:pt x="885960" y="1420297"/>
                  <a:pt x="897388" y="1409414"/>
                  <a:pt x="908815" y="1409958"/>
                </a:cubicBezTo>
                <a:close/>
                <a:moveTo>
                  <a:pt x="1070436" y="1406693"/>
                </a:moveTo>
                <a:cubicBezTo>
                  <a:pt x="1084584" y="1406693"/>
                  <a:pt x="1096012" y="1418121"/>
                  <a:pt x="1096012" y="1432269"/>
                </a:cubicBezTo>
                <a:cubicBezTo>
                  <a:pt x="1096012" y="1445329"/>
                  <a:pt x="1082952" y="1458390"/>
                  <a:pt x="1070436" y="1457846"/>
                </a:cubicBezTo>
                <a:cubicBezTo>
                  <a:pt x="1058464" y="1457301"/>
                  <a:pt x="1044860" y="1443153"/>
                  <a:pt x="1045404" y="1431181"/>
                </a:cubicBezTo>
                <a:cubicBezTo>
                  <a:pt x="1045948" y="1418665"/>
                  <a:pt x="1057920" y="1406693"/>
                  <a:pt x="1070436" y="1406693"/>
                </a:cubicBezTo>
                <a:close/>
                <a:moveTo>
                  <a:pt x="1235865" y="1404516"/>
                </a:moveTo>
                <a:cubicBezTo>
                  <a:pt x="1252191" y="1405605"/>
                  <a:pt x="1262530" y="1415944"/>
                  <a:pt x="1261986" y="1433358"/>
                </a:cubicBezTo>
                <a:cubicBezTo>
                  <a:pt x="1261442" y="1449683"/>
                  <a:pt x="1251102" y="1459478"/>
                  <a:pt x="1233689" y="1459478"/>
                </a:cubicBezTo>
                <a:cubicBezTo>
                  <a:pt x="1218452" y="1461655"/>
                  <a:pt x="1206480" y="1445329"/>
                  <a:pt x="1206480" y="1432269"/>
                </a:cubicBezTo>
                <a:cubicBezTo>
                  <a:pt x="1206480" y="1417032"/>
                  <a:pt x="1220084" y="1403428"/>
                  <a:pt x="1235865" y="1404516"/>
                </a:cubicBezTo>
                <a:close/>
                <a:moveTo>
                  <a:pt x="1397485" y="1400162"/>
                </a:moveTo>
                <a:cubicBezTo>
                  <a:pt x="1412178" y="1400162"/>
                  <a:pt x="1427959" y="1416487"/>
                  <a:pt x="1427959" y="1431724"/>
                </a:cubicBezTo>
                <a:cubicBezTo>
                  <a:pt x="1428503" y="1446961"/>
                  <a:pt x="1413810" y="1462198"/>
                  <a:pt x="1398029" y="1463287"/>
                </a:cubicBezTo>
                <a:cubicBezTo>
                  <a:pt x="1384425" y="1464375"/>
                  <a:pt x="1367555" y="1448049"/>
                  <a:pt x="1366467" y="1432813"/>
                </a:cubicBezTo>
                <a:cubicBezTo>
                  <a:pt x="1365923" y="1418120"/>
                  <a:pt x="1382792" y="1400162"/>
                  <a:pt x="1397485" y="1400162"/>
                </a:cubicBezTo>
                <a:close/>
                <a:moveTo>
                  <a:pt x="1561282" y="1399618"/>
                </a:moveTo>
                <a:cubicBezTo>
                  <a:pt x="1575975" y="1399618"/>
                  <a:pt x="1593388" y="1415943"/>
                  <a:pt x="1593388" y="1432269"/>
                </a:cubicBezTo>
                <a:cubicBezTo>
                  <a:pt x="1593388" y="1446961"/>
                  <a:pt x="1578696" y="1464919"/>
                  <a:pt x="1560738" y="1464375"/>
                </a:cubicBezTo>
                <a:cubicBezTo>
                  <a:pt x="1542236" y="1463831"/>
                  <a:pt x="1529176" y="1450226"/>
                  <a:pt x="1528631" y="1432813"/>
                </a:cubicBezTo>
                <a:cubicBezTo>
                  <a:pt x="1528087" y="1414311"/>
                  <a:pt x="1545501" y="1399618"/>
                  <a:pt x="1561282" y="1399618"/>
                </a:cubicBezTo>
                <a:close/>
                <a:moveTo>
                  <a:pt x="1723446" y="1399074"/>
                </a:moveTo>
                <a:cubicBezTo>
                  <a:pt x="1741948" y="1399074"/>
                  <a:pt x="1757185" y="1413767"/>
                  <a:pt x="1757185" y="1432269"/>
                </a:cubicBezTo>
                <a:cubicBezTo>
                  <a:pt x="1757185" y="1451315"/>
                  <a:pt x="1743037" y="1463831"/>
                  <a:pt x="1723991" y="1465464"/>
                </a:cubicBezTo>
                <a:cubicBezTo>
                  <a:pt x="1707121" y="1466552"/>
                  <a:pt x="1690252" y="1448594"/>
                  <a:pt x="1691340" y="1433357"/>
                </a:cubicBezTo>
                <a:cubicBezTo>
                  <a:pt x="1692428" y="1412678"/>
                  <a:pt x="1704400" y="1399074"/>
                  <a:pt x="1723446" y="1399074"/>
                </a:cubicBezTo>
                <a:close/>
                <a:moveTo>
                  <a:pt x="1886700" y="1398530"/>
                </a:moveTo>
                <a:cubicBezTo>
                  <a:pt x="1904113" y="1396898"/>
                  <a:pt x="1922071" y="1415944"/>
                  <a:pt x="1920439" y="1432269"/>
                </a:cubicBezTo>
                <a:cubicBezTo>
                  <a:pt x="1919350" y="1451315"/>
                  <a:pt x="1907378" y="1464920"/>
                  <a:pt x="1887788" y="1464920"/>
                </a:cubicBezTo>
                <a:cubicBezTo>
                  <a:pt x="1867109" y="1464920"/>
                  <a:pt x="1854049" y="1452948"/>
                  <a:pt x="1854049" y="1433358"/>
                </a:cubicBezTo>
                <a:cubicBezTo>
                  <a:pt x="1854049" y="1412679"/>
                  <a:pt x="1867109" y="1400163"/>
                  <a:pt x="1886700" y="1398530"/>
                </a:cubicBezTo>
                <a:close/>
                <a:moveTo>
                  <a:pt x="2051041" y="1398217"/>
                </a:moveTo>
                <a:lnTo>
                  <a:pt x="2051041" y="1464535"/>
                </a:lnTo>
                <a:lnTo>
                  <a:pt x="2049953" y="1464920"/>
                </a:lnTo>
                <a:cubicBezTo>
                  <a:pt x="2032539" y="1467096"/>
                  <a:pt x="2017302" y="1450771"/>
                  <a:pt x="2017302" y="1431725"/>
                </a:cubicBezTo>
                <a:cubicBezTo>
                  <a:pt x="2017302" y="1422746"/>
                  <a:pt x="2021383" y="1414311"/>
                  <a:pt x="2027709" y="1408121"/>
                </a:cubicBezTo>
                <a:close/>
                <a:moveTo>
                  <a:pt x="500139" y="1341936"/>
                </a:moveTo>
                <a:cubicBezTo>
                  <a:pt x="503404" y="1343568"/>
                  <a:pt x="506125" y="1346833"/>
                  <a:pt x="511023" y="1350643"/>
                </a:cubicBezTo>
                <a:cubicBezTo>
                  <a:pt x="506125" y="1354452"/>
                  <a:pt x="502860" y="1357717"/>
                  <a:pt x="499595" y="1358261"/>
                </a:cubicBezTo>
                <a:cubicBezTo>
                  <a:pt x="495241" y="1359349"/>
                  <a:pt x="490888" y="1353908"/>
                  <a:pt x="491432" y="1349010"/>
                </a:cubicBezTo>
                <a:cubicBezTo>
                  <a:pt x="491976" y="1344112"/>
                  <a:pt x="495241" y="1340848"/>
                  <a:pt x="500139" y="1341936"/>
                </a:cubicBezTo>
                <a:close/>
                <a:moveTo>
                  <a:pt x="662848" y="1333773"/>
                </a:moveTo>
                <a:cubicBezTo>
                  <a:pt x="673187" y="1333773"/>
                  <a:pt x="679173" y="1340303"/>
                  <a:pt x="679173" y="1350643"/>
                </a:cubicBezTo>
                <a:cubicBezTo>
                  <a:pt x="679173" y="1359894"/>
                  <a:pt x="672099" y="1366424"/>
                  <a:pt x="662848" y="1366424"/>
                </a:cubicBezTo>
                <a:cubicBezTo>
                  <a:pt x="653053" y="1366424"/>
                  <a:pt x="647067" y="1359894"/>
                  <a:pt x="647067" y="1350098"/>
                </a:cubicBezTo>
                <a:cubicBezTo>
                  <a:pt x="647067" y="1339759"/>
                  <a:pt x="653053" y="1333773"/>
                  <a:pt x="662848" y="1333773"/>
                </a:cubicBezTo>
                <a:close/>
                <a:moveTo>
                  <a:pt x="826645" y="1328331"/>
                </a:moveTo>
                <a:cubicBezTo>
                  <a:pt x="838617" y="1328331"/>
                  <a:pt x="848412" y="1338670"/>
                  <a:pt x="847868" y="1350642"/>
                </a:cubicBezTo>
                <a:cubicBezTo>
                  <a:pt x="847868" y="1362070"/>
                  <a:pt x="836984" y="1372409"/>
                  <a:pt x="825556" y="1372409"/>
                </a:cubicBezTo>
                <a:cubicBezTo>
                  <a:pt x="814673" y="1372409"/>
                  <a:pt x="803789" y="1360982"/>
                  <a:pt x="804334" y="1349554"/>
                </a:cubicBezTo>
                <a:cubicBezTo>
                  <a:pt x="804334" y="1337582"/>
                  <a:pt x="814673" y="1328331"/>
                  <a:pt x="826645" y="1328331"/>
                </a:cubicBezTo>
                <a:close/>
                <a:moveTo>
                  <a:pt x="989353" y="1323978"/>
                </a:moveTo>
                <a:cubicBezTo>
                  <a:pt x="1002957" y="1324522"/>
                  <a:pt x="1014385" y="1334861"/>
                  <a:pt x="1015473" y="1350098"/>
                </a:cubicBezTo>
                <a:cubicBezTo>
                  <a:pt x="1014929" y="1363702"/>
                  <a:pt x="1004046" y="1376219"/>
                  <a:pt x="989353" y="1376763"/>
                </a:cubicBezTo>
                <a:cubicBezTo>
                  <a:pt x="976293" y="1376763"/>
                  <a:pt x="963777" y="1364791"/>
                  <a:pt x="963777" y="1350642"/>
                </a:cubicBezTo>
                <a:cubicBezTo>
                  <a:pt x="963233" y="1334861"/>
                  <a:pt x="977925" y="1323434"/>
                  <a:pt x="989353" y="1323978"/>
                </a:cubicBezTo>
                <a:close/>
                <a:moveTo>
                  <a:pt x="1152606" y="1322889"/>
                </a:moveTo>
                <a:cubicBezTo>
                  <a:pt x="1170564" y="1320712"/>
                  <a:pt x="1180903" y="1335405"/>
                  <a:pt x="1181447" y="1350098"/>
                </a:cubicBezTo>
                <a:cubicBezTo>
                  <a:pt x="1181447" y="1364791"/>
                  <a:pt x="1171108" y="1379483"/>
                  <a:pt x="1152606" y="1379483"/>
                </a:cubicBezTo>
                <a:cubicBezTo>
                  <a:pt x="1137913" y="1379483"/>
                  <a:pt x="1124853" y="1367511"/>
                  <a:pt x="1124853" y="1350642"/>
                </a:cubicBezTo>
                <a:cubicBezTo>
                  <a:pt x="1124309" y="1333228"/>
                  <a:pt x="1137913" y="1320712"/>
                  <a:pt x="1152606" y="1322889"/>
                </a:cubicBezTo>
                <a:close/>
                <a:moveTo>
                  <a:pt x="1315315" y="1318536"/>
                </a:moveTo>
                <a:cubicBezTo>
                  <a:pt x="1334361" y="1318536"/>
                  <a:pt x="1345789" y="1331596"/>
                  <a:pt x="1347966" y="1350098"/>
                </a:cubicBezTo>
                <a:cubicBezTo>
                  <a:pt x="1345245" y="1369144"/>
                  <a:pt x="1334905" y="1382205"/>
                  <a:pt x="1315315" y="1381661"/>
                </a:cubicBezTo>
                <a:cubicBezTo>
                  <a:pt x="1296813" y="1381116"/>
                  <a:pt x="1284841" y="1369144"/>
                  <a:pt x="1284297" y="1350098"/>
                </a:cubicBezTo>
                <a:cubicBezTo>
                  <a:pt x="1284297" y="1331052"/>
                  <a:pt x="1297357" y="1319080"/>
                  <a:pt x="1315315" y="1318536"/>
                </a:cubicBezTo>
                <a:close/>
                <a:moveTo>
                  <a:pt x="1480744" y="1317448"/>
                </a:moveTo>
                <a:cubicBezTo>
                  <a:pt x="1499246" y="1317992"/>
                  <a:pt x="1512851" y="1332140"/>
                  <a:pt x="1512306" y="1351731"/>
                </a:cubicBezTo>
                <a:cubicBezTo>
                  <a:pt x="1511762" y="1370233"/>
                  <a:pt x="1497070" y="1383837"/>
                  <a:pt x="1477479" y="1383293"/>
                </a:cubicBezTo>
                <a:cubicBezTo>
                  <a:pt x="1458977" y="1382749"/>
                  <a:pt x="1447550" y="1368600"/>
                  <a:pt x="1446461" y="1349554"/>
                </a:cubicBezTo>
                <a:cubicBezTo>
                  <a:pt x="1445373" y="1333773"/>
                  <a:pt x="1463331" y="1314727"/>
                  <a:pt x="1480744" y="1317448"/>
                </a:cubicBezTo>
                <a:close/>
                <a:moveTo>
                  <a:pt x="1642908" y="1315815"/>
                </a:moveTo>
                <a:cubicBezTo>
                  <a:pt x="1663043" y="1315815"/>
                  <a:pt x="1677735" y="1333229"/>
                  <a:pt x="1676647" y="1351731"/>
                </a:cubicBezTo>
                <a:cubicBezTo>
                  <a:pt x="1675559" y="1371865"/>
                  <a:pt x="1661954" y="1384381"/>
                  <a:pt x="1640732" y="1383837"/>
                </a:cubicBezTo>
                <a:cubicBezTo>
                  <a:pt x="1620597" y="1384381"/>
                  <a:pt x="1608081" y="1368056"/>
                  <a:pt x="1608081" y="1349554"/>
                </a:cubicBezTo>
                <a:cubicBezTo>
                  <a:pt x="1608081" y="1329964"/>
                  <a:pt x="1623318" y="1315815"/>
                  <a:pt x="1642908" y="1315815"/>
                </a:cubicBezTo>
                <a:close/>
                <a:moveTo>
                  <a:pt x="1968870" y="1314183"/>
                </a:moveTo>
                <a:cubicBezTo>
                  <a:pt x="1989548" y="1314727"/>
                  <a:pt x="2004785" y="1329420"/>
                  <a:pt x="2005329" y="1351187"/>
                </a:cubicBezTo>
                <a:cubicBezTo>
                  <a:pt x="2004785" y="1370233"/>
                  <a:pt x="1985739" y="1388735"/>
                  <a:pt x="1967781" y="1388191"/>
                </a:cubicBezTo>
                <a:cubicBezTo>
                  <a:pt x="1949823" y="1387647"/>
                  <a:pt x="1931322" y="1367512"/>
                  <a:pt x="1931866" y="1350098"/>
                </a:cubicBezTo>
                <a:cubicBezTo>
                  <a:pt x="1932410" y="1331596"/>
                  <a:pt x="1950912" y="1313094"/>
                  <a:pt x="1968870" y="1314183"/>
                </a:cubicBezTo>
                <a:close/>
                <a:moveTo>
                  <a:pt x="1806161" y="1313639"/>
                </a:moveTo>
                <a:cubicBezTo>
                  <a:pt x="1825207" y="1314183"/>
                  <a:pt x="1843165" y="1332141"/>
                  <a:pt x="1841533" y="1351187"/>
                </a:cubicBezTo>
                <a:cubicBezTo>
                  <a:pt x="1840988" y="1360438"/>
                  <a:pt x="1838267" y="1370233"/>
                  <a:pt x="1830105" y="1376763"/>
                </a:cubicBezTo>
                <a:cubicBezTo>
                  <a:pt x="1822486" y="1383293"/>
                  <a:pt x="1813235" y="1387102"/>
                  <a:pt x="1803984" y="1387102"/>
                </a:cubicBezTo>
                <a:cubicBezTo>
                  <a:pt x="1786027" y="1387102"/>
                  <a:pt x="1768613" y="1367512"/>
                  <a:pt x="1768613" y="1350098"/>
                </a:cubicBezTo>
                <a:cubicBezTo>
                  <a:pt x="1769157" y="1331596"/>
                  <a:pt x="1788203" y="1313094"/>
                  <a:pt x="1806161" y="1313639"/>
                </a:cubicBezTo>
                <a:close/>
                <a:moveTo>
                  <a:pt x="419057" y="1262486"/>
                </a:moveTo>
                <a:cubicBezTo>
                  <a:pt x="423410" y="1262486"/>
                  <a:pt x="425587" y="1265207"/>
                  <a:pt x="424499" y="1269016"/>
                </a:cubicBezTo>
                <a:cubicBezTo>
                  <a:pt x="423410" y="1271737"/>
                  <a:pt x="421234" y="1273914"/>
                  <a:pt x="417969" y="1278811"/>
                </a:cubicBezTo>
                <a:cubicBezTo>
                  <a:pt x="414704" y="1273914"/>
                  <a:pt x="412527" y="1271737"/>
                  <a:pt x="411983" y="1269016"/>
                </a:cubicBezTo>
                <a:cubicBezTo>
                  <a:pt x="410894" y="1264118"/>
                  <a:pt x="414159" y="1262486"/>
                  <a:pt x="419057" y="1262486"/>
                </a:cubicBezTo>
                <a:close/>
                <a:moveTo>
                  <a:pt x="581221" y="1252147"/>
                </a:moveTo>
                <a:cubicBezTo>
                  <a:pt x="591016" y="1252691"/>
                  <a:pt x="598091" y="1260310"/>
                  <a:pt x="597547" y="1269017"/>
                </a:cubicBezTo>
                <a:cubicBezTo>
                  <a:pt x="597547" y="1278268"/>
                  <a:pt x="589928" y="1284798"/>
                  <a:pt x="580133" y="1284254"/>
                </a:cubicBezTo>
                <a:cubicBezTo>
                  <a:pt x="570882" y="1283709"/>
                  <a:pt x="564896" y="1277179"/>
                  <a:pt x="564896" y="1268472"/>
                </a:cubicBezTo>
                <a:cubicBezTo>
                  <a:pt x="564896" y="1259222"/>
                  <a:pt x="571970" y="1252147"/>
                  <a:pt x="581221" y="1252147"/>
                </a:cubicBezTo>
                <a:close/>
                <a:moveTo>
                  <a:pt x="745018" y="1246705"/>
                </a:moveTo>
                <a:cubicBezTo>
                  <a:pt x="757534" y="1246705"/>
                  <a:pt x="766785" y="1257044"/>
                  <a:pt x="766241" y="1269560"/>
                </a:cubicBezTo>
                <a:cubicBezTo>
                  <a:pt x="765697" y="1280988"/>
                  <a:pt x="755358" y="1290783"/>
                  <a:pt x="744474" y="1290783"/>
                </a:cubicBezTo>
                <a:cubicBezTo>
                  <a:pt x="733046" y="1290783"/>
                  <a:pt x="722707" y="1279900"/>
                  <a:pt x="722707" y="1267928"/>
                </a:cubicBezTo>
                <a:cubicBezTo>
                  <a:pt x="722707" y="1255956"/>
                  <a:pt x="733046" y="1246705"/>
                  <a:pt x="745018" y="1246705"/>
                </a:cubicBezTo>
                <a:close/>
                <a:moveTo>
                  <a:pt x="907727" y="1241807"/>
                </a:moveTo>
                <a:cubicBezTo>
                  <a:pt x="921331" y="1241807"/>
                  <a:pt x="934391" y="1257044"/>
                  <a:pt x="933847" y="1269016"/>
                </a:cubicBezTo>
                <a:cubicBezTo>
                  <a:pt x="933847" y="1282620"/>
                  <a:pt x="920787" y="1295680"/>
                  <a:pt x="907183" y="1295136"/>
                </a:cubicBezTo>
                <a:cubicBezTo>
                  <a:pt x="893578" y="1294592"/>
                  <a:pt x="880518" y="1280988"/>
                  <a:pt x="880518" y="1267927"/>
                </a:cubicBezTo>
                <a:cubicBezTo>
                  <a:pt x="881062" y="1254323"/>
                  <a:pt x="894122" y="1242351"/>
                  <a:pt x="907727" y="1241807"/>
                </a:cubicBezTo>
                <a:close/>
                <a:moveTo>
                  <a:pt x="1070979" y="1240719"/>
                </a:moveTo>
                <a:cubicBezTo>
                  <a:pt x="1091114" y="1240175"/>
                  <a:pt x="1099276" y="1252691"/>
                  <a:pt x="1099821" y="1268472"/>
                </a:cubicBezTo>
                <a:cubicBezTo>
                  <a:pt x="1099821" y="1285886"/>
                  <a:pt x="1088393" y="1297858"/>
                  <a:pt x="1070435" y="1297858"/>
                </a:cubicBezTo>
                <a:cubicBezTo>
                  <a:pt x="1053566" y="1297858"/>
                  <a:pt x="1042138" y="1286430"/>
                  <a:pt x="1042138" y="1269560"/>
                </a:cubicBezTo>
                <a:cubicBezTo>
                  <a:pt x="1042138" y="1250514"/>
                  <a:pt x="1053566" y="1240719"/>
                  <a:pt x="1070979" y="1240719"/>
                </a:cubicBezTo>
                <a:close/>
                <a:moveTo>
                  <a:pt x="1234233" y="1235821"/>
                </a:moveTo>
                <a:cubicBezTo>
                  <a:pt x="1250558" y="1235821"/>
                  <a:pt x="1267972" y="1252691"/>
                  <a:pt x="1266883" y="1269016"/>
                </a:cubicBezTo>
                <a:cubicBezTo>
                  <a:pt x="1266339" y="1285885"/>
                  <a:pt x="1251646" y="1301122"/>
                  <a:pt x="1234233" y="1300578"/>
                </a:cubicBezTo>
                <a:cubicBezTo>
                  <a:pt x="1216275" y="1300578"/>
                  <a:pt x="1201582" y="1286430"/>
                  <a:pt x="1201582" y="1267383"/>
                </a:cubicBezTo>
                <a:cubicBezTo>
                  <a:pt x="1201582" y="1249425"/>
                  <a:pt x="1217907" y="1235821"/>
                  <a:pt x="1234233" y="1235821"/>
                </a:cubicBezTo>
                <a:close/>
                <a:moveTo>
                  <a:pt x="1396397" y="1234733"/>
                </a:moveTo>
                <a:cubicBezTo>
                  <a:pt x="1413810" y="1233645"/>
                  <a:pt x="1433945" y="1250514"/>
                  <a:pt x="1431224" y="1268472"/>
                </a:cubicBezTo>
                <a:cubicBezTo>
                  <a:pt x="1433401" y="1286430"/>
                  <a:pt x="1415443" y="1303299"/>
                  <a:pt x="1396941" y="1302755"/>
                </a:cubicBezTo>
                <a:cubicBezTo>
                  <a:pt x="1381160" y="1302211"/>
                  <a:pt x="1363202" y="1290783"/>
                  <a:pt x="1363746" y="1269016"/>
                </a:cubicBezTo>
                <a:cubicBezTo>
                  <a:pt x="1364290" y="1248881"/>
                  <a:pt x="1376806" y="1235821"/>
                  <a:pt x="1396397" y="1234733"/>
                </a:cubicBezTo>
                <a:close/>
                <a:moveTo>
                  <a:pt x="1559649" y="1232557"/>
                </a:moveTo>
                <a:cubicBezTo>
                  <a:pt x="1580328" y="1232013"/>
                  <a:pt x="1595021" y="1246705"/>
                  <a:pt x="1597742" y="1268472"/>
                </a:cubicBezTo>
                <a:cubicBezTo>
                  <a:pt x="1598286" y="1286974"/>
                  <a:pt x="1580872" y="1304932"/>
                  <a:pt x="1561826" y="1305476"/>
                </a:cubicBezTo>
                <a:cubicBezTo>
                  <a:pt x="1543868" y="1306564"/>
                  <a:pt x="1524822" y="1288063"/>
                  <a:pt x="1523734" y="1269561"/>
                </a:cubicBezTo>
                <a:cubicBezTo>
                  <a:pt x="1522645" y="1252147"/>
                  <a:pt x="1541147" y="1232557"/>
                  <a:pt x="1559649" y="1232557"/>
                </a:cubicBezTo>
                <a:close/>
                <a:moveTo>
                  <a:pt x="1723990" y="1231468"/>
                </a:moveTo>
                <a:cubicBezTo>
                  <a:pt x="1743037" y="1231468"/>
                  <a:pt x="1761539" y="1249426"/>
                  <a:pt x="1762083" y="1268472"/>
                </a:cubicBezTo>
                <a:cubicBezTo>
                  <a:pt x="1762627" y="1290239"/>
                  <a:pt x="1741404" y="1306020"/>
                  <a:pt x="1724535" y="1307109"/>
                </a:cubicBezTo>
                <a:cubicBezTo>
                  <a:pt x="1706033" y="1306564"/>
                  <a:pt x="1687531" y="1290239"/>
                  <a:pt x="1686442" y="1270105"/>
                </a:cubicBezTo>
                <a:cubicBezTo>
                  <a:pt x="1685354" y="1254323"/>
                  <a:pt x="1701679" y="1231468"/>
                  <a:pt x="1723990" y="1231468"/>
                </a:cubicBezTo>
                <a:close/>
                <a:moveTo>
                  <a:pt x="1888332" y="1230924"/>
                </a:moveTo>
                <a:cubicBezTo>
                  <a:pt x="1905745" y="1229836"/>
                  <a:pt x="1928056" y="1250514"/>
                  <a:pt x="1925336" y="1269561"/>
                </a:cubicBezTo>
                <a:cubicBezTo>
                  <a:pt x="1925336" y="1289695"/>
                  <a:pt x="1907378" y="1306564"/>
                  <a:pt x="1887243" y="1307653"/>
                </a:cubicBezTo>
                <a:cubicBezTo>
                  <a:pt x="1870918" y="1308197"/>
                  <a:pt x="1847519" y="1288063"/>
                  <a:pt x="1849151" y="1267928"/>
                </a:cubicBezTo>
                <a:cubicBezTo>
                  <a:pt x="1850239" y="1247794"/>
                  <a:pt x="1867653" y="1231468"/>
                  <a:pt x="1888332" y="1230924"/>
                </a:cubicBezTo>
                <a:close/>
                <a:moveTo>
                  <a:pt x="2049952" y="1230380"/>
                </a:moveTo>
                <a:lnTo>
                  <a:pt x="2051041" y="1230805"/>
                </a:lnTo>
                <a:lnTo>
                  <a:pt x="2051041" y="1307109"/>
                </a:lnTo>
                <a:cubicBezTo>
                  <a:pt x="2033627" y="1309830"/>
                  <a:pt x="2011316" y="1286974"/>
                  <a:pt x="2012404" y="1268472"/>
                </a:cubicBezTo>
                <a:cubicBezTo>
                  <a:pt x="2013493" y="1247794"/>
                  <a:pt x="2029274" y="1230380"/>
                  <a:pt x="2049952" y="1230380"/>
                </a:cubicBezTo>
                <a:close/>
                <a:moveTo>
                  <a:pt x="337431" y="1181404"/>
                </a:moveTo>
                <a:cubicBezTo>
                  <a:pt x="339608" y="1182493"/>
                  <a:pt x="341240" y="1184669"/>
                  <a:pt x="345050" y="1187934"/>
                </a:cubicBezTo>
                <a:cubicBezTo>
                  <a:pt x="340696" y="1190111"/>
                  <a:pt x="338519" y="1192288"/>
                  <a:pt x="336343" y="1192288"/>
                </a:cubicBezTo>
                <a:cubicBezTo>
                  <a:pt x="331445" y="1192832"/>
                  <a:pt x="330901" y="1189567"/>
                  <a:pt x="330901" y="1185758"/>
                </a:cubicBezTo>
                <a:cubicBezTo>
                  <a:pt x="330901" y="1181404"/>
                  <a:pt x="334166" y="1180860"/>
                  <a:pt x="337431" y="1181404"/>
                </a:cubicBezTo>
                <a:close/>
                <a:moveTo>
                  <a:pt x="499051" y="1171065"/>
                </a:moveTo>
                <a:cubicBezTo>
                  <a:pt x="506125" y="1170521"/>
                  <a:pt x="516465" y="1179772"/>
                  <a:pt x="516465" y="1187390"/>
                </a:cubicBezTo>
                <a:cubicBezTo>
                  <a:pt x="515921" y="1193920"/>
                  <a:pt x="507214" y="1202627"/>
                  <a:pt x="500140" y="1202627"/>
                </a:cubicBezTo>
                <a:cubicBezTo>
                  <a:pt x="493065" y="1202627"/>
                  <a:pt x="484358" y="1195008"/>
                  <a:pt x="483814" y="1187390"/>
                </a:cubicBezTo>
                <a:cubicBezTo>
                  <a:pt x="483270" y="1180316"/>
                  <a:pt x="491977" y="1171065"/>
                  <a:pt x="499051" y="1171065"/>
                </a:cubicBezTo>
                <a:close/>
                <a:moveTo>
                  <a:pt x="662848" y="1165623"/>
                </a:moveTo>
                <a:cubicBezTo>
                  <a:pt x="675364" y="1165623"/>
                  <a:pt x="684615" y="1174874"/>
                  <a:pt x="684615" y="1187390"/>
                </a:cubicBezTo>
                <a:cubicBezTo>
                  <a:pt x="684615" y="1199362"/>
                  <a:pt x="674820" y="1209157"/>
                  <a:pt x="662848" y="1209157"/>
                </a:cubicBezTo>
                <a:cubicBezTo>
                  <a:pt x="651420" y="1209157"/>
                  <a:pt x="641081" y="1198274"/>
                  <a:pt x="641081" y="1186846"/>
                </a:cubicBezTo>
                <a:cubicBezTo>
                  <a:pt x="641081" y="1175418"/>
                  <a:pt x="651420" y="1165623"/>
                  <a:pt x="662848" y="1165623"/>
                </a:cubicBezTo>
                <a:close/>
                <a:moveTo>
                  <a:pt x="825556" y="1160725"/>
                </a:moveTo>
                <a:cubicBezTo>
                  <a:pt x="840249" y="1161270"/>
                  <a:pt x="851677" y="1171609"/>
                  <a:pt x="852765" y="1186846"/>
                </a:cubicBezTo>
                <a:cubicBezTo>
                  <a:pt x="853309" y="1199906"/>
                  <a:pt x="840249" y="1213511"/>
                  <a:pt x="826645" y="1213511"/>
                </a:cubicBezTo>
                <a:cubicBezTo>
                  <a:pt x="813585" y="1214055"/>
                  <a:pt x="799980" y="1200995"/>
                  <a:pt x="798892" y="1188479"/>
                </a:cubicBezTo>
                <a:cubicBezTo>
                  <a:pt x="797803" y="1173241"/>
                  <a:pt x="814129" y="1160181"/>
                  <a:pt x="825556" y="1160725"/>
                </a:cubicBezTo>
                <a:close/>
                <a:moveTo>
                  <a:pt x="989353" y="1158004"/>
                </a:moveTo>
                <a:cubicBezTo>
                  <a:pt x="1007855" y="1159092"/>
                  <a:pt x="1018739" y="1168888"/>
                  <a:pt x="1018195" y="1187934"/>
                </a:cubicBezTo>
                <a:cubicBezTo>
                  <a:pt x="1017651" y="1206436"/>
                  <a:pt x="1007311" y="1216231"/>
                  <a:pt x="988809" y="1216775"/>
                </a:cubicBezTo>
                <a:cubicBezTo>
                  <a:pt x="972484" y="1217319"/>
                  <a:pt x="960512" y="1203715"/>
                  <a:pt x="959968" y="1187934"/>
                </a:cubicBezTo>
                <a:cubicBezTo>
                  <a:pt x="959968" y="1170520"/>
                  <a:pt x="972484" y="1158004"/>
                  <a:pt x="989353" y="1158004"/>
                </a:cubicBezTo>
                <a:close/>
                <a:moveTo>
                  <a:pt x="1152062" y="1153651"/>
                </a:moveTo>
                <a:cubicBezTo>
                  <a:pt x="1166755" y="1152562"/>
                  <a:pt x="1186345" y="1171065"/>
                  <a:pt x="1185801" y="1186301"/>
                </a:cubicBezTo>
                <a:cubicBezTo>
                  <a:pt x="1184713" y="1205348"/>
                  <a:pt x="1171652" y="1218952"/>
                  <a:pt x="1153150" y="1219496"/>
                </a:cubicBezTo>
                <a:cubicBezTo>
                  <a:pt x="1135193" y="1221129"/>
                  <a:pt x="1119412" y="1204259"/>
                  <a:pt x="1119956" y="1187390"/>
                </a:cubicBezTo>
                <a:cubicBezTo>
                  <a:pt x="1120500" y="1168888"/>
                  <a:pt x="1134648" y="1154739"/>
                  <a:pt x="1152062" y="1153651"/>
                </a:cubicBezTo>
                <a:close/>
                <a:moveTo>
                  <a:pt x="1315315" y="1152018"/>
                </a:moveTo>
                <a:cubicBezTo>
                  <a:pt x="1336537" y="1151474"/>
                  <a:pt x="1351230" y="1169432"/>
                  <a:pt x="1351230" y="1186845"/>
                </a:cubicBezTo>
                <a:cubicBezTo>
                  <a:pt x="1350686" y="1205891"/>
                  <a:pt x="1338714" y="1222217"/>
                  <a:pt x="1315859" y="1221673"/>
                </a:cubicBezTo>
                <a:cubicBezTo>
                  <a:pt x="1294092" y="1221128"/>
                  <a:pt x="1282120" y="1209157"/>
                  <a:pt x="1281576" y="1187390"/>
                </a:cubicBezTo>
                <a:cubicBezTo>
                  <a:pt x="1281031" y="1167255"/>
                  <a:pt x="1295724" y="1152562"/>
                  <a:pt x="1315315" y="1152018"/>
                </a:cubicBezTo>
                <a:close/>
                <a:moveTo>
                  <a:pt x="1479656" y="1149298"/>
                </a:moveTo>
                <a:cubicBezTo>
                  <a:pt x="1500878" y="1149842"/>
                  <a:pt x="1517204" y="1168888"/>
                  <a:pt x="1516660" y="1188479"/>
                </a:cubicBezTo>
                <a:cubicBezTo>
                  <a:pt x="1515027" y="1210246"/>
                  <a:pt x="1495981" y="1224938"/>
                  <a:pt x="1478023" y="1224394"/>
                </a:cubicBezTo>
                <a:cubicBezTo>
                  <a:pt x="1457889" y="1223850"/>
                  <a:pt x="1439931" y="1205892"/>
                  <a:pt x="1441563" y="1185758"/>
                </a:cubicBezTo>
                <a:cubicBezTo>
                  <a:pt x="1442652" y="1166167"/>
                  <a:pt x="1458977" y="1149298"/>
                  <a:pt x="1479656" y="1149298"/>
                </a:cubicBezTo>
                <a:close/>
                <a:moveTo>
                  <a:pt x="1642365" y="1148209"/>
                </a:moveTo>
                <a:cubicBezTo>
                  <a:pt x="1659779" y="1147121"/>
                  <a:pt x="1681001" y="1166711"/>
                  <a:pt x="1681001" y="1187390"/>
                </a:cubicBezTo>
                <a:cubicBezTo>
                  <a:pt x="1681001" y="1208613"/>
                  <a:pt x="1658690" y="1226026"/>
                  <a:pt x="1641821" y="1226026"/>
                </a:cubicBezTo>
                <a:cubicBezTo>
                  <a:pt x="1624407" y="1226026"/>
                  <a:pt x="1601007" y="1205348"/>
                  <a:pt x="1603728" y="1186846"/>
                </a:cubicBezTo>
                <a:cubicBezTo>
                  <a:pt x="1603728" y="1165623"/>
                  <a:pt x="1621686" y="1149298"/>
                  <a:pt x="1642365" y="1148209"/>
                </a:cubicBezTo>
                <a:close/>
                <a:moveTo>
                  <a:pt x="1969414" y="1147665"/>
                </a:moveTo>
                <a:cubicBezTo>
                  <a:pt x="1991725" y="1146032"/>
                  <a:pt x="2009139" y="1165623"/>
                  <a:pt x="2009139" y="1187934"/>
                </a:cubicBezTo>
                <a:cubicBezTo>
                  <a:pt x="2008595" y="1209157"/>
                  <a:pt x="1990093" y="1227114"/>
                  <a:pt x="1968870" y="1227114"/>
                </a:cubicBezTo>
                <a:cubicBezTo>
                  <a:pt x="1949824" y="1227114"/>
                  <a:pt x="1928601" y="1209701"/>
                  <a:pt x="1929145" y="1186301"/>
                </a:cubicBezTo>
                <a:cubicBezTo>
                  <a:pt x="1929145" y="1165623"/>
                  <a:pt x="1948191" y="1145488"/>
                  <a:pt x="1969414" y="1147665"/>
                </a:cubicBezTo>
                <a:close/>
                <a:moveTo>
                  <a:pt x="1805617" y="1147665"/>
                </a:moveTo>
                <a:cubicBezTo>
                  <a:pt x="1825752" y="1147665"/>
                  <a:pt x="1845342" y="1165078"/>
                  <a:pt x="1844798" y="1187934"/>
                </a:cubicBezTo>
                <a:cubicBezTo>
                  <a:pt x="1844254" y="1208612"/>
                  <a:pt x="1824664" y="1227115"/>
                  <a:pt x="1805073" y="1226571"/>
                </a:cubicBezTo>
                <a:cubicBezTo>
                  <a:pt x="1787115" y="1226571"/>
                  <a:pt x="1764260" y="1209701"/>
                  <a:pt x="1766981" y="1186845"/>
                </a:cubicBezTo>
                <a:cubicBezTo>
                  <a:pt x="1764804" y="1165623"/>
                  <a:pt x="1786027" y="1147665"/>
                  <a:pt x="1805617" y="1147665"/>
                </a:cubicBezTo>
                <a:close/>
                <a:moveTo>
                  <a:pt x="417425" y="1090527"/>
                </a:moveTo>
                <a:cubicBezTo>
                  <a:pt x="423955" y="1090527"/>
                  <a:pt x="433206" y="1099234"/>
                  <a:pt x="432662" y="1105764"/>
                </a:cubicBezTo>
                <a:cubicBezTo>
                  <a:pt x="432662" y="1111206"/>
                  <a:pt x="423955" y="1119912"/>
                  <a:pt x="417969" y="1120457"/>
                </a:cubicBezTo>
                <a:cubicBezTo>
                  <a:pt x="411439" y="1121001"/>
                  <a:pt x="402188" y="1111750"/>
                  <a:pt x="402732" y="1105219"/>
                </a:cubicBezTo>
                <a:cubicBezTo>
                  <a:pt x="402732" y="1099234"/>
                  <a:pt x="411439" y="1090527"/>
                  <a:pt x="417425" y="1090527"/>
                </a:cubicBezTo>
                <a:close/>
                <a:moveTo>
                  <a:pt x="580677" y="1083996"/>
                </a:moveTo>
                <a:cubicBezTo>
                  <a:pt x="592105" y="1083996"/>
                  <a:pt x="601900" y="1093791"/>
                  <a:pt x="602444" y="1105219"/>
                </a:cubicBezTo>
                <a:cubicBezTo>
                  <a:pt x="602988" y="1116647"/>
                  <a:pt x="593193" y="1126986"/>
                  <a:pt x="581221" y="1127530"/>
                </a:cubicBezTo>
                <a:cubicBezTo>
                  <a:pt x="570338" y="1127530"/>
                  <a:pt x="558910" y="1116102"/>
                  <a:pt x="558910" y="1105219"/>
                </a:cubicBezTo>
                <a:cubicBezTo>
                  <a:pt x="558910" y="1094880"/>
                  <a:pt x="570338" y="1083996"/>
                  <a:pt x="580677" y="1083996"/>
                </a:cubicBezTo>
                <a:close/>
                <a:moveTo>
                  <a:pt x="743386" y="1079099"/>
                </a:moveTo>
                <a:cubicBezTo>
                  <a:pt x="756991" y="1079099"/>
                  <a:pt x="769507" y="1088894"/>
                  <a:pt x="770595" y="1105219"/>
                </a:cubicBezTo>
                <a:cubicBezTo>
                  <a:pt x="771683" y="1116103"/>
                  <a:pt x="760800" y="1131340"/>
                  <a:pt x="745019" y="1132428"/>
                </a:cubicBezTo>
                <a:cubicBezTo>
                  <a:pt x="734135" y="1134061"/>
                  <a:pt x="717810" y="1118280"/>
                  <a:pt x="717810" y="1106308"/>
                </a:cubicBezTo>
                <a:cubicBezTo>
                  <a:pt x="717810" y="1091071"/>
                  <a:pt x="731414" y="1079099"/>
                  <a:pt x="743386" y="1079099"/>
                </a:cubicBezTo>
                <a:close/>
                <a:moveTo>
                  <a:pt x="907727" y="1076378"/>
                </a:moveTo>
                <a:cubicBezTo>
                  <a:pt x="926773" y="1076378"/>
                  <a:pt x="937112" y="1087262"/>
                  <a:pt x="937112" y="1105219"/>
                </a:cubicBezTo>
                <a:cubicBezTo>
                  <a:pt x="937112" y="1121545"/>
                  <a:pt x="928950" y="1134061"/>
                  <a:pt x="908271" y="1134061"/>
                </a:cubicBezTo>
                <a:cubicBezTo>
                  <a:pt x="888681" y="1134605"/>
                  <a:pt x="878341" y="1122633"/>
                  <a:pt x="878885" y="1105764"/>
                </a:cubicBezTo>
                <a:cubicBezTo>
                  <a:pt x="878341" y="1086173"/>
                  <a:pt x="892490" y="1076378"/>
                  <a:pt x="907727" y="1076378"/>
                </a:cubicBezTo>
                <a:close/>
                <a:moveTo>
                  <a:pt x="1071524" y="1072569"/>
                </a:moveTo>
                <a:cubicBezTo>
                  <a:pt x="1089482" y="1072569"/>
                  <a:pt x="1104174" y="1087806"/>
                  <a:pt x="1104174" y="1105220"/>
                </a:cubicBezTo>
                <a:cubicBezTo>
                  <a:pt x="1104174" y="1123722"/>
                  <a:pt x="1090026" y="1137870"/>
                  <a:pt x="1070435" y="1137870"/>
                </a:cubicBezTo>
                <a:cubicBezTo>
                  <a:pt x="1054110" y="1140047"/>
                  <a:pt x="1037241" y="1121545"/>
                  <a:pt x="1038329" y="1105764"/>
                </a:cubicBezTo>
                <a:cubicBezTo>
                  <a:pt x="1039417" y="1086173"/>
                  <a:pt x="1052478" y="1072569"/>
                  <a:pt x="1071524" y="1072569"/>
                </a:cubicBezTo>
                <a:close/>
                <a:moveTo>
                  <a:pt x="1235865" y="1068760"/>
                </a:moveTo>
                <a:cubicBezTo>
                  <a:pt x="1254912" y="1070392"/>
                  <a:pt x="1272325" y="1088894"/>
                  <a:pt x="1271237" y="1106852"/>
                </a:cubicBezTo>
                <a:cubicBezTo>
                  <a:pt x="1270149" y="1124810"/>
                  <a:pt x="1252735" y="1142223"/>
                  <a:pt x="1234777" y="1142223"/>
                </a:cubicBezTo>
                <a:cubicBezTo>
                  <a:pt x="1215187" y="1142223"/>
                  <a:pt x="1197773" y="1124265"/>
                  <a:pt x="1198861" y="1105219"/>
                </a:cubicBezTo>
                <a:cubicBezTo>
                  <a:pt x="1199406" y="1085629"/>
                  <a:pt x="1217908" y="1067127"/>
                  <a:pt x="1235865" y="1068760"/>
                </a:cubicBezTo>
                <a:close/>
                <a:moveTo>
                  <a:pt x="1396397" y="1067127"/>
                </a:moveTo>
                <a:cubicBezTo>
                  <a:pt x="1416532" y="1065494"/>
                  <a:pt x="1437755" y="1087806"/>
                  <a:pt x="1435578" y="1105219"/>
                </a:cubicBezTo>
                <a:cubicBezTo>
                  <a:pt x="1437210" y="1125898"/>
                  <a:pt x="1413267" y="1144400"/>
                  <a:pt x="1396941" y="1143856"/>
                </a:cubicBezTo>
                <a:cubicBezTo>
                  <a:pt x="1377895" y="1143856"/>
                  <a:pt x="1358305" y="1122633"/>
                  <a:pt x="1358849" y="1105763"/>
                </a:cubicBezTo>
                <a:cubicBezTo>
                  <a:pt x="1359393" y="1085629"/>
                  <a:pt x="1376807" y="1068759"/>
                  <a:pt x="1396397" y="1067127"/>
                </a:cubicBezTo>
                <a:close/>
                <a:moveTo>
                  <a:pt x="1560738" y="1066582"/>
                </a:moveTo>
                <a:cubicBezTo>
                  <a:pt x="1581961" y="1063862"/>
                  <a:pt x="1599919" y="1083452"/>
                  <a:pt x="1599919" y="1105763"/>
                </a:cubicBezTo>
                <a:cubicBezTo>
                  <a:pt x="1599919" y="1127530"/>
                  <a:pt x="1581417" y="1144400"/>
                  <a:pt x="1560738" y="1144400"/>
                </a:cubicBezTo>
                <a:cubicBezTo>
                  <a:pt x="1538971" y="1144400"/>
                  <a:pt x="1521557" y="1125898"/>
                  <a:pt x="1521013" y="1105763"/>
                </a:cubicBezTo>
                <a:cubicBezTo>
                  <a:pt x="1521013" y="1085629"/>
                  <a:pt x="1538971" y="1063862"/>
                  <a:pt x="1560738" y="1066582"/>
                </a:cubicBezTo>
                <a:close/>
                <a:moveTo>
                  <a:pt x="1723447" y="1064406"/>
                </a:moveTo>
                <a:cubicBezTo>
                  <a:pt x="1744126" y="1063862"/>
                  <a:pt x="1763716" y="1076378"/>
                  <a:pt x="1764260" y="1104675"/>
                </a:cubicBezTo>
                <a:cubicBezTo>
                  <a:pt x="1764804" y="1130796"/>
                  <a:pt x="1745758" y="1145488"/>
                  <a:pt x="1724535" y="1146032"/>
                </a:cubicBezTo>
                <a:cubicBezTo>
                  <a:pt x="1703313" y="1147121"/>
                  <a:pt x="1683722" y="1130796"/>
                  <a:pt x="1683178" y="1105764"/>
                </a:cubicBezTo>
                <a:cubicBezTo>
                  <a:pt x="1684266" y="1082364"/>
                  <a:pt x="1698415" y="1064950"/>
                  <a:pt x="1723447" y="1064406"/>
                </a:cubicBezTo>
                <a:close/>
                <a:moveTo>
                  <a:pt x="2051041" y="1063318"/>
                </a:moveTo>
                <a:lnTo>
                  <a:pt x="2051041" y="1147740"/>
                </a:lnTo>
                <a:lnTo>
                  <a:pt x="2049952" y="1148210"/>
                </a:lnTo>
                <a:cubicBezTo>
                  <a:pt x="2028730" y="1147121"/>
                  <a:pt x="2008051" y="1128619"/>
                  <a:pt x="2008051" y="1105764"/>
                </a:cubicBezTo>
                <a:cubicBezTo>
                  <a:pt x="2008595" y="1081276"/>
                  <a:pt x="2027641" y="1063862"/>
                  <a:pt x="2051041" y="1063318"/>
                </a:cubicBezTo>
                <a:close/>
                <a:moveTo>
                  <a:pt x="1887787" y="1062773"/>
                </a:moveTo>
                <a:cubicBezTo>
                  <a:pt x="1909554" y="1063862"/>
                  <a:pt x="1930233" y="1084540"/>
                  <a:pt x="1929145" y="1105763"/>
                </a:cubicBezTo>
                <a:cubicBezTo>
                  <a:pt x="1928056" y="1130251"/>
                  <a:pt x="1908466" y="1147121"/>
                  <a:pt x="1886699" y="1147665"/>
                </a:cubicBezTo>
                <a:cubicBezTo>
                  <a:pt x="1862755" y="1145488"/>
                  <a:pt x="1845886" y="1127530"/>
                  <a:pt x="1844798" y="1105219"/>
                </a:cubicBezTo>
                <a:cubicBezTo>
                  <a:pt x="1844253" y="1083996"/>
                  <a:pt x="1867109" y="1061685"/>
                  <a:pt x="1887787" y="1062773"/>
                </a:cubicBezTo>
                <a:close/>
                <a:moveTo>
                  <a:pt x="335798" y="1011621"/>
                </a:moveTo>
                <a:cubicBezTo>
                  <a:pt x="343960" y="1011621"/>
                  <a:pt x="347770" y="1014886"/>
                  <a:pt x="348314" y="1023049"/>
                </a:cubicBezTo>
                <a:cubicBezTo>
                  <a:pt x="348314" y="1031755"/>
                  <a:pt x="344505" y="1036109"/>
                  <a:pt x="336886" y="1036109"/>
                </a:cubicBezTo>
                <a:cubicBezTo>
                  <a:pt x="329268" y="1036109"/>
                  <a:pt x="324914" y="1032300"/>
                  <a:pt x="324370" y="1024681"/>
                </a:cubicBezTo>
                <a:cubicBezTo>
                  <a:pt x="323826" y="1015974"/>
                  <a:pt x="327635" y="1011621"/>
                  <a:pt x="335798" y="1011621"/>
                </a:cubicBezTo>
                <a:close/>
                <a:moveTo>
                  <a:pt x="499051" y="1002914"/>
                </a:moveTo>
                <a:cubicBezTo>
                  <a:pt x="508846" y="1002370"/>
                  <a:pt x="520818" y="1014342"/>
                  <a:pt x="520818" y="1024137"/>
                </a:cubicBezTo>
                <a:cubicBezTo>
                  <a:pt x="520818" y="1032844"/>
                  <a:pt x="508846" y="1045360"/>
                  <a:pt x="499595" y="1045360"/>
                </a:cubicBezTo>
                <a:cubicBezTo>
                  <a:pt x="490888" y="1045360"/>
                  <a:pt x="478372" y="1032844"/>
                  <a:pt x="478372" y="1024137"/>
                </a:cubicBezTo>
                <a:cubicBezTo>
                  <a:pt x="478372" y="1014886"/>
                  <a:pt x="489800" y="1002914"/>
                  <a:pt x="499051" y="1002914"/>
                </a:cubicBezTo>
                <a:close/>
                <a:moveTo>
                  <a:pt x="663392" y="997473"/>
                </a:moveTo>
                <a:cubicBezTo>
                  <a:pt x="675908" y="998561"/>
                  <a:pt x="688968" y="1011622"/>
                  <a:pt x="688424" y="1024138"/>
                </a:cubicBezTo>
                <a:cubicBezTo>
                  <a:pt x="687880" y="1039374"/>
                  <a:pt x="676452" y="1050802"/>
                  <a:pt x="661759" y="1050258"/>
                </a:cubicBezTo>
                <a:cubicBezTo>
                  <a:pt x="647066" y="1049170"/>
                  <a:pt x="637271" y="1036109"/>
                  <a:pt x="636727" y="1023593"/>
                </a:cubicBezTo>
                <a:cubicBezTo>
                  <a:pt x="637271" y="1010533"/>
                  <a:pt x="651420" y="996929"/>
                  <a:pt x="663392" y="997473"/>
                </a:cubicBezTo>
                <a:close/>
                <a:moveTo>
                  <a:pt x="826645" y="995840"/>
                </a:moveTo>
                <a:cubicBezTo>
                  <a:pt x="845147" y="995296"/>
                  <a:pt x="855486" y="1007267"/>
                  <a:pt x="854942" y="1024137"/>
                </a:cubicBezTo>
                <a:cubicBezTo>
                  <a:pt x="855486" y="1039374"/>
                  <a:pt x="845147" y="1052978"/>
                  <a:pt x="825557" y="1052978"/>
                </a:cubicBezTo>
                <a:cubicBezTo>
                  <a:pt x="808143" y="1052434"/>
                  <a:pt x="796715" y="1041006"/>
                  <a:pt x="797260" y="1023593"/>
                </a:cubicBezTo>
                <a:cubicBezTo>
                  <a:pt x="797260" y="1005635"/>
                  <a:pt x="808687" y="995840"/>
                  <a:pt x="826645" y="995840"/>
                </a:cubicBezTo>
                <a:close/>
                <a:moveTo>
                  <a:pt x="990441" y="990942"/>
                </a:moveTo>
                <a:cubicBezTo>
                  <a:pt x="1008943" y="990942"/>
                  <a:pt x="1023092" y="1006179"/>
                  <a:pt x="1022548" y="1025225"/>
                </a:cubicBezTo>
                <a:cubicBezTo>
                  <a:pt x="1022004" y="1043183"/>
                  <a:pt x="1007311" y="1056243"/>
                  <a:pt x="988809" y="1056787"/>
                </a:cubicBezTo>
                <a:cubicBezTo>
                  <a:pt x="973028" y="1057332"/>
                  <a:pt x="956702" y="1041551"/>
                  <a:pt x="956702" y="1023593"/>
                </a:cubicBezTo>
                <a:cubicBezTo>
                  <a:pt x="956158" y="1006723"/>
                  <a:pt x="973572" y="988221"/>
                  <a:pt x="990441" y="990942"/>
                </a:cubicBezTo>
                <a:close/>
                <a:moveTo>
                  <a:pt x="1150974" y="987678"/>
                </a:moveTo>
                <a:cubicBezTo>
                  <a:pt x="1170020" y="986045"/>
                  <a:pt x="1189066" y="1004547"/>
                  <a:pt x="1189610" y="1023593"/>
                </a:cubicBezTo>
                <a:cubicBezTo>
                  <a:pt x="1190154" y="1042095"/>
                  <a:pt x="1170564" y="1061685"/>
                  <a:pt x="1152062" y="1061685"/>
                </a:cubicBezTo>
                <a:cubicBezTo>
                  <a:pt x="1134104" y="1061685"/>
                  <a:pt x="1115602" y="1042639"/>
                  <a:pt x="1115058" y="1024682"/>
                </a:cubicBezTo>
                <a:cubicBezTo>
                  <a:pt x="1115058" y="1006724"/>
                  <a:pt x="1133016" y="988222"/>
                  <a:pt x="1150974" y="987678"/>
                </a:cubicBezTo>
                <a:close/>
                <a:moveTo>
                  <a:pt x="1315314" y="985501"/>
                </a:moveTo>
                <a:cubicBezTo>
                  <a:pt x="1335993" y="983868"/>
                  <a:pt x="1354495" y="1005635"/>
                  <a:pt x="1354495" y="1023593"/>
                </a:cubicBezTo>
                <a:cubicBezTo>
                  <a:pt x="1355039" y="1042639"/>
                  <a:pt x="1333816" y="1065495"/>
                  <a:pt x="1315858" y="1062230"/>
                </a:cubicBezTo>
                <a:cubicBezTo>
                  <a:pt x="1294636" y="1062230"/>
                  <a:pt x="1277222" y="1045360"/>
                  <a:pt x="1277222" y="1024137"/>
                </a:cubicBezTo>
                <a:cubicBezTo>
                  <a:pt x="1277222" y="1002914"/>
                  <a:pt x="1294091" y="986589"/>
                  <a:pt x="1315314" y="985501"/>
                </a:cubicBezTo>
                <a:close/>
                <a:moveTo>
                  <a:pt x="1479656" y="984412"/>
                </a:moveTo>
                <a:cubicBezTo>
                  <a:pt x="1503055" y="984412"/>
                  <a:pt x="1519925" y="1000737"/>
                  <a:pt x="1519380" y="1025225"/>
                </a:cubicBezTo>
                <a:cubicBezTo>
                  <a:pt x="1518836" y="1045904"/>
                  <a:pt x="1502511" y="1065494"/>
                  <a:pt x="1478567" y="1063318"/>
                </a:cubicBezTo>
                <a:cubicBezTo>
                  <a:pt x="1454624" y="1064950"/>
                  <a:pt x="1438842" y="1044816"/>
                  <a:pt x="1439387" y="1023593"/>
                </a:cubicBezTo>
                <a:cubicBezTo>
                  <a:pt x="1439931" y="1000193"/>
                  <a:pt x="1455712" y="983868"/>
                  <a:pt x="1479656" y="984412"/>
                </a:cubicBezTo>
                <a:close/>
                <a:moveTo>
                  <a:pt x="1641820" y="981691"/>
                </a:moveTo>
                <a:cubicBezTo>
                  <a:pt x="1665220" y="981691"/>
                  <a:pt x="1683178" y="999649"/>
                  <a:pt x="1684810" y="1023592"/>
                </a:cubicBezTo>
                <a:cubicBezTo>
                  <a:pt x="1683722" y="1048625"/>
                  <a:pt x="1665220" y="1066038"/>
                  <a:pt x="1642909" y="1066038"/>
                </a:cubicBezTo>
                <a:cubicBezTo>
                  <a:pt x="1618421" y="1066038"/>
                  <a:pt x="1599919" y="1047536"/>
                  <a:pt x="1599919" y="1023592"/>
                </a:cubicBezTo>
                <a:cubicBezTo>
                  <a:pt x="1599919" y="1001281"/>
                  <a:pt x="1616788" y="982235"/>
                  <a:pt x="1641820" y="981691"/>
                </a:cubicBezTo>
                <a:close/>
                <a:moveTo>
                  <a:pt x="1806161" y="980603"/>
                </a:moveTo>
                <a:cubicBezTo>
                  <a:pt x="1829561" y="980603"/>
                  <a:pt x="1848607" y="1000737"/>
                  <a:pt x="1849151" y="1023592"/>
                </a:cubicBezTo>
                <a:cubicBezTo>
                  <a:pt x="1849151" y="1046992"/>
                  <a:pt x="1827928" y="1068215"/>
                  <a:pt x="1805617" y="1067127"/>
                </a:cubicBezTo>
                <a:cubicBezTo>
                  <a:pt x="1781673" y="1068215"/>
                  <a:pt x="1762083" y="1044815"/>
                  <a:pt x="1762083" y="1023592"/>
                </a:cubicBezTo>
                <a:cubicBezTo>
                  <a:pt x="1762083" y="1002370"/>
                  <a:pt x="1781673" y="980058"/>
                  <a:pt x="1806161" y="980603"/>
                </a:cubicBezTo>
                <a:close/>
                <a:moveTo>
                  <a:pt x="1969414" y="980059"/>
                </a:moveTo>
                <a:cubicBezTo>
                  <a:pt x="1993358" y="980603"/>
                  <a:pt x="2012404" y="1001282"/>
                  <a:pt x="2012404" y="1024137"/>
                </a:cubicBezTo>
                <a:cubicBezTo>
                  <a:pt x="2012404" y="1046449"/>
                  <a:pt x="1991726" y="1069304"/>
                  <a:pt x="1968870" y="1067127"/>
                </a:cubicBezTo>
                <a:cubicBezTo>
                  <a:pt x="1946015" y="1068760"/>
                  <a:pt x="1925336" y="1044272"/>
                  <a:pt x="1924792" y="1024137"/>
                </a:cubicBezTo>
                <a:cubicBezTo>
                  <a:pt x="1924792" y="1002914"/>
                  <a:pt x="1944382" y="980059"/>
                  <a:pt x="1969414" y="980059"/>
                </a:cubicBezTo>
                <a:close/>
                <a:moveTo>
                  <a:pt x="254171" y="931083"/>
                </a:moveTo>
                <a:cubicBezTo>
                  <a:pt x="260701" y="931083"/>
                  <a:pt x="265599" y="935437"/>
                  <a:pt x="265599" y="941967"/>
                </a:cubicBezTo>
                <a:cubicBezTo>
                  <a:pt x="265599" y="948497"/>
                  <a:pt x="260701" y="952850"/>
                  <a:pt x="254171" y="952850"/>
                </a:cubicBezTo>
                <a:cubicBezTo>
                  <a:pt x="247641" y="952850"/>
                  <a:pt x="243832" y="948497"/>
                  <a:pt x="243832" y="941967"/>
                </a:cubicBezTo>
                <a:cubicBezTo>
                  <a:pt x="243832" y="935437"/>
                  <a:pt x="247641" y="931627"/>
                  <a:pt x="254171" y="931083"/>
                </a:cubicBezTo>
                <a:close/>
                <a:moveTo>
                  <a:pt x="417968" y="922377"/>
                </a:moveTo>
                <a:cubicBezTo>
                  <a:pt x="427219" y="921833"/>
                  <a:pt x="437559" y="932716"/>
                  <a:pt x="437559" y="942511"/>
                </a:cubicBezTo>
                <a:cubicBezTo>
                  <a:pt x="437559" y="951762"/>
                  <a:pt x="427219" y="961557"/>
                  <a:pt x="417968" y="961557"/>
                </a:cubicBezTo>
                <a:cubicBezTo>
                  <a:pt x="409262" y="961557"/>
                  <a:pt x="397290" y="949585"/>
                  <a:pt x="397834" y="941423"/>
                </a:cubicBezTo>
                <a:cubicBezTo>
                  <a:pt x="398378" y="933260"/>
                  <a:pt x="409806" y="922377"/>
                  <a:pt x="417968" y="922377"/>
                </a:cubicBezTo>
                <a:close/>
                <a:moveTo>
                  <a:pt x="581222" y="916934"/>
                </a:moveTo>
                <a:cubicBezTo>
                  <a:pt x="593738" y="916934"/>
                  <a:pt x="607342" y="931082"/>
                  <a:pt x="606798" y="943054"/>
                </a:cubicBezTo>
                <a:cubicBezTo>
                  <a:pt x="606254" y="955570"/>
                  <a:pt x="593738" y="967542"/>
                  <a:pt x="581222" y="967542"/>
                </a:cubicBezTo>
                <a:cubicBezTo>
                  <a:pt x="567617" y="966454"/>
                  <a:pt x="557278" y="958291"/>
                  <a:pt x="556190" y="943054"/>
                </a:cubicBezTo>
                <a:cubicBezTo>
                  <a:pt x="555101" y="929994"/>
                  <a:pt x="568161" y="916934"/>
                  <a:pt x="581222" y="916934"/>
                </a:cubicBezTo>
                <a:close/>
                <a:moveTo>
                  <a:pt x="744474" y="913669"/>
                </a:moveTo>
                <a:cubicBezTo>
                  <a:pt x="765153" y="913669"/>
                  <a:pt x="773860" y="927273"/>
                  <a:pt x="773315" y="942510"/>
                </a:cubicBezTo>
                <a:cubicBezTo>
                  <a:pt x="772771" y="959924"/>
                  <a:pt x="761344" y="971352"/>
                  <a:pt x="743930" y="970807"/>
                </a:cubicBezTo>
                <a:cubicBezTo>
                  <a:pt x="727061" y="970807"/>
                  <a:pt x="716177" y="959380"/>
                  <a:pt x="716177" y="941966"/>
                </a:cubicBezTo>
                <a:cubicBezTo>
                  <a:pt x="716177" y="923464"/>
                  <a:pt x="727605" y="914213"/>
                  <a:pt x="744474" y="913669"/>
                </a:cubicBezTo>
                <a:close/>
                <a:moveTo>
                  <a:pt x="908271" y="908772"/>
                </a:moveTo>
                <a:cubicBezTo>
                  <a:pt x="927317" y="910405"/>
                  <a:pt x="940922" y="924553"/>
                  <a:pt x="940377" y="944144"/>
                </a:cubicBezTo>
                <a:cubicBezTo>
                  <a:pt x="939833" y="962101"/>
                  <a:pt x="925141" y="975162"/>
                  <a:pt x="906094" y="975162"/>
                </a:cubicBezTo>
                <a:cubicBezTo>
                  <a:pt x="890313" y="975162"/>
                  <a:pt x="873988" y="959925"/>
                  <a:pt x="874532" y="940879"/>
                </a:cubicBezTo>
                <a:cubicBezTo>
                  <a:pt x="874532" y="925641"/>
                  <a:pt x="891402" y="907684"/>
                  <a:pt x="908271" y="908772"/>
                </a:cubicBezTo>
                <a:close/>
                <a:moveTo>
                  <a:pt x="1072068" y="906051"/>
                </a:moveTo>
                <a:cubicBezTo>
                  <a:pt x="1093291" y="907683"/>
                  <a:pt x="1105807" y="921832"/>
                  <a:pt x="1107984" y="942511"/>
                </a:cubicBezTo>
                <a:cubicBezTo>
                  <a:pt x="1107984" y="961013"/>
                  <a:pt x="1088938" y="979515"/>
                  <a:pt x="1070980" y="979515"/>
                </a:cubicBezTo>
                <a:cubicBezTo>
                  <a:pt x="1053022" y="979515"/>
                  <a:pt x="1034520" y="960469"/>
                  <a:pt x="1034520" y="942511"/>
                </a:cubicBezTo>
                <a:cubicBezTo>
                  <a:pt x="1034520" y="923465"/>
                  <a:pt x="1053566" y="904419"/>
                  <a:pt x="1072068" y="906051"/>
                </a:cubicBezTo>
                <a:close/>
                <a:moveTo>
                  <a:pt x="1235321" y="903874"/>
                </a:moveTo>
                <a:cubicBezTo>
                  <a:pt x="1257088" y="903874"/>
                  <a:pt x="1272325" y="920199"/>
                  <a:pt x="1272325" y="943054"/>
                </a:cubicBezTo>
                <a:cubicBezTo>
                  <a:pt x="1275045" y="962645"/>
                  <a:pt x="1251646" y="982779"/>
                  <a:pt x="1233688" y="981147"/>
                </a:cubicBezTo>
                <a:cubicBezTo>
                  <a:pt x="1211921" y="979514"/>
                  <a:pt x="1195052" y="963189"/>
                  <a:pt x="1195596" y="940878"/>
                </a:cubicBezTo>
                <a:cubicBezTo>
                  <a:pt x="1196140" y="919111"/>
                  <a:pt x="1212465" y="903330"/>
                  <a:pt x="1235321" y="903874"/>
                </a:cubicBezTo>
                <a:close/>
                <a:moveTo>
                  <a:pt x="1397486" y="901153"/>
                </a:moveTo>
                <a:cubicBezTo>
                  <a:pt x="1420885" y="901698"/>
                  <a:pt x="1437755" y="917479"/>
                  <a:pt x="1438299" y="942511"/>
                </a:cubicBezTo>
                <a:cubicBezTo>
                  <a:pt x="1437210" y="966999"/>
                  <a:pt x="1420341" y="983324"/>
                  <a:pt x="1396941" y="983324"/>
                </a:cubicBezTo>
                <a:cubicBezTo>
                  <a:pt x="1371909" y="983324"/>
                  <a:pt x="1355584" y="963190"/>
                  <a:pt x="1356128" y="941967"/>
                </a:cubicBezTo>
                <a:cubicBezTo>
                  <a:pt x="1356128" y="919655"/>
                  <a:pt x="1373542" y="900609"/>
                  <a:pt x="1397486" y="901153"/>
                </a:cubicBezTo>
                <a:close/>
                <a:moveTo>
                  <a:pt x="1560738" y="898977"/>
                </a:moveTo>
                <a:cubicBezTo>
                  <a:pt x="1584138" y="899521"/>
                  <a:pt x="1603728" y="917479"/>
                  <a:pt x="1603728" y="942511"/>
                </a:cubicBezTo>
                <a:cubicBezTo>
                  <a:pt x="1603728" y="966999"/>
                  <a:pt x="1581961" y="985501"/>
                  <a:pt x="1560738" y="985501"/>
                </a:cubicBezTo>
                <a:cubicBezTo>
                  <a:pt x="1537883" y="985501"/>
                  <a:pt x="1516660" y="963734"/>
                  <a:pt x="1517204" y="941423"/>
                </a:cubicBezTo>
                <a:cubicBezTo>
                  <a:pt x="1517748" y="919656"/>
                  <a:pt x="1535706" y="898977"/>
                  <a:pt x="1560738" y="898977"/>
                </a:cubicBezTo>
                <a:close/>
                <a:moveTo>
                  <a:pt x="1723990" y="897888"/>
                </a:moveTo>
                <a:cubicBezTo>
                  <a:pt x="1747934" y="897888"/>
                  <a:pt x="1769701" y="919111"/>
                  <a:pt x="1768069" y="942510"/>
                </a:cubicBezTo>
                <a:cubicBezTo>
                  <a:pt x="1770245" y="965366"/>
                  <a:pt x="1746302" y="987133"/>
                  <a:pt x="1723990" y="986589"/>
                </a:cubicBezTo>
                <a:cubicBezTo>
                  <a:pt x="1701679" y="986589"/>
                  <a:pt x="1679912" y="964278"/>
                  <a:pt x="1679912" y="941422"/>
                </a:cubicBezTo>
                <a:cubicBezTo>
                  <a:pt x="1680456" y="919655"/>
                  <a:pt x="1700047" y="897888"/>
                  <a:pt x="1723990" y="897888"/>
                </a:cubicBezTo>
                <a:close/>
                <a:moveTo>
                  <a:pt x="2050497" y="897344"/>
                </a:moveTo>
                <a:lnTo>
                  <a:pt x="2051041" y="897453"/>
                </a:lnTo>
                <a:lnTo>
                  <a:pt x="2051041" y="986917"/>
                </a:lnTo>
                <a:lnTo>
                  <a:pt x="2049952" y="987133"/>
                </a:lnTo>
                <a:cubicBezTo>
                  <a:pt x="2026553" y="987133"/>
                  <a:pt x="2004786" y="965366"/>
                  <a:pt x="2005330" y="941422"/>
                </a:cubicBezTo>
                <a:cubicBezTo>
                  <a:pt x="2005874" y="918023"/>
                  <a:pt x="2026009" y="897344"/>
                  <a:pt x="2050497" y="897344"/>
                </a:cubicBezTo>
                <a:close/>
                <a:moveTo>
                  <a:pt x="1887243" y="897344"/>
                </a:moveTo>
                <a:cubicBezTo>
                  <a:pt x="1910099" y="897344"/>
                  <a:pt x="1931866" y="916390"/>
                  <a:pt x="1931866" y="942511"/>
                </a:cubicBezTo>
                <a:cubicBezTo>
                  <a:pt x="1931866" y="965910"/>
                  <a:pt x="1910099" y="986589"/>
                  <a:pt x="1887243" y="986589"/>
                </a:cubicBezTo>
                <a:cubicBezTo>
                  <a:pt x="1864932" y="987133"/>
                  <a:pt x="1839900" y="965910"/>
                  <a:pt x="1843165" y="941422"/>
                </a:cubicBezTo>
                <a:cubicBezTo>
                  <a:pt x="1840444" y="918567"/>
                  <a:pt x="1863299" y="897344"/>
                  <a:pt x="1887243" y="897344"/>
                </a:cubicBezTo>
                <a:close/>
                <a:moveTo>
                  <a:pt x="172545" y="854354"/>
                </a:moveTo>
                <a:cubicBezTo>
                  <a:pt x="176899" y="854354"/>
                  <a:pt x="179619" y="855442"/>
                  <a:pt x="179619" y="860884"/>
                </a:cubicBezTo>
                <a:cubicBezTo>
                  <a:pt x="180164" y="864693"/>
                  <a:pt x="177987" y="866870"/>
                  <a:pt x="173634" y="866870"/>
                </a:cubicBezTo>
                <a:cubicBezTo>
                  <a:pt x="169824" y="866870"/>
                  <a:pt x="166559" y="866870"/>
                  <a:pt x="166015" y="861973"/>
                </a:cubicBezTo>
                <a:cubicBezTo>
                  <a:pt x="165471" y="857075"/>
                  <a:pt x="167103" y="854354"/>
                  <a:pt x="172545" y="854354"/>
                </a:cubicBezTo>
                <a:close/>
                <a:moveTo>
                  <a:pt x="336342" y="843471"/>
                </a:moveTo>
                <a:cubicBezTo>
                  <a:pt x="346681" y="844015"/>
                  <a:pt x="353211" y="849457"/>
                  <a:pt x="353211" y="860340"/>
                </a:cubicBezTo>
                <a:cubicBezTo>
                  <a:pt x="353211" y="872312"/>
                  <a:pt x="348858" y="876665"/>
                  <a:pt x="336886" y="877210"/>
                </a:cubicBezTo>
                <a:cubicBezTo>
                  <a:pt x="324370" y="877210"/>
                  <a:pt x="320561" y="872856"/>
                  <a:pt x="320017" y="860884"/>
                </a:cubicBezTo>
                <a:cubicBezTo>
                  <a:pt x="319473" y="851089"/>
                  <a:pt x="327635" y="842927"/>
                  <a:pt x="336342" y="843471"/>
                </a:cubicBezTo>
                <a:close/>
                <a:moveTo>
                  <a:pt x="500139" y="837485"/>
                </a:moveTo>
                <a:cubicBezTo>
                  <a:pt x="514832" y="837485"/>
                  <a:pt x="522994" y="846735"/>
                  <a:pt x="522994" y="861428"/>
                </a:cubicBezTo>
                <a:cubicBezTo>
                  <a:pt x="522994" y="876121"/>
                  <a:pt x="513743" y="884284"/>
                  <a:pt x="499595" y="884284"/>
                </a:cubicBezTo>
                <a:cubicBezTo>
                  <a:pt x="485446" y="883740"/>
                  <a:pt x="475651" y="875033"/>
                  <a:pt x="476739" y="860340"/>
                </a:cubicBezTo>
                <a:cubicBezTo>
                  <a:pt x="476195" y="842926"/>
                  <a:pt x="489256" y="836940"/>
                  <a:pt x="500139" y="837485"/>
                </a:cubicBezTo>
                <a:close/>
                <a:moveTo>
                  <a:pt x="662848" y="832587"/>
                </a:moveTo>
                <a:cubicBezTo>
                  <a:pt x="677541" y="832587"/>
                  <a:pt x="691689" y="842926"/>
                  <a:pt x="690057" y="860340"/>
                </a:cubicBezTo>
                <a:cubicBezTo>
                  <a:pt x="691689" y="876121"/>
                  <a:pt x="679718" y="888637"/>
                  <a:pt x="662848" y="888637"/>
                </a:cubicBezTo>
                <a:cubicBezTo>
                  <a:pt x="644890" y="888637"/>
                  <a:pt x="634551" y="874489"/>
                  <a:pt x="634551" y="861428"/>
                </a:cubicBezTo>
                <a:cubicBezTo>
                  <a:pt x="634551" y="842926"/>
                  <a:pt x="647611" y="832587"/>
                  <a:pt x="662848" y="832587"/>
                </a:cubicBezTo>
                <a:close/>
                <a:moveTo>
                  <a:pt x="826101" y="827146"/>
                </a:moveTo>
                <a:cubicBezTo>
                  <a:pt x="840249" y="826602"/>
                  <a:pt x="859840" y="843471"/>
                  <a:pt x="859295" y="860885"/>
                </a:cubicBezTo>
                <a:cubicBezTo>
                  <a:pt x="858751" y="875033"/>
                  <a:pt x="844603" y="894624"/>
                  <a:pt x="825556" y="892991"/>
                </a:cubicBezTo>
                <a:cubicBezTo>
                  <a:pt x="808687" y="894079"/>
                  <a:pt x="793450" y="877754"/>
                  <a:pt x="793450" y="860885"/>
                </a:cubicBezTo>
                <a:cubicBezTo>
                  <a:pt x="793994" y="842927"/>
                  <a:pt x="808143" y="828234"/>
                  <a:pt x="826101" y="827146"/>
                </a:cubicBezTo>
                <a:close/>
                <a:moveTo>
                  <a:pt x="988809" y="824424"/>
                </a:moveTo>
                <a:cubicBezTo>
                  <a:pt x="1010576" y="825512"/>
                  <a:pt x="1024180" y="839661"/>
                  <a:pt x="1025813" y="860339"/>
                </a:cubicBezTo>
                <a:cubicBezTo>
                  <a:pt x="1026901" y="878842"/>
                  <a:pt x="1008399" y="896799"/>
                  <a:pt x="989897" y="897344"/>
                </a:cubicBezTo>
                <a:cubicBezTo>
                  <a:pt x="971939" y="897344"/>
                  <a:pt x="953982" y="880474"/>
                  <a:pt x="953437" y="861972"/>
                </a:cubicBezTo>
                <a:cubicBezTo>
                  <a:pt x="951805" y="842926"/>
                  <a:pt x="969763" y="824968"/>
                  <a:pt x="988809" y="824424"/>
                </a:cubicBezTo>
                <a:close/>
                <a:moveTo>
                  <a:pt x="1153695" y="821704"/>
                </a:moveTo>
                <a:cubicBezTo>
                  <a:pt x="1175462" y="822248"/>
                  <a:pt x="1191243" y="839118"/>
                  <a:pt x="1191243" y="861429"/>
                </a:cubicBezTo>
                <a:cubicBezTo>
                  <a:pt x="1193964" y="882107"/>
                  <a:pt x="1169476" y="900610"/>
                  <a:pt x="1152606" y="899521"/>
                </a:cubicBezTo>
                <a:cubicBezTo>
                  <a:pt x="1130839" y="898433"/>
                  <a:pt x="1114514" y="882107"/>
                  <a:pt x="1114514" y="859252"/>
                </a:cubicBezTo>
                <a:cubicBezTo>
                  <a:pt x="1115058" y="837485"/>
                  <a:pt x="1131928" y="821704"/>
                  <a:pt x="1153695" y="821704"/>
                </a:cubicBezTo>
                <a:close/>
                <a:moveTo>
                  <a:pt x="1316403" y="818982"/>
                </a:moveTo>
                <a:cubicBezTo>
                  <a:pt x="1341979" y="820071"/>
                  <a:pt x="1356128" y="838573"/>
                  <a:pt x="1357216" y="860884"/>
                </a:cubicBezTo>
                <a:cubicBezTo>
                  <a:pt x="1356128" y="884828"/>
                  <a:pt x="1337626" y="901697"/>
                  <a:pt x="1315315" y="901697"/>
                </a:cubicBezTo>
                <a:cubicBezTo>
                  <a:pt x="1293003" y="901697"/>
                  <a:pt x="1273957" y="884284"/>
                  <a:pt x="1274501" y="860340"/>
                </a:cubicBezTo>
                <a:cubicBezTo>
                  <a:pt x="1275046" y="835852"/>
                  <a:pt x="1291915" y="818438"/>
                  <a:pt x="1316403" y="818982"/>
                </a:cubicBezTo>
                <a:close/>
                <a:moveTo>
                  <a:pt x="1479112" y="816806"/>
                </a:moveTo>
                <a:cubicBezTo>
                  <a:pt x="1501423" y="816806"/>
                  <a:pt x="1523190" y="835852"/>
                  <a:pt x="1522646" y="860340"/>
                </a:cubicBezTo>
                <a:cubicBezTo>
                  <a:pt x="1523735" y="885372"/>
                  <a:pt x="1499791" y="904419"/>
                  <a:pt x="1479656" y="904419"/>
                </a:cubicBezTo>
                <a:cubicBezTo>
                  <a:pt x="1457889" y="904419"/>
                  <a:pt x="1436122" y="883740"/>
                  <a:pt x="1435578" y="860884"/>
                </a:cubicBezTo>
                <a:cubicBezTo>
                  <a:pt x="1435578" y="838573"/>
                  <a:pt x="1455713" y="816806"/>
                  <a:pt x="1479112" y="816806"/>
                </a:cubicBezTo>
                <a:close/>
                <a:moveTo>
                  <a:pt x="1642909" y="815718"/>
                </a:moveTo>
                <a:cubicBezTo>
                  <a:pt x="1665764" y="816262"/>
                  <a:pt x="1686987" y="835852"/>
                  <a:pt x="1686987" y="860885"/>
                </a:cubicBezTo>
                <a:cubicBezTo>
                  <a:pt x="1686987" y="884284"/>
                  <a:pt x="1666308" y="906051"/>
                  <a:pt x="1641276" y="905507"/>
                </a:cubicBezTo>
                <a:cubicBezTo>
                  <a:pt x="1619509" y="905507"/>
                  <a:pt x="1595021" y="884284"/>
                  <a:pt x="1597742" y="860340"/>
                </a:cubicBezTo>
                <a:cubicBezTo>
                  <a:pt x="1595021" y="836941"/>
                  <a:pt x="1619509" y="815174"/>
                  <a:pt x="1642909" y="815718"/>
                </a:cubicBezTo>
                <a:close/>
                <a:moveTo>
                  <a:pt x="1806161" y="815173"/>
                </a:moveTo>
                <a:cubicBezTo>
                  <a:pt x="1832282" y="815717"/>
                  <a:pt x="1854593" y="836396"/>
                  <a:pt x="1852416" y="860884"/>
                </a:cubicBezTo>
                <a:cubicBezTo>
                  <a:pt x="1850240" y="885372"/>
                  <a:pt x="1837179" y="906050"/>
                  <a:pt x="1805617" y="906594"/>
                </a:cubicBezTo>
                <a:cubicBezTo>
                  <a:pt x="1776776" y="906594"/>
                  <a:pt x="1759362" y="885916"/>
                  <a:pt x="1759906" y="860884"/>
                </a:cubicBezTo>
                <a:cubicBezTo>
                  <a:pt x="1759906" y="834219"/>
                  <a:pt x="1776776" y="815717"/>
                  <a:pt x="1806161" y="815173"/>
                </a:cubicBezTo>
                <a:close/>
                <a:moveTo>
                  <a:pt x="1968326" y="812453"/>
                </a:moveTo>
                <a:cubicBezTo>
                  <a:pt x="1979754" y="812453"/>
                  <a:pt x="1991726" y="817351"/>
                  <a:pt x="2000977" y="826057"/>
                </a:cubicBezTo>
                <a:cubicBezTo>
                  <a:pt x="2010772" y="835308"/>
                  <a:pt x="2016214" y="847280"/>
                  <a:pt x="2015670" y="859796"/>
                </a:cubicBezTo>
                <a:cubicBezTo>
                  <a:pt x="2014581" y="884828"/>
                  <a:pt x="2000977" y="904963"/>
                  <a:pt x="1969415" y="907684"/>
                </a:cubicBezTo>
                <a:cubicBezTo>
                  <a:pt x="1942206" y="906051"/>
                  <a:pt x="1923704" y="890270"/>
                  <a:pt x="1922071" y="860885"/>
                </a:cubicBezTo>
                <a:cubicBezTo>
                  <a:pt x="1920983" y="836397"/>
                  <a:pt x="1943294" y="812453"/>
                  <a:pt x="1968326" y="812453"/>
                </a:cubicBezTo>
                <a:close/>
                <a:moveTo>
                  <a:pt x="255260" y="762932"/>
                </a:moveTo>
                <a:cubicBezTo>
                  <a:pt x="261790" y="763476"/>
                  <a:pt x="271041" y="773271"/>
                  <a:pt x="270497" y="779802"/>
                </a:cubicBezTo>
                <a:cubicBezTo>
                  <a:pt x="270497" y="786332"/>
                  <a:pt x="261246" y="795038"/>
                  <a:pt x="254172" y="795038"/>
                </a:cubicBezTo>
                <a:cubicBezTo>
                  <a:pt x="246553" y="795038"/>
                  <a:pt x="238391" y="786332"/>
                  <a:pt x="238935" y="778713"/>
                </a:cubicBezTo>
                <a:cubicBezTo>
                  <a:pt x="239479" y="771095"/>
                  <a:pt x="248186" y="762388"/>
                  <a:pt x="255260" y="762932"/>
                </a:cubicBezTo>
                <a:close/>
                <a:moveTo>
                  <a:pt x="416881" y="756402"/>
                </a:moveTo>
                <a:cubicBezTo>
                  <a:pt x="430485" y="756402"/>
                  <a:pt x="439736" y="765109"/>
                  <a:pt x="440280" y="778713"/>
                </a:cubicBezTo>
                <a:cubicBezTo>
                  <a:pt x="440280" y="791229"/>
                  <a:pt x="431573" y="801024"/>
                  <a:pt x="419057" y="801024"/>
                </a:cubicBezTo>
                <a:cubicBezTo>
                  <a:pt x="405997" y="801569"/>
                  <a:pt x="396202" y="792317"/>
                  <a:pt x="396202" y="779257"/>
                </a:cubicBezTo>
                <a:cubicBezTo>
                  <a:pt x="396202" y="766741"/>
                  <a:pt x="404909" y="756946"/>
                  <a:pt x="416881" y="756402"/>
                </a:cubicBezTo>
                <a:close/>
                <a:moveTo>
                  <a:pt x="581766" y="751505"/>
                </a:moveTo>
                <a:cubicBezTo>
                  <a:pt x="598091" y="752594"/>
                  <a:pt x="607887" y="762933"/>
                  <a:pt x="608975" y="779802"/>
                </a:cubicBezTo>
                <a:cubicBezTo>
                  <a:pt x="608975" y="792318"/>
                  <a:pt x="596459" y="808644"/>
                  <a:pt x="580678" y="806467"/>
                </a:cubicBezTo>
                <a:cubicBezTo>
                  <a:pt x="565985" y="808100"/>
                  <a:pt x="553469" y="792318"/>
                  <a:pt x="553469" y="778714"/>
                </a:cubicBezTo>
                <a:cubicBezTo>
                  <a:pt x="553469" y="764021"/>
                  <a:pt x="567618" y="750417"/>
                  <a:pt x="581766" y="751505"/>
                </a:cubicBezTo>
                <a:close/>
                <a:moveTo>
                  <a:pt x="746107" y="746607"/>
                </a:moveTo>
                <a:cubicBezTo>
                  <a:pt x="762432" y="747695"/>
                  <a:pt x="778213" y="765653"/>
                  <a:pt x="777125" y="780346"/>
                </a:cubicBezTo>
                <a:cubicBezTo>
                  <a:pt x="776581" y="795038"/>
                  <a:pt x="762432" y="811908"/>
                  <a:pt x="742842" y="811364"/>
                </a:cubicBezTo>
                <a:cubicBezTo>
                  <a:pt x="725428" y="810276"/>
                  <a:pt x="712368" y="795583"/>
                  <a:pt x="712368" y="778713"/>
                </a:cubicBezTo>
                <a:cubicBezTo>
                  <a:pt x="712368" y="760755"/>
                  <a:pt x="730870" y="745519"/>
                  <a:pt x="746107" y="746607"/>
                </a:cubicBezTo>
                <a:close/>
                <a:moveTo>
                  <a:pt x="907727" y="741710"/>
                </a:moveTo>
                <a:cubicBezTo>
                  <a:pt x="925684" y="741710"/>
                  <a:pt x="944187" y="760756"/>
                  <a:pt x="944187" y="778714"/>
                </a:cubicBezTo>
                <a:cubicBezTo>
                  <a:pt x="944187" y="796672"/>
                  <a:pt x="926229" y="815174"/>
                  <a:pt x="907727" y="815174"/>
                </a:cubicBezTo>
                <a:cubicBezTo>
                  <a:pt x="889225" y="815174"/>
                  <a:pt x="872899" y="798848"/>
                  <a:pt x="872355" y="779258"/>
                </a:cubicBezTo>
                <a:cubicBezTo>
                  <a:pt x="871811" y="759668"/>
                  <a:pt x="888136" y="742254"/>
                  <a:pt x="907727" y="741710"/>
                </a:cubicBezTo>
                <a:close/>
                <a:moveTo>
                  <a:pt x="1070979" y="740621"/>
                </a:moveTo>
                <a:cubicBezTo>
                  <a:pt x="1091114" y="737357"/>
                  <a:pt x="1110704" y="761300"/>
                  <a:pt x="1110160" y="779258"/>
                </a:cubicBezTo>
                <a:cubicBezTo>
                  <a:pt x="1110160" y="798304"/>
                  <a:pt x="1089481" y="817894"/>
                  <a:pt x="1070979" y="817894"/>
                </a:cubicBezTo>
                <a:cubicBezTo>
                  <a:pt x="1049757" y="817894"/>
                  <a:pt x="1031255" y="797216"/>
                  <a:pt x="1031799" y="778714"/>
                </a:cubicBezTo>
                <a:cubicBezTo>
                  <a:pt x="1033431" y="756947"/>
                  <a:pt x="1049212" y="740621"/>
                  <a:pt x="1070979" y="740621"/>
                </a:cubicBezTo>
                <a:close/>
                <a:moveTo>
                  <a:pt x="1233688" y="736268"/>
                </a:moveTo>
                <a:cubicBezTo>
                  <a:pt x="1254367" y="735723"/>
                  <a:pt x="1276134" y="756402"/>
                  <a:pt x="1276134" y="777625"/>
                </a:cubicBezTo>
                <a:cubicBezTo>
                  <a:pt x="1276134" y="801025"/>
                  <a:pt x="1258720" y="819526"/>
                  <a:pt x="1235320" y="820615"/>
                </a:cubicBezTo>
                <a:cubicBezTo>
                  <a:pt x="1211377" y="821159"/>
                  <a:pt x="1193419" y="802657"/>
                  <a:pt x="1192331" y="779258"/>
                </a:cubicBezTo>
                <a:cubicBezTo>
                  <a:pt x="1190698" y="758579"/>
                  <a:pt x="1213009" y="736812"/>
                  <a:pt x="1233688" y="736268"/>
                </a:cubicBezTo>
                <a:close/>
                <a:moveTo>
                  <a:pt x="1397485" y="735724"/>
                </a:moveTo>
                <a:cubicBezTo>
                  <a:pt x="1421973" y="734091"/>
                  <a:pt x="1441564" y="757491"/>
                  <a:pt x="1441019" y="779802"/>
                </a:cubicBezTo>
                <a:cubicBezTo>
                  <a:pt x="1441019" y="803746"/>
                  <a:pt x="1418708" y="823336"/>
                  <a:pt x="1396397" y="823336"/>
                </a:cubicBezTo>
                <a:cubicBezTo>
                  <a:pt x="1374630" y="823336"/>
                  <a:pt x="1352863" y="802113"/>
                  <a:pt x="1352863" y="779258"/>
                </a:cubicBezTo>
                <a:cubicBezTo>
                  <a:pt x="1353407" y="758579"/>
                  <a:pt x="1372453" y="733547"/>
                  <a:pt x="1397485" y="735724"/>
                </a:cubicBezTo>
                <a:close/>
                <a:moveTo>
                  <a:pt x="1562371" y="734636"/>
                </a:moveTo>
                <a:cubicBezTo>
                  <a:pt x="1586314" y="732459"/>
                  <a:pt x="1605905" y="754226"/>
                  <a:pt x="1605905" y="779802"/>
                </a:cubicBezTo>
                <a:cubicBezTo>
                  <a:pt x="1605361" y="805923"/>
                  <a:pt x="1585226" y="823881"/>
                  <a:pt x="1560194" y="823881"/>
                </a:cubicBezTo>
                <a:cubicBezTo>
                  <a:pt x="1535706" y="823881"/>
                  <a:pt x="1515027" y="803202"/>
                  <a:pt x="1515572" y="777626"/>
                </a:cubicBezTo>
                <a:cubicBezTo>
                  <a:pt x="1516116" y="755859"/>
                  <a:pt x="1535162" y="731371"/>
                  <a:pt x="1562371" y="734636"/>
                </a:cubicBezTo>
                <a:close/>
                <a:moveTo>
                  <a:pt x="1724535" y="730827"/>
                </a:moveTo>
                <a:cubicBezTo>
                  <a:pt x="1748478" y="731371"/>
                  <a:pt x="1772422" y="755314"/>
                  <a:pt x="1772422" y="779258"/>
                </a:cubicBezTo>
                <a:cubicBezTo>
                  <a:pt x="1771878" y="804290"/>
                  <a:pt x="1748478" y="826602"/>
                  <a:pt x="1723446" y="826602"/>
                </a:cubicBezTo>
                <a:cubicBezTo>
                  <a:pt x="1696238" y="823881"/>
                  <a:pt x="1677736" y="807011"/>
                  <a:pt x="1676647" y="778714"/>
                </a:cubicBezTo>
                <a:cubicBezTo>
                  <a:pt x="1676103" y="753138"/>
                  <a:pt x="1699503" y="730282"/>
                  <a:pt x="1724535" y="730827"/>
                </a:cubicBezTo>
                <a:close/>
                <a:moveTo>
                  <a:pt x="1886699" y="730826"/>
                </a:moveTo>
                <a:cubicBezTo>
                  <a:pt x="1914452" y="730826"/>
                  <a:pt x="1934587" y="749872"/>
                  <a:pt x="1935131" y="778713"/>
                </a:cubicBezTo>
                <a:cubicBezTo>
                  <a:pt x="1936219" y="804834"/>
                  <a:pt x="1916085" y="826601"/>
                  <a:pt x="1887244" y="827145"/>
                </a:cubicBezTo>
                <a:cubicBezTo>
                  <a:pt x="1860579" y="826601"/>
                  <a:pt x="1838812" y="805922"/>
                  <a:pt x="1838812" y="778713"/>
                </a:cubicBezTo>
                <a:cubicBezTo>
                  <a:pt x="1839356" y="750416"/>
                  <a:pt x="1860035" y="730282"/>
                  <a:pt x="1886699" y="730826"/>
                </a:cubicBezTo>
                <a:close/>
                <a:moveTo>
                  <a:pt x="2050496" y="730282"/>
                </a:moveTo>
                <a:lnTo>
                  <a:pt x="2051041" y="730396"/>
                </a:lnTo>
                <a:lnTo>
                  <a:pt x="2051041" y="826942"/>
                </a:lnTo>
                <a:lnTo>
                  <a:pt x="2049952" y="827145"/>
                </a:lnTo>
                <a:cubicBezTo>
                  <a:pt x="2023832" y="827145"/>
                  <a:pt x="2001521" y="804290"/>
                  <a:pt x="2002065" y="778169"/>
                </a:cubicBezTo>
                <a:cubicBezTo>
                  <a:pt x="2002609" y="751505"/>
                  <a:pt x="2024376" y="730282"/>
                  <a:pt x="2050496" y="730282"/>
                </a:cubicBezTo>
                <a:close/>
                <a:moveTo>
                  <a:pt x="173634" y="685660"/>
                </a:moveTo>
                <a:cubicBezTo>
                  <a:pt x="181253" y="685660"/>
                  <a:pt x="185062" y="690013"/>
                  <a:pt x="184518" y="698176"/>
                </a:cubicBezTo>
                <a:cubicBezTo>
                  <a:pt x="183973" y="705250"/>
                  <a:pt x="180164" y="709059"/>
                  <a:pt x="172546" y="709059"/>
                </a:cubicBezTo>
                <a:cubicBezTo>
                  <a:pt x="164383" y="709059"/>
                  <a:pt x="160574" y="705250"/>
                  <a:pt x="161118" y="697088"/>
                </a:cubicBezTo>
                <a:cubicBezTo>
                  <a:pt x="161662" y="688925"/>
                  <a:pt x="164927" y="685660"/>
                  <a:pt x="173634" y="685660"/>
                </a:cubicBezTo>
                <a:close/>
                <a:moveTo>
                  <a:pt x="335798" y="675320"/>
                </a:moveTo>
                <a:cubicBezTo>
                  <a:pt x="345593" y="675320"/>
                  <a:pt x="357565" y="685115"/>
                  <a:pt x="357565" y="696543"/>
                </a:cubicBezTo>
                <a:cubicBezTo>
                  <a:pt x="357565" y="707426"/>
                  <a:pt x="346682" y="718854"/>
                  <a:pt x="336342" y="718854"/>
                </a:cubicBezTo>
                <a:cubicBezTo>
                  <a:pt x="327091" y="718854"/>
                  <a:pt x="315664" y="707426"/>
                  <a:pt x="315120" y="697631"/>
                </a:cubicBezTo>
                <a:cubicBezTo>
                  <a:pt x="314575" y="687292"/>
                  <a:pt x="325459" y="675864"/>
                  <a:pt x="335798" y="675320"/>
                </a:cubicBezTo>
                <a:close/>
                <a:moveTo>
                  <a:pt x="499051" y="670423"/>
                </a:moveTo>
                <a:cubicBezTo>
                  <a:pt x="512111" y="669335"/>
                  <a:pt x="526804" y="684027"/>
                  <a:pt x="526804" y="697088"/>
                </a:cubicBezTo>
                <a:cubicBezTo>
                  <a:pt x="526804" y="711236"/>
                  <a:pt x="513744" y="724296"/>
                  <a:pt x="499595" y="724296"/>
                </a:cubicBezTo>
                <a:cubicBezTo>
                  <a:pt x="486535" y="724296"/>
                  <a:pt x="472930" y="711236"/>
                  <a:pt x="472930" y="697632"/>
                </a:cubicBezTo>
                <a:cubicBezTo>
                  <a:pt x="472386" y="684027"/>
                  <a:pt x="485446" y="670423"/>
                  <a:pt x="499051" y="670423"/>
                </a:cubicBezTo>
                <a:close/>
                <a:moveTo>
                  <a:pt x="662848" y="665525"/>
                </a:moveTo>
                <a:cubicBezTo>
                  <a:pt x="678629" y="665525"/>
                  <a:pt x="694410" y="681306"/>
                  <a:pt x="694954" y="697087"/>
                </a:cubicBezTo>
                <a:cubicBezTo>
                  <a:pt x="695499" y="712868"/>
                  <a:pt x="679173" y="729194"/>
                  <a:pt x="663392" y="729194"/>
                </a:cubicBezTo>
                <a:cubicBezTo>
                  <a:pt x="647611" y="729194"/>
                  <a:pt x="632374" y="713957"/>
                  <a:pt x="632374" y="698176"/>
                </a:cubicBezTo>
                <a:cubicBezTo>
                  <a:pt x="631286" y="681850"/>
                  <a:pt x="647067" y="665525"/>
                  <a:pt x="662848" y="665525"/>
                </a:cubicBezTo>
                <a:close/>
                <a:moveTo>
                  <a:pt x="825013" y="663349"/>
                </a:moveTo>
                <a:cubicBezTo>
                  <a:pt x="844603" y="662260"/>
                  <a:pt x="861472" y="676953"/>
                  <a:pt x="860384" y="697632"/>
                </a:cubicBezTo>
                <a:cubicBezTo>
                  <a:pt x="861472" y="716134"/>
                  <a:pt x="846780" y="731915"/>
                  <a:pt x="826101" y="731915"/>
                </a:cubicBezTo>
                <a:cubicBezTo>
                  <a:pt x="806511" y="731915"/>
                  <a:pt x="791818" y="719399"/>
                  <a:pt x="791818" y="698176"/>
                </a:cubicBezTo>
                <a:cubicBezTo>
                  <a:pt x="791818" y="676409"/>
                  <a:pt x="805967" y="663893"/>
                  <a:pt x="825013" y="663349"/>
                </a:cubicBezTo>
                <a:close/>
                <a:moveTo>
                  <a:pt x="988809" y="658995"/>
                </a:moveTo>
                <a:cubicBezTo>
                  <a:pt x="1008400" y="657362"/>
                  <a:pt x="1028534" y="679129"/>
                  <a:pt x="1027446" y="697087"/>
                </a:cubicBezTo>
                <a:cubicBezTo>
                  <a:pt x="1026902" y="718310"/>
                  <a:pt x="1010576" y="735723"/>
                  <a:pt x="989353" y="735723"/>
                </a:cubicBezTo>
                <a:cubicBezTo>
                  <a:pt x="968675" y="735723"/>
                  <a:pt x="950717" y="718310"/>
                  <a:pt x="950717" y="697631"/>
                </a:cubicBezTo>
                <a:cubicBezTo>
                  <a:pt x="950717" y="676408"/>
                  <a:pt x="968131" y="660627"/>
                  <a:pt x="988809" y="658995"/>
                </a:cubicBezTo>
                <a:close/>
                <a:moveTo>
                  <a:pt x="1152607" y="655729"/>
                </a:moveTo>
                <a:cubicBezTo>
                  <a:pt x="1173829" y="654097"/>
                  <a:pt x="1194508" y="675864"/>
                  <a:pt x="1195052" y="697087"/>
                </a:cubicBezTo>
                <a:cubicBezTo>
                  <a:pt x="1195596" y="717766"/>
                  <a:pt x="1173829" y="739533"/>
                  <a:pt x="1153151" y="739533"/>
                </a:cubicBezTo>
                <a:cubicBezTo>
                  <a:pt x="1132472" y="740077"/>
                  <a:pt x="1110705" y="718310"/>
                  <a:pt x="1110705" y="697631"/>
                </a:cubicBezTo>
                <a:cubicBezTo>
                  <a:pt x="1112882" y="674231"/>
                  <a:pt x="1127574" y="657362"/>
                  <a:pt x="1152607" y="655729"/>
                </a:cubicBezTo>
                <a:close/>
                <a:moveTo>
                  <a:pt x="1316948" y="653554"/>
                </a:moveTo>
                <a:cubicBezTo>
                  <a:pt x="1340347" y="654098"/>
                  <a:pt x="1359937" y="674777"/>
                  <a:pt x="1359937" y="697632"/>
                </a:cubicBezTo>
                <a:cubicBezTo>
                  <a:pt x="1359937" y="718855"/>
                  <a:pt x="1339803" y="743343"/>
                  <a:pt x="1315315" y="740622"/>
                </a:cubicBezTo>
                <a:cubicBezTo>
                  <a:pt x="1293004" y="742799"/>
                  <a:pt x="1271237" y="718311"/>
                  <a:pt x="1271781" y="696544"/>
                </a:cubicBezTo>
                <a:cubicBezTo>
                  <a:pt x="1271781" y="675321"/>
                  <a:pt x="1292460" y="653010"/>
                  <a:pt x="1316948" y="653554"/>
                </a:cubicBezTo>
                <a:close/>
                <a:moveTo>
                  <a:pt x="1479112" y="651921"/>
                </a:moveTo>
                <a:cubicBezTo>
                  <a:pt x="1506321" y="651377"/>
                  <a:pt x="1524823" y="669335"/>
                  <a:pt x="1524823" y="697088"/>
                </a:cubicBezTo>
                <a:cubicBezTo>
                  <a:pt x="1524823" y="722664"/>
                  <a:pt x="1506865" y="743343"/>
                  <a:pt x="1479112" y="742254"/>
                </a:cubicBezTo>
                <a:cubicBezTo>
                  <a:pt x="1450815" y="743343"/>
                  <a:pt x="1433401" y="721031"/>
                  <a:pt x="1433945" y="697088"/>
                </a:cubicBezTo>
                <a:cubicBezTo>
                  <a:pt x="1434490" y="670423"/>
                  <a:pt x="1451903" y="652465"/>
                  <a:pt x="1479112" y="651921"/>
                </a:cubicBezTo>
                <a:close/>
                <a:moveTo>
                  <a:pt x="1642909" y="649744"/>
                </a:moveTo>
                <a:cubicBezTo>
                  <a:pt x="1671750" y="650288"/>
                  <a:pt x="1690252" y="668790"/>
                  <a:pt x="1690796" y="697087"/>
                </a:cubicBezTo>
                <a:cubicBezTo>
                  <a:pt x="1691340" y="723752"/>
                  <a:pt x="1672294" y="743342"/>
                  <a:pt x="1642909" y="745519"/>
                </a:cubicBezTo>
                <a:cubicBezTo>
                  <a:pt x="1614067" y="743887"/>
                  <a:pt x="1594477" y="725384"/>
                  <a:pt x="1594477" y="697632"/>
                </a:cubicBezTo>
                <a:cubicBezTo>
                  <a:pt x="1594477" y="668790"/>
                  <a:pt x="1614611" y="649200"/>
                  <a:pt x="1642909" y="649744"/>
                </a:cubicBezTo>
                <a:close/>
                <a:moveTo>
                  <a:pt x="1805617" y="648112"/>
                </a:moveTo>
                <a:cubicBezTo>
                  <a:pt x="1829561" y="648112"/>
                  <a:pt x="1857314" y="672055"/>
                  <a:pt x="1854593" y="698176"/>
                </a:cubicBezTo>
                <a:cubicBezTo>
                  <a:pt x="1856770" y="719399"/>
                  <a:pt x="1832826" y="747151"/>
                  <a:pt x="1805073" y="746607"/>
                </a:cubicBezTo>
                <a:cubicBezTo>
                  <a:pt x="1779497" y="746063"/>
                  <a:pt x="1756097" y="721575"/>
                  <a:pt x="1756097" y="697087"/>
                </a:cubicBezTo>
                <a:cubicBezTo>
                  <a:pt x="1756097" y="670423"/>
                  <a:pt x="1782218" y="647567"/>
                  <a:pt x="1805617" y="648112"/>
                </a:cubicBezTo>
                <a:close/>
                <a:moveTo>
                  <a:pt x="1969414" y="647023"/>
                </a:moveTo>
                <a:cubicBezTo>
                  <a:pt x="1992814" y="647023"/>
                  <a:pt x="2020567" y="672055"/>
                  <a:pt x="2018934" y="698176"/>
                </a:cubicBezTo>
                <a:cubicBezTo>
                  <a:pt x="2017302" y="725384"/>
                  <a:pt x="1996623" y="746063"/>
                  <a:pt x="1968326" y="746063"/>
                </a:cubicBezTo>
                <a:cubicBezTo>
                  <a:pt x="1941661" y="748784"/>
                  <a:pt x="1919350" y="721031"/>
                  <a:pt x="1918806" y="697087"/>
                </a:cubicBezTo>
                <a:cubicBezTo>
                  <a:pt x="1918806" y="669878"/>
                  <a:pt x="1945471" y="647023"/>
                  <a:pt x="1969414" y="647023"/>
                </a:cubicBezTo>
                <a:close/>
                <a:moveTo>
                  <a:pt x="90919" y="606754"/>
                </a:moveTo>
                <a:cubicBezTo>
                  <a:pt x="94728" y="608386"/>
                  <a:pt x="99626" y="612195"/>
                  <a:pt x="99626" y="615460"/>
                </a:cubicBezTo>
                <a:cubicBezTo>
                  <a:pt x="100170" y="618181"/>
                  <a:pt x="95816" y="621990"/>
                  <a:pt x="92007" y="627976"/>
                </a:cubicBezTo>
                <a:cubicBezTo>
                  <a:pt x="87654" y="623079"/>
                  <a:pt x="84389" y="619814"/>
                  <a:pt x="82756" y="616005"/>
                </a:cubicBezTo>
                <a:cubicBezTo>
                  <a:pt x="81668" y="613284"/>
                  <a:pt x="88198" y="605665"/>
                  <a:pt x="90919" y="606754"/>
                </a:cubicBezTo>
                <a:close/>
                <a:moveTo>
                  <a:pt x="254172" y="598047"/>
                </a:moveTo>
                <a:cubicBezTo>
                  <a:pt x="265599" y="597503"/>
                  <a:pt x="273218" y="606210"/>
                  <a:pt x="272674" y="614917"/>
                </a:cubicBezTo>
                <a:cubicBezTo>
                  <a:pt x="272674" y="625800"/>
                  <a:pt x="266688" y="632874"/>
                  <a:pt x="255260" y="633419"/>
                </a:cubicBezTo>
                <a:cubicBezTo>
                  <a:pt x="244376" y="633963"/>
                  <a:pt x="237302" y="626889"/>
                  <a:pt x="236758" y="616005"/>
                </a:cubicBezTo>
                <a:cubicBezTo>
                  <a:pt x="236758" y="605122"/>
                  <a:pt x="243832" y="598047"/>
                  <a:pt x="254172" y="598047"/>
                </a:cubicBezTo>
                <a:close/>
                <a:moveTo>
                  <a:pt x="418513" y="590429"/>
                </a:moveTo>
                <a:cubicBezTo>
                  <a:pt x="431029" y="590429"/>
                  <a:pt x="442457" y="601857"/>
                  <a:pt x="443001" y="614917"/>
                </a:cubicBezTo>
                <a:cubicBezTo>
                  <a:pt x="443545" y="627977"/>
                  <a:pt x="432118" y="640493"/>
                  <a:pt x="419058" y="640493"/>
                </a:cubicBezTo>
                <a:cubicBezTo>
                  <a:pt x="404365" y="640493"/>
                  <a:pt x="394570" y="630698"/>
                  <a:pt x="392937" y="616005"/>
                </a:cubicBezTo>
                <a:cubicBezTo>
                  <a:pt x="391849" y="604033"/>
                  <a:pt x="405997" y="590429"/>
                  <a:pt x="418513" y="590429"/>
                </a:cubicBezTo>
                <a:close/>
                <a:moveTo>
                  <a:pt x="581222" y="587163"/>
                </a:moveTo>
                <a:cubicBezTo>
                  <a:pt x="600812" y="588252"/>
                  <a:pt x="610063" y="598047"/>
                  <a:pt x="610063" y="616549"/>
                </a:cubicBezTo>
                <a:cubicBezTo>
                  <a:pt x="610063" y="634507"/>
                  <a:pt x="599179" y="644846"/>
                  <a:pt x="580677" y="645390"/>
                </a:cubicBezTo>
                <a:cubicBezTo>
                  <a:pt x="565440" y="644846"/>
                  <a:pt x="551836" y="634507"/>
                  <a:pt x="551836" y="615461"/>
                </a:cubicBezTo>
                <a:cubicBezTo>
                  <a:pt x="551836" y="594782"/>
                  <a:pt x="567073" y="586075"/>
                  <a:pt x="581222" y="587163"/>
                </a:cubicBezTo>
                <a:close/>
                <a:moveTo>
                  <a:pt x="743930" y="582266"/>
                </a:moveTo>
                <a:cubicBezTo>
                  <a:pt x="761344" y="581178"/>
                  <a:pt x="779301" y="599136"/>
                  <a:pt x="779301" y="616005"/>
                </a:cubicBezTo>
                <a:cubicBezTo>
                  <a:pt x="779301" y="632874"/>
                  <a:pt x="762976" y="649744"/>
                  <a:pt x="745563" y="649744"/>
                </a:cubicBezTo>
                <a:cubicBezTo>
                  <a:pt x="728149" y="649200"/>
                  <a:pt x="710191" y="635595"/>
                  <a:pt x="711824" y="616549"/>
                </a:cubicBezTo>
                <a:cubicBezTo>
                  <a:pt x="711824" y="596415"/>
                  <a:pt x="724340" y="583355"/>
                  <a:pt x="743930" y="582266"/>
                </a:cubicBezTo>
                <a:close/>
                <a:moveTo>
                  <a:pt x="907183" y="577913"/>
                </a:moveTo>
                <a:cubicBezTo>
                  <a:pt x="927318" y="576825"/>
                  <a:pt x="947452" y="598592"/>
                  <a:pt x="945276" y="615461"/>
                </a:cubicBezTo>
                <a:cubicBezTo>
                  <a:pt x="945276" y="635596"/>
                  <a:pt x="927318" y="653554"/>
                  <a:pt x="907727" y="654098"/>
                </a:cubicBezTo>
                <a:cubicBezTo>
                  <a:pt x="890314" y="654642"/>
                  <a:pt x="869091" y="635052"/>
                  <a:pt x="869091" y="616006"/>
                </a:cubicBezTo>
                <a:cubicBezTo>
                  <a:pt x="869635" y="595871"/>
                  <a:pt x="887049" y="578457"/>
                  <a:pt x="907183" y="577913"/>
                </a:cubicBezTo>
                <a:close/>
                <a:moveTo>
                  <a:pt x="1069891" y="574648"/>
                </a:moveTo>
                <a:cubicBezTo>
                  <a:pt x="1092202" y="574648"/>
                  <a:pt x="1111793" y="589885"/>
                  <a:pt x="1111248" y="615461"/>
                </a:cubicBezTo>
                <a:cubicBezTo>
                  <a:pt x="1111793" y="639405"/>
                  <a:pt x="1093835" y="656274"/>
                  <a:pt x="1070435" y="656274"/>
                </a:cubicBezTo>
                <a:cubicBezTo>
                  <a:pt x="1045403" y="656274"/>
                  <a:pt x="1029622" y="635052"/>
                  <a:pt x="1029622" y="614917"/>
                </a:cubicBezTo>
                <a:cubicBezTo>
                  <a:pt x="1030166" y="593150"/>
                  <a:pt x="1046491" y="574648"/>
                  <a:pt x="1069891" y="574648"/>
                </a:cubicBezTo>
                <a:close/>
                <a:moveTo>
                  <a:pt x="1235321" y="572472"/>
                </a:moveTo>
                <a:cubicBezTo>
                  <a:pt x="1256543" y="572472"/>
                  <a:pt x="1279399" y="590973"/>
                  <a:pt x="1277222" y="616550"/>
                </a:cubicBezTo>
                <a:cubicBezTo>
                  <a:pt x="1278855" y="639949"/>
                  <a:pt x="1255455" y="660084"/>
                  <a:pt x="1233688" y="660084"/>
                </a:cubicBezTo>
                <a:cubicBezTo>
                  <a:pt x="1211377" y="660084"/>
                  <a:pt x="1189610" y="637773"/>
                  <a:pt x="1190154" y="614917"/>
                </a:cubicBezTo>
                <a:cubicBezTo>
                  <a:pt x="1190698" y="594783"/>
                  <a:pt x="1209200" y="571927"/>
                  <a:pt x="1235321" y="572472"/>
                </a:cubicBezTo>
                <a:close/>
                <a:moveTo>
                  <a:pt x="1397485" y="569206"/>
                </a:moveTo>
                <a:cubicBezTo>
                  <a:pt x="1423606" y="569750"/>
                  <a:pt x="1443196" y="587708"/>
                  <a:pt x="1443196" y="616005"/>
                </a:cubicBezTo>
                <a:cubicBezTo>
                  <a:pt x="1443196" y="642670"/>
                  <a:pt x="1424150" y="661716"/>
                  <a:pt x="1396941" y="661172"/>
                </a:cubicBezTo>
                <a:cubicBezTo>
                  <a:pt x="1369188" y="661172"/>
                  <a:pt x="1350686" y="638860"/>
                  <a:pt x="1351775" y="614373"/>
                </a:cubicBezTo>
                <a:cubicBezTo>
                  <a:pt x="1352319" y="587164"/>
                  <a:pt x="1371365" y="569206"/>
                  <a:pt x="1397485" y="569206"/>
                </a:cubicBezTo>
                <a:close/>
                <a:moveTo>
                  <a:pt x="1560738" y="567029"/>
                </a:moveTo>
                <a:cubicBezTo>
                  <a:pt x="1586859" y="567029"/>
                  <a:pt x="1608082" y="587708"/>
                  <a:pt x="1609714" y="615461"/>
                </a:cubicBezTo>
                <a:cubicBezTo>
                  <a:pt x="1608082" y="641581"/>
                  <a:pt x="1589580" y="663892"/>
                  <a:pt x="1561283" y="663892"/>
                </a:cubicBezTo>
                <a:cubicBezTo>
                  <a:pt x="1534074" y="663892"/>
                  <a:pt x="1512851" y="642669"/>
                  <a:pt x="1512851" y="616005"/>
                </a:cubicBezTo>
                <a:cubicBezTo>
                  <a:pt x="1512851" y="587163"/>
                  <a:pt x="1535706" y="567029"/>
                  <a:pt x="1560738" y="567029"/>
                </a:cubicBezTo>
                <a:close/>
                <a:moveTo>
                  <a:pt x="1725624" y="565397"/>
                </a:moveTo>
                <a:cubicBezTo>
                  <a:pt x="1747935" y="565941"/>
                  <a:pt x="1775144" y="590429"/>
                  <a:pt x="1774599" y="616005"/>
                </a:cubicBezTo>
                <a:cubicBezTo>
                  <a:pt x="1774055" y="638317"/>
                  <a:pt x="1751744" y="668246"/>
                  <a:pt x="1723447" y="664981"/>
                </a:cubicBezTo>
                <a:cubicBezTo>
                  <a:pt x="1700592" y="667158"/>
                  <a:pt x="1674471" y="643758"/>
                  <a:pt x="1674471" y="615461"/>
                </a:cubicBezTo>
                <a:cubicBezTo>
                  <a:pt x="1674471" y="588797"/>
                  <a:pt x="1700592" y="565397"/>
                  <a:pt x="1725624" y="565397"/>
                </a:cubicBezTo>
                <a:close/>
                <a:moveTo>
                  <a:pt x="1886699" y="564853"/>
                </a:moveTo>
                <a:cubicBezTo>
                  <a:pt x="1914996" y="564309"/>
                  <a:pt x="1938396" y="589341"/>
                  <a:pt x="1938396" y="614917"/>
                </a:cubicBezTo>
                <a:cubicBezTo>
                  <a:pt x="1938396" y="640493"/>
                  <a:pt x="1917717" y="667702"/>
                  <a:pt x="1887787" y="665525"/>
                </a:cubicBezTo>
                <a:cubicBezTo>
                  <a:pt x="1860034" y="667702"/>
                  <a:pt x="1837723" y="644302"/>
                  <a:pt x="1837179" y="615461"/>
                </a:cubicBezTo>
                <a:cubicBezTo>
                  <a:pt x="1837179" y="586620"/>
                  <a:pt x="1861667" y="565397"/>
                  <a:pt x="1886699" y="564853"/>
                </a:cubicBezTo>
                <a:close/>
                <a:moveTo>
                  <a:pt x="2050496" y="564852"/>
                </a:moveTo>
                <a:lnTo>
                  <a:pt x="2051041" y="564962"/>
                </a:lnTo>
                <a:lnTo>
                  <a:pt x="2051041" y="665899"/>
                </a:lnTo>
                <a:lnTo>
                  <a:pt x="2049952" y="666069"/>
                </a:lnTo>
                <a:cubicBezTo>
                  <a:pt x="2018934" y="667157"/>
                  <a:pt x="1999344" y="642669"/>
                  <a:pt x="1999344" y="615460"/>
                </a:cubicBezTo>
                <a:cubicBezTo>
                  <a:pt x="1999344" y="587163"/>
                  <a:pt x="2021655" y="564852"/>
                  <a:pt x="2050496" y="564852"/>
                </a:cubicBezTo>
                <a:close/>
                <a:moveTo>
                  <a:pt x="173090" y="517509"/>
                </a:moveTo>
                <a:cubicBezTo>
                  <a:pt x="181252" y="517509"/>
                  <a:pt x="189415" y="525672"/>
                  <a:pt x="189959" y="533834"/>
                </a:cubicBezTo>
                <a:cubicBezTo>
                  <a:pt x="189959" y="542541"/>
                  <a:pt x="182341" y="550160"/>
                  <a:pt x="173634" y="550160"/>
                </a:cubicBezTo>
                <a:cubicBezTo>
                  <a:pt x="165471" y="550160"/>
                  <a:pt x="157853" y="543085"/>
                  <a:pt x="157308" y="534923"/>
                </a:cubicBezTo>
                <a:cubicBezTo>
                  <a:pt x="156764" y="526216"/>
                  <a:pt x="164383" y="518053"/>
                  <a:pt x="173090" y="517509"/>
                </a:cubicBezTo>
                <a:close/>
                <a:moveTo>
                  <a:pt x="335798" y="511523"/>
                </a:moveTo>
                <a:cubicBezTo>
                  <a:pt x="349947" y="512067"/>
                  <a:pt x="357565" y="519686"/>
                  <a:pt x="358654" y="533834"/>
                </a:cubicBezTo>
                <a:cubicBezTo>
                  <a:pt x="359742" y="547439"/>
                  <a:pt x="348314" y="557778"/>
                  <a:pt x="336343" y="556689"/>
                </a:cubicBezTo>
                <a:cubicBezTo>
                  <a:pt x="324371" y="558322"/>
                  <a:pt x="312943" y="545806"/>
                  <a:pt x="312943" y="534378"/>
                </a:cubicBezTo>
                <a:cubicBezTo>
                  <a:pt x="312943" y="522951"/>
                  <a:pt x="322738" y="510979"/>
                  <a:pt x="335798" y="511523"/>
                </a:cubicBezTo>
                <a:close/>
                <a:moveTo>
                  <a:pt x="500139" y="506626"/>
                </a:moveTo>
                <a:cubicBezTo>
                  <a:pt x="517553" y="507170"/>
                  <a:pt x="527892" y="517509"/>
                  <a:pt x="527348" y="535467"/>
                </a:cubicBezTo>
                <a:cubicBezTo>
                  <a:pt x="526804" y="552880"/>
                  <a:pt x="515920" y="562131"/>
                  <a:pt x="497963" y="561587"/>
                </a:cubicBezTo>
                <a:cubicBezTo>
                  <a:pt x="481093" y="561043"/>
                  <a:pt x="472386" y="550704"/>
                  <a:pt x="471842" y="533290"/>
                </a:cubicBezTo>
                <a:cubicBezTo>
                  <a:pt x="471298" y="516965"/>
                  <a:pt x="485447" y="506081"/>
                  <a:pt x="500139" y="506626"/>
                </a:cubicBezTo>
                <a:close/>
                <a:moveTo>
                  <a:pt x="662304" y="500639"/>
                </a:moveTo>
                <a:cubicBezTo>
                  <a:pt x="677540" y="497919"/>
                  <a:pt x="696587" y="518597"/>
                  <a:pt x="696042" y="533290"/>
                </a:cubicBezTo>
                <a:cubicBezTo>
                  <a:pt x="694954" y="551792"/>
                  <a:pt x="681894" y="565396"/>
                  <a:pt x="663392" y="566485"/>
                </a:cubicBezTo>
                <a:cubicBezTo>
                  <a:pt x="643802" y="567573"/>
                  <a:pt x="629653" y="549615"/>
                  <a:pt x="630197" y="534378"/>
                </a:cubicBezTo>
                <a:cubicBezTo>
                  <a:pt x="630741" y="515876"/>
                  <a:pt x="644346" y="501184"/>
                  <a:pt x="662304" y="500639"/>
                </a:cubicBezTo>
                <a:close/>
                <a:moveTo>
                  <a:pt x="825557" y="496830"/>
                </a:moveTo>
                <a:cubicBezTo>
                  <a:pt x="846780" y="496286"/>
                  <a:pt x="862561" y="513700"/>
                  <a:pt x="863649" y="534923"/>
                </a:cubicBezTo>
                <a:cubicBezTo>
                  <a:pt x="862017" y="556690"/>
                  <a:pt x="845147" y="571927"/>
                  <a:pt x="825557" y="571383"/>
                </a:cubicBezTo>
                <a:cubicBezTo>
                  <a:pt x="805422" y="570838"/>
                  <a:pt x="788553" y="555057"/>
                  <a:pt x="788553" y="534379"/>
                </a:cubicBezTo>
                <a:cubicBezTo>
                  <a:pt x="788553" y="514244"/>
                  <a:pt x="804334" y="497375"/>
                  <a:pt x="825557" y="496830"/>
                </a:cubicBezTo>
                <a:close/>
                <a:moveTo>
                  <a:pt x="989898" y="494110"/>
                </a:moveTo>
                <a:cubicBezTo>
                  <a:pt x="1012209" y="494654"/>
                  <a:pt x="1029622" y="513156"/>
                  <a:pt x="1029078" y="534923"/>
                </a:cubicBezTo>
                <a:cubicBezTo>
                  <a:pt x="1028534" y="556146"/>
                  <a:pt x="1010576" y="574104"/>
                  <a:pt x="989353" y="574104"/>
                </a:cubicBezTo>
                <a:cubicBezTo>
                  <a:pt x="969763" y="574648"/>
                  <a:pt x="947452" y="556690"/>
                  <a:pt x="949629" y="533835"/>
                </a:cubicBezTo>
                <a:cubicBezTo>
                  <a:pt x="947996" y="512068"/>
                  <a:pt x="968675" y="494110"/>
                  <a:pt x="989898" y="494110"/>
                </a:cubicBezTo>
                <a:close/>
                <a:moveTo>
                  <a:pt x="1152062" y="490301"/>
                </a:moveTo>
                <a:cubicBezTo>
                  <a:pt x="1174917" y="490301"/>
                  <a:pt x="1196140" y="509347"/>
                  <a:pt x="1196140" y="533835"/>
                </a:cubicBezTo>
                <a:cubicBezTo>
                  <a:pt x="1197228" y="558867"/>
                  <a:pt x="1173829" y="577913"/>
                  <a:pt x="1152606" y="577369"/>
                </a:cubicBezTo>
                <a:cubicBezTo>
                  <a:pt x="1130839" y="577369"/>
                  <a:pt x="1109616" y="556690"/>
                  <a:pt x="1109072" y="534379"/>
                </a:cubicBezTo>
                <a:cubicBezTo>
                  <a:pt x="1108528" y="510980"/>
                  <a:pt x="1128662" y="490301"/>
                  <a:pt x="1152062" y="490301"/>
                </a:cubicBezTo>
                <a:close/>
                <a:moveTo>
                  <a:pt x="1316947" y="489212"/>
                </a:moveTo>
                <a:cubicBezTo>
                  <a:pt x="1343612" y="489756"/>
                  <a:pt x="1361570" y="510435"/>
                  <a:pt x="1361570" y="534923"/>
                </a:cubicBezTo>
                <a:cubicBezTo>
                  <a:pt x="1361570" y="560499"/>
                  <a:pt x="1341980" y="580090"/>
                  <a:pt x="1315859" y="580090"/>
                </a:cubicBezTo>
                <a:cubicBezTo>
                  <a:pt x="1291915" y="580090"/>
                  <a:pt x="1269060" y="560499"/>
                  <a:pt x="1270693" y="533835"/>
                </a:cubicBezTo>
                <a:cubicBezTo>
                  <a:pt x="1269604" y="508258"/>
                  <a:pt x="1291371" y="488124"/>
                  <a:pt x="1316947" y="489212"/>
                </a:cubicBezTo>
                <a:close/>
                <a:moveTo>
                  <a:pt x="1479112" y="484315"/>
                </a:moveTo>
                <a:cubicBezTo>
                  <a:pt x="1503599" y="484315"/>
                  <a:pt x="1528087" y="508259"/>
                  <a:pt x="1528087" y="533835"/>
                </a:cubicBezTo>
                <a:cubicBezTo>
                  <a:pt x="1528087" y="558867"/>
                  <a:pt x="1506865" y="582267"/>
                  <a:pt x="1479656" y="582267"/>
                </a:cubicBezTo>
                <a:cubicBezTo>
                  <a:pt x="1453535" y="582267"/>
                  <a:pt x="1431224" y="560500"/>
                  <a:pt x="1431224" y="533835"/>
                </a:cubicBezTo>
                <a:cubicBezTo>
                  <a:pt x="1430680" y="506626"/>
                  <a:pt x="1454624" y="485403"/>
                  <a:pt x="1479112" y="484315"/>
                </a:cubicBezTo>
                <a:close/>
                <a:moveTo>
                  <a:pt x="1643452" y="484314"/>
                </a:moveTo>
                <a:cubicBezTo>
                  <a:pt x="1667396" y="481049"/>
                  <a:pt x="1693517" y="509891"/>
                  <a:pt x="1692973" y="534923"/>
                </a:cubicBezTo>
                <a:cubicBezTo>
                  <a:pt x="1692428" y="558867"/>
                  <a:pt x="1669573" y="584987"/>
                  <a:pt x="1641276" y="583898"/>
                </a:cubicBezTo>
                <a:cubicBezTo>
                  <a:pt x="1616788" y="583354"/>
                  <a:pt x="1592300" y="562676"/>
                  <a:pt x="1592300" y="532202"/>
                </a:cubicBezTo>
                <a:cubicBezTo>
                  <a:pt x="1592300" y="509891"/>
                  <a:pt x="1615155" y="481049"/>
                  <a:pt x="1643452" y="484314"/>
                </a:cubicBezTo>
                <a:close/>
                <a:moveTo>
                  <a:pt x="1806162" y="481594"/>
                </a:moveTo>
                <a:cubicBezTo>
                  <a:pt x="1839901" y="484859"/>
                  <a:pt x="1858947" y="504993"/>
                  <a:pt x="1857858" y="536011"/>
                </a:cubicBezTo>
                <a:cubicBezTo>
                  <a:pt x="1855682" y="568662"/>
                  <a:pt x="1834459" y="584987"/>
                  <a:pt x="1803441" y="586075"/>
                </a:cubicBezTo>
                <a:cubicBezTo>
                  <a:pt x="1775144" y="584443"/>
                  <a:pt x="1751744" y="559955"/>
                  <a:pt x="1753377" y="533290"/>
                </a:cubicBezTo>
                <a:cubicBezTo>
                  <a:pt x="1755009" y="504993"/>
                  <a:pt x="1780041" y="479417"/>
                  <a:pt x="1806162" y="481594"/>
                </a:cubicBezTo>
                <a:close/>
                <a:moveTo>
                  <a:pt x="1968326" y="480505"/>
                </a:moveTo>
                <a:cubicBezTo>
                  <a:pt x="1998256" y="483226"/>
                  <a:pt x="2020023" y="501728"/>
                  <a:pt x="2022200" y="534379"/>
                </a:cubicBezTo>
                <a:cubicBezTo>
                  <a:pt x="2023832" y="560499"/>
                  <a:pt x="1996079" y="588252"/>
                  <a:pt x="1969415" y="588252"/>
                </a:cubicBezTo>
                <a:cubicBezTo>
                  <a:pt x="1943294" y="588796"/>
                  <a:pt x="1916085" y="561587"/>
                  <a:pt x="1915541" y="534923"/>
                </a:cubicBezTo>
                <a:cubicBezTo>
                  <a:pt x="1914453" y="508258"/>
                  <a:pt x="1941117" y="480505"/>
                  <a:pt x="1968326" y="480505"/>
                </a:cubicBezTo>
                <a:close/>
                <a:moveTo>
                  <a:pt x="91464" y="440780"/>
                </a:moveTo>
                <a:cubicBezTo>
                  <a:pt x="99082" y="440780"/>
                  <a:pt x="102347" y="443501"/>
                  <a:pt x="102891" y="451664"/>
                </a:cubicBezTo>
                <a:cubicBezTo>
                  <a:pt x="102891" y="460915"/>
                  <a:pt x="100171" y="464179"/>
                  <a:pt x="92008" y="464179"/>
                </a:cubicBezTo>
                <a:cubicBezTo>
                  <a:pt x="83301" y="464179"/>
                  <a:pt x="80036" y="461459"/>
                  <a:pt x="80036" y="452752"/>
                </a:cubicBezTo>
                <a:cubicBezTo>
                  <a:pt x="80036" y="444045"/>
                  <a:pt x="83301" y="440780"/>
                  <a:pt x="91464" y="440780"/>
                </a:cubicBezTo>
                <a:close/>
                <a:moveTo>
                  <a:pt x="254172" y="430441"/>
                </a:moveTo>
                <a:cubicBezTo>
                  <a:pt x="263967" y="430441"/>
                  <a:pt x="276483" y="440236"/>
                  <a:pt x="275939" y="452208"/>
                </a:cubicBezTo>
                <a:cubicBezTo>
                  <a:pt x="275939" y="463092"/>
                  <a:pt x="265600" y="473975"/>
                  <a:pt x="254716" y="473975"/>
                </a:cubicBezTo>
                <a:cubicBezTo>
                  <a:pt x="244377" y="473975"/>
                  <a:pt x="232949" y="463092"/>
                  <a:pt x="232405" y="452752"/>
                </a:cubicBezTo>
                <a:cubicBezTo>
                  <a:pt x="232405" y="442413"/>
                  <a:pt x="243833" y="430985"/>
                  <a:pt x="254172" y="430441"/>
                </a:cubicBezTo>
                <a:close/>
                <a:moveTo>
                  <a:pt x="417969" y="424999"/>
                </a:moveTo>
                <a:cubicBezTo>
                  <a:pt x="432118" y="424999"/>
                  <a:pt x="444634" y="438059"/>
                  <a:pt x="444634" y="452752"/>
                </a:cubicBezTo>
                <a:cubicBezTo>
                  <a:pt x="445178" y="464180"/>
                  <a:pt x="432662" y="481049"/>
                  <a:pt x="417425" y="479417"/>
                </a:cubicBezTo>
                <a:cubicBezTo>
                  <a:pt x="405453" y="481049"/>
                  <a:pt x="389672" y="465268"/>
                  <a:pt x="390760" y="452208"/>
                </a:cubicBezTo>
                <a:cubicBezTo>
                  <a:pt x="391849" y="437515"/>
                  <a:pt x="403276" y="424999"/>
                  <a:pt x="417969" y="424999"/>
                </a:cubicBezTo>
                <a:close/>
                <a:moveTo>
                  <a:pt x="580677" y="419558"/>
                </a:moveTo>
                <a:cubicBezTo>
                  <a:pt x="596458" y="419013"/>
                  <a:pt x="612783" y="434795"/>
                  <a:pt x="612783" y="452208"/>
                </a:cubicBezTo>
                <a:cubicBezTo>
                  <a:pt x="612783" y="469622"/>
                  <a:pt x="599723" y="483226"/>
                  <a:pt x="581221" y="484315"/>
                </a:cubicBezTo>
                <a:cubicBezTo>
                  <a:pt x="561087" y="482138"/>
                  <a:pt x="549659" y="470710"/>
                  <a:pt x="549115" y="452208"/>
                </a:cubicBezTo>
                <a:cubicBezTo>
                  <a:pt x="548571" y="433162"/>
                  <a:pt x="564352" y="420102"/>
                  <a:pt x="580677" y="419558"/>
                </a:cubicBezTo>
                <a:close/>
                <a:moveTo>
                  <a:pt x="743931" y="415748"/>
                </a:moveTo>
                <a:cubicBezTo>
                  <a:pt x="761888" y="414660"/>
                  <a:pt x="779846" y="432618"/>
                  <a:pt x="780390" y="452208"/>
                </a:cubicBezTo>
                <a:cubicBezTo>
                  <a:pt x="780934" y="471254"/>
                  <a:pt x="764065" y="488668"/>
                  <a:pt x="744475" y="489212"/>
                </a:cubicBezTo>
                <a:cubicBezTo>
                  <a:pt x="727061" y="489212"/>
                  <a:pt x="709103" y="472342"/>
                  <a:pt x="708559" y="453840"/>
                </a:cubicBezTo>
                <a:cubicBezTo>
                  <a:pt x="707471" y="435883"/>
                  <a:pt x="725428" y="416836"/>
                  <a:pt x="743931" y="415748"/>
                </a:cubicBezTo>
                <a:close/>
                <a:moveTo>
                  <a:pt x="908271" y="414116"/>
                </a:moveTo>
                <a:cubicBezTo>
                  <a:pt x="927861" y="411395"/>
                  <a:pt x="946907" y="431529"/>
                  <a:pt x="946363" y="453296"/>
                </a:cubicBezTo>
                <a:cubicBezTo>
                  <a:pt x="946363" y="473975"/>
                  <a:pt x="927317" y="491933"/>
                  <a:pt x="906638" y="491933"/>
                </a:cubicBezTo>
                <a:cubicBezTo>
                  <a:pt x="887048" y="491933"/>
                  <a:pt x="866913" y="473431"/>
                  <a:pt x="868546" y="452208"/>
                </a:cubicBezTo>
                <a:cubicBezTo>
                  <a:pt x="870179" y="428808"/>
                  <a:pt x="884871" y="413571"/>
                  <a:pt x="908271" y="414116"/>
                </a:cubicBezTo>
                <a:close/>
                <a:moveTo>
                  <a:pt x="1072068" y="409218"/>
                </a:moveTo>
                <a:cubicBezTo>
                  <a:pt x="1097100" y="410307"/>
                  <a:pt x="1113970" y="427720"/>
                  <a:pt x="1113970" y="452752"/>
                </a:cubicBezTo>
                <a:cubicBezTo>
                  <a:pt x="1113970" y="478329"/>
                  <a:pt x="1092203" y="495198"/>
                  <a:pt x="1070436" y="495198"/>
                </a:cubicBezTo>
                <a:cubicBezTo>
                  <a:pt x="1048124" y="494654"/>
                  <a:pt x="1027446" y="475063"/>
                  <a:pt x="1028534" y="451120"/>
                </a:cubicBezTo>
                <a:cubicBezTo>
                  <a:pt x="1029622" y="427720"/>
                  <a:pt x="1048669" y="408130"/>
                  <a:pt x="1072068" y="409218"/>
                </a:cubicBezTo>
                <a:close/>
                <a:moveTo>
                  <a:pt x="1235865" y="408130"/>
                </a:moveTo>
                <a:cubicBezTo>
                  <a:pt x="1258721" y="405953"/>
                  <a:pt x="1279400" y="427176"/>
                  <a:pt x="1279400" y="453296"/>
                </a:cubicBezTo>
                <a:cubicBezTo>
                  <a:pt x="1278855" y="478328"/>
                  <a:pt x="1258177" y="497374"/>
                  <a:pt x="1233689" y="497374"/>
                </a:cubicBezTo>
                <a:cubicBezTo>
                  <a:pt x="1209745" y="496830"/>
                  <a:pt x="1189066" y="476151"/>
                  <a:pt x="1189611" y="451664"/>
                </a:cubicBezTo>
                <a:cubicBezTo>
                  <a:pt x="1189611" y="429352"/>
                  <a:pt x="1209201" y="404864"/>
                  <a:pt x="1235865" y="408130"/>
                </a:cubicBezTo>
                <a:close/>
                <a:moveTo>
                  <a:pt x="1396941" y="403776"/>
                </a:moveTo>
                <a:cubicBezTo>
                  <a:pt x="1425238" y="403232"/>
                  <a:pt x="1445373" y="423911"/>
                  <a:pt x="1446461" y="450575"/>
                </a:cubicBezTo>
                <a:cubicBezTo>
                  <a:pt x="1447005" y="476696"/>
                  <a:pt x="1426327" y="500096"/>
                  <a:pt x="1399118" y="500640"/>
                </a:cubicBezTo>
                <a:cubicBezTo>
                  <a:pt x="1372453" y="501184"/>
                  <a:pt x="1349598" y="479961"/>
                  <a:pt x="1349598" y="453296"/>
                </a:cubicBezTo>
                <a:cubicBezTo>
                  <a:pt x="1349598" y="424999"/>
                  <a:pt x="1370277" y="404865"/>
                  <a:pt x="1396941" y="403776"/>
                </a:cubicBezTo>
                <a:close/>
                <a:moveTo>
                  <a:pt x="1560738" y="402144"/>
                </a:moveTo>
                <a:cubicBezTo>
                  <a:pt x="1588491" y="402144"/>
                  <a:pt x="1611347" y="427176"/>
                  <a:pt x="1611347" y="453297"/>
                </a:cubicBezTo>
                <a:cubicBezTo>
                  <a:pt x="1610803" y="476152"/>
                  <a:pt x="1590668" y="502817"/>
                  <a:pt x="1560194" y="502272"/>
                </a:cubicBezTo>
                <a:cubicBezTo>
                  <a:pt x="1534074" y="501728"/>
                  <a:pt x="1508498" y="479961"/>
                  <a:pt x="1511218" y="451664"/>
                </a:cubicBezTo>
                <a:cubicBezTo>
                  <a:pt x="1508498" y="425544"/>
                  <a:pt x="1534618" y="402144"/>
                  <a:pt x="1560738" y="402144"/>
                </a:cubicBezTo>
                <a:close/>
                <a:moveTo>
                  <a:pt x="1723991" y="399423"/>
                </a:moveTo>
                <a:cubicBezTo>
                  <a:pt x="1756097" y="402688"/>
                  <a:pt x="1777320" y="422278"/>
                  <a:pt x="1776776" y="452752"/>
                </a:cubicBezTo>
                <a:cubicBezTo>
                  <a:pt x="1776232" y="483226"/>
                  <a:pt x="1757730" y="501728"/>
                  <a:pt x="1725079" y="504993"/>
                </a:cubicBezTo>
                <a:cubicBezTo>
                  <a:pt x="1697870" y="507714"/>
                  <a:pt x="1670117" y="479961"/>
                  <a:pt x="1671750" y="452752"/>
                </a:cubicBezTo>
                <a:cubicBezTo>
                  <a:pt x="1673382" y="420102"/>
                  <a:pt x="1692428" y="403232"/>
                  <a:pt x="1723991" y="399423"/>
                </a:cubicBezTo>
                <a:close/>
                <a:moveTo>
                  <a:pt x="2051040" y="398335"/>
                </a:moveTo>
                <a:lnTo>
                  <a:pt x="2051041" y="398335"/>
                </a:lnTo>
                <a:lnTo>
                  <a:pt x="2051041" y="506936"/>
                </a:lnTo>
                <a:lnTo>
                  <a:pt x="2049952" y="507170"/>
                </a:lnTo>
                <a:cubicBezTo>
                  <a:pt x="2020566" y="506626"/>
                  <a:pt x="1995534" y="481593"/>
                  <a:pt x="1995534" y="452208"/>
                </a:cubicBezTo>
                <a:cubicBezTo>
                  <a:pt x="1996078" y="424455"/>
                  <a:pt x="2021655" y="397246"/>
                  <a:pt x="2051040" y="398335"/>
                </a:cubicBezTo>
                <a:close/>
                <a:moveTo>
                  <a:pt x="1888332" y="398335"/>
                </a:moveTo>
                <a:cubicBezTo>
                  <a:pt x="1915541" y="398879"/>
                  <a:pt x="1941661" y="423911"/>
                  <a:pt x="1941661" y="452208"/>
                </a:cubicBezTo>
                <a:cubicBezTo>
                  <a:pt x="1941661" y="481594"/>
                  <a:pt x="1916085" y="507170"/>
                  <a:pt x="1886699" y="506082"/>
                </a:cubicBezTo>
                <a:cubicBezTo>
                  <a:pt x="1857314" y="505538"/>
                  <a:pt x="1833914" y="481594"/>
                  <a:pt x="1833370" y="452208"/>
                </a:cubicBezTo>
                <a:cubicBezTo>
                  <a:pt x="1833370" y="423911"/>
                  <a:pt x="1860035" y="398335"/>
                  <a:pt x="1888332" y="398335"/>
                </a:cubicBezTo>
                <a:close/>
                <a:moveTo>
                  <a:pt x="12014" y="364052"/>
                </a:moveTo>
                <a:cubicBezTo>
                  <a:pt x="13102" y="365140"/>
                  <a:pt x="15279" y="367317"/>
                  <a:pt x="15823" y="370038"/>
                </a:cubicBezTo>
                <a:cubicBezTo>
                  <a:pt x="16911" y="374391"/>
                  <a:pt x="14191" y="377656"/>
                  <a:pt x="9293" y="377656"/>
                </a:cubicBezTo>
                <a:cubicBezTo>
                  <a:pt x="4940" y="377656"/>
                  <a:pt x="3307" y="374936"/>
                  <a:pt x="3307" y="371126"/>
                </a:cubicBezTo>
                <a:cubicBezTo>
                  <a:pt x="3307" y="367317"/>
                  <a:pt x="4940" y="364052"/>
                  <a:pt x="12014" y="364052"/>
                </a:cubicBezTo>
                <a:close/>
                <a:moveTo>
                  <a:pt x="172545" y="353713"/>
                </a:moveTo>
                <a:cubicBezTo>
                  <a:pt x="184517" y="353713"/>
                  <a:pt x="190503" y="359154"/>
                  <a:pt x="190503" y="370582"/>
                </a:cubicBezTo>
                <a:cubicBezTo>
                  <a:pt x="190503" y="381466"/>
                  <a:pt x="184517" y="387996"/>
                  <a:pt x="173090" y="387996"/>
                </a:cubicBezTo>
                <a:cubicBezTo>
                  <a:pt x="163839" y="388540"/>
                  <a:pt x="155676" y="381466"/>
                  <a:pt x="155676" y="371126"/>
                </a:cubicBezTo>
                <a:cubicBezTo>
                  <a:pt x="155676" y="362419"/>
                  <a:pt x="161662" y="352080"/>
                  <a:pt x="172545" y="353713"/>
                </a:cubicBezTo>
                <a:close/>
                <a:moveTo>
                  <a:pt x="336886" y="345550"/>
                </a:moveTo>
                <a:cubicBezTo>
                  <a:pt x="350490" y="346094"/>
                  <a:pt x="362462" y="358610"/>
                  <a:pt x="361374" y="371670"/>
                </a:cubicBezTo>
                <a:cubicBezTo>
                  <a:pt x="360286" y="385275"/>
                  <a:pt x="348858" y="395614"/>
                  <a:pt x="335798" y="395070"/>
                </a:cubicBezTo>
                <a:cubicBezTo>
                  <a:pt x="319472" y="394526"/>
                  <a:pt x="311854" y="381466"/>
                  <a:pt x="311854" y="370038"/>
                </a:cubicBezTo>
                <a:cubicBezTo>
                  <a:pt x="311854" y="356978"/>
                  <a:pt x="324370" y="345550"/>
                  <a:pt x="336886" y="345550"/>
                </a:cubicBezTo>
                <a:close/>
                <a:moveTo>
                  <a:pt x="499596" y="342284"/>
                </a:moveTo>
                <a:cubicBezTo>
                  <a:pt x="518642" y="341196"/>
                  <a:pt x="528437" y="354256"/>
                  <a:pt x="528437" y="370582"/>
                </a:cubicBezTo>
                <a:cubicBezTo>
                  <a:pt x="528437" y="386363"/>
                  <a:pt x="518642" y="399967"/>
                  <a:pt x="499051" y="399423"/>
                </a:cubicBezTo>
                <a:cubicBezTo>
                  <a:pt x="481094" y="399423"/>
                  <a:pt x="470210" y="387995"/>
                  <a:pt x="470210" y="370037"/>
                </a:cubicBezTo>
                <a:cubicBezTo>
                  <a:pt x="470754" y="352624"/>
                  <a:pt x="481638" y="341740"/>
                  <a:pt x="499596" y="342284"/>
                </a:cubicBezTo>
                <a:close/>
                <a:moveTo>
                  <a:pt x="663392" y="337387"/>
                </a:moveTo>
                <a:cubicBezTo>
                  <a:pt x="680262" y="337387"/>
                  <a:pt x="697675" y="354801"/>
                  <a:pt x="697131" y="371126"/>
                </a:cubicBezTo>
                <a:cubicBezTo>
                  <a:pt x="696043" y="390172"/>
                  <a:pt x="682982" y="404321"/>
                  <a:pt x="662304" y="404321"/>
                </a:cubicBezTo>
                <a:cubicBezTo>
                  <a:pt x="643258" y="405953"/>
                  <a:pt x="629109" y="389084"/>
                  <a:pt x="629109" y="371126"/>
                </a:cubicBezTo>
                <a:cubicBezTo>
                  <a:pt x="629109" y="352624"/>
                  <a:pt x="645434" y="337387"/>
                  <a:pt x="663392" y="337387"/>
                </a:cubicBezTo>
                <a:close/>
                <a:moveTo>
                  <a:pt x="825556" y="332489"/>
                </a:moveTo>
                <a:cubicBezTo>
                  <a:pt x="847323" y="333577"/>
                  <a:pt x="864193" y="349358"/>
                  <a:pt x="864737" y="370037"/>
                </a:cubicBezTo>
                <a:cubicBezTo>
                  <a:pt x="864193" y="391260"/>
                  <a:pt x="847323" y="409218"/>
                  <a:pt x="826645" y="409218"/>
                </a:cubicBezTo>
                <a:cubicBezTo>
                  <a:pt x="808687" y="412483"/>
                  <a:pt x="788008" y="387995"/>
                  <a:pt x="787464" y="371126"/>
                </a:cubicBezTo>
                <a:cubicBezTo>
                  <a:pt x="787464" y="353712"/>
                  <a:pt x="808687" y="331945"/>
                  <a:pt x="825556" y="332489"/>
                </a:cubicBezTo>
                <a:close/>
                <a:moveTo>
                  <a:pt x="989898" y="328680"/>
                </a:moveTo>
                <a:cubicBezTo>
                  <a:pt x="1013297" y="329224"/>
                  <a:pt x="1030167" y="347182"/>
                  <a:pt x="1031255" y="371126"/>
                </a:cubicBezTo>
                <a:cubicBezTo>
                  <a:pt x="1029623" y="396702"/>
                  <a:pt x="1010576" y="413027"/>
                  <a:pt x="989354" y="413027"/>
                </a:cubicBezTo>
                <a:cubicBezTo>
                  <a:pt x="964866" y="412483"/>
                  <a:pt x="946908" y="393981"/>
                  <a:pt x="947452" y="370037"/>
                </a:cubicBezTo>
                <a:cubicBezTo>
                  <a:pt x="947996" y="346094"/>
                  <a:pt x="964866" y="328680"/>
                  <a:pt x="989898" y="328680"/>
                </a:cubicBezTo>
                <a:close/>
                <a:moveTo>
                  <a:pt x="1153150" y="326504"/>
                </a:moveTo>
                <a:cubicBezTo>
                  <a:pt x="1177094" y="326504"/>
                  <a:pt x="1197228" y="347727"/>
                  <a:pt x="1197228" y="370582"/>
                </a:cubicBezTo>
                <a:cubicBezTo>
                  <a:pt x="1197228" y="392894"/>
                  <a:pt x="1176550" y="417925"/>
                  <a:pt x="1152606" y="414661"/>
                </a:cubicBezTo>
                <a:cubicBezTo>
                  <a:pt x="1130295" y="417925"/>
                  <a:pt x="1107984" y="393982"/>
                  <a:pt x="1108528" y="370038"/>
                </a:cubicBezTo>
                <a:cubicBezTo>
                  <a:pt x="1109072" y="347727"/>
                  <a:pt x="1129751" y="326504"/>
                  <a:pt x="1153150" y="326504"/>
                </a:cubicBezTo>
                <a:close/>
                <a:moveTo>
                  <a:pt x="1317492" y="323239"/>
                </a:moveTo>
                <a:cubicBezTo>
                  <a:pt x="1341979" y="322151"/>
                  <a:pt x="1367012" y="348271"/>
                  <a:pt x="1364835" y="372215"/>
                </a:cubicBezTo>
                <a:cubicBezTo>
                  <a:pt x="1361026" y="399968"/>
                  <a:pt x="1344700" y="416837"/>
                  <a:pt x="1314771" y="419014"/>
                </a:cubicBezTo>
                <a:cubicBezTo>
                  <a:pt x="1286474" y="415205"/>
                  <a:pt x="1267972" y="398879"/>
                  <a:pt x="1268516" y="370582"/>
                </a:cubicBezTo>
                <a:cubicBezTo>
                  <a:pt x="1268516" y="341197"/>
                  <a:pt x="1288650" y="324327"/>
                  <a:pt x="1317492" y="323239"/>
                </a:cubicBezTo>
                <a:close/>
                <a:moveTo>
                  <a:pt x="1479112" y="320517"/>
                </a:moveTo>
                <a:cubicBezTo>
                  <a:pt x="1503600" y="319973"/>
                  <a:pt x="1530265" y="343917"/>
                  <a:pt x="1529720" y="371670"/>
                </a:cubicBezTo>
                <a:cubicBezTo>
                  <a:pt x="1528632" y="395069"/>
                  <a:pt x="1506321" y="423366"/>
                  <a:pt x="1478568" y="420101"/>
                </a:cubicBezTo>
                <a:cubicBezTo>
                  <a:pt x="1452447" y="422822"/>
                  <a:pt x="1429592" y="397246"/>
                  <a:pt x="1429592" y="370037"/>
                </a:cubicBezTo>
                <a:cubicBezTo>
                  <a:pt x="1429592" y="342284"/>
                  <a:pt x="1455713" y="320517"/>
                  <a:pt x="1479112" y="320517"/>
                </a:cubicBezTo>
                <a:close/>
                <a:moveTo>
                  <a:pt x="1642364" y="318341"/>
                </a:moveTo>
                <a:cubicBezTo>
                  <a:pt x="1670661" y="318341"/>
                  <a:pt x="1692973" y="339020"/>
                  <a:pt x="1695694" y="370582"/>
                </a:cubicBezTo>
                <a:cubicBezTo>
                  <a:pt x="1696238" y="397791"/>
                  <a:pt x="1671206" y="423367"/>
                  <a:pt x="1643453" y="424455"/>
                </a:cubicBezTo>
                <a:cubicBezTo>
                  <a:pt x="1616788" y="425544"/>
                  <a:pt x="1589035" y="398335"/>
                  <a:pt x="1589035" y="371670"/>
                </a:cubicBezTo>
                <a:cubicBezTo>
                  <a:pt x="1589035" y="345006"/>
                  <a:pt x="1615155" y="317797"/>
                  <a:pt x="1642364" y="318341"/>
                </a:cubicBezTo>
                <a:close/>
                <a:moveTo>
                  <a:pt x="90919" y="273718"/>
                </a:moveTo>
                <a:cubicBezTo>
                  <a:pt x="96361" y="273174"/>
                  <a:pt x="106156" y="282425"/>
                  <a:pt x="106700" y="288411"/>
                </a:cubicBezTo>
                <a:cubicBezTo>
                  <a:pt x="106700" y="294941"/>
                  <a:pt x="97993" y="303648"/>
                  <a:pt x="91463" y="303648"/>
                </a:cubicBezTo>
                <a:cubicBezTo>
                  <a:pt x="84933" y="303648"/>
                  <a:pt x="76226" y="294941"/>
                  <a:pt x="76770" y="288411"/>
                </a:cubicBezTo>
                <a:cubicBezTo>
                  <a:pt x="76770" y="283513"/>
                  <a:pt x="86021" y="274262"/>
                  <a:pt x="90919" y="273718"/>
                </a:cubicBezTo>
                <a:close/>
                <a:moveTo>
                  <a:pt x="254716" y="267733"/>
                </a:moveTo>
                <a:cubicBezTo>
                  <a:pt x="267776" y="267733"/>
                  <a:pt x="276483" y="276440"/>
                  <a:pt x="276483" y="288956"/>
                </a:cubicBezTo>
                <a:cubicBezTo>
                  <a:pt x="276483" y="301472"/>
                  <a:pt x="266688" y="311811"/>
                  <a:pt x="254172" y="311811"/>
                </a:cubicBezTo>
                <a:cubicBezTo>
                  <a:pt x="243289" y="311811"/>
                  <a:pt x="232405" y="300384"/>
                  <a:pt x="232405" y="289500"/>
                </a:cubicBezTo>
                <a:cubicBezTo>
                  <a:pt x="232405" y="276984"/>
                  <a:pt x="242744" y="267733"/>
                  <a:pt x="254716" y="267733"/>
                </a:cubicBezTo>
                <a:close/>
                <a:moveTo>
                  <a:pt x="1941117" y="263202"/>
                </a:moveTo>
                <a:cubicBezTo>
                  <a:pt x="1937852" y="261570"/>
                  <a:pt x="1936219" y="263202"/>
                  <a:pt x="1936219" y="266467"/>
                </a:cubicBezTo>
                <a:cubicBezTo>
                  <a:pt x="1936763" y="268644"/>
                  <a:pt x="1937852" y="270276"/>
                  <a:pt x="1938396" y="272453"/>
                </a:cubicBezTo>
                <a:cubicBezTo>
                  <a:pt x="1944382" y="290955"/>
                  <a:pt x="1943838" y="308913"/>
                  <a:pt x="1932954" y="325782"/>
                </a:cubicBezTo>
                <a:cubicBezTo>
                  <a:pt x="1931866" y="327415"/>
                  <a:pt x="1931866" y="329047"/>
                  <a:pt x="1930777" y="331224"/>
                </a:cubicBezTo>
                <a:cubicBezTo>
                  <a:pt x="1932410" y="331224"/>
                  <a:pt x="1935131" y="331224"/>
                  <a:pt x="1936219" y="330136"/>
                </a:cubicBezTo>
                <a:cubicBezTo>
                  <a:pt x="1945470" y="323061"/>
                  <a:pt x="1955265" y="320885"/>
                  <a:pt x="1966693" y="320340"/>
                </a:cubicBezTo>
                <a:cubicBezTo>
                  <a:pt x="1978121" y="319796"/>
                  <a:pt x="1989004" y="323061"/>
                  <a:pt x="1998799" y="328503"/>
                </a:cubicBezTo>
                <a:cubicBezTo>
                  <a:pt x="2000432" y="329047"/>
                  <a:pt x="2001520" y="329592"/>
                  <a:pt x="2003153" y="330136"/>
                </a:cubicBezTo>
                <a:cubicBezTo>
                  <a:pt x="2002609" y="328503"/>
                  <a:pt x="2002609" y="326326"/>
                  <a:pt x="2001520" y="324694"/>
                </a:cubicBezTo>
                <a:cubicBezTo>
                  <a:pt x="1999344" y="319796"/>
                  <a:pt x="1995534" y="314899"/>
                  <a:pt x="1994446" y="309457"/>
                </a:cubicBezTo>
                <a:cubicBezTo>
                  <a:pt x="1992269" y="295308"/>
                  <a:pt x="1990093" y="281160"/>
                  <a:pt x="1998255" y="267555"/>
                </a:cubicBezTo>
                <a:cubicBezTo>
                  <a:pt x="2000432" y="267555"/>
                  <a:pt x="2000432" y="265923"/>
                  <a:pt x="2000976" y="263746"/>
                </a:cubicBezTo>
                <a:cubicBezTo>
                  <a:pt x="1998799" y="263746"/>
                  <a:pt x="1996623" y="262658"/>
                  <a:pt x="1995534" y="263746"/>
                </a:cubicBezTo>
                <a:cubicBezTo>
                  <a:pt x="1977577" y="272997"/>
                  <a:pt x="1959075" y="272997"/>
                  <a:pt x="1941117" y="263202"/>
                </a:cubicBezTo>
                <a:close/>
                <a:moveTo>
                  <a:pt x="417425" y="262291"/>
                </a:moveTo>
                <a:cubicBezTo>
                  <a:pt x="434839" y="262291"/>
                  <a:pt x="445178" y="272086"/>
                  <a:pt x="445178" y="288956"/>
                </a:cubicBezTo>
                <a:cubicBezTo>
                  <a:pt x="445178" y="305825"/>
                  <a:pt x="434839" y="316164"/>
                  <a:pt x="417969" y="317253"/>
                </a:cubicBezTo>
                <a:cubicBezTo>
                  <a:pt x="404909" y="317797"/>
                  <a:pt x="389672" y="306369"/>
                  <a:pt x="390216" y="290044"/>
                </a:cubicBezTo>
                <a:cubicBezTo>
                  <a:pt x="391305" y="272086"/>
                  <a:pt x="400011" y="262291"/>
                  <a:pt x="417425" y="262291"/>
                </a:cubicBezTo>
                <a:close/>
                <a:moveTo>
                  <a:pt x="580678" y="256304"/>
                </a:moveTo>
                <a:cubicBezTo>
                  <a:pt x="596459" y="255760"/>
                  <a:pt x="616049" y="273174"/>
                  <a:pt x="613872" y="288955"/>
                </a:cubicBezTo>
                <a:cubicBezTo>
                  <a:pt x="615505" y="304736"/>
                  <a:pt x="598635" y="322150"/>
                  <a:pt x="581222" y="322150"/>
                </a:cubicBezTo>
                <a:cubicBezTo>
                  <a:pt x="564352" y="322150"/>
                  <a:pt x="548571" y="308001"/>
                  <a:pt x="548027" y="289499"/>
                </a:cubicBezTo>
                <a:cubicBezTo>
                  <a:pt x="547483" y="272086"/>
                  <a:pt x="565441" y="256849"/>
                  <a:pt x="580678" y="256304"/>
                </a:cubicBezTo>
                <a:close/>
                <a:moveTo>
                  <a:pt x="743930" y="251951"/>
                </a:moveTo>
                <a:cubicBezTo>
                  <a:pt x="764609" y="251951"/>
                  <a:pt x="782566" y="268820"/>
                  <a:pt x="782022" y="289499"/>
                </a:cubicBezTo>
                <a:cubicBezTo>
                  <a:pt x="781478" y="311266"/>
                  <a:pt x="765153" y="326503"/>
                  <a:pt x="744474" y="326503"/>
                </a:cubicBezTo>
                <a:cubicBezTo>
                  <a:pt x="723795" y="326503"/>
                  <a:pt x="708014" y="311266"/>
                  <a:pt x="707470" y="289499"/>
                </a:cubicBezTo>
                <a:cubicBezTo>
                  <a:pt x="706926" y="271541"/>
                  <a:pt x="722163" y="252495"/>
                  <a:pt x="743930" y="251951"/>
                </a:cubicBezTo>
                <a:close/>
                <a:moveTo>
                  <a:pt x="907183" y="249775"/>
                </a:moveTo>
                <a:cubicBezTo>
                  <a:pt x="929494" y="249775"/>
                  <a:pt x="946908" y="263924"/>
                  <a:pt x="947452" y="289500"/>
                </a:cubicBezTo>
                <a:cubicBezTo>
                  <a:pt x="947996" y="311811"/>
                  <a:pt x="931127" y="330313"/>
                  <a:pt x="908271" y="329225"/>
                </a:cubicBezTo>
                <a:cubicBezTo>
                  <a:pt x="885960" y="330857"/>
                  <a:pt x="868002" y="312355"/>
                  <a:pt x="867458" y="290044"/>
                </a:cubicBezTo>
                <a:cubicBezTo>
                  <a:pt x="867458" y="266100"/>
                  <a:pt x="884872" y="249775"/>
                  <a:pt x="907183" y="249775"/>
                </a:cubicBezTo>
                <a:close/>
                <a:moveTo>
                  <a:pt x="1070435" y="245965"/>
                </a:moveTo>
                <a:cubicBezTo>
                  <a:pt x="1093291" y="245421"/>
                  <a:pt x="1116146" y="264467"/>
                  <a:pt x="1114513" y="290043"/>
                </a:cubicBezTo>
                <a:cubicBezTo>
                  <a:pt x="1115602" y="312899"/>
                  <a:pt x="1092202" y="334122"/>
                  <a:pt x="1069347" y="333578"/>
                </a:cubicBezTo>
                <a:cubicBezTo>
                  <a:pt x="1047036" y="333034"/>
                  <a:pt x="1026357" y="311266"/>
                  <a:pt x="1026357" y="288955"/>
                </a:cubicBezTo>
                <a:cubicBezTo>
                  <a:pt x="1026901" y="268276"/>
                  <a:pt x="1045403" y="245965"/>
                  <a:pt x="1070435" y="245965"/>
                </a:cubicBezTo>
                <a:close/>
                <a:moveTo>
                  <a:pt x="1233689" y="241613"/>
                </a:moveTo>
                <a:cubicBezTo>
                  <a:pt x="1257632" y="241068"/>
                  <a:pt x="1281032" y="263924"/>
                  <a:pt x="1282120" y="288412"/>
                </a:cubicBezTo>
                <a:cubicBezTo>
                  <a:pt x="1282665" y="312900"/>
                  <a:pt x="1260898" y="336299"/>
                  <a:pt x="1235321" y="335755"/>
                </a:cubicBezTo>
                <a:cubicBezTo>
                  <a:pt x="1206480" y="335211"/>
                  <a:pt x="1190155" y="318886"/>
                  <a:pt x="1187434" y="289500"/>
                </a:cubicBezTo>
                <a:cubicBezTo>
                  <a:pt x="1184713" y="266100"/>
                  <a:pt x="1208657" y="242701"/>
                  <a:pt x="1233689" y="241613"/>
                </a:cubicBezTo>
                <a:close/>
                <a:moveTo>
                  <a:pt x="1397485" y="238891"/>
                </a:moveTo>
                <a:cubicBezTo>
                  <a:pt x="1421973" y="237259"/>
                  <a:pt x="1448638" y="264467"/>
                  <a:pt x="1448094" y="288955"/>
                </a:cubicBezTo>
                <a:cubicBezTo>
                  <a:pt x="1447005" y="312355"/>
                  <a:pt x="1424150" y="341196"/>
                  <a:pt x="1398029" y="338475"/>
                </a:cubicBezTo>
                <a:cubicBezTo>
                  <a:pt x="1372453" y="340652"/>
                  <a:pt x="1347421" y="315620"/>
                  <a:pt x="1348509" y="289499"/>
                </a:cubicBezTo>
                <a:cubicBezTo>
                  <a:pt x="1349598" y="261202"/>
                  <a:pt x="1369732" y="240524"/>
                  <a:pt x="1397485" y="238891"/>
                </a:cubicBezTo>
                <a:close/>
                <a:moveTo>
                  <a:pt x="1559650" y="237258"/>
                </a:moveTo>
                <a:cubicBezTo>
                  <a:pt x="1590668" y="236170"/>
                  <a:pt x="1611891" y="259570"/>
                  <a:pt x="1613523" y="288955"/>
                </a:cubicBezTo>
                <a:cubicBezTo>
                  <a:pt x="1613523" y="316164"/>
                  <a:pt x="1587403" y="342829"/>
                  <a:pt x="1560738" y="342829"/>
                </a:cubicBezTo>
                <a:cubicBezTo>
                  <a:pt x="1534618" y="342829"/>
                  <a:pt x="1505776" y="315620"/>
                  <a:pt x="1507953" y="289499"/>
                </a:cubicBezTo>
                <a:cubicBezTo>
                  <a:pt x="1510130" y="261202"/>
                  <a:pt x="1526455" y="238347"/>
                  <a:pt x="1559650" y="237258"/>
                </a:cubicBezTo>
                <a:close/>
                <a:moveTo>
                  <a:pt x="9837" y="198078"/>
                </a:moveTo>
                <a:cubicBezTo>
                  <a:pt x="14190" y="198078"/>
                  <a:pt x="19632" y="202976"/>
                  <a:pt x="19632" y="207873"/>
                </a:cubicBezTo>
                <a:cubicBezTo>
                  <a:pt x="19632" y="212227"/>
                  <a:pt x="14190" y="217668"/>
                  <a:pt x="10381" y="218213"/>
                </a:cubicBezTo>
                <a:cubicBezTo>
                  <a:pt x="5483" y="218757"/>
                  <a:pt x="-503" y="212771"/>
                  <a:pt x="42" y="207873"/>
                </a:cubicBezTo>
                <a:cubicBezTo>
                  <a:pt x="42" y="202976"/>
                  <a:pt x="5483" y="198078"/>
                  <a:pt x="9837" y="198078"/>
                </a:cubicBezTo>
                <a:close/>
                <a:moveTo>
                  <a:pt x="173090" y="187739"/>
                </a:moveTo>
                <a:cubicBezTo>
                  <a:pt x="183429" y="188283"/>
                  <a:pt x="192136" y="196990"/>
                  <a:pt x="192136" y="207329"/>
                </a:cubicBezTo>
                <a:cubicBezTo>
                  <a:pt x="192136" y="217669"/>
                  <a:pt x="182341" y="228008"/>
                  <a:pt x="172546" y="227464"/>
                </a:cubicBezTo>
                <a:cubicBezTo>
                  <a:pt x="163839" y="226920"/>
                  <a:pt x="154588" y="217669"/>
                  <a:pt x="154044" y="208418"/>
                </a:cubicBezTo>
                <a:cubicBezTo>
                  <a:pt x="153500" y="198078"/>
                  <a:pt x="162751" y="187739"/>
                  <a:pt x="173090" y="187739"/>
                </a:cubicBezTo>
                <a:close/>
                <a:moveTo>
                  <a:pt x="336887" y="182297"/>
                </a:moveTo>
                <a:cubicBezTo>
                  <a:pt x="350491" y="182841"/>
                  <a:pt x="361919" y="191548"/>
                  <a:pt x="363007" y="207329"/>
                </a:cubicBezTo>
                <a:cubicBezTo>
                  <a:pt x="363551" y="219845"/>
                  <a:pt x="349947" y="233449"/>
                  <a:pt x="336887" y="233994"/>
                </a:cubicBezTo>
                <a:cubicBezTo>
                  <a:pt x="324371" y="233994"/>
                  <a:pt x="311311" y="221478"/>
                  <a:pt x="310766" y="208961"/>
                </a:cubicBezTo>
                <a:cubicBezTo>
                  <a:pt x="310222" y="195357"/>
                  <a:pt x="323282" y="181753"/>
                  <a:pt x="336887" y="182297"/>
                </a:cubicBezTo>
                <a:close/>
                <a:moveTo>
                  <a:pt x="1856225" y="180487"/>
                </a:moveTo>
                <a:cubicBezTo>
                  <a:pt x="1856225" y="182664"/>
                  <a:pt x="1855137" y="184841"/>
                  <a:pt x="1855681" y="185929"/>
                </a:cubicBezTo>
                <a:cubicBezTo>
                  <a:pt x="1863844" y="206064"/>
                  <a:pt x="1863844" y="226198"/>
                  <a:pt x="1851872" y="244700"/>
                </a:cubicBezTo>
                <a:cubicBezTo>
                  <a:pt x="1851328" y="245788"/>
                  <a:pt x="1851328" y="246877"/>
                  <a:pt x="1851328" y="247965"/>
                </a:cubicBezTo>
                <a:cubicBezTo>
                  <a:pt x="1852416" y="247965"/>
                  <a:pt x="1854049" y="247965"/>
                  <a:pt x="1854593" y="247421"/>
                </a:cubicBezTo>
                <a:cubicBezTo>
                  <a:pt x="1868197" y="237082"/>
                  <a:pt x="1883434" y="237082"/>
                  <a:pt x="1899215" y="238714"/>
                </a:cubicBezTo>
                <a:cubicBezTo>
                  <a:pt x="1904113" y="239258"/>
                  <a:pt x="1909010" y="241979"/>
                  <a:pt x="1913908" y="243067"/>
                </a:cubicBezTo>
                <a:cubicBezTo>
                  <a:pt x="1915541" y="243612"/>
                  <a:pt x="1917173" y="242523"/>
                  <a:pt x="1918806" y="242523"/>
                </a:cubicBezTo>
                <a:cubicBezTo>
                  <a:pt x="1918806" y="240891"/>
                  <a:pt x="1918806" y="239258"/>
                  <a:pt x="1918261" y="238170"/>
                </a:cubicBezTo>
                <a:cubicBezTo>
                  <a:pt x="1908466" y="220756"/>
                  <a:pt x="1910099" y="203887"/>
                  <a:pt x="1917173" y="185929"/>
                </a:cubicBezTo>
                <a:cubicBezTo>
                  <a:pt x="1917717" y="184297"/>
                  <a:pt x="1917717" y="183208"/>
                  <a:pt x="1918261" y="181576"/>
                </a:cubicBezTo>
                <a:cubicBezTo>
                  <a:pt x="1916629" y="182120"/>
                  <a:pt x="1914996" y="182120"/>
                  <a:pt x="1913908" y="182664"/>
                </a:cubicBezTo>
                <a:cubicBezTo>
                  <a:pt x="1895950" y="189738"/>
                  <a:pt x="1877992" y="190827"/>
                  <a:pt x="1860579" y="180487"/>
                </a:cubicBezTo>
                <a:cubicBezTo>
                  <a:pt x="1858946" y="181031"/>
                  <a:pt x="1857858" y="181031"/>
                  <a:pt x="1856225" y="180487"/>
                </a:cubicBezTo>
                <a:close/>
                <a:moveTo>
                  <a:pt x="499595" y="175767"/>
                </a:moveTo>
                <a:cubicBezTo>
                  <a:pt x="514832" y="175767"/>
                  <a:pt x="531702" y="193181"/>
                  <a:pt x="531158" y="207874"/>
                </a:cubicBezTo>
                <a:cubicBezTo>
                  <a:pt x="530613" y="223110"/>
                  <a:pt x="513744" y="239980"/>
                  <a:pt x="498507" y="238347"/>
                </a:cubicBezTo>
                <a:cubicBezTo>
                  <a:pt x="479461" y="236715"/>
                  <a:pt x="469666" y="224743"/>
                  <a:pt x="468033" y="207329"/>
                </a:cubicBezTo>
                <a:cubicBezTo>
                  <a:pt x="466945" y="192636"/>
                  <a:pt x="484903" y="175767"/>
                  <a:pt x="499595" y="175767"/>
                </a:cubicBezTo>
                <a:close/>
                <a:moveTo>
                  <a:pt x="662304" y="173046"/>
                </a:moveTo>
                <a:cubicBezTo>
                  <a:pt x="683527" y="171958"/>
                  <a:pt x="698220" y="189916"/>
                  <a:pt x="697676" y="207873"/>
                </a:cubicBezTo>
                <a:cubicBezTo>
                  <a:pt x="697131" y="227464"/>
                  <a:pt x="684615" y="243245"/>
                  <a:pt x="662304" y="242156"/>
                </a:cubicBezTo>
                <a:cubicBezTo>
                  <a:pt x="639993" y="241612"/>
                  <a:pt x="628565" y="229096"/>
                  <a:pt x="628021" y="207873"/>
                </a:cubicBezTo>
                <a:cubicBezTo>
                  <a:pt x="628021" y="187739"/>
                  <a:pt x="642714" y="172502"/>
                  <a:pt x="662304" y="173046"/>
                </a:cubicBezTo>
                <a:close/>
                <a:moveTo>
                  <a:pt x="826645" y="168148"/>
                </a:moveTo>
                <a:cubicBezTo>
                  <a:pt x="844602" y="168148"/>
                  <a:pt x="867458" y="187194"/>
                  <a:pt x="864737" y="207329"/>
                </a:cubicBezTo>
                <a:cubicBezTo>
                  <a:pt x="867458" y="229096"/>
                  <a:pt x="844058" y="247054"/>
                  <a:pt x="826100" y="247054"/>
                </a:cubicBezTo>
                <a:cubicBezTo>
                  <a:pt x="808687" y="247054"/>
                  <a:pt x="787464" y="228552"/>
                  <a:pt x="787464" y="207873"/>
                </a:cubicBezTo>
                <a:cubicBezTo>
                  <a:pt x="787464" y="187194"/>
                  <a:pt x="807054" y="168148"/>
                  <a:pt x="826645" y="168148"/>
                </a:cubicBezTo>
                <a:close/>
                <a:moveTo>
                  <a:pt x="987721" y="164883"/>
                </a:moveTo>
                <a:cubicBezTo>
                  <a:pt x="1012209" y="164339"/>
                  <a:pt x="1030711" y="181753"/>
                  <a:pt x="1031799" y="207329"/>
                </a:cubicBezTo>
                <a:cubicBezTo>
                  <a:pt x="1031255" y="232361"/>
                  <a:pt x="1011665" y="250319"/>
                  <a:pt x="988809" y="250319"/>
                </a:cubicBezTo>
                <a:cubicBezTo>
                  <a:pt x="965954" y="250319"/>
                  <a:pt x="946364" y="231273"/>
                  <a:pt x="945819" y="208417"/>
                </a:cubicBezTo>
                <a:cubicBezTo>
                  <a:pt x="945275" y="185018"/>
                  <a:pt x="962689" y="165428"/>
                  <a:pt x="987721" y="164883"/>
                </a:cubicBezTo>
                <a:close/>
                <a:moveTo>
                  <a:pt x="1153150" y="162707"/>
                </a:moveTo>
                <a:cubicBezTo>
                  <a:pt x="1177638" y="161619"/>
                  <a:pt x="1197772" y="180665"/>
                  <a:pt x="1197772" y="207874"/>
                </a:cubicBezTo>
                <a:cubicBezTo>
                  <a:pt x="1197772" y="235083"/>
                  <a:pt x="1176005" y="253584"/>
                  <a:pt x="1151517" y="253584"/>
                </a:cubicBezTo>
                <a:cubicBezTo>
                  <a:pt x="1128118" y="253040"/>
                  <a:pt x="1106895" y="234538"/>
                  <a:pt x="1107439" y="207329"/>
                </a:cubicBezTo>
                <a:cubicBezTo>
                  <a:pt x="1107983" y="179576"/>
                  <a:pt x="1129206" y="161075"/>
                  <a:pt x="1153150" y="162707"/>
                </a:cubicBezTo>
                <a:close/>
                <a:moveTo>
                  <a:pt x="1315315" y="158353"/>
                </a:moveTo>
                <a:cubicBezTo>
                  <a:pt x="1341435" y="156177"/>
                  <a:pt x="1365923" y="184474"/>
                  <a:pt x="1365379" y="206785"/>
                </a:cubicBezTo>
                <a:cubicBezTo>
                  <a:pt x="1365379" y="229640"/>
                  <a:pt x="1344156" y="256849"/>
                  <a:pt x="1315859" y="256305"/>
                </a:cubicBezTo>
                <a:cubicBezTo>
                  <a:pt x="1290283" y="256305"/>
                  <a:pt x="1267427" y="233994"/>
                  <a:pt x="1266883" y="207873"/>
                </a:cubicBezTo>
                <a:cubicBezTo>
                  <a:pt x="1265795" y="181209"/>
                  <a:pt x="1292460" y="157265"/>
                  <a:pt x="1315315" y="158353"/>
                </a:cubicBezTo>
                <a:close/>
                <a:moveTo>
                  <a:pt x="1478567" y="156721"/>
                </a:moveTo>
                <a:cubicBezTo>
                  <a:pt x="1510129" y="156721"/>
                  <a:pt x="1530264" y="180665"/>
                  <a:pt x="1529720" y="207329"/>
                </a:cubicBezTo>
                <a:cubicBezTo>
                  <a:pt x="1530264" y="236715"/>
                  <a:pt x="1510129" y="258482"/>
                  <a:pt x="1478567" y="258482"/>
                </a:cubicBezTo>
                <a:cubicBezTo>
                  <a:pt x="1449182" y="257938"/>
                  <a:pt x="1428503" y="238892"/>
                  <a:pt x="1427959" y="207874"/>
                </a:cubicBezTo>
                <a:cubicBezTo>
                  <a:pt x="1427415" y="179576"/>
                  <a:pt x="1447549" y="156721"/>
                  <a:pt x="1478567" y="156721"/>
                </a:cubicBezTo>
                <a:close/>
                <a:moveTo>
                  <a:pt x="1644541" y="153456"/>
                </a:moveTo>
                <a:cubicBezTo>
                  <a:pt x="1672294" y="154544"/>
                  <a:pt x="1697870" y="180665"/>
                  <a:pt x="1697326" y="209506"/>
                </a:cubicBezTo>
                <a:cubicBezTo>
                  <a:pt x="1696782" y="238347"/>
                  <a:pt x="1669573" y="263924"/>
                  <a:pt x="1641276" y="262835"/>
                </a:cubicBezTo>
                <a:cubicBezTo>
                  <a:pt x="1612979" y="261203"/>
                  <a:pt x="1587402" y="236715"/>
                  <a:pt x="1587947" y="206785"/>
                </a:cubicBezTo>
                <a:cubicBezTo>
                  <a:pt x="1587947" y="180121"/>
                  <a:pt x="1613523" y="152368"/>
                  <a:pt x="1644541" y="153456"/>
                </a:cubicBezTo>
                <a:close/>
                <a:moveTo>
                  <a:pt x="91463" y="109922"/>
                </a:moveTo>
                <a:cubicBezTo>
                  <a:pt x="97993" y="109922"/>
                  <a:pt x="107244" y="119173"/>
                  <a:pt x="107244" y="126247"/>
                </a:cubicBezTo>
                <a:cubicBezTo>
                  <a:pt x="107788" y="132777"/>
                  <a:pt x="98537" y="142028"/>
                  <a:pt x="91463" y="142028"/>
                </a:cubicBezTo>
                <a:cubicBezTo>
                  <a:pt x="83845" y="142028"/>
                  <a:pt x="75682" y="133866"/>
                  <a:pt x="75682" y="126247"/>
                </a:cubicBezTo>
                <a:cubicBezTo>
                  <a:pt x="75682" y="118629"/>
                  <a:pt x="84389" y="109922"/>
                  <a:pt x="91463" y="109922"/>
                </a:cubicBezTo>
                <a:close/>
                <a:moveTo>
                  <a:pt x="1942341" y="104915"/>
                </a:moveTo>
                <a:cubicBezTo>
                  <a:pt x="1941389" y="105799"/>
                  <a:pt x="1941389" y="107840"/>
                  <a:pt x="1942205" y="111377"/>
                </a:cubicBezTo>
                <a:cubicBezTo>
                  <a:pt x="1943294" y="118451"/>
                  <a:pt x="1944926" y="124437"/>
                  <a:pt x="1946559" y="131511"/>
                </a:cubicBezTo>
                <a:cubicBezTo>
                  <a:pt x="1944382" y="139674"/>
                  <a:pt x="1941661" y="148381"/>
                  <a:pt x="1939484" y="157088"/>
                </a:cubicBezTo>
                <a:cubicBezTo>
                  <a:pt x="1939484" y="158176"/>
                  <a:pt x="1941117" y="160353"/>
                  <a:pt x="1941117" y="160353"/>
                </a:cubicBezTo>
                <a:cubicBezTo>
                  <a:pt x="1955810" y="154367"/>
                  <a:pt x="1971046" y="150558"/>
                  <a:pt x="1986828" y="157088"/>
                </a:cubicBezTo>
                <a:cubicBezTo>
                  <a:pt x="1987372" y="157088"/>
                  <a:pt x="1987916" y="157088"/>
                  <a:pt x="1987916" y="157088"/>
                </a:cubicBezTo>
                <a:cubicBezTo>
                  <a:pt x="1994990" y="157632"/>
                  <a:pt x="1996623" y="155999"/>
                  <a:pt x="1993902" y="150013"/>
                </a:cubicBezTo>
                <a:cubicBezTo>
                  <a:pt x="1988460" y="136409"/>
                  <a:pt x="1988460" y="123349"/>
                  <a:pt x="1993902" y="109744"/>
                </a:cubicBezTo>
                <a:cubicBezTo>
                  <a:pt x="1995534" y="105935"/>
                  <a:pt x="1994446" y="103214"/>
                  <a:pt x="1989004" y="105391"/>
                </a:cubicBezTo>
                <a:cubicBezTo>
                  <a:pt x="1975400" y="109744"/>
                  <a:pt x="1961796" y="109744"/>
                  <a:pt x="1948191" y="105391"/>
                </a:cubicBezTo>
                <a:cubicBezTo>
                  <a:pt x="1945198" y="104303"/>
                  <a:pt x="1943294" y="104031"/>
                  <a:pt x="1942341" y="104915"/>
                </a:cubicBezTo>
                <a:close/>
                <a:moveTo>
                  <a:pt x="255804" y="103392"/>
                </a:moveTo>
                <a:cubicBezTo>
                  <a:pt x="269409" y="103392"/>
                  <a:pt x="277571" y="112643"/>
                  <a:pt x="277571" y="126791"/>
                </a:cubicBezTo>
                <a:cubicBezTo>
                  <a:pt x="277027" y="139852"/>
                  <a:pt x="267776" y="148558"/>
                  <a:pt x="254172" y="148014"/>
                </a:cubicBezTo>
                <a:cubicBezTo>
                  <a:pt x="241112" y="148014"/>
                  <a:pt x="231861" y="138763"/>
                  <a:pt x="232405" y="125159"/>
                </a:cubicBezTo>
                <a:cubicBezTo>
                  <a:pt x="232405" y="112099"/>
                  <a:pt x="242200" y="102848"/>
                  <a:pt x="255804" y="103392"/>
                </a:cubicBezTo>
                <a:close/>
                <a:moveTo>
                  <a:pt x="1773511" y="99405"/>
                </a:moveTo>
                <a:cubicBezTo>
                  <a:pt x="1773511" y="102126"/>
                  <a:pt x="1772966" y="104303"/>
                  <a:pt x="1773511" y="107023"/>
                </a:cubicBezTo>
                <a:cubicBezTo>
                  <a:pt x="1776232" y="114098"/>
                  <a:pt x="1778408" y="121716"/>
                  <a:pt x="1780585" y="130423"/>
                </a:cubicBezTo>
                <a:cubicBezTo>
                  <a:pt x="1778408" y="139130"/>
                  <a:pt x="1775687" y="147293"/>
                  <a:pt x="1773511" y="155999"/>
                </a:cubicBezTo>
                <a:cubicBezTo>
                  <a:pt x="1772966" y="157632"/>
                  <a:pt x="1772966" y="160897"/>
                  <a:pt x="1774055" y="161985"/>
                </a:cubicBezTo>
                <a:cubicBezTo>
                  <a:pt x="1775143" y="163074"/>
                  <a:pt x="1778408" y="163074"/>
                  <a:pt x="1780041" y="162529"/>
                </a:cubicBezTo>
                <a:cubicBezTo>
                  <a:pt x="1789836" y="155455"/>
                  <a:pt x="1800719" y="157632"/>
                  <a:pt x="1811059" y="157632"/>
                </a:cubicBezTo>
                <a:cubicBezTo>
                  <a:pt x="1817589" y="157632"/>
                  <a:pt x="1824119" y="156543"/>
                  <a:pt x="1829561" y="161985"/>
                </a:cubicBezTo>
                <a:cubicBezTo>
                  <a:pt x="1830649" y="163074"/>
                  <a:pt x="1834458" y="161985"/>
                  <a:pt x="1836635" y="161985"/>
                </a:cubicBezTo>
                <a:cubicBezTo>
                  <a:pt x="1835547" y="160353"/>
                  <a:pt x="1835002" y="158720"/>
                  <a:pt x="1833914" y="157088"/>
                </a:cubicBezTo>
                <a:cubicBezTo>
                  <a:pt x="1826840" y="139674"/>
                  <a:pt x="1826296" y="121716"/>
                  <a:pt x="1834458" y="104303"/>
                </a:cubicBezTo>
                <a:cubicBezTo>
                  <a:pt x="1835002" y="102670"/>
                  <a:pt x="1835547" y="101038"/>
                  <a:pt x="1835547" y="99405"/>
                </a:cubicBezTo>
                <a:cubicBezTo>
                  <a:pt x="1833914" y="99949"/>
                  <a:pt x="1832282" y="99949"/>
                  <a:pt x="1831193" y="101038"/>
                </a:cubicBezTo>
                <a:cubicBezTo>
                  <a:pt x="1814324" y="109200"/>
                  <a:pt x="1797454" y="109200"/>
                  <a:pt x="1780041" y="101582"/>
                </a:cubicBezTo>
                <a:cubicBezTo>
                  <a:pt x="1777864" y="100493"/>
                  <a:pt x="1775687" y="100493"/>
                  <a:pt x="1773511" y="99405"/>
                </a:cubicBezTo>
                <a:close/>
                <a:moveTo>
                  <a:pt x="417424" y="97950"/>
                </a:moveTo>
                <a:cubicBezTo>
                  <a:pt x="435382" y="97950"/>
                  <a:pt x="445721" y="108289"/>
                  <a:pt x="445721" y="126247"/>
                </a:cubicBezTo>
                <a:cubicBezTo>
                  <a:pt x="445721" y="143661"/>
                  <a:pt x="435382" y="153456"/>
                  <a:pt x="417424" y="153456"/>
                </a:cubicBezTo>
                <a:cubicBezTo>
                  <a:pt x="402187" y="155088"/>
                  <a:pt x="389127" y="141484"/>
                  <a:pt x="390215" y="125159"/>
                </a:cubicBezTo>
                <a:cubicBezTo>
                  <a:pt x="391304" y="107745"/>
                  <a:pt x="400555" y="97950"/>
                  <a:pt x="417424" y="97950"/>
                </a:cubicBezTo>
                <a:close/>
                <a:moveTo>
                  <a:pt x="580677" y="92508"/>
                </a:moveTo>
                <a:cubicBezTo>
                  <a:pt x="599724" y="92508"/>
                  <a:pt x="613328" y="106112"/>
                  <a:pt x="614960" y="125159"/>
                </a:cubicBezTo>
                <a:cubicBezTo>
                  <a:pt x="616049" y="141484"/>
                  <a:pt x="598091" y="161618"/>
                  <a:pt x="581766" y="158353"/>
                </a:cubicBezTo>
                <a:cubicBezTo>
                  <a:pt x="561631" y="158353"/>
                  <a:pt x="548571" y="145293"/>
                  <a:pt x="548571" y="125703"/>
                </a:cubicBezTo>
                <a:cubicBezTo>
                  <a:pt x="548571" y="106657"/>
                  <a:pt x="562175" y="92508"/>
                  <a:pt x="580677" y="92508"/>
                </a:cubicBezTo>
                <a:close/>
                <a:moveTo>
                  <a:pt x="745019" y="88154"/>
                </a:moveTo>
                <a:cubicBezTo>
                  <a:pt x="763521" y="87610"/>
                  <a:pt x="783111" y="107745"/>
                  <a:pt x="782567" y="126791"/>
                </a:cubicBezTo>
                <a:cubicBezTo>
                  <a:pt x="782023" y="147469"/>
                  <a:pt x="761344" y="164339"/>
                  <a:pt x="743930" y="164339"/>
                </a:cubicBezTo>
                <a:cubicBezTo>
                  <a:pt x="723796" y="163795"/>
                  <a:pt x="705838" y="144204"/>
                  <a:pt x="706382" y="125702"/>
                </a:cubicBezTo>
                <a:cubicBezTo>
                  <a:pt x="706926" y="109377"/>
                  <a:pt x="723252" y="87066"/>
                  <a:pt x="745019" y="88154"/>
                </a:cubicBezTo>
                <a:close/>
                <a:moveTo>
                  <a:pt x="1685898" y="84712"/>
                </a:moveTo>
                <a:lnTo>
                  <a:pt x="1685681" y="85147"/>
                </a:lnTo>
                <a:lnTo>
                  <a:pt x="1685354" y="85256"/>
                </a:lnTo>
                <a:cubicBezTo>
                  <a:pt x="1685354" y="85256"/>
                  <a:pt x="1685898" y="84712"/>
                  <a:pt x="1685898" y="84712"/>
                </a:cubicBezTo>
                <a:close/>
                <a:moveTo>
                  <a:pt x="907183" y="84345"/>
                </a:moveTo>
                <a:cubicBezTo>
                  <a:pt x="916978" y="84345"/>
                  <a:pt x="926773" y="87610"/>
                  <a:pt x="934935" y="95228"/>
                </a:cubicBezTo>
                <a:cubicBezTo>
                  <a:pt x="944187" y="103935"/>
                  <a:pt x="946907" y="114819"/>
                  <a:pt x="949628" y="125158"/>
                </a:cubicBezTo>
                <a:cubicBezTo>
                  <a:pt x="946907" y="150190"/>
                  <a:pt x="932759" y="166515"/>
                  <a:pt x="908271" y="167060"/>
                </a:cubicBezTo>
                <a:cubicBezTo>
                  <a:pt x="884871" y="167604"/>
                  <a:pt x="867458" y="150734"/>
                  <a:pt x="866369" y="125702"/>
                </a:cubicBezTo>
                <a:cubicBezTo>
                  <a:pt x="865825" y="103935"/>
                  <a:pt x="884871" y="83801"/>
                  <a:pt x="907183" y="84345"/>
                </a:cubicBezTo>
                <a:close/>
                <a:moveTo>
                  <a:pt x="1070979" y="82169"/>
                </a:moveTo>
                <a:cubicBezTo>
                  <a:pt x="1095467" y="79448"/>
                  <a:pt x="1115602" y="103936"/>
                  <a:pt x="1115602" y="126247"/>
                </a:cubicBezTo>
                <a:cubicBezTo>
                  <a:pt x="1115602" y="148014"/>
                  <a:pt x="1094923" y="170325"/>
                  <a:pt x="1071524" y="170325"/>
                </a:cubicBezTo>
                <a:cubicBezTo>
                  <a:pt x="1047580" y="170325"/>
                  <a:pt x="1026357" y="148558"/>
                  <a:pt x="1026357" y="125703"/>
                </a:cubicBezTo>
                <a:cubicBezTo>
                  <a:pt x="1026357" y="103936"/>
                  <a:pt x="1047036" y="79448"/>
                  <a:pt x="1070979" y="82169"/>
                </a:cubicBezTo>
                <a:close/>
                <a:moveTo>
                  <a:pt x="1684811" y="82168"/>
                </a:moveTo>
                <a:cubicBezTo>
                  <a:pt x="1684811" y="82168"/>
                  <a:pt x="1684266" y="82713"/>
                  <a:pt x="1684266" y="82713"/>
                </a:cubicBezTo>
                <a:lnTo>
                  <a:pt x="1684469" y="82365"/>
                </a:lnTo>
                <a:close/>
                <a:moveTo>
                  <a:pt x="1234777" y="78360"/>
                </a:moveTo>
                <a:cubicBezTo>
                  <a:pt x="1259809" y="76727"/>
                  <a:pt x="1284297" y="101759"/>
                  <a:pt x="1282664" y="126791"/>
                </a:cubicBezTo>
                <a:cubicBezTo>
                  <a:pt x="1280487" y="152912"/>
                  <a:pt x="1264162" y="171958"/>
                  <a:pt x="1234232" y="174135"/>
                </a:cubicBezTo>
                <a:cubicBezTo>
                  <a:pt x="1205935" y="172502"/>
                  <a:pt x="1186345" y="153456"/>
                  <a:pt x="1186889" y="126791"/>
                </a:cubicBezTo>
                <a:cubicBezTo>
                  <a:pt x="1187433" y="96318"/>
                  <a:pt x="1207024" y="79992"/>
                  <a:pt x="1234777" y="78360"/>
                </a:cubicBezTo>
                <a:close/>
                <a:moveTo>
                  <a:pt x="1398574" y="76182"/>
                </a:moveTo>
                <a:cubicBezTo>
                  <a:pt x="1424150" y="74006"/>
                  <a:pt x="1448638" y="99582"/>
                  <a:pt x="1448094" y="127335"/>
                </a:cubicBezTo>
                <a:cubicBezTo>
                  <a:pt x="1447549" y="151823"/>
                  <a:pt x="1426327" y="176311"/>
                  <a:pt x="1396941" y="175766"/>
                </a:cubicBezTo>
                <a:cubicBezTo>
                  <a:pt x="1367011" y="175222"/>
                  <a:pt x="1347421" y="151278"/>
                  <a:pt x="1347421" y="125702"/>
                </a:cubicBezTo>
                <a:cubicBezTo>
                  <a:pt x="1347421" y="99038"/>
                  <a:pt x="1369732" y="74006"/>
                  <a:pt x="1398574" y="76182"/>
                </a:cubicBezTo>
                <a:close/>
                <a:moveTo>
                  <a:pt x="1561282" y="72373"/>
                </a:moveTo>
                <a:cubicBezTo>
                  <a:pt x="1588491" y="72373"/>
                  <a:pt x="1614611" y="96861"/>
                  <a:pt x="1614611" y="126247"/>
                </a:cubicBezTo>
                <a:cubicBezTo>
                  <a:pt x="1614067" y="155632"/>
                  <a:pt x="1590667" y="180120"/>
                  <a:pt x="1560738" y="179576"/>
                </a:cubicBezTo>
                <a:cubicBezTo>
                  <a:pt x="1530808" y="179576"/>
                  <a:pt x="1507953" y="156176"/>
                  <a:pt x="1507409" y="126247"/>
                </a:cubicBezTo>
                <a:cubicBezTo>
                  <a:pt x="1506864" y="96861"/>
                  <a:pt x="1532441" y="72373"/>
                  <a:pt x="1561282" y="72373"/>
                </a:cubicBezTo>
                <a:close/>
                <a:moveTo>
                  <a:pt x="10381" y="33737"/>
                </a:moveTo>
                <a:cubicBezTo>
                  <a:pt x="15822" y="33737"/>
                  <a:pt x="20720" y="39179"/>
                  <a:pt x="20720" y="45165"/>
                </a:cubicBezTo>
                <a:cubicBezTo>
                  <a:pt x="20176" y="50606"/>
                  <a:pt x="14734" y="55504"/>
                  <a:pt x="9292" y="54960"/>
                </a:cubicBezTo>
                <a:cubicBezTo>
                  <a:pt x="4395" y="54416"/>
                  <a:pt x="41" y="49518"/>
                  <a:pt x="41" y="44621"/>
                </a:cubicBezTo>
                <a:cubicBezTo>
                  <a:pt x="-503" y="38635"/>
                  <a:pt x="4395" y="33737"/>
                  <a:pt x="10381" y="33737"/>
                </a:cubicBezTo>
                <a:close/>
                <a:moveTo>
                  <a:pt x="172546" y="23942"/>
                </a:moveTo>
                <a:cubicBezTo>
                  <a:pt x="181796" y="22854"/>
                  <a:pt x="193224" y="34826"/>
                  <a:pt x="193224" y="44621"/>
                </a:cubicBezTo>
                <a:cubicBezTo>
                  <a:pt x="193224" y="53872"/>
                  <a:pt x="182341" y="64755"/>
                  <a:pt x="173090" y="64755"/>
                </a:cubicBezTo>
                <a:cubicBezTo>
                  <a:pt x="164383" y="64755"/>
                  <a:pt x="152411" y="52784"/>
                  <a:pt x="152411" y="44621"/>
                </a:cubicBezTo>
                <a:cubicBezTo>
                  <a:pt x="152411" y="36458"/>
                  <a:pt x="164927" y="24486"/>
                  <a:pt x="172546" y="23942"/>
                </a:cubicBezTo>
                <a:close/>
                <a:moveTo>
                  <a:pt x="1861123" y="22132"/>
                </a:moveTo>
                <a:cubicBezTo>
                  <a:pt x="1861123" y="26485"/>
                  <a:pt x="1860035" y="31383"/>
                  <a:pt x="1861123" y="35737"/>
                </a:cubicBezTo>
                <a:cubicBezTo>
                  <a:pt x="1863844" y="44443"/>
                  <a:pt x="1864932" y="52606"/>
                  <a:pt x="1861123" y="61313"/>
                </a:cubicBezTo>
                <a:cubicBezTo>
                  <a:pt x="1860035" y="64034"/>
                  <a:pt x="1860035" y="67299"/>
                  <a:pt x="1858946" y="72740"/>
                </a:cubicBezTo>
                <a:cubicBezTo>
                  <a:pt x="1858402" y="76550"/>
                  <a:pt x="1861123" y="77638"/>
                  <a:pt x="1866021" y="76550"/>
                </a:cubicBezTo>
                <a:cubicBezTo>
                  <a:pt x="1868741" y="76006"/>
                  <a:pt x="1871462" y="76006"/>
                  <a:pt x="1873639" y="74917"/>
                </a:cubicBezTo>
                <a:cubicBezTo>
                  <a:pt x="1882346" y="71108"/>
                  <a:pt x="1891053" y="71108"/>
                  <a:pt x="1900304" y="74373"/>
                </a:cubicBezTo>
                <a:cubicBezTo>
                  <a:pt x="1902480" y="75461"/>
                  <a:pt x="1905201" y="76006"/>
                  <a:pt x="1907922" y="76006"/>
                </a:cubicBezTo>
                <a:cubicBezTo>
                  <a:pt x="1912276" y="76550"/>
                  <a:pt x="1914996" y="75461"/>
                  <a:pt x="1912820" y="70020"/>
                </a:cubicBezTo>
                <a:cubicBezTo>
                  <a:pt x="1907378" y="55871"/>
                  <a:pt x="1906834" y="41178"/>
                  <a:pt x="1912820" y="27030"/>
                </a:cubicBezTo>
                <a:cubicBezTo>
                  <a:pt x="1914996" y="22132"/>
                  <a:pt x="1911731" y="21588"/>
                  <a:pt x="1908466" y="22132"/>
                </a:cubicBezTo>
                <a:cubicBezTo>
                  <a:pt x="1906290" y="22676"/>
                  <a:pt x="1904657" y="24309"/>
                  <a:pt x="1902480" y="24309"/>
                </a:cubicBezTo>
                <a:cubicBezTo>
                  <a:pt x="1892685" y="24309"/>
                  <a:pt x="1882890" y="24853"/>
                  <a:pt x="1873095" y="24309"/>
                </a:cubicBezTo>
                <a:cubicBezTo>
                  <a:pt x="1868741" y="24309"/>
                  <a:pt x="1864932" y="22676"/>
                  <a:pt x="1861123" y="22132"/>
                </a:cubicBezTo>
                <a:close/>
                <a:moveTo>
                  <a:pt x="336886" y="17412"/>
                </a:moveTo>
                <a:cubicBezTo>
                  <a:pt x="347770" y="17412"/>
                  <a:pt x="363551" y="31016"/>
                  <a:pt x="363007" y="44077"/>
                </a:cubicBezTo>
                <a:cubicBezTo>
                  <a:pt x="363007" y="57681"/>
                  <a:pt x="350491" y="70741"/>
                  <a:pt x="337431" y="71285"/>
                </a:cubicBezTo>
                <a:cubicBezTo>
                  <a:pt x="324370" y="71830"/>
                  <a:pt x="310766" y="58769"/>
                  <a:pt x="310222" y="45165"/>
                </a:cubicBezTo>
                <a:cubicBezTo>
                  <a:pt x="309678" y="31016"/>
                  <a:pt x="323282" y="17956"/>
                  <a:pt x="336886" y="17412"/>
                </a:cubicBezTo>
                <a:close/>
                <a:moveTo>
                  <a:pt x="498507" y="13059"/>
                </a:moveTo>
                <a:cubicBezTo>
                  <a:pt x="514832" y="11970"/>
                  <a:pt x="531702" y="28296"/>
                  <a:pt x="531702" y="44621"/>
                </a:cubicBezTo>
                <a:cubicBezTo>
                  <a:pt x="531702" y="60402"/>
                  <a:pt x="515376" y="76183"/>
                  <a:pt x="499595" y="76727"/>
                </a:cubicBezTo>
                <a:cubicBezTo>
                  <a:pt x="483270" y="76727"/>
                  <a:pt x="467489" y="61490"/>
                  <a:pt x="467489" y="45165"/>
                </a:cubicBezTo>
                <a:cubicBezTo>
                  <a:pt x="467489" y="28840"/>
                  <a:pt x="482182" y="13059"/>
                  <a:pt x="498507" y="13059"/>
                </a:cubicBezTo>
                <a:close/>
                <a:moveTo>
                  <a:pt x="662303" y="7616"/>
                </a:moveTo>
                <a:cubicBezTo>
                  <a:pt x="680805" y="7072"/>
                  <a:pt x="698763" y="25030"/>
                  <a:pt x="698763" y="44076"/>
                </a:cubicBezTo>
                <a:cubicBezTo>
                  <a:pt x="698763" y="62578"/>
                  <a:pt x="680261" y="81624"/>
                  <a:pt x="662303" y="81080"/>
                </a:cubicBezTo>
                <a:cubicBezTo>
                  <a:pt x="644346" y="80536"/>
                  <a:pt x="626932" y="62578"/>
                  <a:pt x="626932" y="44076"/>
                </a:cubicBezTo>
                <a:cubicBezTo>
                  <a:pt x="626932" y="25574"/>
                  <a:pt x="643257" y="8160"/>
                  <a:pt x="662303" y="7616"/>
                </a:cubicBezTo>
                <a:close/>
                <a:moveTo>
                  <a:pt x="825557" y="5440"/>
                </a:moveTo>
                <a:cubicBezTo>
                  <a:pt x="847868" y="5440"/>
                  <a:pt x="865281" y="23942"/>
                  <a:pt x="865281" y="44621"/>
                </a:cubicBezTo>
                <a:cubicBezTo>
                  <a:pt x="865281" y="63667"/>
                  <a:pt x="847324" y="85978"/>
                  <a:pt x="826101" y="83257"/>
                </a:cubicBezTo>
                <a:cubicBezTo>
                  <a:pt x="805422" y="85978"/>
                  <a:pt x="786920" y="64211"/>
                  <a:pt x="786920" y="44621"/>
                </a:cubicBezTo>
                <a:cubicBezTo>
                  <a:pt x="786920" y="22854"/>
                  <a:pt x="805422" y="5440"/>
                  <a:pt x="825557" y="5440"/>
                </a:cubicBezTo>
                <a:close/>
                <a:moveTo>
                  <a:pt x="989353" y="1086"/>
                </a:moveTo>
                <a:cubicBezTo>
                  <a:pt x="1013297" y="1086"/>
                  <a:pt x="1032343" y="21220"/>
                  <a:pt x="1032343" y="43532"/>
                </a:cubicBezTo>
                <a:cubicBezTo>
                  <a:pt x="1032887" y="66931"/>
                  <a:pt x="1012753" y="88698"/>
                  <a:pt x="989897" y="87610"/>
                </a:cubicBezTo>
                <a:cubicBezTo>
                  <a:pt x="967042" y="88698"/>
                  <a:pt x="945819" y="65843"/>
                  <a:pt x="945819" y="44620"/>
                </a:cubicBezTo>
                <a:cubicBezTo>
                  <a:pt x="945819" y="23941"/>
                  <a:pt x="964321" y="1086"/>
                  <a:pt x="989353" y="1086"/>
                </a:cubicBezTo>
                <a:close/>
                <a:moveTo>
                  <a:pt x="1614056" y="0"/>
                </a:moveTo>
                <a:lnTo>
                  <a:pt x="1675529" y="0"/>
                </a:lnTo>
                <a:lnTo>
                  <a:pt x="1682905" y="4720"/>
                </a:lnTo>
                <a:lnTo>
                  <a:pt x="1933639" y="4720"/>
                </a:lnTo>
                <a:cubicBezTo>
                  <a:pt x="1966059" y="4720"/>
                  <a:pt x="1995409" y="17861"/>
                  <a:pt x="2016655" y="39107"/>
                </a:cubicBezTo>
                <a:lnTo>
                  <a:pt x="2028934" y="57318"/>
                </a:lnTo>
                <a:lnTo>
                  <a:pt x="2026008" y="71108"/>
                </a:lnTo>
                <a:cubicBezTo>
                  <a:pt x="2023832" y="74917"/>
                  <a:pt x="2026552" y="77094"/>
                  <a:pt x="2030906" y="75461"/>
                </a:cubicBezTo>
                <a:lnTo>
                  <a:pt x="2039929" y="73627"/>
                </a:lnTo>
                <a:lnTo>
                  <a:pt x="2041815" y="76424"/>
                </a:lnTo>
                <a:cubicBezTo>
                  <a:pt x="2047756" y="90470"/>
                  <a:pt x="2051041" y="105912"/>
                  <a:pt x="2051041" y="122122"/>
                </a:cubicBezTo>
                <a:lnTo>
                  <a:pt x="2051041" y="186473"/>
                </a:lnTo>
                <a:lnTo>
                  <a:pt x="2029818" y="186473"/>
                </a:lnTo>
                <a:cubicBezTo>
                  <a:pt x="2023832" y="184297"/>
                  <a:pt x="2022743" y="185929"/>
                  <a:pt x="2023287" y="192459"/>
                </a:cubicBezTo>
                <a:cubicBezTo>
                  <a:pt x="2023287" y="193548"/>
                  <a:pt x="2023287" y="195180"/>
                  <a:pt x="2023832" y="196268"/>
                </a:cubicBezTo>
                <a:cubicBezTo>
                  <a:pt x="2028185" y="210961"/>
                  <a:pt x="2026008" y="225110"/>
                  <a:pt x="2019478" y="239258"/>
                </a:cubicBezTo>
                <a:cubicBezTo>
                  <a:pt x="2018934" y="240347"/>
                  <a:pt x="2019478" y="241979"/>
                  <a:pt x="2020022" y="242523"/>
                </a:cubicBezTo>
                <a:cubicBezTo>
                  <a:pt x="2020566" y="243067"/>
                  <a:pt x="2022743" y="243612"/>
                  <a:pt x="2023287" y="243067"/>
                </a:cubicBezTo>
                <a:cubicBezTo>
                  <a:pt x="2032266" y="238986"/>
                  <a:pt x="2041245" y="237082"/>
                  <a:pt x="2050224" y="237150"/>
                </a:cubicBezTo>
                <a:lnTo>
                  <a:pt x="2051041" y="237329"/>
                </a:lnTo>
                <a:lnTo>
                  <a:pt x="2051041" y="348996"/>
                </a:lnTo>
                <a:lnTo>
                  <a:pt x="2036552" y="347754"/>
                </a:lnTo>
                <a:cubicBezTo>
                  <a:pt x="2031178" y="346733"/>
                  <a:pt x="2026009" y="344829"/>
                  <a:pt x="2021111" y="341019"/>
                </a:cubicBezTo>
                <a:cubicBezTo>
                  <a:pt x="2020022" y="339931"/>
                  <a:pt x="2018390" y="339387"/>
                  <a:pt x="2016757" y="338842"/>
                </a:cubicBezTo>
                <a:cubicBezTo>
                  <a:pt x="2016757" y="340475"/>
                  <a:pt x="2016757" y="343196"/>
                  <a:pt x="2017301" y="344284"/>
                </a:cubicBezTo>
                <a:cubicBezTo>
                  <a:pt x="2022743" y="354079"/>
                  <a:pt x="2026008" y="364419"/>
                  <a:pt x="2025464" y="376391"/>
                </a:cubicBezTo>
                <a:cubicBezTo>
                  <a:pt x="2024376" y="398702"/>
                  <a:pt x="2014580" y="413939"/>
                  <a:pt x="1994446" y="424278"/>
                </a:cubicBezTo>
                <a:cubicBezTo>
                  <a:pt x="1972135" y="435706"/>
                  <a:pt x="1950912" y="431352"/>
                  <a:pt x="1933498" y="416115"/>
                </a:cubicBezTo>
                <a:cubicBezTo>
                  <a:pt x="1917173" y="401967"/>
                  <a:pt x="1908466" y="378567"/>
                  <a:pt x="1920438" y="352447"/>
                </a:cubicBezTo>
                <a:cubicBezTo>
                  <a:pt x="1922615" y="348093"/>
                  <a:pt x="1923703" y="343196"/>
                  <a:pt x="1925336" y="338298"/>
                </a:cubicBezTo>
                <a:cubicBezTo>
                  <a:pt x="1920982" y="339931"/>
                  <a:pt x="1916085" y="341563"/>
                  <a:pt x="1911731" y="343196"/>
                </a:cubicBezTo>
                <a:cubicBezTo>
                  <a:pt x="1907378" y="344828"/>
                  <a:pt x="1903024" y="347005"/>
                  <a:pt x="1898671" y="347005"/>
                </a:cubicBezTo>
                <a:cubicBezTo>
                  <a:pt x="1882890" y="348638"/>
                  <a:pt x="1867653" y="348638"/>
                  <a:pt x="1854593" y="336666"/>
                </a:cubicBezTo>
                <a:lnTo>
                  <a:pt x="1847690" y="333480"/>
                </a:lnTo>
                <a:lnTo>
                  <a:pt x="1852961" y="344461"/>
                </a:lnTo>
                <a:cubicBezTo>
                  <a:pt x="1868742" y="372214"/>
                  <a:pt x="1855137" y="408674"/>
                  <a:pt x="1826840" y="420646"/>
                </a:cubicBezTo>
                <a:cubicBezTo>
                  <a:pt x="1803441" y="430985"/>
                  <a:pt x="1777864" y="422278"/>
                  <a:pt x="1765893" y="408130"/>
                </a:cubicBezTo>
                <a:cubicBezTo>
                  <a:pt x="1749567" y="388539"/>
                  <a:pt x="1744126" y="368405"/>
                  <a:pt x="1759362" y="342829"/>
                </a:cubicBezTo>
                <a:cubicBezTo>
                  <a:pt x="1771199" y="322422"/>
                  <a:pt x="1795584" y="313341"/>
                  <a:pt x="1815991" y="317193"/>
                </a:cubicBezTo>
                <a:cubicBezTo>
                  <a:pt x="1822793" y="318477"/>
                  <a:pt x="1829153" y="321198"/>
                  <a:pt x="1834459" y="325415"/>
                </a:cubicBezTo>
                <a:lnTo>
                  <a:pt x="1845023" y="330169"/>
                </a:lnTo>
                <a:lnTo>
                  <a:pt x="1840444" y="321429"/>
                </a:lnTo>
                <a:cubicBezTo>
                  <a:pt x="1831193" y="306736"/>
                  <a:pt x="1832282" y="290955"/>
                  <a:pt x="1834458" y="275174"/>
                </a:cubicBezTo>
                <a:cubicBezTo>
                  <a:pt x="1835002" y="269732"/>
                  <a:pt x="1838812" y="265379"/>
                  <a:pt x="1840988" y="259937"/>
                </a:cubicBezTo>
                <a:cubicBezTo>
                  <a:pt x="1841533" y="258849"/>
                  <a:pt x="1842077" y="257216"/>
                  <a:pt x="1842077" y="255584"/>
                </a:cubicBezTo>
                <a:cubicBezTo>
                  <a:pt x="1840444" y="256128"/>
                  <a:pt x="1838812" y="256672"/>
                  <a:pt x="1837723" y="257216"/>
                </a:cubicBezTo>
                <a:cubicBezTo>
                  <a:pt x="1831193" y="259937"/>
                  <a:pt x="1824663" y="263746"/>
                  <a:pt x="1817589" y="264834"/>
                </a:cubicBezTo>
                <a:cubicBezTo>
                  <a:pt x="1799631" y="268100"/>
                  <a:pt x="1782762" y="264290"/>
                  <a:pt x="1768069" y="251774"/>
                </a:cubicBezTo>
                <a:lnTo>
                  <a:pt x="1764740" y="250110"/>
                </a:lnTo>
                <a:lnTo>
                  <a:pt x="1773510" y="267189"/>
                </a:lnTo>
                <a:cubicBezTo>
                  <a:pt x="1786571" y="292765"/>
                  <a:pt x="1773510" y="323239"/>
                  <a:pt x="1750655" y="336843"/>
                </a:cubicBezTo>
                <a:cubicBezTo>
                  <a:pt x="1721270" y="354257"/>
                  <a:pt x="1685354" y="337388"/>
                  <a:pt x="1673926" y="310723"/>
                </a:cubicBezTo>
                <a:cubicBezTo>
                  <a:pt x="1664675" y="289500"/>
                  <a:pt x="1669029" y="271542"/>
                  <a:pt x="1681545" y="254673"/>
                </a:cubicBezTo>
                <a:cubicBezTo>
                  <a:pt x="1694605" y="237803"/>
                  <a:pt x="1712563" y="231817"/>
                  <a:pt x="1733786" y="235083"/>
                </a:cubicBezTo>
                <a:cubicBezTo>
                  <a:pt x="1739771" y="236171"/>
                  <a:pt x="1745757" y="239980"/>
                  <a:pt x="1751743" y="242157"/>
                </a:cubicBezTo>
                <a:lnTo>
                  <a:pt x="1762506" y="246769"/>
                </a:lnTo>
                <a:lnTo>
                  <a:pt x="1757185" y="236537"/>
                </a:lnTo>
                <a:cubicBezTo>
                  <a:pt x="1747934" y="219668"/>
                  <a:pt x="1747390" y="203343"/>
                  <a:pt x="1756097" y="185929"/>
                </a:cubicBezTo>
                <a:cubicBezTo>
                  <a:pt x="1757185" y="183752"/>
                  <a:pt x="1756641" y="180487"/>
                  <a:pt x="1757185" y="177766"/>
                </a:cubicBezTo>
                <a:cubicBezTo>
                  <a:pt x="1754464" y="177766"/>
                  <a:pt x="1751199" y="177222"/>
                  <a:pt x="1749023" y="178311"/>
                </a:cubicBezTo>
                <a:cubicBezTo>
                  <a:pt x="1722358" y="193003"/>
                  <a:pt x="1688075" y="178855"/>
                  <a:pt x="1676103" y="154911"/>
                </a:cubicBezTo>
                <a:cubicBezTo>
                  <a:pt x="1665220" y="133688"/>
                  <a:pt x="1667396" y="113554"/>
                  <a:pt x="1681001" y="94507"/>
                </a:cubicBezTo>
                <a:lnTo>
                  <a:pt x="1685681" y="85147"/>
                </a:lnTo>
                <a:lnTo>
                  <a:pt x="1693517" y="82536"/>
                </a:lnTo>
                <a:cubicBezTo>
                  <a:pt x="1710930" y="71108"/>
                  <a:pt x="1728888" y="71108"/>
                  <a:pt x="1747934" y="77638"/>
                </a:cubicBezTo>
                <a:cubicBezTo>
                  <a:pt x="1750655" y="78726"/>
                  <a:pt x="1753920" y="78726"/>
                  <a:pt x="1756641" y="79271"/>
                </a:cubicBezTo>
                <a:cubicBezTo>
                  <a:pt x="1756097" y="76550"/>
                  <a:pt x="1755553" y="74373"/>
                  <a:pt x="1754464" y="71652"/>
                </a:cubicBezTo>
                <a:cubicBezTo>
                  <a:pt x="1753920" y="70564"/>
                  <a:pt x="1753376" y="69475"/>
                  <a:pt x="1752832" y="68387"/>
                </a:cubicBezTo>
                <a:cubicBezTo>
                  <a:pt x="1747934" y="52062"/>
                  <a:pt x="1747390" y="35737"/>
                  <a:pt x="1756097" y="20500"/>
                </a:cubicBezTo>
                <a:cubicBezTo>
                  <a:pt x="1756641" y="19411"/>
                  <a:pt x="1757185" y="16690"/>
                  <a:pt x="1756641" y="16146"/>
                </a:cubicBezTo>
                <a:cubicBezTo>
                  <a:pt x="1755553" y="15058"/>
                  <a:pt x="1753376" y="14514"/>
                  <a:pt x="1751744" y="15058"/>
                </a:cubicBezTo>
                <a:cubicBezTo>
                  <a:pt x="1747934" y="16146"/>
                  <a:pt x="1744669" y="19411"/>
                  <a:pt x="1741404" y="19955"/>
                </a:cubicBezTo>
                <a:cubicBezTo>
                  <a:pt x="1724535" y="21588"/>
                  <a:pt x="1707121" y="23765"/>
                  <a:pt x="1691884" y="11249"/>
                </a:cubicBezTo>
                <a:lnTo>
                  <a:pt x="1685645" y="8369"/>
                </a:lnTo>
                <a:lnTo>
                  <a:pt x="1688620" y="14691"/>
                </a:lnTo>
                <a:cubicBezTo>
                  <a:pt x="1700048" y="32648"/>
                  <a:pt x="1700048" y="50606"/>
                  <a:pt x="1691885" y="69652"/>
                </a:cubicBezTo>
                <a:lnTo>
                  <a:pt x="1684469" y="82365"/>
                </a:lnTo>
                <a:lnTo>
                  <a:pt x="1663044" y="94684"/>
                </a:lnTo>
                <a:cubicBezTo>
                  <a:pt x="1651072" y="101759"/>
                  <a:pt x="1638556" y="100126"/>
                  <a:pt x="1626584" y="96861"/>
                </a:cubicBezTo>
                <a:cubicBezTo>
                  <a:pt x="1608082" y="91419"/>
                  <a:pt x="1595566" y="78359"/>
                  <a:pt x="1590124" y="60401"/>
                </a:cubicBezTo>
                <a:cubicBezTo>
                  <a:pt x="1586315" y="48974"/>
                  <a:pt x="1586315" y="37002"/>
                  <a:pt x="1591757" y="25030"/>
                </a:cubicBezTo>
                <a:close/>
                <a:moveTo>
                  <a:pt x="1460066" y="0"/>
                </a:moveTo>
                <a:lnTo>
                  <a:pt x="1498513" y="0"/>
                </a:lnTo>
                <a:lnTo>
                  <a:pt x="1517204" y="8092"/>
                </a:lnTo>
                <a:cubicBezTo>
                  <a:pt x="1526183" y="17411"/>
                  <a:pt x="1531352" y="30199"/>
                  <a:pt x="1531896" y="45164"/>
                </a:cubicBezTo>
                <a:cubicBezTo>
                  <a:pt x="1532985" y="71829"/>
                  <a:pt x="1505776" y="97949"/>
                  <a:pt x="1479111" y="97949"/>
                </a:cubicBezTo>
                <a:cubicBezTo>
                  <a:pt x="1451902" y="97949"/>
                  <a:pt x="1425238" y="71829"/>
                  <a:pt x="1426870" y="45164"/>
                </a:cubicBezTo>
                <a:cubicBezTo>
                  <a:pt x="1427687" y="29655"/>
                  <a:pt x="1432720" y="16867"/>
                  <a:pt x="1441631" y="7684"/>
                </a:cubicBezTo>
                <a:close/>
                <a:moveTo>
                  <a:pt x="1296749" y="0"/>
                </a:moveTo>
                <a:lnTo>
                  <a:pt x="1335755" y="0"/>
                </a:lnTo>
                <a:lnTo>
                  <a:pt x="1350278" y="10270"/>
                </a:lnTo>
                <a:cubicBezTo>
                  <a:pt x="1359937" y="19861"/>
                  <a:pt x="1366467" y="32649"/>
                  <a:pt x="1365923" y="45165"/>
                </a:cubicBezTo>
                <a:cubicBezTo>
                  <a:pt x="1364291" y="71829"/>
                  <a:pt x="1343068" y="93052"/>
                  <a:pt x="1315315" y="93052"/>
                </a:cubicBezTo>
                <a:cubicBezTo>
                  <a:pt x="1290283" y="95229"/>
                  <a:pt x="1266339" y="69109"/>
                  <a:pt x="1266339" y="44076"/>
                </a:cubicBezTo>
                <a:cubicBezTo>
                  <a:pt x="1266339" y="30472"/>
                  <a:pt x="1273141" y="18228"/>
                  <a:pt x="1282732" y="9317"/>
                </a:cubicBezTo>
                <a:close/>
                <a:moveTo>
                  <a:pt x="1148085" y="0"/>
                </a:moveTo>
                <a:lnTo>
                  <a:pt x="1161802" y="0"/>
                </a:lnTo>
                <a:lnTo>
                  <a:pt x="1169637" y="1315"/>
                </a:lnTo>
                <a:cubicBezTo>
                  <a:pt x="1186447" y="8432"/>
                  <a:pt x="1199813" y="26798"/>
                  <a:pt x="1199405" y="45164"/>
                </a:cubicBezTo>
                <a:cubicBezTo>
                  <a:pt x="1198861" y="69652"/>
                  <a:pt x="1175462" y="93596"/>
                  <a:pt x="1151518" y="91419"/>
                </a:cubicBezTo>
                <a:cubicBezTo>
                  <a:pt x="1123765" y="88154"/>
                  <a:pt x="1109072" y="72373"/>
                  <a:pt x="1105807" y="44620"/>
                </a:cubicBezTo>
                <a:cubicBezTo>
                  <a:pt x="1107440" y="30472"/>
                  <a:pt x="1111657" y="19588"/>
                  <a:pt x="1119139" y="11902"/>
                </a:cubicBezTo>
                <a:close/>
              </a:path>
            </a:pathLst>
          </a:custGeom>
          <a:solidFill>
            <a:srgbClr val="9AA8C5">
              <a:alpha val="17000"/>
            </a:srgbClr>
          </a:solidFill>
          <a:ln w="5432" cap="flat">
            <a:noFill/>
            <a:prstDash val="solid"/>
            <a:miter/>
          </a:ln>
        </p:spPr>
        <p:txBody>
          <a:bodyPr rtlCol="0" anchor="ctr"/>
          <a:lstStyle/>
          <a:p>
            <a:endParaRPr lang="en-IN"/>
          </a:p>
        </p:txBody>
      </p:sp>
    </p:spTree>
    <p:extLst>
      <p:ext uri="{BB962C8B-B14F-4D97-AF65-F5344CB8AC3E}">
        <p14:creationId xmlns:p14="http://schemas.microsoft.com/office/powerpoint/2010/main" val="87698137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4_Title Slide">
    <p:spTree>
      <p:nvGrpSpPr>
        <p:cNvPr id="1" name=""/>
        <p:cNvGrpSpPr/>
        <p:nvPr/>
      </p:nvGrpSpPr>
      <p:grpSpPr>
        <a:xfrm>
          <a:off x="0" y="0"/>
          <a:ext cx="0" cy="0"/>
          <a:chOff x="0" y="0"/>
          <a:chExt cx="0" cy="0"/>
        </a:xfrm>
      </p:grpSpPr>
      <p:sp>
        <p:nvSpPr>
          <p:cNvPr id="41" name="Title 11">
            <a:extLst>
              <a:ext uri="{FF2B5EF4-FFF2-40B4-BE49-F238E27FC236}">
                <a16:creationId xmlns:a16="http://schemas.microsoft.com/office/drawing/2014/main" id="{DDA87447-1017-4301-A6CE-4D2A98BB0C96}"/>
              </a:ext>
            </a:extLst>
          </p:cNvPr>
          <p:cNvSpPr>
            <a:spLocks noGrp="1"/>
          </p:cNvSpPr>
          <p:nvPr>
            <p:ph type="title" hasCustomPrompt="1"/>
          </p:nvPr>
        </p:nvSpPr>
        <p:spPr>
          <a:xfrm>
            <a:off x="374011" y="185817"/>
            <a:ext cx="10515600" cy="608663"/>
          </a:xfrm>
          <a:prstGeom prst="rect">
            <a:avLst/>
          </a:prstGeom>
        </p:spPr>
        <p:txBody>
          <a:bodyPr>
            <a:normAutofit/>
          </a:bodyPr>
          <a:lstStyle>
            <a:lvl1pPr>
              <a:defRPr sz="2800" b="1">
                <a:solidFill>
                  <a:srgbClr val="334D8B"/>
                </a:solidFill>
                <a:latin typeface="+mn-lt"/>
              </a:defRPr>
            </a:lvl1pPr>
          </a:lstStyle>
          <a:p>
            <a:r>
              <a:rPr lang="en-US"/>
              <a:t>Write your Heading here</a:t>
            </a:r>
          </a:p>
        </p:txBody>
      </p:sp>
      <p:sp>
        <p:nvSpPr>
          <p:cNvPr id="10" name="Freeform 315">
            <a:extLst>
              <a:ext uri="{FF2B5EF4-FFF2-40B4-BE49-F238E27FC236}">
                <a16:creationId xmlns:a16="http://schemas.microsoft.com/office/drawing/2014/main" id="{7BEAA25E-0284-2E44-8BCE-51D8C95735DB}"/>
              </a:ext>
            </a:extLst>
          </p:cNvPr>
          <p:cNvSpPr>
            <a:spLocks/>
          </p:cNvSpPr>
          <p:nvPr/>
        </p:nvSpPr>
        <p:spPr bwMode="auto">
          <a:xfrm>
            <a:off x="4624683" y="4545266"/>
            <a:ext cx="1403507" cy="1701715"/>
          </a:xfrm>
          <a:custGeom>
            <a:avLst/>
            <a:gdLst>
              <a:gd name="T0" fmla="*/ 0 w 1386"/>
              <a:gd name="T1" fmla="*/ 399 h 1616"/>
              <a:gd name="T2" fmla="*/ 692 w 1386"/>
              <a:gd name="T3" fmla="*/ 0 h 1616"/>
              <a:gd name="T4" fmla="*/ 1386 w 1386"/>
              <a:gd name="T5" fmla="*/ 399 h 1616"/>
              <a:gd name="T6" fmla="*/ 1386 w 1386"/>
              <a:gd name="T7" fmla="*/ 1216 h 1616"/>
              <a:gd name="T8" fmla="*/ 692 w 1386"/>
              <a:gd name="T9" fmla="*/ 1616 h 1616"/>
              <a:gd name="T10" fmla="*/ 0 w 1386"/>
              <a:gd name="T11" fmla="*/ 1216 h 1616"/>
              <a:gd name="T12" fmla="*/ 0 w 1386"/>
              <a:gd name="T13" fmla="*/ 399 h 1616"/>
            </a:gdLst>
            <a:ahLst/>
            <a:cxnLst>
              <a:cxn ang="0">
                <a:pos x="T0" y="T1"/>
              </a:cxn>
              <a:cxn ang="0">
                <a:pos x="T2" y="T3"/>
              </a:cxn>
              <a:cxn ang="0">
                <a:pos x="T4" y="T5"/>
              </a:cxn>
              <a:cxn ang="0">
                <a:pos x="T6" y="T7"/>
              </a:cxn>
              <a:cxn ang="0">
                <a:pos x="T8" y="T9"/>
              </a:cxn>
              <a:cxn ang="0">
                <a:pos x="T10" y="T11"/>
              </a:cxn>
              <a:cxn ang="0">
                <a:pos x="T12" y="T13"/>
              </a:cxn>
            </a:cxnLst>
            <a:rect l="0" t="0" r="r" b="b"/>
            <a:pathLst>
              <a:path w="1386" h="1616">
                <a:moveTo>
                  <a:pt x="0" y="399"/>
                </a:moveTo>
                <a:lnTo>
                  <a:pt x="692" y="0"/>
                </a:lnTo>
                <a:lnTo>
                  <a:pt x="1386" y="399"/>
                </a:lnTo>
                <a:lnTo>
                  <a:pt x="1386" y="1216"/>
                </a:lnTo>
                <a:lnTo>
                  <a:pt x="692" y="1616"/>
                </a:lnTo>
                <a:lnTo>
                  <a:pt x="0" y="1216"/>
                </a:lnTo>
                <a:lnTo>
                  <a:pt x="0" y="399"/>
                </a:lnTo>
                <a:close/>
              </a:path>
            </a:pathLst>
          </a:custGeom>
          <a:solidFill>
            <a:srgbClr val="17BEB7"/>
          </a:solidFill>
          <a:ln>
            <a:noFill/>
          </a:ln>
        </p:spPr>
        <p:txBody>
          <a:bodyPr vert="horz" wrap="square" lIns="82296" tIns="41148" rIns="82296" bIns="41148" numCol="1" anchor="t" anchorCtr="0" compatLnSpc="1">
            <a:prstTxWarp prst="textNoShape">
              <a:avLst/>
            </a:prstTxWarp>
          </a:bodyPr>
          <a:lstStyle/>
          <a:p>
            <a:endParaRPr lang="en-US" sz="1620"/>
          </a:p>
        </p:txBody>
      </p:sp>
      <p:sp>
        <p:nvSpPr>
          <p:cNvPr id="11" name="Freeform 314">
            <a:extLst>
              <a:ext uri="{FF2B5EF4-FFF2-40B4-BE49-F238E27FC236}">
                <a16:creationId xmlns:a16="http://schemas.microsoft.com/office/drawing/2014/main" id="{E4719400-453D-C14D-A656-93251F9EA990}"/>
              </a:ext>
            </a:extLst>
          </p:cNvPr>
          <p:cNvSpPr>
            <a:spLocks/>
          </p:cNvSpPr>
          <p:nvPr/>
        </p:nvSpPr>
        <p:spPr bwMode="auto">
          <a:xfrm>
            <a:off x="6155782" y="1777046"/>
            <a:ext cx="1403507" cy="1701715"/>
          </a:xfrm>
          <a:custGeom>
            <a:avLst/>
            <a:gdLst>
              <a:gd name="T0" fmla="*/ 0 w 1385"/>
              <a:gd name="T1" fmla="*/ 400 h 1616"/>
              <a:gd name="T2" fmla="*/ 693 w 1385"/>
              <a:gd name="T3" fmla="*/ 0 h 1616"/>
              <a:gd name="T4" fmla="*/ 1385 w 1385"/>
              <a:gd name="T5" fmla="*/ 400 h 1616"/>
              <a:gd name="T6" fmla="*/ 1385 w 1385"/>
              <a:gd name="T7" fmla="*/ 1218 h 1616"/>
              <a:gd name="T8" fmla="*/ 693 w 1385"/>
              <a:gd name="T9" fmla="*/ 1616 h 1616"/>
              <a:gd name="T10" fmla="*/ 0 w 1385"/>
              <a:gd name="T11" fmla="*/ 1216 h 1616"/>
              <a:gd name="T12" fmla="*/ 0 w 1385"/>
              <a:gd name="T13" fmla="*/ 400 h 1616"/>
            </a:gdLst>
            <a:ahLst/>
            <a:cxnLst>
              <a:cxn ang="0">
                <a:pos x="T0" y="T1"/>
              </a:cxn>
              <a:cxn ang="0">
                <a:pos x="T2" y="T3"/>
              </a:cxn>
              <a:cxn ang="0">
                <a:pos x="T4" y="T5"/>
              </a:cxn>
              <a:cxn ang="0">
                <a:pos x="T6" y="T7"/>
              </a:cxn>
              <a:cxn ang="0">
                <a:pos x="T8" y="T9"/>
              </a:cxn>
              <a:cxn ang="0">
                <a:pos x="T10" y="T11"/>
              </a:cxn>
              <a:cxn ang="0">
                <a:pos x="T12" y="T13"/>
              </a:cxn>
            </a:cxnLst>
            <a:rect l="0" t="0" r="r" b="b"/>
            <a:pathLst>
              <a:path w="1385" h="1616">
                <a:moveTo>
                  <a:pt x="0" y="400"/>
                </a:moveTo>
                <a:lnTo>
                  <a:pt x="693" y="0"/>
                </a:lnTo>
                <a:lnTo>
                  <a:pt x="1385" y="400"/>
                </a:lnTo>
                <a:lnTo>
                  <a:pt x="1385" y="1218"/>
                </a:lnTo>
                <a:lnTo>
                  <a:pt x="693" y="1616"/>
                </a:lnTo>
                <a:lnTo>
                  <a:pt x="0" y="1216"/>
                </a:lnTo>
                <a:lnTo>
                  <a:pt x="0" y="400"/>
                </a:lnTo>
                <a:close/>
              </a:path>
            </a:pathLst>
          </a:custGeom>
          <a:solidFill>
            <a:srgbClr val="17BEB7"/>
          </a:solidFill>
          <a:ln>
            <a:noFill/>
          </a:ln>
        </p:spPr>
        <p:txBody>
          <a:bodyPr vert="horz" wrap="square" lIns="82296" tIns="41148" rIns="82296" bIns="41148" numCol="1" anchor="t" anchorCtr="0" compatLnSpc="1">
            <a:prstTxWarp prst="textNoShape">
              <a:avLst/>
            </a:prstTxWarp>
          </a:bodyPr>
          <a:lstStyle/>
          <a:p>
            <a:endParaRPr lang="en-US" sz="1620"/>
          </a:p>
        </p:txBody>
      </p:sp>
      <p:sp>
        <p:nvSpPr>
          <p:cNvPr id="12" name="Freeform 317">
            <a:extLst>
              <a:ext uri="{FF2B5EF4-FFF2-40B4-BE49-F238E27FC236}">
                <a16:creationId xmlns:a16="http://schemas.microsoft.com/office/drawing/2014/main" id="{2754B6A8-46F3-4A40-A577-8FB65FF77D7F}"/>
              </a:ext>
            </a:extLst>
          </p:cNvPr>
          <p:cNvSpPr>
            <a:spLocks/>
          </p:cNvSpPr>
          <p:nvPr/>
        </p:nvSpPr>
        <p:spPr bwMode="auto">
          <a:xfrm>
            <a:off x="6918900" y="3186824"/>
            <a:ext cx="1403507" cy="1704879"/>
          </a:xfrm>
          <a:custGeom>
            <a:avLst/>
            <a:gdLst>
              <a:gd name="T0" fmla="*/ 0 w 1386"/>
              <a:gd name="T1" fmla="*/ 400 h 1615"/>
              <a:gd name="T2" fmla="*/ 694 w 1386"/>
              <a:gd name="T3" fmla="*/ 0 h 1615"/>
              <a:gd name="T4" fmla="*/ 1386 w 1386"/>
              <a:gd name="T5" fmla="*/ 400 h 1615"/>
              <a:gd name="T6" fmla="*/ 1386 w 1386"/>
              <a:gd name="T7" fmla="*/ 1215 h 1615"/>
              <a:gd name="T8" fmla="*/ 694 w 1386"/>
              <a:gd name="T9" fmla="*/ 1615 h 1615"/>
              <a:gd name="T10" fmla="*/ 0 w 1386"/>
              <a:gd name="T11" fmla="*/ 1215 h 1615"/>
              <a:gd name="T12" fmla="*/ 0 w 1386"/>
              <a:gd name="T13" fmla="*/ 400 h 1615"/>
            </a:gdLst>
            <a:ahLst/>
            <a:cxnLst>
              <a:cxn ang="0">
                <a:pos x="T0" y="T1"/>
              </a:cxn>
              <a:cxn ang="0">
                <a:pos x="T2" y="T3"/>
              </a:cxn>
              <a:cxn ang="0">
                <a:pos x="T4" y="T5"/>
              </a:cxn>
              <a:cxn ang="0">
                <a:pos x="T6" y="T7"/>
              </a:cxn>
              <a:cxn ang="0">
                <a:pos x="T8" y="T9"/>
              </a:cxn>
              <a:cxn ang="0">
                <a:pos x="T10" y="T11"/>
              </a:cxn>
              <a:cxn ang="0">
                <a:pos x="T12" y="T13"/>
              </a:cxn>
            </a:cxnLst>
            <a:rect l="0" t="0" r="r" b="b"/>
            <a:pathLst>
              <a:path w="1386" h="1615">
                <a:moveTo>
                  <a:pt x="0" y="400"/>
                </a:moveTo>
                <a:lnTo>
                  <a:pt x="694" y="0"/>
                </a:lnTo>
                <a:lnTo>
                  <a:pt x="1386" y="400"/>
                </a:lnTo>
                <a:lnTo>
                  <a:pt x="1386" y="1215"/>
                </a:lnTo>
                <a:lnTo>
                  <a:pt x="694" y="1615"/>
                </a:lnTo>
                <a:lnTo>
                  <a:pt x="0" y="1215"/>
                </a:lnTo>
                <a:lnTo>
                  <a:pt x="0" y="400"/>
                </a:lnTo>
                <a:close/>
              </a:path>
            </a:pathLst>
          </a:custGeom>
          <a:solidFill>
            <a:srgbClr val="9AA8C5"/>
          </a:solidFill>
          <a:ln>
            <a:noFill/>
          </a:ln>
        </p:spPr>
        <p:txBody>
          <a:bodyPr vert="horz" wrap="square" lIns="82296" tIns="41148" rIns="82296" bIns="41148" numCol="1" anchor="t" anchorCtr="0" compatLnSpc="1">
            <a:prstTxWarp prst="textNoShape">
              <a:avLst/>
            </a:prstTxWarp>
          </a:bodyPr>
          <a:lstStyle/>
          <a:p>
            <a:endParaRPr lang="en-US" sz="1620"/>
          </a:p>
        </p:txBody>
      </p:sp>
      <p:sp>
        <p:nvSpPr>
          <p:cNvPr id="13" name="Freeform 313">
            <a:extLst>
              <a:ext uri="{FF2B5EF4-FFF2-40B4-BE49-F238E27FC236}">
                <a16:creationId xmlns:a16="http://schemas.microsoft.com/office/drawing/2014/main" id="{968F7987-CBD5-7740-BBCC-650D793BB949}"/>
              </a:ext>
            </a:extLst>
          </p:cNvPr>
          <p:cNvSpPr>
            <a:spLocks/>
          </p:cNvSpPr>
          <p:nvPr/>
        </p:nvSpPr>
        <p:spPr bwMode="auto">
          <a:xfrm>
            <a:off x="4624683" y="1793421"/>
            <a:ext cx="1403507" cy="1701715"/>
          </a:xfrm>
          <a:custGeom>
            <a:avLst/>
            <a:gdLst>
              <a:gd name="T0" fmla="*/ 0 w 1386"/>
              <a:gd name="T1" fmla="*/ 400 h 1616"/>
              <a:gd name="T2" fmla="*/ 692 w 1386"/>
              <a:gd name="T3" fmla="*/ 0 h 1616"/>
              <a:gd name="T4" fmla="*/ 1386 w 1386"/>
              <a:gd name="T5" fmla="*/ 400 h 1616"/>
              <a:gd name="T6" fmla="*/ 1386 w 1386"/>
              <a:gd name="T7" fmla="*/ 1218 h 1616"/>
              <a:gd name="T8" fmla="*/ 692 w 1386"/>
              <a:gd name="T9" fmla="*/ 1616 h 1616"/>
              <a:gd name="T10" fmla="*/ 0 w 1386"/>
              <a:gd name="T11" fmla="*/ 1216 h 1616"/>
              <a:gd name="T12" fmla="*/ 0 w 1386"/>
              <a:gd name="T13" fmla="*/ 400 h 1616"/>
            </a:gdLst>
            <a:ahLst/>
            <a:cxnLst>
              <a:cxn ang="0">
                <a:pos x="T0" y="T1"/>
              </a:cxn>
              <a:cxn ang="0">
                <a:pos x="T2" y="T3"/>
              </a:cxn>
              <a:cxn ang="0">
                <a:pos x="T4" y="T5"/>
              </a:cxn>
              <a:cxn ang="0">
                <a:pos x="T6" y="T7"/>
              </a:cxn>
              <a:cxn ang="0">
                <a:pos x="T8" y="T9"/>
              </a:cxn>
              <a:cxn ang="0">
                <a:pos x="T10" y="T11"/>
              </a:cxn>
              <a:cxn ang="0">
                <a:pos x="T12" y="T13"/>
              </a:cxn>
            </a:cxnLst>
            <a:rect l="0" t="0" r="r" b="b"/>
            <a:pathLst>
              <a:path w="1386" h="1616">
                <a:moveTo>
                  <a:pt x="0" y="400"/>
                </a:moveTo>
                <a:lnTo>
                  <a:pt x="692" y="0"/>
                </a:lnTo>
                <a:lnTo>
                  <a:pt x="1386" y="400"/>
                </a:lnTo>
                <a:lnTo>
                  <a:pt x="1386" y="1218"/>
                </a:lnTo>
                <a:lnTo>
                  <a:pt x="692" y="1616"/>
                </a:lnTo>
                <a:lnTo>
                  <a:pt x="0" y="1216"/>
                </a:lnTo>
                <a:lnTo>
                  <a:pt x="0" y="400"/>
                </a:lnTo>
                <a:close/>
              </a:path>
            </a:pathLst>
          </a:custGeom>
          <a:solidFill>
            <a:srgbClr val="46AAC5"/>
          </a:solidFill>
          <a:ln>
            <a:noFill/>
          </a:ln>
        </p:spPr>
        <p:txBody>
          <a:bodyPr vert="horz" wrap="square" lIns="82296" tIns="41148" rIns="82296" bIns="41148" numCol="1" anchor="t" anchorCtr="0" compatLnSpc="1">
            <a:prstTxWarp prst="textNoShape">
              <a:avLst/>
            </a:prstTxWarp>
          </a:bodyPr>
          <a:lstStyle/>
          <a:p>
            <a:endParaRPr lang="en-US" sz="1620"/>
          </a:p>
        </p:txBody>
      </p:sp>
      <p:sp>
        <p:nvSpPr>
          <p:cNvPr id="14" name="Freeform 316">
            <a:extLst>
              <a:ext uri="{FF2B5EF4-FFF2-40B4-BE49-F238E27FC236}">
                <a16:creationId xmlns:a16="http://schemas.microsoft.com/office/drawing/2014/main" id="{38B1C37B-FBE4-BE48-A4C1-1ECD6E281893}"/>
              </a:ext>
            </a:extLst>
          </p:cNvPr>
          <p:cNvSpPr>
            <a:spLocks/>
          </p:cNvSpPr>
          <p:nvPr/>
        </p:nvSpPr>
        <p:spPr bwMode="auto">
          <a:xfrm>
            <a:off x="6155782" y="4545266"/>
            <a:ext cx="1403507" cy="1701715"/>
          </a:xfrm>
          <a:custGeom>
            <a:avLst/>
            <a:gdLst>
              <a:gd name="T0" fmla="*/ 0 w 1385"/>
              <a:gd name="T1" fmla="*/ 399 h 1616"/>
              <a:gd name="T2" fmla="*/ 693 w 1385"/>
              <a:gd name="T3" fmla="*/ 0 h 1616"/>
              <a:gd name="T4" fmla="*/ 1385 w 1385"/>
              <a:gd name="T5" fmla="*/ 399 h 1616"/>
              <a:gd name="T6" fmla="*/ 1385 w 1385"/>
              <a:gd name="T7" fmla="*/ 1216 h 1616"/>
              <a:gd name="T8" fmla="*/ 693 w 1385"/>
              <a:gd name="T9" fmla="*/ 1616 h 1616"/>
              <a:gd name="T10" fmla="*/ 0 w 1385"/>
              <a:gd name="T11" fmla="*/ 1216 h 1616"/>
              <a:gd name="T12" fmla="*/ 0 w 1385"/>
              <a:gd name="T13" fmla="*/ 399 h 1616"/>
            </a:gdLst>
            <a:ahLst/>
            <a:cxnLst>
              <a:cxn ang="0">
                <a:pos x="T0" y="T1"/>
              </a:cxn>
              <a:cxn ang="0">
                <a:pos x="T2" y="T3"/>
              </a:cxn>
              <a:cxn ang="0">
                <a:pos x="T4" y="T5"/>
              </a:cxn>
              <a:cxn ang="0">
                <a:pos x="T6" y="T7"/>
              </a:cxn>
              <a:cxn ang="0">
                <a:pos x="T8" y="T9"/>
              </a:cxn>
              <a:cxn ang="0">
                <a:pos x="T10" y="T11"/>
              </a:cxn>
              <a:cxn ang="0">
                <a:pos x="T12" y="T13"/>
              </a:cxn>
            </a:cxnLst>
            <a:rect l="0" t="0" r="r" b="b"/>
            <a:pathLst>
              <a:path w="1385" h="1616">
                <a:moveTo>
                  <a:pt x="0" y="399"/>
                </a:moveTo>
                <a:lnTo>
                  <a:pt x="693" y="0"/>
                </a:lnTo>
                <a:lnTo>
                  <a:pt x="1385" y="399"/>
                </a:lnTo>
                <a:lnTo>
                  <a:pt x="1385" y="1216"/>
                </a:lnTo>
                <a:lnTo>
                  <a:pt x="693" y="1616"/>
                </a:lnTo>
                <a:lnTo>
                  <a:pt x="0" y="1216"/>
                </a:lnTo>
                <a:lnTo>
                  <a:pt x="0" y="399"/>
                </a:lnTo>
                <a:close/>
              </a:path>
            </a:pathLst>
          </a:custGeom>
          <a:solidFill>
            <a:srgbClr val="46AAC5"/>
          </a:solidFill>
          <a:ln>
            <a:noFill/>
          </a:ln>
        </p:spPr>
        <p:txBody>
          <a:bodyPr vert="horz" wrap="square" lIns="82296" tIns="41148" rIns="82296" bIns="41148" numCol="1" anchor="t" anchorCtr="0" compatLnSpc="1">
            <a:prstTxWarp prst="textNoShape">
              <a:avLst/>
            </a:prstTxWarp>
          </a:bodyPr>
          <a:lstStyle/>
          <a:p>
            <a:endParaRPr lang="en-US" sz="1620"/>
          </a:p>
        </p:txBody>
      </p:sp>
      <p:sp>
        <p:nvSpPr>
          <p:cNvPr id="15" name="Freeform 318">
            <a:extLst>
              <a:ext uri="{FF2B5EF4-FFF2-40B4-BE49-F238E27FC236}">
                <a16:creationId xmlns:a16="http://schemas.microsoft.com/office/drawing/2014/main" id="{FBFB7C19-0905-9646-85AC-9471DCEB5C47}"/>
              </a:ext>
            </a:extLst>
          </p:cNvPr>
          <p:cNvSpPr>
            <a:spLocks/>
          </p:cNvSpPr>
          <p:nvPr/>
        </p:nvSpPr>
        <p:spPr bwMode="auto">
          <a:xfrm>
            <a:off x="3871286" y="3172506"/>
            <a:ext cx="1403507" cy="1704879"/>
          </a:xfrm>
          <a:custGeom>
            <a:avLst/>
            <a:gdLst>
              <a:gd name="T0" fmla="*/ 0 w 1387"/>
              <a:gd name="T1" fmla="*/ 400 h 1615"/>
              <a:gd name="T2" fmla="*/ 694 w 1387"/>
              <a:gd name="T3" fmla="*/ 0 h 1615"/>
              <a:gd name="T4" fmla="*/ 1387 w 1387"/>
              <a:gd name="T5" fmla="*/ 400 h 1615"/>
              <a:gd name="T6" fmla="*/ 1387 w 1387"/>
              <a:gd name="T7" fmla="*/ 1215 h 1615"/>
              <a:gd name="T8" fmla="*/ 694 w 1387"/>
              <a:gd name="T9" fmla="*/ 1615 h 1615"/>
              <a:gd name="T10" fmla="*/ 0 w 1387"/>
              <a:gd name="T11" fmla="*/ 1215 h 1615"/>
              <a:gd name="T12" fmla="*/ 0 w 1387"/>
              <a:gd name="T13" fmla="*/ 400 h 1615"/>
            </a:gdLst>
            <a:ahLst/>
            <a:cxnLst>
              <a:cxn ang="0">
                <a:pos x="T0" y="T1"/>
              </a:cxn>
              <a:cxn ang="0">
                <a:pos x="T2" y="T3"/>
              </a:cxn>
              <a:cxn ang="0">
                <a:pos x="T4" y="T5"/>
              </a:cxn>
              <a:cxn ang="0">
                <a:pos x="T6" y="T7"/>
              </a:cxn>
              <a:cxn ang="0">
                <a:pos x="T8" y="T9"/>
              </a:cxn>
              <a:cxn ang="0">
                <a:pos x="T10" y="T11"/>
              </a:cxn>
              <a:cxn ang="0">
                <a:pos x="T12" y="T13"/>
              </a:cxn>
            </a:cxnLst>
            <a:rect l="0" t="0" r="r" b="b"/>
            <a:pathLst>
              <a:path w="1387" h="1615">
                <a:moveTo>
                  <a:pt x="0" y="400"/>
                </a:moveTo>
                <a:lnTo>
                  <a:pt x="694" y="0"/>
                </a:lnTo>
                <a:lnTo>
                  <a:pt x="1387" y="400"/>
                </a:lnTo>
                <a:lnTo>
                  <a:pt x="1387" y="1215"/>
                </a:lnTo>
                <a:lnTo>
                  <a:pt x="694" y="1615"/>
                </a:lnTo>
                <a:lnTo>
                  <a:pt x="0" y="1215"/>
                </a:lnTo>
                <a:lnTo>
                  <a:pt x="0" y="400"/>
                </a:lnTo>
                <a:close/>
              </a:path>
            </a:pathLst>
          </a:custGeom>
          <a:solidFill>
            <a:srgbClr val="9AA8C5"/>
          </a:solidFill>
          <a:ln>
            <a:noFill/>
          </a:ln>
        </p:spPr>
        <p:txBody>
          <a:bodyPr vert="horz" wrap="square" lIns="82296" tIns="41148" rIns="82296" bIns="41148" numCol="1" anchor="t" anchorCtr="0" compatLnSpc="1">
            <a:prstTxWarp prst="textNoShape">
              <a:avLst/>
            </a:prstTxWarp>
          </a:bodyPr>
          <a:lstStyle/>
          <a:p>
            <a:endParaRPr lang="en-US" sz="1620"/>
          </a:p>
        </p:txBody>
      </p:sp>
      <p:sp>
        <p:nvSpPr>
          <p:cNvPr id="16" name="Freeform 319">
            <a:extLst>
              <a:ext uri="{FF2B5EF4-FFF2-40B4-BE49-F238E27FC236}">
                <a16:creationId xmlns:a16="http://schemas.microsoft.com/office/drawing/2014/main" id="{865BEDBB-488E-174D-97ED-4FE96EBB9AF1}"/>
              </a:ext>
            </a:extLst>
          </p:cNvPr>
          <p:cNvSpPr>
            <a:spLocks/>
          </p:cNvSpPr>
          <p:nvPr/>
        </p:nvSpPr>
        <p:spPr bwMode="auto">
          <a:xfrm>
            <a:off x="5080367" y="3017516"/>
            <a:ext cx="1932100" cy="2011692"/>
          </a:xfrm>
          <a:custGeom>
            <a:avLst/>
            <a:gdLst>
              <a:gd name="T0" fmla="*/ 1908 w 1910"/>
              <a:gd name="T1" fmla="*/ 1003 h 1908"/>
              <a:gd name="T2" fmla="*/ 1880 w 1910"/>
              <a:gd name="T3" fmla="*/ 1193 h 1908"/>
              <a:gd name="T4" fmla="*/ 1815 w 1910"/>
              <a:gd name="T5" fmla="*/ 1367 h 1908"/>
              <a:gd name="T6" fmla="*/ 1720 w 1910"/>
              <a:gd name="T7" fmla="*/ 1525 h 1908"/>
              <a:gd name="T8" fmla="*/ 1596 w 1910"/>
              <a:gd name="T9" fmla="*/ 1660 h 1908"/>
              <a:gd name="T10" fmla="*/ 1449 w 1910"/>
              <a:gd name="T11" fmla="*/ 1770 h 1908"/>
              <a:gd name="T12" fmla="*/ 1284 w 1910"/>
              <a:gd name="T13" fmla="*/ 1850 h 1908"/>
              <a:gd name="T14" fmla="*/ 1099 w 1910"/>
              <a:gd name="T15" fmla="*/ 1898 h 1908"/>
              <a:gd name="T16" fmla="*/ 954 w 1910"/>
              <a:gd name="T17" fmla="*/ 1908 h 1908"/>
              <a:gd name="T18" fmla="*/ 809 w 1910"/>
              <a:gd name="T19" fmla="*/ 1898 h 1908"/>
              <a:gd name="T20" fmla="*/ 626 w 1910"/>
              <a:gd name="T21" fmla="*/ 1850 h 1908"/>
              <a:gd name="T22" fmla="*/ 459 w 1910"/>
              <a:gd name="T23" fmla="*/ 1770 h 1908"/>
              <a:gd name="T24" fmla="*/ 312 w 1910"/>
              <a:gd name="T25" fmla="*/ 1660 h 1908"/>
              <a:gd name="T26" fmla="*/ 190 w 1910"/>
              <a:gd name="T27" fmla="*/ 1525 h 1908"/>
              <a:gd name="T28" fmla="*/ 93 w 1910"/>
              <a:gd name="T29" fmla="*/ 1367 h 1908"/>
              <a:gd name="T30" fmla="*/ 30 w 1910"/>
              <a:gd name="T31" fmla="*/ 1193 h 1908"/>
              <a:gd name="T32" fmla="*/ 1 w 1910"/>
              <a:gd name="T33" fmla="*/ 1003 h 1908"/>
              <a:gd name="T34" fmla="*/ 1 w 1910"/>
              <a:gd name="T35" fmla="*/ 905 h 1908"/>
              <a:gd name="T36" fmla="*/ 30 w 1910"/>
              <a:gd name="T37" fmla="*/ 715 h 1908"/>
              <a:gd name="T38" fmla="*/ 93 w 1910"/>
              <a:gd name="T39" fmla="*/ 539 h 1908"/>
              <a:gd name="T40" fmla="*/ 190 w 1910"/>
              <a:gd name="T41" fmla="*/ 383 h 1908"/>
              <a:gd name="T42" fmla="*/ 312 w 1910"/>
              <a:gd name="T43" fmla="*/ 247 h 1908"/>
              <a:gd name="T44" fmla="*/ 459 w 1910"/>
              <a:gd name="T45" fmla="*/ 137 h 1908"/>
              <a:gd name="T46" fmla="*/ 626 w 1910"/>
              <a:gd name="T47" fmla="*/ 57 h 1908"/>
              <a:gd name="T48" fmla="*/ 809 w 1910"/>
              <a:gd name="T49" fmla="*/ 10 h 1908"/>
              <a:gd name="T50" fmla="*/ 954 w 1910"/>
              <a:gd name="T51" fmla="*/ 0 h 1908"/>
              <a:gd name="T52" fmla="*/ 1099 w 1910"/>
              <a:gd name="T53" fmla="*/ 10 h 1908"/>
              <a:gd name="T54" fmla="*/ 1284 w 1910"/>
              <a:gd name="T55" fmla="*/ 57 h 1908"/>
              <a:gd name="T56" fmla="*/ 1449 w 1910"/>
              <a:gd name="T57" fmla="*/ 137 h 1908"/>
              <a:gd name="T58" fmla="*/ 1596 w 1910"/>
              <a:gd name="T59" fmla="*/ 247 h 1908"/>
              <a:gd name="T60" fmla="*/ 1720 w 1910"/>
              <a:gd name="T61" fmla="*/ 383 h 1908"/>
              <a:gd name="T62" fmla="*/ 1815 w 1910"/>
              <a:gd name="T63" fmla="*/ 539 h 1908"/>
              <a:gd name="T64" fmla="*/ 1880 w 1910"/>
              <a:gd name="T65" fmla="*/ 715 h 1908"/>
              <a:gd name="T66" fmla="*/ 1908 w 1910"/>
              <a:gd name="T67" fmla="*/ 905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910" h="1908">
                <a:moveTo>
                  <a:pt x="1910" y="954"/>
                </a:moveTo>
                <a:lnTo>
                  <a:pt x="1908" y="1003"/>
                </a:lnTo>
                <a:lnTo>
                  <a:pt x="1898" y="1099"/>
                </a:lnTo>
                <a:lnTo>
                  <a:pt x="1880" y="1193"/>
                </a:lnTo>
                <a:lnTo>
                  <a:pt x="1852" y="1282"/>
                </a:lnTo>
                <a:lnTo>
                  <a:pt x="1815" y="1367"/>
                </a:lnTo>
                <a:lnTo>
                  <a:pt x="1772" y="1449"/>
                </a:lnTo>
                <a:lnTo>
                  <a:pt x="1720" y="1525"/>
                </a:lnTo>
                <a:lnTo>
                  <a:pt x="1661" y="1595"/>
                </a:lnTo>
                <a:lnTo>
                  <a:pt x="1596" y="1660"/>
                </a:lnTo>
                <a:lnTo>
                  <a:pt x="1526" y="1718"/>
                </a:lnTo>
                <a:lnTo>
                  <a:pt x="1449" y="1770"/>
                </a:lnTo>
                <a:lnTo>
                  <a:pt x="1369" y="1814"/>
                </a:lnTo>
                <a:lnTo>
                  <a:pt x="1284" y="1850"/>
                </a:lnTo>
                <a:lnTo>
                  <a:pt x="1193" y="1877"/>
                </a:lnTo>
                <a:lnTo>
                  <a:pt x="1099" y="1898"/>
                </a:lnTo>
                <a:lnTo>
                  <a:pt x="1004" y="1906"/>
                </a:lnTo>
                <a:lnTo>
                  <a:pt x="954" y="1908"/>
                </a:lnTo>
                <a:lnTo>
                  <a:pt x="905" y="1906"/>
                </a:lnTo>
                <a:lnTo>
                  <a:pt x="809" y="1898"/>
                </a:lnTo>
                <a:lnTo>
                  <a:pt x="717" y="1877"/>
                </a:lnTo>
                <a:lnTo>
                  <a:pt x="626" y="1850"/>
                </a:lnTo>
                <a:lnTo>
                  <a:pt x="541" y="1814"/>
                </a:lnTo>
                <a:lnTo>
                  <a:pt x="459" y="1770"/>
                </a:lnTo>
                <a:lnTo>
                  <a:pt x="383" y="1718"/>
                </a:lnTo>
                <a:lnTo>
                  <a:pt x="312" y="1660"/>
                </a:lnTo>
                <a:lnTo>
                  <a:pt x="247" y="1595"/>
                </a:lnTo>
                <a:lnTo>
                  <a:pt x="190" y="1525"/>
                </a:lnTo>
                <a:lnTo>
                  <a:pt x="138" y="1449"/>
                </a:lnTo>
                <a:lnTo>
                  <a:pt x="93" y="1367"/>
                </a:lnTo>
                <a:lnTo>
                  <a:pt x="57" y="1282"/>
                </a:lnTo>
                <a:lnTo>
                  <a:pt x="30" y="1193"/>
                </a:lnTo>
                <a:lnTo>
                  <a:pt x="11" y="1099"/>
                </a:lnTo>
                <a:lnTo>
                  <a:pt x="1" y="1003"/>
                </a:lnTo>
                <a:lnTo>
                  <a:pt x="0" y="954"/>
                </a:lnTo>
                <a:lnTo>
                  <a:pt x="1" y="905"/>
                </a:lnTo>
                <a:lnTo>
                  <a:pt x="11" y="808"/>
                </a:lnTo>
                <a:lnTo>
                  <a:pt x="30" y="715"/>
                </a:lnTo>
                <a:lnTo>
                  <a:pt x="57" y="626"/>
                </a:lnTo>
                <a:lnTo>
                  <a:pt x="93" y="539"/>
                </a:lnTo>
                <a:lnTo>
                  <a:pt x="138" y="459"/>
                </a:lnTo>
                <a:lnTo>
                  <a:pt x="190" y="383"/>
                </a:lnTo>
                <a:lnTo>
                  <a:pt x="247" y="312"/>
                </a:lnTo>
                <a:lnTo>
                  <a:pt x="312" y="247"/>
                </a:lnTo>
                <a:lnTo>
                  <a:pt x="383" y="188"/>
                </a:lnTo>
                <a:lnTo>
                  <a:pt x="459" y="137"/>
                </a:lnTo>
                <a:lnTo>
                  <a:pt x="541" y="93"/>
                </a:lnTo>
                <a:lnTo>
                  <a:pt x="626" y="57"/>
                </a:lnTo>
                <a:lnTo>
                  <a:pt x="717" y="29"/>
                </a:lnTo>
                <a:lnTo>
                  <a:pt x="809" y="10"/>
                </a:lnTo>
                <a:lnTo>
                  <a:pt x="905" y="0"/>
                </a:lnTo>
                <a:lnTo>
                  <a:pt x="954" y="0"/>
                </a:lnTo>
                <a:lnTo>
                  <a:pt x="1004" y="0"/>
                </a:lnTo>
                <a:lnTo>
                  <a:pt x="1099" y="10"/>
                </a:lnTo>
                <a:lnTo>
                  <a:pt x="1193" y="29"/>
                </a:lnTo>
                <a:lnTo>
                  <a:pt x="1284" y="57"/>
                </a:lnTo>
                <a:lnTo>
                  <a:pt x="1369" y="93"/>
                </a:lnTo>
                <a:lnTo>
                  <a:pt x="1449" y="137"/>
                </a:lnTo>
                <a:lnTo>
                  <a:pt x="1526" y="188"/>
                </a:lnTo>
                <a:lnTo>
                  <a:pt x="1596" y="247"/>
                </a:lnTo>
                <a:lnTo>
                  <a:pt x="1661" y="312"/>
                </a:lnTo>
                <a:lnTo>
                  <a:pt x="1720" y="383"/>
                </a:lnTo>
                <a:lnTo>
                  <a:pt x="1772" y="459"/>
                </a:lnTo>
                <a:lnTo>
                  <a:pt x="1815" y="539"/>
                </a:lnTo>
                <a:lnTo>
                  <a:pt x="1852" y="626"/>
                </a:lnTo>
                <a:lnTo>
                  <a:pt x="1880" y="715"/>
                </a:lnTo>
                <a:lnTo>
                  <a:pt x="1898" y="808"/>
                </a:lnTo>
                <a:lnTo>
                  <a:pt x="1908" y="905"/>
                </a:lnTo>
                <a:lnTo>
                  <a:pt x="1910" y="954"/>
                </a:ln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96" tIns="41148" rIns="82296" bIns="41148" numCol="1" anchor="t" anchorCtr="0" compatLnSpc="1">
            <a:prstTxWarp prst="textNoShape">
              <a:avLst/>
            </a:prstTxWarp>
          </a:bodyPr>
          <a:lstStyle/>
          <a:p>
            <a:endParaRPr lang="en-US" sz="1620"/>
          </a:p>
        </p:txBody>
      </p:sp>
      <p:sp>
        <p:nvSpPr>
          <p:cNvPr id="17" name="Freeform 320">
            <a:extLst>
              <a:ext uri="{FF2B5EF4-FFF2-40B4-BE49-F238E27FC236}">
                <a16:creationId xmlns:a16="http://schemas.microsoft.com/office/drawing/2014/main" id="{BD37D8E0-298F-864B-8DAB-3448DF6840B6}"/>
              </a:ext>
            </a:extLst>
          </p:cNvPr>
          <p:cNvSpPr>
            <a:spLocks/>
          </p:cNvSpPr>
          <p:nvPr/>
        </p:nvSpPr>
        <p:spPr bwMode="auto">
          <a:xfrm>
            <a:off x="5170043" y="3104551"/>
            <a:ext cx="1750131" cy="1822226"/>
          </a:xfrm>
          <a:custGeom>
            <a:avLst/>
            <a:gdLst>
              <a:gd name="T0" fmla="*/ 1386 w 1386"/>
              <a:gd name="T1" fmla="*/ 694 h 1386"/>
              <a:gd name="T2" fmla="*/ 1383 w 1386"/>
              <a:gd name="T3" fmla="*/ 764 h 1386"/>
              <a:gd name="T4" fmla="*/ 1356 w 1386"/>
              <a:gd name="T5" fmla="*/ 900 h 1386"/>
              <a:gd name="T6" fmla="*/ 1304 w 1386"/>
              <a:gd name="T7" fmla="*/ 1025 h 1386"/>
              <a:gd name="T8" fmla="*/ 1229 w 1386"/>
              <a:gd name="T9" fmla="*/ 1136 h 1386"/>
              <a:gd name="T10" fmla="*/ 1134 w 1386"/>
              <a:gd name="T11" fmla="*/ 1229 h 1386"/>
              <a:gd name="T12" fmla="*/ 1023 w 1386"/>
              <a:gd name="T13" fmla="*/ 1304 h 1386"/>
              <a:gd name="T14" fmla="*/ 899 w 1386"/>
              <a:gd name="T15" fmla="*/ 1356 h 1386"/>
              <a:gd name="T16" fmla="*/ 764 w 1386"/>
              <a:gd name="T17" fmla="*/ 1384 h 1386"/>
              <a:gd name="T18" fmla="*/ 692 w 1386"/>
              <a:gd name="T19" fmla="*/ 1386 h 1386"/>
              <a:gd name="T20" fmla="*/ 621 w 1386"/>
              <a:gd name="T21" fmla="*/ 1384 h 1386"/>
              <a:gd name="T22" fmla="*/ 486 w 1386"/>
              <a:gd name="T23" fmla="*/ 1356 h 1386"/>
              <a:gd name="T24" fmla="*/ 361 w 1386"/>
              <a:gd name="T25" fmla="*/ 1304 h 1386"/>
              <a:gd name="T26" fmla="*/ 252 w 1386"/>
              <a:gd name="T27" fmla="*/ 1229 h 1386"/>
              <a:gd name="T28" fmla="*/ 157 w 1386"/>
              <a:gd name="T29" fmla="*/ 1136 h 1386"/>
              <a:gd name="T30" fmla="*/ 82 w 1386"/>
              <a:gd name="T31" fmla="*/ 1025 h 1386"/>
              <a:gd name="T32" fmla="*/ 30 w 1386"/>
              <a:gd name="T33" fmla="*/ 900 h 1386"/>
              <a:gd name="T34" fmla="*/ 1 w 1386"/>
              <a:gd name="T35" fmla="*/ 764 h 1386"/>
              <a:gd name="T36" fmla="*/ 0 w 1386"/>
              <a:gd name="T37" fmla="*/ 694 h 1386"/>
              <a:gd name="T38" fmla="*/ 1 w 1386"/>
              <a:gd name="T39" fmla="*/ 622 h 1386"/>
              <a:gd name="T40" fmla="*/ 30 w 1386"/>
              <a:gd name="T41" fmla="*/ 487 h 1386"/>
              <a:gd name="T42" fmla="*/ 82 w 1386"/>
              <a:gd name="T43" fmla="*/ 363 h 1386"/>
              <a:gd name="T44" fmla="*/ 157 w 1386"/>
              <a:gd name="T45" fmla="*/ 252 h 1386"/>
              <a:gd name="T46" fmla="*/ 252 w 1386"/>
              <a:gd name="T47" fmla="*/ 159 h 1386"/>
              <a:gd name="T48" fmla="*/ 361 w 1386"/>
              <a:gd name="T49" fmla="*/ 84 h 1386"/>
              <a:gd name="T50" fmla="*/ 486 w 1386"/>
              <a:gd name="T51" fmla="*/ 31 h 1386"/>
              <a:gd name="T52" fmla="*/ 621 w 1386"/>
              <a:gd name="T53" fmla="*/ 3 h 1386"/>
              <a:gd name="T54" fmla="*/ 692 w 1386"/>
              <a:gd name="T55" fmla="*/ 0 h 1386"/>
              <a:gd name="T56" fmla="*/ 764 w 1386"/>
              <a:gd name="T57" fmla="*/ 3 h 1386"/>
              <a:gd name="T58" fmla="*/ 899 w 1386"/>
              <a:gd name="T59" fmla="*/ 31 h 1386"/>
              <a:gd name="T60" fmla="*/ 1023 w 1386"/>
              <a:gd name="T61" fmla="*/ 84 h 1386"/>
              <a:gd name="T62" fmla="*/ 1134 w 1386"/>
              <a:gd name="T63" fmla="*/ 159 h 1386"/>
              <a:gd name="T64" fmla="*/ 1229 w 1386"/>
              <a:gd name="T65" fmla="*/ 252 h 1386"/>
              <a:gd name="T66" fmla="*/ 1304 w 1386"/>
              <a:gd name="T67" fmla="*/ 363 h 1386"/>
              <a:gd name="T68" fmla="*/ 1356 w 1386"/>
              <a:gd name="T69" fmla="*/ 487 h 1386"/>
              <a:gd name="T70" fmla="*/ 1383 w 1386"/>
              <a:gd name="T71" fmla="*/ 622 h 1386"/>
              <a:gd name="T72" fmla="*/ 1386 w 1386"/>
              <a:gd name="T73" fmla="*/ 694 h 1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386" h="1386">
                <a:moveTo>
                  <a:pt x="1386" y="694"/>
                </a:moveTo>
                <a:lnTo>
                  <a:pt x="1383" y="764"/>
                </a:lnTo>
                <a:lnTo>
                  <a:pt x="1356" y="900"/>
                </a:lnTo>
                <a:lnTo>
                  <a:pt x="1304" y="1025"/>
                </a:lnTo>
                <a:lnTo>
                  <a:pt x="1229" y="1136"/>
                </a:lnTo>
                <a:lnTo>
                  <a:pt x="1134" y="1229"/>
                </a:lnTo>
                <a:lnTo>
                  <a:pt x="1023" y="1304"/>
                </a:lnTo>
                <a:lnTo>
                  <a:pt x="899" y="1356"/>
                </a:lnTo>
                <a:lnTo>
                  <a:pt x="764" y="1384"/>
                </a:lnTo>
                <a:lnTo>
                  <a:pt x="692" y="1386"/>
                </a:lnTo>
                <a:lnTo>
                  <a:pt x="621" y="1384"/>
                </a:lnTo>
                <a:lnTo>
                  <a:pt x="486" y="1356"/>
                </a:lnTo>
                <a:lnTo>
                  <a:pt x="361" y="1304"/>
                </a:lnTo>
                <a:lnTo>
                  <a:pt x="252" y="1229"/>
                </a:lnTo>
                <a:lnTo>
                  <a:pt x="157" y="1136"/>
                </a:lnTo>
                <a:lnTo>
                  <a:pt x="82" y="1025"/>
                </a:lnTo>
                <a:lnTo>
                  <a:pt x="30" y="900"/>
                </a:lnTo>
                <a:lnTo>
                  <a:pt x="1" y="764"/>
                </a:lnTo>
                <a:lnTo>
                  <a:pt x="0" y="694"/>
                </a:lnTo>
                <a:lnTo>
                  <a:pt x="1" y="622"/>
                </a:lnTo>
                <a:lnTo>
                  <a:pt x="30" y="487"/>
                </a:lnTo>
                <a:lnTo>
                  <a:pt x="82" y="363"/>
                </a:lnTo>
                <a:lnTo>
                  <a:pt x="157" y="252"/>
                </a:lnTo>
                <a:lnTo>
                  <a:pt x="252" y="159"/>
                </a:lnTo>
                <a:lnTo>
                  <a:pt x="361" y="84"/>
                </a:lnTo>
                <a:lnTo>
                  <a:pt x="486" y="31"/>
                </a:lnTo>
                <a:lnTo>
                  <a:pt x="621" y="3"/>
                </a:lnTo>
                <a:lnTo>
                  <a:pt x="692" y="0"/>
                </a:lnTo>
                <a:lnTo>
                  <a:pt x="764" y="3"/>
                </a:lnTo>
                <a:lnTo>
                  <a:pt x="899" y="31"/>
                </a:lnTo>
                <a:lnTo>
                  <a:pt x="1023" y="84"/>
                </a:lnTo>
                <a:lnTo>
                  <a:pt x="1134" y="159"/>
                </a:lnTo>
                <a:lnTo>
                  <a:pt x="1229" y="252"/>
                </a:lnTo>
                <a:lnTo>
                  <a:pt x="1304" y="363"/>
                </a:lnTo>
                <a:lnTo>
                  <a:pt x="1356" y="487"/>
                </a:lnTo>
                <a:lnTo>
                  <a:pt x="1383" y="622"/>
                </a:lnTo>
                <a:lnTo>
                  <a:pt x="1386" y="694"/>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96" tIns="41148" rIns="82296" bIns="41148" numCol="1" anchor="ctr" anchorCtr="0" compatLnSpc="1">
            <a:prstTxWarp prst="textNoShape">
              <a:avLst/>
            </a:prstTxWarp>
          </a:bodyPr>
          <a:lstStyle/>
          <a:p>
            <a:pPr algn="ctr"/>
            <a:endParaRPr lang="en-US" sz="2520"/>
          </a:p>
        </p:txBody>
      </p:sp>
      <p:sp>
        <p:nvSpPr>
          <p:cNvPr id="3" name="Picture Placeholder 2">
            <a:extLst>
              <a:ext uri="{FF2B5EF4-FFF2-40B4-BE49-F238E27FC236}">
                <a16:creationId xmlns:a16="http://schemas.microsoft.com/office/drawing/2014/main" id="{5AE87989-1E6A-514C-A375-912AEC661F33}"/>
              </a:ext>
            </a:extLst>
          </p:cNvPr>
          <p:cNvSpPr>
            <a:spLocks noGrp="1" noChangeAspect="1"/>
          </p:cNvSpPr>
          <p:nvPr>
            <p:ph type="pic" sz="quarter" idx="10" hasCustomPrompt="1"/>
          </p:nvPr>
        </p:nvSpPr>
        <p:spPr>
          <a:xfrm>
            <a:off x="4800279" y="2123617"/>
            <a:ext cx="1041323" cy="1041323"/>
          </a:xfrm>
          <a:prstGeom prst="ellipse">
            <a:avLst/>
          </a:prstGeom>
          <a:noFill/>
        </p:spPr>
        <p:txBody>
          <a:bodyPr anchor="ctr">
            <a:normAutofit/>
          </a:bodyPr>
          <a:lstStyle>
            <a:lvl1pPr marL="0" indent="0" algn="ctr">
              <a:buNone/>
              <a:defRPr sz="2000"/>
            </a:lvl1pPr>
          </a:lstStyle>
          <a:p>
            <a:r>
              <a:rPr lang="en-GB"/>
              <a:t>Icon</a:t>
            </a:r>
          </a:p>
        </p:txBody>
      </p:sp>
      <p:sp>
        <p:nvSpPr>
          <p:cNvPr id="49" name="Picture Placeholder 2">
            <a:extLst>
              <a:ext uri="{FF2B5EF4-FFF2-40B4-BE49-F238E27FC236}">
                <a16:creationId xmlns:a16="http://schemas.microsoft.com/office/drawing/2014/main" id="{07707041-A62C-AB47-8ABC-46A42AD3ABB7}"/>
              </a:ext>
            </a:extLst>
          </p:cNvPr>
          <p:cNvSpPr>
            <a:spLocks noGrp="1" noChangeAspect="1"/>
          </p:cNvSpPr>
          <p:nvPr>
            <p:ph type="pic" sz="quarter" idx="11" hasCustomPrompt="1"/>
          </p:nvPr>
        </p:nvSpPr>
        <p:spPr>
          <a:xfrm>
            <a:off x="6378356" y="2079372"/>
            <a:ext cx="1041323" cy="1041323"/>
          </a:xfrm>
          <a:prstGeom prst="ellipse">
            <a:avLst/>
          </a:prstGeom>
          <a:noFill/>
        </p:spPr>
        <p:txBody>
          <a:bodyPr anchor="ctr">
            <a:normAutofit/>
          </a:bodyPr>
          <a:lstStyle>
            <a:lvl1pPr marL="0" indent="0" algn="ctr">
              <a:buNone/>
              <a:defRPr sz="2000"/>
            </a:lvl1pPr>
          </a:lstStyle>
          <a:p>
            <a:r>
              <a:rPr lang="en-GB"/>
              <a:t>Icon</a:t>
            </a:r>
          </a:p>
        </p:txBody>
      </p:sp>
      <p:sp>
        <p:nvSpPr>
          <p:cNvPr id="50" name="Picture Placeholder 2">
            <a:extLst>
              <a:ext uri="{FF2B5EF4-FFF2-40B4-BE49-F238E27FC236}">
                <a16:creationId xmlns:a16="http://schemas.microsoft.com/office/drawing/2014/main" id="{A6AE4AA7-EC0F-6E45-953C-61A34D91C6ED}"/>
              </a:ext>
            </a:extLst>
          </p:cNvPr>
          <p:cNvSpPr>
            <a:spLocks noGrp="1" noChangeAspect="1"/>
          </p:cNvSpPr>
          <p:nvPr>
            <p:ph type="pic" sz="quarter" idx="12" hasCustomPrompt="1"/>
          </p:nvPr>
        </p:nvSpPr>
        <p:spPr>
          <a:xfrm>
            <a:off x="7042033" y="3539462"/>
            <a:ext cx="1041323" cy="1041323"/>
          </a:xfrm>
          <a:prstGeom prst="ellipse">
            <a:avLst/>
          </a:prstGeom>
          <a:noFill/>
        </p:spPr>
        <p:txBody>
          <a:bodyPr anchor="ctr">
            <a:normAutofit/>
          </a:bodyPr>
          <a:lstStyle>
            <a:lvl1pPr marL="0" indent="0" algn="ctr">
              <a:buNone/>
              <a:defRPr sz="2000"/>
            </a:lvl1pPr>
          </a:lstStyle>
          <a:p>
            <a:r>
              <a:rPr lang="en-GB"/>
              <a:t>Icon</a:t>
            </a:r>
          </a:p>
        </p:txBody>
      </p:sp>
      <p:sp>
        <p:nvSpPr>
          <p:cNvPr id="51" name="Picture Placeholder 2">
            <a:extLst>
              <a:ext uri="{FF2B5EF4-FFF2-40B4-BE49-F238E27FC236}">
                <a16:creationId xmlns:a16="http://schemas.microsoft.com/office/drawing/2014/main" id="{A21D1631-AC79-CF4A-A21F-0CB35A6B20D3}"/>
              </a:ext>
            </a:extLst>
          </p:cNvPr>
          <p:cNvSpPr>
            <a:spLocks noGrp="1" noChangeAspect="1"/>
          </p:cNvSpPr>
          <p:nvPr>
            <p:ph type="pic" sz="quarter" idx="13" hasCustomPrompt="1"/>
          </p:nvPr>
        </p:nvSpPr>
        <p:spPr>
          <a:xfrm>
            <a:off x="6348858" y="4866817"/>
            <a:ext cx="1041323" cy="1041323"/>
          </a:xfrm>
          <a:prstGeom prst="ellipse">
            <a:avLst/>
          </a:prstGeom>
          <a:noFill/>
        </p:spPr>
        <p:txBody>
          <a:bodyPr anchor="ctr">
            <a:normAutofit/>
          </a:bodyPr>
          <a:lstStyle>
            <a:lvl1pPr marL="0" indent="0" algn="ctr">
              <a:buNone/>
              <a:defRPr sz="2000"/>
            </a:lvl1pPr>
          </a:lstStyle>
          <a:p>
            <a:r>
              <a:rPr lang="en-GB"/>
              <a:t>Icon</a:t>
            </a:r>
          </a:p>
        </p:txBody>
      </p:sp>
      <p:sp>
        <p:nvSpPr>
          <p:cNvPr id="52" name="Picture Placeholder 2">
            <a:extLst>
              <a:ext uri="{FF2B5EF4-FFF2-40B4-BE49-F238E27FC236}">
                <a16:creationId xmlns:a16="http://schemas.microsoft.com/office/drawing/2014/main" id="{58CD840D-8E27-A547-846A-6860F330D0A1}"/>
              </a:ext>
            </a:extLst>
          </p:cNvPr>
          <p:cNvSpPr>
            <a:spLocks noGrp="1" noChangeAspect="1"/>
          </p:cNvSpPr>
          <p:nvPr>
            <p:ph type="pic" sz="quarter" idx="14" hasCustomPrompt="1"/>
          </p:nvPr>
        </p:nvSpPr>
        <p:spPr>
          <a:xfrm>
            <a:off x="4815026" y="4970056"/>
            <a:ext cx="1041323" cy="1041323"/>
          </a:xfrm>
          <a:prstGeom prst="ellipse">
            <a:avLst/>
          </a:prstGeom>
          <a:noFill/>
        </p:spPr>
        <p:txBody>
          <a:bodyPr anchor="ctr">
            <a:normAutofit/>
          </a:bodyPr>
          <a:lstStyle>
            <a:lvl1pPr marL="0" indent="0" algn="ctr">
              <a:buNone/>
              <a:defRPr sz="2000"/>
            </a:lvl1pPr>
          </a:lstStyle>
          <a:p>
            <a:r>
              <a:rPr lang="en-GB"/>
              <a:t>Icon</a:t>
            </a:r>
          </a:p>
        </p:txBody>
      </p:sp>
      <p:sp>
        <p:nvSpPr>
          <p:cNvPr id="53" name="Picture Placeholder 2">
            <a:extLst>
              <a:ext uri="{FF2B5EF4-FFF2-40B4-BE49-F238E27FC236}">
                <a16:creationId xmlns:a16="http://schemas.microsoft.com/office/drawing/2014/main" id="{86C1D323-065C-7E4C-A2CE-EB3211B28818}"/>
              </a:ext>
            </a:extLst>
          </p:cNvPr>
          <p:cNvSpPr>
            <a:spLocks noGrp="1" noChangeAspect="1"/>
          </p:cNvSpPr>
          <p:nvPr>
            <p:ph type="pic" sz="quarter" idx="15" hasCustomPrompt="1"/>
          </p:nvPr>
        </p:nvSpPr>
        <p:spPr>
          <a:xfrm>
            <a:off x="4018613" y="3509966"/>
            <a:ext cx="1041323" cy="1041323"/>
          </a:xfrm>
          <a:prstGeom prst="ellipse">
            <a:avLst/>
          </a:prstGeom>
          <a:noFill/>
        </p:spPr>
        <p:txBody>
          <a:bodyPr anchor="ctr">
            <a:normAutofit/>
          </a:bodyPr>
          <a:lstStyle>
            <a:lvl1pPr marL="0" indent="0" algn="ctr">
              <a:buNone/>
              <a:defRPr sz="2000"/>
            </a:lvl1pPr>
          </a:lstStyle>
          <a:p>
            <a:r>
              <a:rPr lang="en-GB"/>
              <a:t>Icon</a:t>
            </a:r>
          </a:p>
        </p:txBody>
      </p:sp>
      <p:sp>
        <p:nvSpPr>
          <p:cNvPr id="22" name="Text Placeholder 2">
            <a:extLst>
              <a:ext uri="{FF2B5EF4-FFF2-40B4-BE49-F238E27FC236}">
                <a16:creationId xmlns:a16="http://schemas.microsoft.com/office/drawing/2014/main" id="{7D06E406-A496-DE41-B241-3AF97C26FA89}"/>
              </a:ext>
            </a:extLst>
          </p:cNvPr>
          <p:cNvSpPr>
            <a:spLocks noGrp="1"/>
          </p:cNvSpPr>
          <p:nvPr>
            <p:ph type="body" idx="16"/>
          </p:nvPr>
        </p:nvSpPr>
        <p:spPr>
          <a:xfrm>
            <a:off x="7827320" y="2094937"/>
            <a:ext cx="2702074" cy="249471"/>
          </a:xfrm>
          <a:prstGeom prst="rect">
            <a:avLst/>
          </a:prstGeom>
        </p:spPr>
        <p:txBody>
          <a:bodyPr>
            <a:noAutofit/>
          </a:bodyPr>
          <a:lstStyle>
            <a:lvl1pPr marL="0" indent="0">
              <a:buNone/>
              <a:defRPr sz="1400" b="1">
                <a:solidFill>
                  <a:schemeClr val="accent2"/>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23" name="Text Placeholder 2">
            <a:extLst>
              <a:ext uri="{FF2B5EF4-FFF2-40B4-BE49-F238E27FC236}">
                <a16:creationId xmlns:a16="http://schemas.microsoft.com/office/drawing/2014/main" id="{EB2A06B5-58B8-B64B-94EF-2F0A66B0CA51}"/>
              </a:ext>
            </a:extLst>
          </p:cNvPr>
          <p:cNvSpPr>
            <a:spLocks noGrp="1"/>
          </p:cNvSpPr>
          <p:nvPr>
            <p:ph type="body" idx="17"/>
          </p:nvPr>
        </p:nvSpPr>
        <p:spPr>
          <a:xfrm>
            <a:off x="7827320" y="2390537"/>
            <a:ext cx="2702074" cy="249471"/>
          </a:xfrm>
          <a:prstGeom prst="rect">
            <a:avLst/>
          </a:prstGeom>
        </p:spPr>
        <p:txBody>
          <a:bodyPr>
            <a:noAutofit/>
          </a:bodyPr>
          <a:lstStyle>
            <a:lvl1pPr marL="0" indent="0">
              <a:buNone/>
              <a:defRPr sz="1200" b="1">
                <a:solidFill>
                  <a:schemeClr val="tx1">
                    <a:tint val="75000"/>
                  </a:schemeClr>
                </a:solidFill>
                <a:latin typeface="+mj-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24" name="Text Placeholder 2">
            <a:extLst>
              <a:ext uri="{FF2B5EF4-FFF2-40B4-BE49-F238E27FC236}">
                <a16:creationId xmlns:a16="http://schemas.microsoft.com/office/drawing/2014/main" id="{67429710-AF13-ED44-B041-E612D82757B8}"/>
              </a:ext>
            </a:extLst>
          </p:cNvPr>
          <p:cNvSpPr>
            <a:spLocks noGrp="1"/>
          </p:cNvSpPr>
          <p:nvPr>
            <p:ph type="body" idx="18"/>
          </p:nvPr>
        </p:nvSpPr>
        <p:spPr>
          <a:xfrm>
            <a:off x="8597829" y="3663839"/>
            <a:ext cx="2702074" cy="249471"/>
          </a:xfrm>
          <a:prstGeom prst="rect">
            <a:avLst/>
          </a:prstGeom>
        </p:spPr>
        <p:txBody>
          <a:bodyPr>
            <a:noAutofit/>
          </a:bodyPr>
          <a:lstStyle>
            <a:lvl1pPr marL="0" indent="0">
              <a:buNone/>
              <a:defRPr sz="1400" b="1">
                <a:solidFill>
                  <a:schemeClr val="accent2"/>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25" name="Text Placeholder 2">
            <a:extLst>
              <a:ext uri="{FF2B5EF4-FFF2-40B4-BE49-F238E27FC236}">
                <a16:creationId xmlns:a16="http://schemas.microsoft.com/office/drawing/2014/main" id="{E398D6A6-54F2-134D-9F39-754A836A31DF}"/>
              </a:ext>
            </a:extLst>
          </p:cNvPr>
          <p:cNvSpPr>
            <a:spLocks noGrp="1"/>
          </p:cNvSpPr>
          <p:nvPr>
            <p:ph type="body" idx="19"/>
          </p:nvPr>
        </p:nvSpPr>
        <p:spPr>
          <a:xfrm>
            <a:off x="8597829" y="3959439"/>
            <a:ext cx="2702074" cy="249471"/>
          </a:xfrm>
          <a:prstGeom prst="rect">
            <a:avLst/>
          </a:prstGeom>
        </p:spPr>
        <p:txBody>
          <a:bodyPr>
            <a:noAutofit/>
          </a:bodyPr>
          <a:lstStyle>
            <a:lvl1pPr marL="0" indent="0">
              <a:buNone/>
              <a:defRPr sz="1200" b="1">
                <a:solidFill>
                  <a:schemeClr val="tx1">
                    <a:tint val="75000"/>
                  </a:schemeClr>
                </a:solidFill>
                <a:latin typeface="+mj-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26" name="Text Placeholder 2">
            <a:extLst>
              <a:ext uri="{FF2B5EF4-FFF2-40B4-BE49-F238E27FC236}">
                <a16:creationId xmlns:a16="http://schemas.microsoft.com/office/drawing/2014/main" id="{47F734D1-FBC3-3146-8353-C5BE3E27254C}"/>
              </a:ext>
            </a:extLst>
          </p:cNvPr>
          <p:cNvSpPr>
            <a:spLocks noGrp="1"/>
          </p:cNvSpPr>
          <p:nvPr>
            <p:ph type="body" idx="20"/>
          </p:nvPr>
        </p:nvSpPr>
        <p:spPr>
          <a:xfrm>
            <a:off x="7827320" y="5114967"/>
            <a:ext cx="2702074" cy="249471"/>
          </a:xfrm>
          <a:prstGeom prst="rect">
            <a:avLst/>
          </a:prstGeom>
        </p:spPr>
        <p:txBody>
          <a:bodyPr>
            <a:noAutofit/>
          </a:bodyPr>
          <a:lstStyle>
            <a:lvl1pPr marL="0" indent="0">
              <a:buNone/>
              <a:defRPr sz="1400" b="1">
                <a:solidFill>
                  <a:schemeClr val="accent2"/>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27" name="Text Placeholder 2">
            <a:extLst>
              <a:ext uri="{FF2B5EF4-FFF2-40B4-BE49-F238E27FC236}">
                <a16:creationId xmlns:a16="http://schemas.microsoft.com/office/drawing/2014/main" id="{603EC48F-2377-EF4F-82E9-CC6693051E84}"/>
              </a:ext>
            </a:extLst>
          </p:cNvPr>
          <p:cNvSpPr>
            <a:spLocks noGrp="1"/>
          </p:cNvSpPr>
          <p:nvPr>
            <p:ph type="body" idx="21"/>
          </p:nvPr>
        </p:nvSpPr>
        <p:spPr>
          <a:xfrm>
            <a:off x="7827320" y="5410567"/>
            <a:ext cx="2702074" cy="249471"/>
          </a:xfrm>
          <a:prstGeom prst="rect">
            <a:avLst/>
          </a:prstGeom>
        </p:spPr>
        <p:txBody>
          <a:bodyPr>
            <a:noAutofit/>
          </a:bodyPr>
          <a:lstStyle>
            <a:lvl1pPr marL="0" indent="0">
              <a:buNone/>
              <a:defRPr sz="1200" b="1">
                <a:solidFill>
                  <a:schemeClr val="tx1">
                    <a:tint val="75000"/>
                  </a:schemeClr>
                </a:solidFill>
                <a:latin typeface="+mj-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28" name="Text Placeholder 2">
            <a:extLst>
              <a:ext uri="{FF2B5EF4-FFF2-40B4-BE49-F238E27FC236}">
                <a16:creationId xmlns:a16="http://schemas.microsoft.com/office/drawing/2014/main" id="{2F06B242-A63C-5344-8FB7-D0F6EEC45FA7}"/>
              </a:ext>
            </a:extLst>
          </p:cNvPr>
          <p:cNvSpPr>
            <a:spLocks noGrp="1"/>
          </p:cNvSpPr>
          <p:nvPr>
            <p:ph type="body" idx="22"/>
          </p:nvPr>
        </p:nvSpPr>
        <p:spPr>
          <a:xfrm>
            <a:off x="1663420" y="5114967"/>
            <a:ext cx="2702074" cy="249471"/>
          </a:xfrm>
          <a:prstGeom prst="rect">
            <a:avLst/>
          </a:prstGeom>
        </p:spPr>
        <p:txBody>
          <a:bodyPr>
            <a:noAutofit/>
          </a:bodyPr>
          <a:lstStyle>
            <a:lvl1pPr marL="0" indent="0" algn="r">
              <a:buNone/>
              <a:defRPr sz="1400" b="1">
                <a:solidFill>
                  <a:schemeClr val="accent2"/>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29" name="Text Placeholder 2">
            <a:extLst>
              <a:ext uri="{FF2B5EF4-FFF2-40B4-BE49-F238E27FC236}">
                <a16:creationId xmlns:a16="http://schemas.microsoft.com/office/drawing/2014/main" id="{9AAF1397-C7ED-5F4C-A97B-9F7A01CEE114}"/>
              </a:ext>
            </a:extLst>
          </p:cNvPr>
          <p:cNvSpPr>
            <a:spLocks noGrp="1"/>
          </p:cNvSpPr>
          <p:nvPr>
            <p:ph type="body" idx="23"/>
          </p:nvPr>
        </p:nvSpPr>
        <p:spPr>
          <a:xfrm>
            <a:off x="1663420" y="5410567"/>
            <a:ext cx="2702074" cy="249471"/>
          </a:xfrm>
          <a:prstGeom prst="rect">
            <a:avLst/>
          </a:prstGeom>
        </p:spPr>
        <p:txBody>
          <a:bodyPr>
            <a:noAutofit/>
          </a:bodyPr>
          <a:lstStyle>
            <a:lvl1pPr marL="0" indent="0" algn="r">
              <a:buNone/>
              <a:defRPr sz="1200" b="1">
                <a:solidFill>
                  <a:schemeClr val="tx1">
                    <a:tint val="75000"/>
                  </a:schemeClr>
                </a:solidFill>
                <a:latin typeface="+mj-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30" name="Text Placeholder 2">
            <a:extLst>
              <a:ext uri="{FF2B5EF4-FFF2-40B4-BE49-F238E27FC236}">
                <a16:creationId xmlns:a16="http://schemas.microsoft.com/office/drawing/2014/main" id="{C9A60DCD-1331-B147-AA00-5A0711BCA23C}"/>
              </a:ext>
            </a:extLst>
          </p:cNvPr>
          <p:cNvSpPr>
            <a:spLocks noGrp="1"/>
          </p:cNvSpPr>
          <p:nvPr>
            <p:ph type="body" idx="24"/>
          </p:nvPr>
        </p:nvSpPr>
        <p:spPr>
          <a:xfrm>
            <a:off x="911649" y="3663839"/>
            <a:ext cx="2702074" cy="249471"/>
          </a:xfrm>
          <a:prstGeom prst="rect">
            <a:avLst/>
          </a:prstGeom>
        </p:spPr>
        <p:txBody>
          <a:bodyPr>
            <a:noAutofit/>
          </a:bodyPr>
          <a:lstStyle>
            <a:lvl1pPr marL="0" indent="0" algn="r">
              <a:buNone/>
              <a:defRPr sz="1400" b="1">
                <a:solidFill>
                  <a:schemeClr val="accent2"/>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31" name="Text Placeholder 2">
            <a:extLst>
              <a:ext uri="{FF2B5EF4-FFF2-40B4-BE49-F238E27FC236}">
                <a16:creationId xmlns:a16="http://schemas.microsoft.com/office/drawing/2014/main" id="{BDA42A16-E0B2-864A-80DF-2F538D5EAB6B}"/>
              </a:ext>
            </a:extLst>
          </p:cNvPr>
          <p:cNvSpPr>
            <a:spLocks noGrp="1"/>
          </p:cNvSpPr>
          <p:nvPr>
            <p:ph type="body" idx="25"/>
          </p:nvPr>
        </p:nvSpPr>
        <p:spPr>
          <a:xfrm>
            <a:off x="911649" y="3959439"/>
            <a:ext cx="2702074" cy="249471"/>
          </a:xfrm>
          <a:prstGeom prst="rect">
            <a:avLst/>
          </a:prstGeom>
        </p:spPr>
        <p:txBody>
          <a:bodyPr>
            <a:noAutofit/>
          </a:bodyPr>
          <a:lstStyle>
            <a:lvl1pPr marL="0" indent="0" algn="r">
              <a:buNone/>
              <a:defRPr sz="1200" b="1">
                <a:solidFill>
                  <a:schemeClr val="tx1">
                    <a:tint val="75000"/>
                  </a:schemeClr>
                </a:solidFill>
                <a:latin typeface="+mj-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32" name="Text Placeholder 2">
            <a:extLst>
              <a:ext uri="{FF2B5EF4-FFF2-40B4-BE49-F238E27FC236}">
                <a16:creationId xmlns:a16="http://schemas.microsoft.com/office/drawing/2014/main" id="{6BE65B95-FAFE-AF4E-AB72-D6B94B1560AE}"/>
              </a:ext>
            </a:extLst>
          </p:cNvPr>
          <p:cNvSpPr>
            <a:spLocks noGrp="1"/>
          </p:cNvSpPr>
          <p:nvPr>
            <p:ph type="body" idx="26"/>
          </p:nvPr>
        </p:nvSpPr>
        <p:spPr>
          <a:xfrm>
            <a:off x="1663420" y="2094937"/>
            <a:ext cx="2702074" cy="249471"/>
          </a:xfrm>
          <a:prstGeom prst="rect">
            <a:avLst/>
          </a:prstGeom>
        </p:spPr>
        <p:txBody>
          <a:bodyPr>
            <a:noAutofit/>
          </a:bodyPr>
          <a:lstStyle>
            <a:lvl1pPr marL="0" indent="0" algn="r">
              <a:buNone/>
              <a:defRPr sz="1400" b="1">
                <a:solidFill>
                  <a:schemeClr val="accent2"/>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33" name="Text Placeholder 2">
            <a:extLst>
              <a:ext uri="{FF2B5EF4-FFF2-40B4-BE49-F238E27FC236}">
                <a16:creationId xmlns:a16="http://schemas.microsoft.com/office/drawing/2014/main" id="{CE24CAA5-8D93-5949-9B55-4707BE2CF972}"/>
              </a:ext>
            </a:extLst>
          </p:cNvPr>
          <p:cNvSpPr>
            <a:spLocks noGrp="1"/>
          </p:cNvSpPr>
          <p:nvPr>
            <p:ph type="body" idx="27"/>
          </p:nvPr>
        </p:nvSpPr>
        <p:spPr>
          <a:xfrm>
            <a:off x="1663420" y="2390537"/>
            <a:ext cx="2702074" cy="249471"/>
          </a:xfrm>
          <a:prstGeom prst="rect">
            <a:avLst/>
          </a:prstGeom>
        </p:spPr>
        <p:txBody>
          <a:bodyPr>
            <a:noAutofit/>
          </a:bodyPr>
          <a:lstStyle>
            <a:lvl1pPr marL="0" indent="0" algn="r">
              <a:buNone/>
              <a:defRPr sz="1200" b="1">
                <a:solidFill>
                  <a:schemeClr val="tx1">
                    <a:tint val="75000"/>
                  </a:schemeClr>
                </a:solidFill>
                <a:latin typeface="+mj-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Text Placeholder 3">
            <a:extLst>
              <a:ext uri="{FF2B5EF4-FFF2-40B4-BE49-F238E27FC236}">
                <a16:creationId xmlns:a16="http://schemas.microsoft.com/office/drawing/2014/main" id="{0D24A3DD-4738-1E47-93FF-704B99451BE0}"/>
              </a:ext>
            </a:extLst>
          </p:cNvPr>
          <p:cNvSpPr>
            <a:spLocks noGrp="1"/>
          </p:cNvSpPr>
          <p:nvPr>
            <p:ph type="body" sz="quarter" idx="28" hasCustomPrompt="1"/>
          </p:nvPr>
        </p:nvSpPr>
        <p:spPr>
          <a:xfrm>
            <a:off x="397661" y="1100465"/>
            <a:ext cx="10491950" cy="553957"/>
          </a:xfrm>
          <a:prstGeom prst="rect">
            <a:avLst/>
          </a:prstGeom>
        </p:spPr>
        <p:txBody>
          <a:bodyPr/>
          <a:lstStyle>
            <a:lvl1pPr>
              <a:defRPr sz="1600" b="1">
                <a:solidFill>
                  <a:srgbClr val="004582"/>
                </a:solidFill>
              </a:defRPr>
            </a:lvl1pPr>
          </a:lstStyle>
          <a:p>
            <a:pPr lvl="0"/>
            <a:r>
              <a:rPr lang="en-GB"/>
              <a:t>Write your Subheading here</a:t>
            </a:r>
          </a:p>
        </p:txBody>
      </p:sp>
      <p:sp>
        <p:nvSpPr>
          <p:cNvPr id="36" name="Slide Number Placeholder 5">
            <a:extLst>
              <a:ext uri="{FF2B5EF4-FFF2-40B4-BE49-F238E27FC236}">
                <a16:creationId xmlns:a16="http://schemas.microsoft.com/office/drawing/2014/main" id="{C4F51069-FFE6-4327-88D2-31F53653241C}"/>
              </a:ext>
            </a:extLst>
          </p:cNvPr>
          <p:cNvSpPr txBox="1">
            <a:spLocks/>
          </p:cNvSpPr>
          <p:nvPr userDrawn="1"/>
        </p:nvSpPr>
        <p:spPr>
          <a:xfrm>
            <a:off x="11373135" y="6506785"/>
            <a:ext cx="609600" cy="261610"/>
          </a:xfrm>
          <a:prstGeom prst="rect">
            <a:avLst/>
          </a:prstGeom>
          <a:noFill/>
        </p:spPr>
        <p:txBody>
          <a:bodyPr>
            <a:spAutoFit/>
          </a:bodyPr>
          <a:lstStyle>
            <a:defPPr>
              <a:defRPr lang="en-US"/>
            </a:defPPr>
            <a:lvl1pPr marL="0" algn="ctr" defTabSz="914400" rtl="0" eaLnBrk="1" latinLnBrk="0" hangingPunct="1">
              <a:defRPr lang="en-US" sz="1800" kern="1200" smtClean="0">
                <a:solidFill>
                  <a:schemeClr val="bg1"/>
                </a:solidFill>
                <a:latin typeface="Tahoma" pitchFamily="34" charset="0"/>
                <a:ea typeface="Tahoma" pitchFamily="34" charset="0"/>
                <a:cs typeface="Tahoma"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fld id="{3413C1ED-5599-4BB6-878F-244F2E6B8E4A}" type="slidenum">
              <a:rPr lang="en-IN" sz="1100">
                <a:solidFill>
                  <a:prstClr val="black">
                    <a:lumMod val="50000"/>
                    <a:lumOff val="50000"/>
                  </a:prstClr>
                </a:solidFill>
              </a:rPr>
              <a:pPr fontAlgn="auto">
                <a:spcBef>
                  <a:spcPts val="0"/>
                </a:spcBef>
                <a:spcAft>
                  <a:spcPts val="0"/>
                </a:spcAft>
                <a:defRPr/>
              </a:pPr>
              <a:t>‹#›</a:t>
            </a:fld>
            <a:endParaRPr lang="en-IN" sz="1100">
              <a:solidFill>
                <a:prstClr val="black">
                  <a:lumMod val="50000"/>
                  <a:lumOff val="50000"/>
                </a:prstClr>
              </a:solidFill>
            </a:endParaRPr>
          </a:p>
        </p:txBody>
      </p:sp>
      <p:pic>
        <p:nvPicPr>
          <p:cNvPr id="37" name="Picture 36">
            <a:extLst>
              <a:ext uri="{FF2B5EF4-FFF2-40B4-BE49-F238E27FC236}">
                <a16:creationId xmlns:a16="http://schemas.microsoft.com/office/drawing/2014/main" id="{E83718CC-2558-4556-AF5D-91FE7BB44202}"/>
              </a:ext>
            </a:extLst>
          </p:cNvPr>
          <p:cNvPicPr>
            <a:picLocks noChangeAspect="1"/>
          </p:cNvPicPr>
          <p:nvPr userDrawn="1"/>
        </p:nvPicPr>
        <p:blipFill>
          <a:blip r:embed="rId2"/>
          <a:stretch>
            <a:fillRect/>
          </a:stretch>
        </p:blipFill>
        <p:spPr>
          <a:xfrm>
            <a:off x="464908" y="6506785"/>
            <a:ext cx="1148260" cy="138938"/>
          </a:xfrm>
          <a:prstGeom prst="rect">
            <a:avLst/>
          </a:prstGeom>
        </p:spPr>
      </p:pic>
      <p:sp>
        <p:nvSpPr>
          <p:cNvPr id="38" name="Freeform: Shape 14">
            <a:extLst>
              <a:ext uri="{FF2B5EF4-FFF2-40B4-BE49-F238E27FC236}">
                <a16:creationId xmlns:a16="http://schemas.microsoft.com/office/drawing/2014/main" id="{80E2FAFD-74E3-4A84-9773-FEF15F7E4726}"/>
              </a:ext>
            </a:extLst>
          </p:cNvPr>
          <p:cNvSpPr/>
          <p:nvPr userDrawn="1"/>
        </p:nvSpPr>
        <p:spPr>
          <a:xfrm rot="5400000" flipH="1">
            <a:off x="10650813" y="-6388"/>
            <a:ext cx="1528833" cy="1553542"/>
          </a:xfrm>
          <a:custGeom>
            <a:avLst/>
            <a:gdLst>
              <a:gd name="connsiteX0" fmla="*/ 2051041 w 2051041"/>
              <a:gd name="connsiteY0" fmla="*/ 2080382 h 2084191"/>
              <a:gd name="connsiteX1" fmla="*/ 2051041 w 2051041"/>
              <a:gd name="connsiteY1" fmla="*/ 2083967 h 2084191"/>
              <a:gd name="connsiteX2" fmla="*/ 2047231 w 2051041"/>
              <a:gd name="connsiteY2" fmla="*/ 2084191 h 2084191"/>
              <a:gd name="connsiteX3" fmla="*/ 2045599 w 2051041"/>
              <a:gd name="connsiteY3" fmla="*/ 2081470 h 2084191"/>
              <a:gd name="connsiteX4" fmla="*/ 1478568 w 2051041"/>
              <a:gd name="connsiteY4" fmla="*/ 1997668 h 2084191"/>
              <a:gd name="connsiteX5" fmla="*/ 1484554 w 2051041"/>
              <a:gd name="connsiteY5" fmla="*/ 2004743 h 2084191"/>
              <a:gd name="connsiteX6" fmla="*/ 1478568 w 2051041"/>
              <a:gd name="connsiteY6" fmla="*/ 2009096 h 2084191"/>
              <a:gd name="connsiteX7" fmla="*/ 1473126 w 2051041"/>
              <a:gd name="connsiteY7" fmla="*/ 2003654 h 2084191"/>
              <a:gd name="connsiteX8" fmla="*/ 1478568 w 2051041"/>
              <a:gd name="connsiteY8" fmla="*/ 1997668 h 2084191"/>
              <a:gd name="connsiteX9" fmla="*/ 1641820 w 2051041"/>
              <a:gd name="connsiteY9" fmla="*/ 1993859 h 2084191"/>
              <a:gd name="connsiteX10" fmla="*/ 1652160 w 2051041"/>
              <a:gd name="connsiteY10" fmla="*/ 2003654 h 2084191"/>
              <a:gd name="connsiteX11" fmla="*/ 1641820 w 2051041"/>
              <a:gd name="connsiteY11" fmla="*/ 2013449 h 2084191"/>
              <a:gd name="connsiteX12" fmla="*/ 1632025 w 2051041"/>
              <a:gd name="connsiteY12" fmla="*/ 2003654 h 2084191"/>
              <a:gd name="connsiteX13" fmla="*/ 1641820 w 2051041"/>
              <a:gd name="connsiteY13" fmla="*/ 1993859 h 2084191"/>
              <a:gd name="connsiteX14" fmla="*/ 1969414 w 2051041"/>
              <a:gd name="connsiteY14" fmla="*/ 1992226 h 2084191"/>
              <a:gd name="connsiteX15" fmla="*/ 1979753 w 2051041"/>
              <a:gd name="connsiteY15" fmla="*/ 2003654 h 2084191"/>
              <a:gd name="connsiteX16" fmla="*/ 1968325 w 2051041"/>
              <a:gd name="connsiteY16" fmla="*/ 2014537 h 2084191"/>
              <a:gd name="connsiteX17" fmla="*/ 1957986 w 2051041"/>
              <a:gd name="connsiteY17" fmla="*/ 2003110 h 2084191"/>
              <a:gd name="connsiteX18" fmla="*/ 1969414 w 2051041"/>
              <a:gd name="connsiteY18" fmla="*/ 1992226 h 2084191"/>
              <a:gd name="connsiteX19" fmla="*/ 1805073 w 2051041"/>
              <a:gd name="connsiteY19" fmla="*/ 1992226 h 2084191"/>
              <a:gd name="connsiteX20" fmla="*/ 1815956 w 2051041"/>
              <a:gd name="connsiteY20" fmla="*/ 2002565 h 2084191"/>
              <a:gd name="connsiteX21" fmla="*/ 1805073 w 2051041"/>
              <a:gd name="connsiteY21" fmla="*/ 2014537 h 2084191"/>
              <a:gd name="connsiteX22" fmla="*/ 1794189 w 2051041"/>
              <a:gd name="connsiteY22" fmla="*/ 2004198 h 2084191"/>
              <a:gd name="connsiteX23" fmla="*/ 1805073 w 2051041"/>
              <a:gd name="connsiteY23" fmla="*/ 1992226 h 2084191"/>
              <a:gd name="connsiteX24" fmla="*/ 1234233 w 2051041"/>
              <a:gd name="connsiteY24" fmla="*/ 1916042 h 2084191"/>
              <a:gd name="connsiteX25" fmla="*/ 1240219 w 2051041"/>
              <a:gd name="connsiteY25" fmla="*/ 1923660 h 2084191"/>
              <a:gd name="connsiteX26" fmla="*/ 1236953 w 2051041"/>
              <a:gd name="connsiteY26" fmla="*/ 1926381 h 2084191"/>
              <a:gd name="connsiteX27" fmla="*/ 1229335 w 2051041"/>
              <a:gd name="connsiteY27" fmla="*/ 1918762 h 2084191"/>
              <a:gd name="connsiteX28" fmla="*/ 1234233 w 2051041"/>
              <a:gd name="connsiteY28" fmla="*/ 1916042 h 2084191"/>
              <a:gd name="connsiteX29" fmla="*/ 1397486 w 2051041"/>
              <a:gd name="connsiteY29" fmla="*/ 1911144 h 2084191"/>
              <a:gd name="connsiteX30" fmla="*/ 1408369 w 2051041"/>
              <a:gd name="connsiteY30" fmla="*/ 1921483 h 2084191"/>
              <a:gd name="connsiteX31" fmla="*/ 1399118 w 2051041"/>
              <a:gd name="connsiteY31" fmla="*/ 1931823 h 2084191"/>
              <a:gd name="connsiteX32" fmla="*/ 1387146 w 2051041"/>
              <a:gd name="connsiteY32" fmla="*/ 1922028 h 2084191"/>
              <a:gd name="connsiteX33" fmla="*/ 1397486 w 2051041"/>
              <a:gd name="connsiteY33" fmla="*/ 1911144 h 2084191"/>
              <a:gd name="connsiteX34" fmla="*/ 1560194 w 2051041"/>
              <a:gd name="connsiteY34" fmla="*/ 1906790 h 2084191"/>
              <a:gd name="connsiteX35" fmla="*/ 1574342 w 2051041"/>
              <a:gd name="connsiteY35" fmla="*/ 1921482 h 2084191"/>
              <a:gd name="connsiteX36" fmla="*/ 1560738 w 2051041"/>
              <a:gd name="connsiteY36" fmla="*/ 1935631 h 2084191"/>
              <a:gd name="connsiteX37" fmla="*/ 1547134 w 2051041"/>
              <a:gd name="connsiteY37" fmla="*/ 1922027 h 2084191"/>
              <a:gd name="connsiteX38" fmla="*/ 1560194 w 2051041"/>
              <a:gd name="connsiteY38" fmla="*/ 1906790 h 2084191"/>
              <a:gd name="connsiteX39" fmla="*/ 2049952 w 2051041"/>
              <a:gd name="connsiteY39" fmla="*/ 1905702 h 2084191"/>
              <a:gd name="connsiteX40" fmla="*/ 2051041 w 2051041"/>
              <a:gd name="connsiteY40" fmla="*/ 1906027 h 2084191"/>
              <a:gd name="connsiteX41" fmla="*/ 2051041 w 2051041"/>
              <a:gd name="connsiteY41" fmla="*/ 1938133 h 2084191"/>
              <a:gd name="connsiteX42" fmla="*/ 2050496 w 2051041"/>
              <a:gd name="connsiteY42" fmla="*/ 1938353 h 2084191"/>
              <a:gd name="connsiteX43" fmla="*/ 2034171 w 2051041"/>
              <a:gd name="connsiteY43" fmla="*/ 1922572 h 2084191"/>
              <a:gd name="connsiteX44" fmla="*/ 2049952 w 2051041"/>
              <a:gd name="connsiteY44" fmla="*/ 1905702 h 2084191"/>
              <a:gd name="connsiteX45" fmla="*/ 1723447 w 2051041"/>
              <a:gd name="connsiteY45" fmla="*/ 1905702 h 2084191"/>
              <a:gd name="connsiteX46" fmla="*/ 1739772 w 2051041"/>
              <a:gd name="connsiteY46" fmla="*/ 1920939 h 2084191"/>
              <a:gd name="connsiteX47" fmla="*/ 1724535 w 2051041"/>
              <a:gd name="connsiteY47" fmla="*/ 1937264 h 2084191"/>
              <a:gd name="connsiteX48" fmla="*/ 1708210 w 2051041"/>
              <a:gd name="connsiteY48" fmla="*/ 1922027 h 2084191"/>
              <a:gd name="connsiteX49" fmla="*/ 1723447 w 2051041"/>
              <a:gd name="connsiteY49" fmla="*/ 1905702 h 2084191"/>
              <a:gd name="connsiteX50" fmla="*/ 1887787 w 2051041"/>
              <a:gd name="connsiteY50" fmla="*/ 1905158 h 2084191"/>
              <a:gd name="connsiteX51" fmla="*/ 1904113 w 2051041"/>
              <a:gd name="connsiteY51" fmla="*/ 1922028 h 2084191"/>
              <a:gd name="connsiteX52" fmla="*/ 1886699 w 2051041"/>
              <a:gd name="connsiteY52" fmla="*/ 1937809 h 2084191"/>
              <a:gd name="connsiteX53" fmla="*/ 1870918 w 2051041"/>
              <a:gd name="connsiteY53" fmla="*/ 1921483 h 2084191"/>
              <a:gd name="connsiteX54" fmla="*/ 1887787 w 2051041"/>
              <a:gd name="connsiteY54" fmla="*/ 1905158 h 2084191"/>
              <a:gd name="connsiteX55" fmla="*/ 1152606 w 2051041"/>
              <a:gd name="connsiteY55" fmla="*/ 1831693 h 2084191"/>
              <a:gd name="connsiteX56" fmla="*/ 1161313 w 2051041"/>
              <a:gd name="connsiteY56" fmla="*/ 1839312 h 2084191"/>
              <a:gd name="connsiteX57" fmla="*/ 1153694 w 2051041"/>
              <a:gd name="connsiteY57" fmla="*/ 1852916 h 2084191"/>
              <a:gd name="connsiteX58" fmla="*/ 1144988 w 2051041"/>
              <a:gd name="connsiteY58" fmla="*/ 1841489 h 2084191"/>
              <a:gd name="connsiteX59" fmla="*/ 1152606 w 2051041"/>
              <a:gd name="connsiteY59" fmla="*/ 1831693 h 2084191"/>
              <a:gd name="connsiteX60" fmla="*/ 1315315 w 2051041"/>
              <a:gd name="connsiteY60" fmla="*/ 1825708 h 2084191"/>
              <a:gd name="connsiteX61" fmla="*/ 1330552 w 2051041"/>
              <a:gd name="connsiteY61" fmla="*/ 1840401 h 2084191"/>
              <a:gd name="connsiteX62" fmla="*/ 1316404 w 2051041"/>
              <a:gd name="connsiteY62" fmla="*/ 1854549 h 2084191"/>
              <a:gd name="connsiteX63" fmla="*/ 1301711 w 2051041"/>
              <a:gd name="connsiteY63" fmla="*/ 1840945 h 2084191"/>
              <a:gd name="connsiteX64" fmla="*/ 1315315 w 2051041"/>
              <a:gd name="connsiteY64" fmla="*/ 1825708 h 2084191"/>
              <a:gd name="connsiteX65" fmla="*/ 1479656 w 2051041"/>
              <a:gd name="connsiteY65" fmla="*/ 1822987 h 2084191"/>
              <a:gd name="connsiteX66" fmla="*/ 1495981 w 2051041"/>
              <a:gd name="connsiteY66" fmla="*/ 1840401 h 2084191"/>
              <a:gd name="connsiteX67" fmla="*/ 1478567 w 2051041"/>
              <a:gd name="connsiteY67" fmla="*/ 1856182 h 2084191"/>
              <a:gd name="connsiteX68" fmla="*/ 1462242 w 2051041"/>
              <a:gd name="connsiteY68" fmla="*/ 1839312 h 2084191"/>
              <a:gd name="connsiteX69" fmla="*/ 1479656 w 2051041"/>
              <a:gd name="connsiteY69" fmla="*/ 1822987 h 2084191"/>
              <a:gd name="connsiteX70" fmla="*/ 1642365 w 2051041"/>
              <a:gd name="connsiteY70" fmla="*/ 1821355 h 2084191"/>
              <a:gd name="connsiteX71" fmla="*/ 1660867 w 2051041"/>
              <a:gd name="connsiteY71" fmla="*/ 1840401 h 2084191"/>
              <a:gd name="connsiteX72" fmla="*/ 1642365 w 2051041"/>
              <a:gd name="connsiteY72" fmla="*/ 1857270 h 2084191"/>
              <a:gd name="connsiteX73" fmla="*/ 1624407 w 2051041"/>
              <a:gd name="connsiteY73" fmla="*/ 1839857 h 2084191"/>
              <a:gd name="connsiteX74" fmla="*/ 1642365 w 2051041"/>
              <a:gd name="connsiteY74" fmla="*/ 1821355 h 2084191"/>
              <a:gd name="connsiteX75" fmla="*/ 1806162 w 2051041"/>
              <a:gd name="connsiteY75" fmla="*/ 1819723 h 2084191"/>
              <a:gd name="connsiteX76" fmla="*/ 1826840 w 2051041"/>
              <a:gd name="connsiteY76" fmla="*/ 1840945 h 2084191"/>
              <a:gd name="connsiteX77" fmla="*/ 1804529 w 2051041"/>
              <a:gd name="connsiteY77" fmla="*/ 1861080 h 2084191"/>
              <a:gd name="connsiteX78" fmla="*/ 1784395 w 2051041"/>
              <a:gd name="connsiteY78" fmla="*/ 1839313 h 2084191"/>
              <a:gd name="connsiteX79" fmla="*/ 1806162 w 2051041"/>
              <a:gd name="connsiteY79" fmla="*/ 1819723 h 2084191"/>
              <a:gd name="connsiteX80" fmla="*/ 1968870 w 2051041"/>
              <a:gd name="connsiteY80" fmla="*/ 1819178 h 2084191"/>
              <a:gd name="connsiteX81" fmla="*/ 1990093 w 2051041"/>
              <a:gd name="connsiteY81" fmla="*/ 1840401 h 2084191"/>
              <a:gd name="connsiteX82" fmla="*/ 1968870 w 2051041"/>
              <a:gd name="connsiteY82" fmla="*/ 1861624 h 2084191"/>
              <a:gd name="connsiteX83" fmla="*/ 1947647 w 2051041"/>
              <a:gd name="connsiteY83" fmla="*/ 1840401 h 2084191"/>
              <a:gd name="connsiteX84" fmla="*/ 1968870 w 2051041"/>
              <a:gd name="connsiteY84" fmla="*/ 1819178 h 2084191"/>
              <a:gd name="connsiteX85" fmla="*/ 1070436 w 2051041"/>
              <a:gd name="connsiteY85" fmla="*/ 1747347 h 2084191"/>
              <a:gd name="connsiteX86" fmla="*/ 1081863 w 2051041"/>
              <a:gd name="connsiteY86" fmla="*/ 1758231 h 2084191"/>
              <a:gd name="connsiteX87" fmla="*/ 1070980 w 2051041"/>
              <a:gd name="connsiteY87" fmla="*/ 1769658 h 2084191"/>
              <a:gd name="connsiteX88" fmla="*/ 1059552 w 2051041"/>
              <a:gd name="connsiteY88" fmla="*/ 1758775 h 2084191"/>
              <a:gd name="connsiteX89" fmla="*/ 1070436 w 2051041"/>
              <a:gd name="connsiteY89" fmla="*/ 1747347 h 2084191"/>
              <a:gd name="connsiteX90" fmla="*/ 1233688 w 2051041"/>
              <a:gd name="connsiteY90" fmla="*/ 1742449 h 2084191"/>
              <a:gd name="connsiteX91" fmla="*/ 1250558 w 2051041"/>
              <a:gd name="connsiteY91" fmla="*/ 1758774 h 2084191"/>
              <a:gd name="connsiteX92" fmla="*/ 1233688 w 2051041"/>
              <a:gd name="connsiteY92" fmla="*/ 1775099 h 2084191"/>
              <a:gd name="connsiteX93" fmla="*/ 1217907 w 2051041"/>
              <a:gd name="connsiteY93" fmla="*/ 1759318 h 2084191"/>
              <a:gd name="connsiteX94" fmla="*/ 1233688 w 2051041"/>
              <a:gd name="connsiteY94" fmla="*/ 1742449 h 2084191"/>
              <a:gd name="connsiteX95" fmla="*/ 1399662 w 2051041"/>
              <a:gd name="connsiteY95" fmla="*/ 1739728 h 2084191"/>
              <a:gd name="connsiteX96" fmla="*/ 1417076 w 2051041"/>
              <a:gd name="connsiteY96" fmla="*/ 1760407 h 2084191"/>
              <a:gd name="connsiteX97" fmla="*/ 1396941 w 2051041"/>
              <a:gd name="connsiteY97" fmla="*/ 1779453 h 2084191"/>
              <a:gd name="connsiteX98" fmla="*/ 1377895 w 2051041"/>
              <a:gd name="connsiteY98" fmla="*/ 1757686 h 2084191"/>
              <a:gd name="connsiteX99" fmla="*/ 1399662 w 2051041"/>
              <a:gd name="connsiteY99" fmla="*/ 1739728 h 2084191"/>
              <a:gd name="connsiteX100" fmla="*/ 1723991 w 2051041"/>
              <a:gd name="connsiteY100" fmla="*/ 1735919 h 2084191"/>
              <a:gd name="connsiteX101" fmla="*/ 1746847 w 2051041"/>
              <a:gd name="connsiteY101" fmla="*/ 1758774 h 2084191"/>
              <a:gd name="connsiteX102" fmla="*/ 1723991 w 2051041"/>
              <a:gd name="connsiteY102" fmla="*/ 1781086 h 2084191"/>
              <a:gd name="connsiteX103" fmla="*/ 1701680 w 2051041"/>
              <a:gd name="connsiteY103" fmla="*/ 1758774 h 2084191"/>
              <a:gd name="connsiteX104" fmla="*/ 1723991 w 2051041"/>
              <a:gd name="connsiteY104" fmla="*/ 1735919 h 2084191"/>
              <a:gd name="connsiteX105" fmla="*/ 1560194 w 2051041"/>
              <a:gd name="connsiteY105" fmla="*/ 1735919 h 2084191"/>
              <a:gd name="connsiteX106" fmla="*/ 1582505 w 2051041"/>
              <a:gd name="connsiteY106" fmla="*/ 1758230 h 2084191"/>
              <a:gd name="connsiteX107" fmla="*/ 1560738 w 2051041"/>
              <a:gd name="connsiteY107" fmla="*/ 1779997 h 2084191"/>
              <a:gd name="connsiteX108" fmla="*/ 1538427 w 2051041"/>
              <a:gd name="connsiteY108" fmla="*/ 1758230 h 2084191"/>
              <a:gd name="connsiteX109" fmla="*/ 1560194 w 2051041"/>
              <a:gd name="connsiteY109" fmla="*/ 1735919 h 2084191"/>
              <a:gd name="connsiteX110" fmla="*/ 2051041 w 2051041"/>
              <a:gd name="connsiteY110" fmla="*/ 1734831 h 2084191"/>
              <a:gd name="connsiteX111" fmla="*/ 2051041 w 2051041"/>
              <a:gd name="connsiteY111" fmla="*/ 1781438 h 2084191"/>
              <a:gd name="connsiteX112" fmla="*/ 2050496 w 2051041"/>
              <a:gd name="connsiteY112" fmla="*/ 1781630 h 2084191"/>
              <a:gd name="connsiteX113" fmla="*/ 2027097 w 2051041"/>
              <a:gd name="connsiteY113" fmla="*/ 1758775 h 2084191"/>
              <a:gd name="connsiteX114" fmla="*/ 2051041 w 2051041"/>
              <a:gd name="connsiteY114" fmla="*/ 1734831 h 2084191"/>
              <a:gd name="connsiteX115" fmla="*/ 1887788 w 2051041"/>
              <a:gd name="connsiteY115" fmla="*/ 1734831 h 2084191"/>
              <a:gd name="connsiteX116" fmla="*/ 1910099 w 2051041"/>
              <a:gd name="connsiteY116" fmla="*/ 1758775 h 2084191"/>
              <a:gd name="connsiteX117" fmla="*/ 1886699 w 2051041"/>
              <a:gd name="connsiteY117" fmla="*/ 1781086 h 2084191"/>
              <a:gd name="connsiteX118" fmla="*/ 1863844 w 2051041"/>
              <a:gd name="connsiteY118" fmla="*/ 1757687 h 2084191"/>
              <a:gd name="connsiteX119" fmla="*/ 1887788 w 2051041"/>
              <a:gd name="connsiteY119" fmla="*/ 1734831 h 2084191"/>
              <a:gd name="connsiteX120" fmla="*/ 826100 w 2051041"/>
              <a:gd name="connsiteY120" fmla="*/ 1671706 h 2084191"/>
              <a:gd name="connsiteX121" fmla="*/ 832086 w 2051041"/>
              <a:gd name="connsiteY121" fmla="*/ 1677692 h 2084191"/>
              <a:gd name="connsiteX122" fmla="*/ 825556 w 2051041"/>
              <a:gd name="connsiteY122" fmla="*/ 1683134 h 2084191"/>
              <a:gd name="connsiteX123" fmla="*/ 820658 w 2051041"/>
              <a:gd name="connsiteY123" fmla="*/ 1676603 h 2084191"/>
              <a:gd name="connsiteX124" fmla="*/ 826100 w 2051041"/>
              <a:gd name="connsiteY124" fmla="*/ 1671706 h 2084191"/>
              <a:gd name="connsiteX125" fmla="*/ 989354 w 2051041"/>
              <a:gd name="connsiteY125" fmla="*/ 1661912 h 2084191"/>
              <a:gd name="connsiteX126" fmla="*/ 1004046 w 2051041"/>
              <a:gd name="connsiteY126" fmla="*/ 1676604 h 2084191"/>
              <a:gd name="connsiteX127" fmla="*/ 989354 w 2051041"/>
              <a:gd name="connsiteY127" fmla="*/ 1690209 h 2084191"/>
              <a:gd name="connsiteX128" fmla="*/ 975205 w 2051041"/>
              <a:gd name="connsiteY128" fmla="*/ 1677693 h 2084191"/>
              <a:gd name="connsiteX129" fmla="*/ 989354 w 2051041"/>
              <a:gd name="connsiteY129" fmla="*/ 1661912 h 2084191"/>
              <a:gd name="connsiteX130" fmla="*/ 1153151 w 2051041"/>
              <a:gd name="connsiteY130" fmla="*/ 1659734 h 2084191"/>
              <a:gd name="connsiteX131" fmla="*/ 1170564 w 2051041"/>
              <a:gd name="connsiteY131" fmla="*/ 1677692 h 2084191"/>
              <a:gd name="connsiteX132" fmla="*/ 1152062 w 2051041"/>
              <a:gd name="connsiteY132" fmla="*/ 1694562 h 2084191"/>
              <a:gd name="connsiteX133" fmla="*/ 1135737 w 2051041"/>
              <a:gd name="connsiteY133" fmla="*/ 1677148 h 2084191"/>
              <a:gd name="connsiteX134" fmla="*/ 1153151 w 2051041"/>
              <a:gd name="connsiteY134" fmla="*/ 1659734 h 2084191"/>
              <a:gd name="connsiteX135" fmla="*/ 1315315 w 2051041"/>
              <a:gd name="connsiteY135" fmla="*/ 1655381 h 2084191"/>
              <a:gd name="connsiteX136" fmla="*/ 1337082 w 2051041"/>
              <a:gd name="connsiteY136" fmla="*/ 1676603 h 2084191"/>
              <a:gd name="connsiteX137" fmla="*/ 1315315 w 2051041"/>
              <a:gd name="connsiteY137" fmla="*/ 1698915 h 2084191"/>
              <a:gd name="connsiteX138" fmla="*/ 1294092 w 2051041"/>
              <a:gd name="connsiteY138" fmla="*/ 1677148 h 2084191"/>
              <a:gd name="connsiteX139" fmla="*/ 1315315 w 2051041"/>
              <a:gd name="connsiteY139" fmla="*/ 1655381 h 2084191"/>
              <a:gd name="connsiteX140" fmla="*/ 1479111 w 2051041"/>
              <a:gd name="connsiteY140" fmla="*/ 1654293 h 2084191"/>
              <a:gd name="connsiteX141" fmla="*/ 1501967 w 2051041"/>
              <a:gd name="connsiteY141" fmla="*/ 1677692 h 2084191"/>
              <a:gd name="connsiteX142" fmla="*/ 1479111 w 2051041"/>
              <a:gd name="connsiteY142" fmla="*/ 1700548 h 2084191"/>
              <a:gd name="connsiteX143" fmla="*/ 1455712 w 2051041"/>
              <a:gd name="connsiteY143" fmla="*/ 1676604 h 2084191"/>
              <a:gd name="connsiteX144" fmla="*/ 1479111 w 2051041"/>
              <a:gd name="connsiteY144" fmla="*/ 1654293 h 2084191"/>
              <a:gd name="connsiteX145" fmla="*/ 1643452 w 2051041"/>
              <a:gd name="connsiteY145" fmla="*/ 1650483 h 2084191"/>
              <a:gd name="connsiteX146" fmla="*/ 1668484 w 2051041"/>
              <a:gd name="connsiteY146" fmla="*/ 1676603 h 2084191"/>
              <a:gd name="connsiteX147" fmla="*/ 1643452 w 2051041"/>
              <a:gd name="connsiteY147" fmla="*/ 1703268 h 2084191"/>
              <a:gd name="connsiteX148" fmla="*/ 1617332 w 2051041"/>
              <a:gd name="connsiteY148" fmla="*/ 1677692 h 2084191"/>
              <a:gd name="connsiteX149" fmla="*/ 1643452 w 2051041"/>
              <a:gd name="connsiteY149" fmla="*/ 1650483 h 2084191"/>
              <a:gd name="connsiteX150" fmla="*/ 1968326 w 2051041"/>
              <a:gd name="connsiteY150" fmla="*/ 1649940 h 2084191"/>
              <a:gd name="connsiteX151" fmla="*/ 1995535 w 2051041"/>
              <a:gd name="connsiteY151" fmla="*/ 1676604 h 2084191"/>
              <a:gd name="connsiteX152" fmla="*/ 1968870 w 2051041"/>
              <a:gd name="connsiteY152" fmla="*/ 1704357 h 2084191"/>
              <a:gd name="connsiteX153" fmla="*/ 1941661 w 2051041"/>
              <a:gd name="connsiteY153" fmla="*/ 1677148 h 2084191"/>
              <a:gd name="connsiteX154" fmla="*/ 1968326 w 2051041"/>
              <a:gd name="connsiteY154" fmla="*/ 1649940 h 2084191"/>
              <a:gd name="connsiteX155" fmla="*/ 1805617 w 2051041"/>
              <a:gd name="connsiteY155" fmla="*/ 1649939 h 2084191"/>
              <a:gd name="connsiteX156" fmla="*/ 1832826 w 2051041"/>
              <a:gd name="connsiteY156" fmla="*/ 1677148 h 2084191"/>
              <a:gd name="connsiteX157" fmla="*/ 1805073 w 2051041"/>
              <a:gd name="connsiteY157" fmla="*/ 1704357 h 2084191"/>
              <a:gd name="connsiteX158" fmla="*/ 1778409 w 2051041"/>
              <a:gd name="connsiteY158" fmla="*/ 1677148 h 2084191"/>
              <a:gd name="connsiteX159" fmla="*/ 1805617 w 2051041"/>
              <a:gd name="connsiteY159" fmla="*/ 1649939 h 2084191"/>
              <a:gd name="connsiteX160" fmla="*/ 744474 w 2051041"/>
              <a:gd name="connsiteY160" fmla="*/ 1588992 h 2084191"/>
              <a:gd name="connsiteX161" fmla="*/ 751004 w 2051041"/>
              <a:gd name="connsiteY161" fmla="*/ 1594978 h 2084191"/>
              <a:gd name="connsiteX162" fmla="*/ 745562 w 2051041"/>
              <a:gd name="connsiteY162" fmla="*/ 1602052 h 2084191"/>
              <a:gd name="connsiteX163" fmla="*/ 738488 w 2051041"/>
              <a:gd name="connsiteY163" fmla="*/ 1594978 h 2084191"/>
              <a:gd name="connsiteX164" fmla="*/ 744474 w 2051041"/>
              <a:gd name="connsiteY164" fmla="*/ 1588992 h 2084191"/>
              <a:gd name="connsiteX165" fmla="*/ 907183 w 2051041"/>
              <a:gd name="connsiteY165" fmla="*/ 1579741 h 2084191"/>
              <a:gd name="connsiteX166" fmla="*/ 923508 w 2051041"/>
              <a:gd name="connsiteY166" fmla="*/ 1594978 h 2084191"/>
              <a:gd name="connsiteX167" fmla="*/ 908815 w 2051041"/>
              <a:gd name="connsiteY167" fmla="*/ 1610759 h 2084191"/>
              <a:gd name="connsiteX168" fmla="*/ 892490 w 2051041"/>
              <a:gd name="connsiteY168" fmla="*/ 1595522 h 2084191"/>
              <a:gd name="connsiteX169" fmla="*/ 907183 w 2051041"/>
              <a:gd name="connsiteY169" fmla="*/ 1579741 h 2084191"/>
              <a:gd name="connsiteX170" fmla="*/ 1071524 w 2051041"/>
              <a:gd name="connsiteY170" fmla="*/ 1574843 h 2084191"/>
              <a:gd name="connsiteX171" fmla="*/ 1091114 w 2051041"/>
              <a:gd name="connsiteY171" fmla="*/ 1595522 h 2084191"/>
              <a:gd name="connsiteX172" fmla="*/ 1070980 w 2051041"/>
              <a:gd name="connsiteY172" fmla="*/ 1615656 h 2084191"/>
              <a:gd name="connsiteX173" fmla="*/ 1050301 w 2051041"/>
              <a:gd name="connsiteY173" fmla="*/ 1595522 h 2084191"/>
              <a:gd name="connsiteX174" fmla="*/ 1071524 w 2051041"/>
              <a:gd name="connsiteY174" fmla="*/ 1574843 h 2084191"/>
              <a:gd name="connsiteX175" fmla="*/ 1233688 w 2051041"/>
              <a:gd name="connsiteY175" fmla="*/ 1573210 h 2084191"/>
              <a:gd name="connsiteX176" fmla="*/ 1256544 w 2051041"/>
              <a:gd name="connsiteY176" fmla="*/ 1595522 h 2084191"/>
              <a:gd name="connsiteX177" fmla="*/ 1233688 w 2051041"/>
              <a:gd name="connsiteY177" fmla="*/ 1618377 h 2084191"/>
              <a:gd name="connsiteX178" fmla="*/ 1211377 w 2051041"/>
              <a:gd name="connsiteY178" fmla="*/ 1596610 h 2084191"/>
              <a:gd name="connsiteX179" fmla="*/ 1233688 w 2051041"/>
              <a:gd name="connsiteY179" fmla="*/ 1573210 h 2084191"/>
              <a:gd name="connsiteX180" fmla="*/ 1398030 w 2051041"/>
              <a:gd name="connsiteY180" fmla="*/ 1569402 h 2084191"/>
              <a:gd name="connsiteX181" fmla="*/ 1423062 w 2051041"/>
              <a:gd name="connsiteY181" fmla="*/ 1595522 h 2084191"/>
              <a:gd name="connsiteX182" fmla="*/ 1397485 w 2051041"/>
              <a:gd name="connsiteY182" fmla="*/ 1621099 h 2084191"/>
              <a:gd name="connsiteX183" fmla="*/ 1371365 w 2051041"/>
              <a:gd name="connsiteY183" fmla="*/ 1595522 h 2084191"/>
              <a:gd name="connsiteX184" fmla="*/ 1398030 w 2051041"/>
              <a:gd name="connsiteY184" fmla="*/ 1569402 h 2084191"/>
              <a:gd name="connsiteX185" fmla="*/ 1560194 w 2051041"/>
              <a:gd name="connsiteY185" fmla="*/ 1568313 h 2084191"/>
              <a:gd name="connsiteX186" fmla="*/ 1587947 w 2051041"/>
              <a:gd name="connsiteY186" fmla="*/ 1594433 h 2084191"/>
              <a:gd name="connsiteX187" fmla="*/ 1560194 w 2051041"/>
              <a:gd name="connsiteY187" fmla="*/ 1622730 h 2084191"/>
              <a:gd name="connsiteX188" fmla="*/ 1532985 w 2051041"/>
              <a:gd name="connsiteY188" fmla="*/ 1594977 h 2084191"/>
              <a:gd name="connsiteX189" fmla="*/ 1560194 w 2051041"/>
              <a:gd name="connsiteY189" fmla="*/ 1568313 h 2084191"/>
              <a:gd name="connsiteX190" fmla="*/ 1887244 w 2051041"/>
              <a:gd name="connsiteY190" fmla="*/ 1567225 h 2084191"/>
              <a:gd name="connsiteX191" fmla="*/ 1915541 w 2051041"/>
              <a:gd name="connsiteY191" fmla="*/ 1594978 h 2084191"/>
              <a:gd name="connsiteX192" fmla="*/ 1886699 w 2051041"/>
              <a:gd name="connsiteY192" fmla="*/ 1623819 h 2084191"/>
              <a:gd name="connsiteX193" fmla="*/ 1858947 w 2051041"/>
              <a:gd name="connsiteY193" fmla="*/ 1594978 h 2084191"/>
              <a:gd name="connsiteX194" fmla="*/ 1887244 w 2051041"/>
              <a:gd name="connsiteY194" fmla="*/ 1567225 h 2084191"/>
              <a:gd name="connsiteX195" fmla="*/ 1724535 w 2051041"/>
              <a:gd name="connsiteY195" fmla="*/ 1567225 h 2084191"/>
              <a:gd name="connsiteX196" fmla="*/ 1752288 w 2051041"/>
              <a:gd name="connsiteY196" fmla="*/ 1594978 h 2084191"/>
              <a:gd name="connsiteX197" fmla="*/ 1724535 w 2051041"/>
              <a:gd name="connsiteY197" fmla="*/ 1623275 h 2084191"/>
              <a:gd name="connsiteX198" fmla="*/ 1696238 w 2051041"/>
              <a:gd name="connsiteY198" fmla="*/ 1594978 h 2084191"/>
              <a:gd name="connsiteX199" fmla="*/ 1724535 w 2051041"/>
              <a:gd name="connsiteY199" fmla="*/ 1567225 h 2084191"/>
              <a:gd name="connsiteX200" fmla="*/ 2050496 w 2051041"/>
              <a:gd name="connsiteY200" fmla="*/ 1566680 h 2084191"/>
              <a:gd name="connsiteX201" fmla="*/ 2051041 w 2051041"/>
              <a:gd name="connsiteY201" fmla="*/ 1566888 h 2084191"/>
              <a:gd name="connsiteX202" fmla="*/ 2051041 w 2051041"/>
              <a:gd name="connsiteY202" fmla="*/ 1623794 h 2084191"/>
              <a:gd name="connsiteX203" fmla="*/ 2049408 w 2051041"/>
              <a:gd name="connsiteY203" fmla="*/ 1624363 h 2084191"/>
              <a:gd name="connsiteX204" fmla="*/ 2021655 w 2051041"/>
              <a:gd name="connsiteY204" fmla="*/ 1594977 h 2084191"/>
              <a:gd name="connsiteX205" fmla="*/ 2050496 w 2051041"/>
              <a:gd name="connsiteY205" fmla="*/ 1566680 h 2084191"/>
              <a:gd name="connsiteX206" fmla="*/ 663392 w 2051041"/>
              <a:gd name="connsiteY206" fmla="*/ 1505188 h 2084191"/>
              <a:gd name="connsiteX207" fmla="*/ 674819 w 2051041"/>
              <a:gd name="connsiteY207" fmla="*/ 1513895 h 2084191"/>
              <a:gd name="connsiteX208" fmla="*/ 662848 w 2051041"/>
              <a:gd name="connsiteY208" fmla="*/ 1522058 h 2084191"/>
              <a:gd name="connsiteX209" fmla="*/ 654685 w 2051041"/>
              <a:gd name="connsiteY209" fmla="*/ 1513351 h 2084191"/>
              <a:gd name="connsiteX210" fmla="*/ 663392 w 2051041"/>
              <a:gd name="connsiteY210" fmla="*/ 1505188 h 2084191"/>
              <a:gd name="connsiteX211" fmla="*/ 826101 w 2051041"/>
              <a:gd name="connsiteY211" fmla="*/ 1497570 h 2084191"/>
              <a:gd name="connsiteX212" fmla="*/ 842970 w 2051041"/>
              <a:gd name="connsiteY212" fmla="*/ 1513351 h 2084191"/>
              <a:gd name="connsiteX213" fmla="*/ 826645 w 2051041"/>
              <a:gd name="connsiteY213" fmla="*/ 1529676 h 2084191"/>
              <a:gd name="connsiteX214" fmla="*/ 810319 w 2051041"/>
              <a:gd name="connsiteY214" fmla="*/ 1514983 h 2084191"/>
              <a:gd name="connsiteX215" fmla="*/ 826101 w 2051041"/>
              <a:gd name="connsiteY215" fmla="*/ 1497570 h 2084191"/>
              <a:gd name="connsiteX216" fmla="*/ 988265 w 2051041"/>
              <a:gd name="connsiteY216" fmla="*/ 1492128 h 2084191"/>
              <a:gd name="connsiteX217" fmla="*/ 1010577 w 2051041"/>
              <a:gd name="connsiteY217" fmla="*/ 1513351 h 2084191"/>
              <a:gd name="connsiteX218" fmla="*/ 989354 w 2051041"/>
              <a:gd name="connsiteY218" fmla="*/ 1534574 h 2084191"/>
              <a:gd name="connsiteX219" fmla="*/ 968131 w 2051041"/>
              <a:gd name="connsiteY219" fmla="*/ 1513895 h 2084191"/>
              <a:gd name="connsiteX220" fmla="*/ 988265 w 2051041"/>
              <a:gd name="connsiteY220" fmla="*/ 1492128 h 2084191"/>
              <a:gd name="connsiteX221" fmla="*/ 1152606 w 2051041"/>
              <a:gd name="connsiteY221" fmla="*/ 1490496 h 2084191"/>
              <a:gd name="connsiteX222" fmla="*/ 1176006 w 2051041"/>
              <a:gd name="connsiteY222" fmla="*/ 1513351 h 2084191"/>
              <a:gd name="connsiteX223" fmla="*/ 1152606 w 2051041"/>
              <a:gd name="connsiteY223" fmla="*/ 1537839 h 2084191"/>
              <a:gd name="connsiteX224" fmla="*/ 1129207 w 2051041"/>
              <a:gd name="connsiteY224" fmla="*/ 1514984 h 2084191"/>
              <a:gd name="connsiteX225" fmla="*/ 1152606 w 2051041"/>
              <a:gd name="connsiteY225" fmla="*/ 1490496 h 2084191"/>
              <a:gd name="connsiteX226" fmla="*/ 1316403 w 2051041"/>
              <a:gd name="connsiteY226" fmla="*/ 1487231 h 2084191"/>
              <a:gd name="connsiteX227" fmla="*/ 1342523 w 2051041"/>
              <a:gd name="connsiteY227" fmla="*/ 1513896 h 2084191"/>
              <a:gd name="connsiteX228" fmla="*/ 1315314 w 2051041"/>
              <a:gd name="connsiteY228" fmla="*/ 1540560 h 2084191"/>
              <a:gd name="connsiteX229" fmla="*/ 1288650 w 2051041"/>
              <a:gd name="connsiteY229" fmla="*/ 1513896 h 2084191"/>
              <a:gd name="connsiteX230" fmla="*/ 1316403 w 2051041"/>
              <a:gd name="connsiteY230" fmla="*/ 1487231 h 2084191"/>
              <a:gd name="connsiteX231" fmla="*/ 1479656 w 2051041"/>
              <a:gd name="connsiteY231" fmla="*/ 1485054 h 2084191"/>
              <a:gd name="connsiteX232" fmla="*/ 1507409 w 2051041"/>
              <a:gd name="connsiteY232" fmla="*/ 1513895 h 2084191"/>
              <a:gd name="connsiteX233" fmla="*/ 1479112 w 2051041"/>
              <a:gd name="connsiteY233" fmla="*/ 1541648 h 2084191"/>
              <a:gd name="connsiteX234" fmla="*/ 1451359 w 2051041"/>
              <a:gd name="connsiteY234" fmla="*/ 1513351 h 2084191"/>
              <a:gd name="connsiteX235" fmla="*/ 1479656 w 2051041"/>
              <a:gd name="connsiteY235" fmla="*/ 1485054 h 2084191"/>
              <a:gd name="connsiteX236" fmla="*/ 1641820 w 2051041"/>
              <a:gd name="connsiteY236" fmla="*/ 1482334 h 2084191"/>
              <a:gd name="connsiteX237" fmla="*/ 1673382 w 2051041"/>
              <a:gd name="connsiteY237" fmla="*/ 1512807 h 2084191"/>
              <a:gd name="connsiteX238" fmla="*/ 1642909 w 2051041"/>
              <a:gd name="connsiteY238" fmla="*/ 1544370 h 2084191"/>
              <a:gd name="connsiteX239" fmla="*/ 1612435 w 2051041"/>
              <a:gd name="connsiteY239" fmla="*/ 1513351 h 2084191"/>
              <a:gd name="connsiteX240" fmla="*/ 1641820 w 2051041"/>
              <a:gd name="connsiteY240" fmla="*/ 1482334 h 2084191"/>
              <a:gd name="connsiteX241" fmla="*/ 1804529 w 2051041"/>
              <a:gd name="connsiteY241" fmla="*/ 1481788 h 2084191"/>
              <a:gd name="connsiteX242" fmla="*/ 1837180 w 2051041"/>
              <a:gd name="connsiteY242" fmla="*/ 1513351 h 2084191"/>
              <a:gd name="connsiteX243" fmla="*/ 1805617 w 2051041"/>
              <a:gd name="connsiteY243" fmla="*/ 1545457 h 2084191"/>
              <a:gd name="connsiteX244" fmla="*/ 1773511 w 2051041"/>
              <a:gd name="connsiteY244" fmla="*/ 1514983 h 2084191"/>
              <a:gd name="connsiteX245" fmla="*/ 1804529 w 2051041"/>
              <a:gd name="connsiteY245" fmla="*/ 1481788 h 2084191"/>
              <a:gd name="connsiteX246" fmla="*/ 1968870 w 2051041"/>
              <a:gd name="connsiteY246" fmla="*/ 1480700 h 2084191"/>
              <a:gd name="connsiteX247" fmla="*/ 2000977 w 2051041"/>
              <a:gd name="connsiteY247" fmla="*/ 1513351 h 2084191"/>
              <a:gd name="connsiteX248" fmla="*/ 1968870 w 2051041"/>
              <a:gd name="connsiteY248" fmla="*/ 1545457 h 2084191"/>
              <a:gd name="connsiteX249" fmla="*/ 1936764 w 2051041"/>
              <a:gd name="connsiteY249" fmla="*/ 1513351 h 2084191"/>
              <a:gd name="connsiteX250" fmla="*/ 1968870 w 2051041"/>
              <a:gd name="connsiteY250" fmla="*/ 1480700 h 2084191"/>
              <a:gd name="connsiteX251" fmla="*/ 581221 w 2051041"/>
              <a:gd name="connsiteY251" fmla="*/ 1423562 h 2084191"/>
              <a:gd name="connsiteX252" fmla="*/ 588840 w 2051041"/>
              <a:gd name="connsiteY252" fmla="*/ 1431725 h 2084191"/>
              <a:gd name="connsiteX253" fmla="*/ 581765 w 2051041"/>
              <a:gd name="connsiteY253" fmla="*/ 1443153 h 2084191"/>
              <a:gd name="connsiteX254" fmla="*/ 573059 w 2051041"/>
              <a:gd name="connsiteY254" fmla="*/ 1432813 h 2084191"/>
              <a:gd name="connsiteX255" fmla="*/ 581221 w 2051041"/>
              <a:gd name="connsiteY255" fmla="*/ 1423562 h 2084191"/>
              <a:gd name="connsiteX256" fmla="*/ 745562 w 2051041"/>
              <a:gd name="connsiteY256" fmla="*/ 1414855 h 2084191"/>
              <a:gd name="connsiteX257" fmla="*/ 761344 w 2051041"/>
              <a:gd name="connsiteY257" fmla="*/ 1432269 h 2084191"/>
              <a:gd name="connsiteX258" fmla="*/ 745018 w 2051041"/>
              <a:gd name="connsiteY258" fmla="*/ 1448050 h 2084191"/>
              <a:gd name="connsiteX259" fmla="*/ 728693 w 2051041"/>
              <a:gd name="connsiteY259" fmla="*/ 1431725 h 2084191"/>
              <a:gd name="connsiteX260" fmla="*/ 745562 w 2051041"/>
              <a:gd name="connsiteY260" fmla="*/ 1414855 h 2084191"/>
              <a:gd name="connsiteX261" fmla="*/ 908815 w 2051041"/>
              <a:gd name="connsiteY261" fmla="*/ 1409958 h 2084191"/>
              <a:gd name="connsiteX262" fmla="*/ 930038 w 2051041"/>
              <a:gd name="connsiteY262" fmla="*/ 1431725 h 2084191"/>
              <a:gd name="connsiteX263" fmla="*/ 907183 w 2051041"/>
              <a:gd name="connsiteY263" fmla="*/ 1453492 h 2084191"/>
              <a:gd name="connsiteX264" fmla="*/ 885960 w 2051041"/>
              <a:gd name="connsiteY264" fmla="*/ 1431725 h 2084191"/>
              <a:gd name="connsiteX265" fmla="*/ 908815 w 2051041"/>
              <a:gd name="connsiteY265" fmla="*/ 1409958 h 2084191"/>
              <a:gd name="connsiteX266" fmla="*/ 1070436 w 2051041"/>
              <a:gd name="connsiteY266" fmla="*/ 1406693 h 2084191"/>
              <a:gd name="connsiteX267" fmla="*/ 1096012 w 2051041"/>
              <a:gd name="connsiteY267" fmla="*/ 1432269 h 2084191"/>
              <a:gd name="connsiteX268" fmla="*/ 1070436 w 2051041"/>
              <a:gd name="connsiteY268" fmla="*/ 1457846 h 2084191"/>
              <a:gd name="connsiteX269" fmla="*/ 1045404 w 2051041"/>
              <a:gd name="connsiteY269" fmla="*/ 1431181 h 2084191"/>
              <a:gd name="connsiteX270" fmla="*/ 1070436 w 2051041"/>
              <a:gd name="connsiteY270" fmla="*/ 1406693 h 2084191"/>
              <a:gd name="connsiteX271" fmla="*/ 1235865 w 2051041"/>
              <a:gd name="connsiteY271" fmla="*/ 1404516 h 2084191"/>
              <a:gd name="connsiteX272" fmla="*/ 1261986 w 2051041"/>
              <a:gd name="connsiteY272" fmla="*/ 1433358 h 2084191"/>
              <a:gd name="connsiteX273" fmla="*/ 1233689 w 2051041"/>
              <a:gd name="connsiteY273" fmla="*/ 1459478 h 2084191"/>
              <a:gd name="connsiteX274" fmla="*/ 1206480 w 2051041"/>
              <a:gd name="connsiteY274" fmla="*/ 1432269 h 2084191"/>
              <a:gd name="connsiteX275" fmla="*/ 1235865 w 2051041"/>
              <a:gd name="connsiteY275" fmla="*/ 1404516 h 2084191"/>
              <a:gd name="connsiteX276" fmla="*/ 1397485 w 2051041"/>
              <a:gd name="connsiteY276" fmla="*/ 1400162 h 2084191"/>
              <a:gd name="connsiteX277" fmla="*/ 1427959 w 2051041"/>
              <a:gd name="connsiteY277" fmla="*/ 1431724 h 2084191"/>
              <a:gd name="connsiteX278" fmla="*/ 1398029 w 2051041"/>
              <a:gd name="connsiteY278" fmla="*/ 1463287 h 2084191"/>
              <a:gd name="connsiteX279" fmla="*/ 1366467 w 2051041"/>
              <a:gd name="connsiteY279" fmla="*/ 1432813 h 2084191"/>
              <a:gd name="connsiteX280" fmla="*/ 1397485 w 2051041"/>
              <a:gd name="connsiteY280" fmla="*/ 1400162 h 2084191"/>
              <a:gd name="connsiteX281" fmla="*/ 1561282 w 2051041"/>
              <a:gd name="connsiteY281" fmla="*/ 1399618 h 2084191"/>
              <a:gd name="connsiteX282" fmla="*/ 1593388 w 2051041"/>
              <a:gd name="connsiteY282" fmla="*/ 1432269 h 2084191"/>
              <a:gd name="connsiteX283" fmla="*/ 1560738 w 2051041"/>
              <a:gd name="connsiteY283" fmla="*/ 1464375 h 2084191"/>
              <a:gd name="connsiteX284" fmla="*/ 1528631 w 2051041"/>
              <a:gd name="connsiteY284" fmla="*/ 1432813 h 2084191"/>
              <a:gd name="connsiteX285" fmla="*/ 1561282 w 2051041"/>
              <a:gd name="connsiteY285" fmla="*/ 1399618 h 2084191"/>
              <a:gd name="connsiteX286" fmla="*/ 1723446 w 2051041"/>
              <a:gd name="connsiteY286" fmla="*/ 1399074 h 2084191"/>
              <a:gd name="connsiteX287" fmla="*/ 1757185 w 2051041"/>
              <a:gd name="connsiteY287" fmla="*/ 1432269 h 2084191"/>
              <a:gd name="connsiteX288" fmla="*/ 1723991 w 2051041"/>
              <a:gd name="connsiteY288" fmla="*/ 1465464 h 2084191"/>
              <a:gd name="connsiteX289" fmla="*/ 1691340 w 2051041"/>
              <a:gd name="connsiteY289" fmla="*/ 1433357 h 2084191"/>
              <a:gd name="connsiteX290" fmla="*/ 1723446 w 2051041"/>
              <a:gd name="connsiteY290" fmla="*/ 1399074 h 2084191"/>
              <a:gd name="connsiteX291" fmla="*/ 1886700 w 2051041"/>
              <a:gd name="connsiteY291" fmla="*/ 1398530 h 2084191"/>
              <a:gd name="connsiteX292" fmla="*/ 1920439 w 2051041"/>
              <a:gd name="connsiteY292" fmla="*/ 1432269 h 2084191"/>
              <a:gd name="connsiteX293" fmla="*/ 1887788 w 2051041"/>
              <a:gd name="connsiteY293" fmla="*/ 1464920 h 2084191"/>
              <a:gd name="connsiteX294" fmla="*/ 1854049 w 2051041"/>
              <a:gd name="connsiteY294" fmla="*/ 1433358 h 2084191"/>
              <a:gd name="connsiteX295" fmla="*/ 1886700 w 2051041"/>
              <a:gd name="connsiteY295" fmla="*/ 1398530 h 2084191"/>
              <a:gd name="connsiteX296" fmla="*/ 2051041 w 2051041"/>
              <a:gd name="connsiteY296" fmla="*/ 1398217 h 2084191"/>
              <a:gd name="connsiteX297" fmla="*/ 2051041 w 2051041"/>
              <a:gd name="connsiteY297" fmla="*/ 1464535 h 2084191"/>
              <a:gd name="connsiteX298" fmla="*/ 2049953 w 2051041"/>
              <a:gd name="connsiteY298" fmla="*/ 1464920 h 2084191"/>
              <a:gd name="connsiteX299" fmla="*/ 2017302 w 2051041"/>
              <a:gd name="connsiteY299" fmla="*/ 1431725 h 2084191"/>
              <a:gd name="connsiteX300" fmla="*/ 2027709 w 2051041"/>
              <a:gd name="connsiteY300" fmla="*/ 1408121 h 2084191"/>
              <a:gd name="connsiteX301" fmla="*/ 500139 w 2051041"/>
              <a:gd name="connsiteY301" fmla="*/ 1341936 h 2084191"/>
              <a:gd name="connsiteX302" fmla="*/ 511023 w 2051041"/>
              <a:gd name="connsiteY302" fmla="*/ 1350643 h 2084191"/>
              <a:gd name="connsiteX303" fmla="*/ 499595 w 2051041"/>
              <a:gd name="connsiteY303" fmla="*/ 1358261 h 2084191"/>
              <a:gd name="connsiteX304" fmla="*/ 491432 w 2051041"/>
              <a:gd name="connsiteY304" fmla="*/ 1349010 h 2084191"/>
              <a:gd name="connsiteX305" fmla="*/ 500139 w 2051041"/>
              <a:gd name="connsiteY305" fmla="*/ 1341936 h 2084191"/>
              <a:gd name="connsiteX306" fmla="*/ 662848 w 2051041"/>
              <a:gd name="connsiteY306" fmla="*/ 1333773 h 2084191"/>
              <a:gd name="connsiteX307" fmla="*/ 679173 w 2051041"/>
              <a:gd name="connsiteY307" fmla="*/ 1350643 h 2084191"/>
              <a:gd name="connsiteX308" fmla="*/ 662848 w 2051041"/>
              <a:gd name="connsiteY308" fmla="*/ 1366424 h 2084191"/>
              <a:gd name="connsiteX309" fmla="*/ 647067 w 2051041"/>
              <a:gd name="connsiteY309" fmla="*/ 1350098 h 2084191"/>
              <a:gd name="connsiteX310" fmla="*/ 662848 w 2051041"/>
              <a:gd name="connsiteY310" fmla="*/ 1333773 h 2084191"/>
              <a:gd name="connsiteX311" fmla="*/ 826645 w 2051041"/>
              <a:gd name="connsiteY311" fmla="*/ 1328331 h 2084191"/>
              <a:gd name="connsiteX312" fmla="*/ 847868 w 2051041"/>
              <a:gd name="connsiteY312" fmla="*/ 1350642 h 2084191"/>
              <a:gd name="connsiteX313" fmla="*/ 825556 w 2051041"/>
              <a:gd name="connsiteY313" fmla="*/ 1372409 h 2084191"/>
              <a:gd name="connsiteX314" fmla="*/ 804334 w 2051041"/>
              <a:gd name="connsiteY314" fmla="*/ 1349554 h 2084191"/>
              <a:gd name="connsiteX315" fmla="*/ 826645 w 2051041"/>
              <a:gd name="connsiteY315" fmla="*/ 1328331 h 2084191"/>
              <a:gd name="connsiteX316" fmla="*/ 989353 w 2051041"/>
              <a:gd name="connsiteY316" fmla="*/ 1323978 h 2084191"/>
              <a:gd name="connsiteX317" fmla="*/ 1015473 w 2051041"/>
              <a:gd name="connsiteY317" fmla="*/ 1350098 h 2084191"/>
              <a:gd name="connsiteX318" fmla="*/ 989353 w 2051041"/>
              <a:gd name="connsiteY318" fmla="*/ 1376763 h 2084191"/>
              <a:gd name="connsiteX319" fmla="*/ 963777 w 2051041"/>
              <a:gd name="connsiteY319" fmla="*/ 1350642 h 2084191"/>
              <a:gd name="connsiteX320" fmla="*/ 989353 w 2051041"/>
              <a:gd name="connsiteY320" fmla="*/ 1323978 h 2084191"/>
              <a:gd name="connsiteX321" fmla="*/ 1152606 w 2051041"/>
              <a:gd name="connsiteY321" fmla="*/ 1322889 h 2084191"/>
              <a:gd name="connsiteX322" fmla="*/ 1181447 w 2051041"/>
              <a:gd name="connsiteY322" fmla="*/ 1350098 h 2084191"/>
              <a:gd name="connsiteX323" fmla="*/ 1152606 w 2051041"/>
              <a:gd name="connsiteY323" fmla="*/ 1379483 h 2084191"/>
              <a:gd name="connsiteX324" fmla="*/ 1124853 w 2051041"/>
              <a:gd name="connsiteY324" fmla="*/ 1350642 h 2084191"/>
              <a:gd name="connsiteX325" fmla="*/ 1152606 w 2051041"/>
              <a:gd name="connsiteY325" fmla="*/ 1322889 h 2084191"/>
              <a:gd name="connsiteX326" fmla="*/ 1315315 w 2051041"/>
              <a:gd name="connsiteY326" fmla="*/ 1318536 h 2084191"/>
              <a:gd name="connsiteX327" fmla="*/ 1347966 w 2051041"/>
              <a:gd name="connsiteY327" fmla="*/ 1350098 h 2084191"/>
              <a:gd name="connsiteX328" fmla="*/ 1315315 w 2051041"/>
              <a:gd name="connsiteY328" fmla="*/ 1381661 h 2084191"/>
              <a:gd name="connsiteX329" fmla="*/ 1284297 w 2051041"/>
              <a:gd name="connsiteY329" fmla="*/ 1350098 h 2084191"/>
              <a:gd name="connsiteX330" fmla="*/ 1315315 w 2051041"/>
              <a:gd name="connsiteY330" fmla="*/ 1318536 h 2084191"/>
              <a:gd name="connsiteX331" fmla="*/ 1480744 w 2051041"/>
              <a:gd name="connsiteY331" fmla="*/ 1317448 h 2084191"/>
              <a:gd name="connsiteX332" fmla="*/ 1512306 w 2051041"/>
              <a:gd name="connsiteY332" fmla="*/ 1351731 h 2084191"/>
              <a:gd name="connsiteX333" fmla="*/ 1477479 w 2051041"/>
              <a:gd name="connsiteY333" fmla="*/ 1383293 h 2084191"/>
              <a:gd name="connsiteX334" fmla="*/ 1446461 w 2051041"/>
              <a:gd name="connsiteY334" fmla="*/ 1349554 h 2084191"/>
              <a:gd name="connsiteX335" fmla="*/ 1480744 w 2051041"/>
              <a:gd name="connsiteY335" fmla="*/ 1317448 h 2084191"/>
              <a:gd name="connsiteX336" fmla="*/ 1642908 w 2051041"/>
              <a:gd name="connsiteY336" fmla="*/ 1315815 h 2084191"/>
              <a:gd name="connsiteX337" fmla="*/ 1676647 w 2051041"/>
              <a:gd name="connsiteY337" fmla="*/ 1351731 h 2084191"/>
              <a:gd name="connsiteX338" fmla="*/ 1640732 w 2051041"/>
              <a:gd name="connsiteY338" fmla="*/ 1383837 h 2084191"/>
              <a:gd name="connsiteX339" fmla="*/ 1608081 w 2051041"/>
              <a:gd name="connsiteY339" fmla="*/ 1349554 h 2084191"/>
              <a:gd name="connsiteX340" fmla="*/ 1642908 w 2051041"/>
              <a:gd name="connsiteY340" fmla="*/ 1315815 h 2084191"/>
              <a:gd name="connsiteX341" fmla="*/ 1968870 w 2051041"/>
              <a:gd name="connsiteY341" fmla="*/ 1314183 h 2084191"/>
              <a:gd name="connsiteX342" fmla="*/ 2005329 w 2051041"/>
              <a:gd name="connsiteY342" fmla="*/ 1351187 h 2084191"/>
              <a:gd name="connsiteX343" fmla="*/ 1967781 w 2051041"/>
              <a:gd name="connsiteY343" fmla="*/ 1388191 h 2084191"/>
              <a:gd name="connsiteX344" fmla="*/ 1931866 w 2051041"/>
              <a:gd name="connsiteY344" fmla="*/ 1350098 h 2084191"/>
              <a:gd name="connsiteX345" fmla="*/ 1968870 w 2051041"/>
              <a:gd name="connsiteY345" fmla="*/ 1314183 h 2084191"/>
              <a:gd name="connsiteX346" fmla="*/ 1806161 w 2051041"/>
              <a:gd name="connsiteY346" fmla="*/ 1313639 h 2084191"/>
              <a:gd name="connsiteX347" fmla="*/ 1841533 w 2051041"/>
              <a:gd name="connsiteY347" fmla="*/ 1351187 h 2084191"/>
              <a:gd name="connsiteX348" fmla="*/ 1830105 w 2051041"/>
              <a:gd name="connsiteY348" fmla="*/ 1376763 h 2084191"/>
              <a:gd name="connsiteX349" fmla="*/ 1803984 w 2051041"/>
              <a:gd name="connsiteY349" fmla="*/ 1387102 h 2084191"/>
              <a:gd name="connsiteX350" fmla="*/ 1768613 w 2051041"/>
              <a:gd name="connsiteY350" fmla="*/ 1350098 h 2084191"/>
              <a:gd name="connsiteX351" fmla="*/ 1806161 w 2051041"/>
              <a:gd name="connsiteY351" fmla="*/ 1313639 h 2084191"/>
              <a:gd name="connsiteX352" fmla="*/ 419057 w 2051041"/>
              <a:gd name="connsiteY352" fmla="*/ 1262486 h 2084191"/>
              <a:gd name="connsiteX353" fmla="*/ 424499 w 2051041"/>
              <a:gd name="connsiteY353" fmla="*/ 1269016 h 2084191"/>
              <a:gd name="connsiteX354" fmla="*/ 417969 w 2051041"/>
              <a:gd name="connsiteY354" fmla="*/ 1278811 h 2084191"/>
              <a:gd name="connsiteX355" fmla="*/ 411983 w 2051041"/>
              <a:gd name="connsiteY355" fmla="*/ 1269016 h 2084191"/>
              <a:gd name="connsiteX356" fmla="*/ 419057 w 2051041"/>
              <a:gd name="connsiteY356" fmla="*/ 1262486 h 2084191"/>
              <a:gd name="connsiteX357" fmla="*/ 581221 w 2051041"/>
              <a:gd name="connsiteY357" fmla="*/ 1252147 h 2084191"/>
              <a:gd name="connsiteX358" fmla="*/ 597547 w 2051041"/>
              <a:gd name="connsiteY358" fmla="*/ 1269017 h 2084191"/>
              <a:gd name="connsiteX359" fmla="*/ 580133 w 2051041"/>
              <a:gd name="connsiteY359" fmla="*/ 1284254 h 2084191"/>
              <a:gd name="connsiteX360" fmla="*/ 564896 w 2051041"/>
              <a:gd name="connsiteY360" fmla="*/ 1268472 h 2084191"/>
              <a:gd name="connsiteX361" fmla="*/ 581221 w 2051041"/>
              <a:gd name="connsiteY361" fmla="*/ 1252147 h 2084191"/>
              <a:gd name="connsiteX362" fmla="*/ 745018 w 2051041"/>
              <a:gd name="connsiteY362" fmla="*/ 1246705 h 2084191"/>
              <a:gd name="connsiteX363" fmla="*/ 766241 w 2051041"/>
              <a:gd name="connsiteY363" fmla="*/ 1269560 h 2084191"/>
              <a:gd name="connsiteX364" fmla="*/ 744474 w 2051041"/>
              <a:gd name="connsiteY364" fmla="*/ 1290783 h 2084191"/>
              <a:gd name="connsiteX365" fmla="*/ 722707 w 2051041"/>
              <a:gd name="connsiteY365" fmla="*/ 1267928 h 2084191"/>
              <a:gd name="connsiteX366" fmla="*/ 745018 w 2051041"/>
              <a:gd name="connsiteY366" fmla="*/ 1246705 h 2084191"/>
              <a:gd name="connsiteX367" fmla="*/ 907727 w 2051041"/>
              <a:gd name="connsiteY367" fmla="*/ 1241807 h 2084191"/>
              <a:gd name="connsiteX368" fmla="*/ 933847 w 2051041"/>
              <a:gd name="connsiteY368" fmla="*/ 1269016 h 2084191"/>
              <a:gd name="connsiteX369" fmla="*/ 907183 w 2051041"/>
              <a:gd name="connsiteY369" fmla="*/ 1295136 h 2084191"/>
              <a:gd name="connsiteX370" fmla="*/ 880518 w 2051041"/>
              <a:gd name="connsiteY370" fmla="*/ 1267927 h 2084191"/>
              <a:gd name="connsiteX371" fmla="*/ 907727 w 2051041"/>
              <a:gd name="connsiteY371" fmla="*/ 1241807 h 2084191"/>
              <a:gd name="connsiteX372" fmla="*/ 1070979 w 2051041"/>
              <a:gd name="connsiteY372" fmla="*/ 1240719 h 2084191"/>
              <a:gd name="connsiteX373" fmla="*/ 1099821 w 2051041"/>
              <a:gd name="connsiteY373" fmla="*/ 1268472 h 2084191"/>
              <a:gd name="connsiteX374" fmla="*/ 1070435 w 2051041"/>
              <a:gd name="connsiteY374" fmla="*/ 1297858 h 2084191"/>
              <a:gd name="connsiteX375" fmla="*/ 1042138 w 2051041"/>
              <a:gd name="connsiteY375" fmla="*/ 1269560 h 2084191"/>
              <a:gd name="connsiteX376" fmla="*/ 1070979 w 2051041"/>
              <a:gd name="connsiteY376" fmla="*/ 1240719 h 2084191"/>
              <a:gd name="connsiteX377" fmla="*/ 1234233 w 2051041"/>
              <a:gd name="connsiteY377" fmla="*/ 1235821 h 2084191"/>
              <a:gd name="connsiteX378" fmla="*/ 1266883 w 2051041"/>
              <a:gd name="connsiteY378" fmla="*/ 1269016 h 2084191"/>
              <a:gd name="connsiteX379" fmla="*/ 1234233 w 2051041"/>
              <a:gd name="connsiteY379" fmla="*/ 1300578 h 2084191"/>
              <a:gd name="connsiteX380" fmla="*/ 1201582 w 2051041"/>
              <a:gd name="connsiteY380" fmla="*/ 1267383 h 2084191"/>
              <a:gd name="connsiteX381" fmla="*/ 1234233 w 2051041"/>
              <a:gd name="connsiteY381" fmla="*/ 1235821 h 2084191"/>
              <a:gd name="connsiteX382" fmla="*/ 1396397 w 2051041"/>
              <a:gd name="connsiteY382" fmla="*/ 1234733 h 2084191"/>
              <a:gd name="connsiteX383" fmla="*/ 1431224 w 2051041"/>
              <a:gd name="connsiteY383" fmla="*/ 1268472 h 2084191"/>
              <a:gd name="connsiteX384" fmla="*/ 1396941 w 2051041"/>
              <a:gd name="connsiteY384" fmla="*/ 1302755 h 2084191"/>
              <a:gd name="connsiteX385" fmla="*/ 1363746 w 2051041"/>
              <a:gd name="connsiteY385" fmla="*/ 1269016 h 2084191"/>
              <a:gd name="connsiteX386" fmla="*/ 1396397 w 2051041"/>
              <a:gd name="connsiteY386" fmla="*/ 1234733 h 2084191"/>
              <a:gd name="connsiteX387" fmla="*/ 1559649 w 2051041"/>
              <a:gd name="connsiteY387" fmla="*/ 1232557 h 2084191"/>
              <a:gd name="connsiteX388" fmla="*/ 1597742 w 2051041"/>
              <a:gd name="connsiteY388" fmla="*/ 1268472 h 2084191"/>
              <a:gd name="connsiteX389" fmla="*/ 1561826 w 2051041"/>
              <a:gd name="connsiteY389" fmla="*/ 1305476 h 2084191"/>
              <a:gd name="connsiteX390" fmla="*/ 1523734 w 2051041"/>
              <a:gd name="connsiteY390" fmla="*/ 1269561 h 2084191"/>
              <a:gd name="connsiteX391" fmla="*/ 1559649 w 2051041"/>
              <a:gd name="connsiteY391" fmla="*/ 1232557 h 2084191"/>
              <a:gd name="connsiteX392" fmla="*/ 1723990 w 2051041"/>
              <a:gd name="connsiteY392" fmla="*/ 1231468 h 2084191"/>
              <a:gd name="connsiteX393" fmla="*/ 1762083 w 2051041"/>
              <a:gd name="connsiteY393" fmla="*/ 1268472 h 2084191"/>
              <a:gd name="connsiteX394" fmla="*/ 1724535 w 2051041"/>
              <a:gd name="connsiteY394" fmla="*/ 1307109 h 2084191"/>
              <a:gd name="connsiteX395" fmla="*/ 1686442 w 2051041"/>
              <a:gd name="connsiteY395" fmla="*/ 1270105 h 2084191"/>
              <a:gd name="connsiteX396" fmla="*/ 1723990 w 2051041"/>
              <a:gd name="connsiteY396" fmla="*/ 1231468 h 2084191"/>
              <a:gd name="connsiteX397" fmla="*/ 1888332 w 2051041"/>
              <a:gd name="connsiteY397" fmla="*/ 1230924 h 2084191"/>
              <a:gd name="connsiteX398" fmla="*/ 1925336 w 2051041"/>
              <a:gd name="connsiteY398" fmla="*/ 1269561 h 2084191"/>
              <a:gd name="connsiteX399" fmla="*/ 1887243 w 2051041"/>
              <a:gd name="connsiteY399" fmla="*/ 1307653 h 2084191"/>
              <a:gd name="connsiteX400" fmla="*/ 1849151 w 2051041"/>
              <a:gd name="connsiteY400" fmla="*/ 1267928 h 2084191"/>
              <a:gd name="connsiteX401" fmla="*/ 1888332 w 2051041"/>
              <a:gd name="connsiteY401" fmla="*/ 1230924 h 2084191"/>
              <a:gd name="connsiteX402" fmla="*/ 2049952 w 2051041"/>
              <a:gd name="connsiteY402" fmla="*/ 1230380 h 2084191"/>
              <a:gd name="connsiteX403" fmla="*/ 2051041 w 2051041"/>
              <a:gd name="connsiteY403" fmla="*/ 1230805 h 2084191"/>
              <a:gd name="connsiteX404" fmla="*/ 2051041 w 2051041"/>
              <a:gd name="connsiteY404" fmla="*/ 1307109 h 2084191"/>
              <a:gd name="connsiteX405" fmla="*/ 2012404 w 2051041"/>
              <a:gd name="connsiteY405" fmla="*/ 1268472 h 2084191"/>
              <a:gd name="connsiteX406" fmla="*/ 2049952 w 2051041"/>
              <a:gd name="connsiteY406" fmla="*/ 1230380 h 2084191"/>
              <a:gd name="connsiteX407" fmla="*/ 337431 w 2051041"/>
              <a:gd name="connsiteY407" fmla="*/ 1181404 h 2084191"/>
              <a:gd name="connsiteX408" fmla="*/ 345050 w 2051041"/>
              <a:gd name="connsiteY408" fmla="*/ 1187934 h 2084191"/>
              <a:gd name="connsiteX409" fmla="*/ 336343 w 2051041"/>
              <a:gd name="connsiteY409" fmla="*/ 1192288 h 2084191"/>
              <a:gd name="connsiteX410" fmla="*/ 330901 w 2051041"/>
              <a:gd name="connsiteY410" fmla="*/ 1185758 h 2084191"/>
              <a:gd name="connsiteX411" fmla="*/ 337431 w 2051041"/>
              <a:gd name="connsiteY411" fmla="*/ 1181404 h 2084191"/>
              <a:gd name="connsiteX412" fmla="*/ 499051 w 2051041"/>
              <a:gd name="connsiteY412" fmla="*/ 1171065 h 2084191"/>
              <a:gd name="connsiteX413" fmla="*/ 516465 w 2051041"/>
              <a:gd name="connsiteY413" fmla="*/ 1187390 h 2084191"/>
              <a:gd name="connsiteX414" fmla="*/ 500140 w 2051041"/>
              <a:gd name="connsiteY414" fmla="*/ 1202627 h 2084191"/>
              <a:gd name="connsiteX415" fmla="*/ 483814 w 2051041"/>
              <a:gd name="connsiteY415" fmla="*/ 1187390 h 2084191"/>
              <a:gd name="connsiteX416" fmla="*/ 499051 w 2051041"/>
              <a:gd name="connsiteY416" fmla="*/ 1171065 h 2084191"/>
              <a:gd name="connsiteX417" fmla="*/ 662848 w 2051041"/>
              <a:gd name="connsiteY417" fmla="*/ 1165623 h 2084191"/>
              <a:gd name="connsiteX418" fmla="*/ 684615 w 2051041"/>
              <a:gd name="connsiteY418" fmla="*/ 1187390 h 2084191"/>
              <a:gd name="connsiteX419" fmla="*/ 662848 w 2051041"/>
              <a:gd name="connsiteY419" fmla="*/ 1209157 h 2084191"/>
              <a:gd name="connsiteX420" fmla="*/ 641081 w 2051041"/>
              <a:gd name="connsiteY420" fmla="*/ 1186846 h 2084191"/>
              <a:gd name="connsiteX421" fmla="*/ 662848 w 2051041"/>
              <a:gd name="connsiteY421" fmla="*/ 1165623 h 2084191"/>
              <a:gd name="connsiteX422" fmla="*/ 825556 w 2051041"/>
              <a:gd name="connsiteY422" fmla="*/ 1160725 h 2084191"/>
              <a:gd name="connsiteX423" fmla="*/ 852765 w 2051041"/>
              <a:gd name="connsiteY423" fmla="*/ 1186846 h 2084191"/>
              <a:gd name="connsiteX424" fmla="*/ 826645 w 2051041"/>
              <a:gd name="connsiteY424" fmla="*/ 1213511 h 2084191"/>
              <a:gd name="connsiteX425" fmla="*/ 798892 w 2051041"/>
              <a:gd name="connsiteY425" fmla="*/ 1188479 h 2084191"/>
              <a:gd name="connsiteX426" fmla="*/ 825556 w 2051041"/>
              <a:gd name="connsiteY426" fmla="*/ 1160725 h 2084191"/>
              <a:gd name="connsiteX427" fmla="*/ 989353 w 2051041"/>
              <a:gd name="connsiteY427" fmla="*/ 1158004 h 2084191"/>
              <a:gd name="connsiteX428" fmla="*/ 1018195 w 2051041"/>
              <a:gd name="connsiteY428" fmla="*/ 1187934 h 2084191"/>
              <a:gd name="connsiteX429" fmla="*/ 988809 w 2051041"/>
              <a:gd name="connsiteY429" fmla="*/ 1216775 h 2084191"/>
              <a:gd name="connsiteX430" fmla="*/ 959968 w 2051041"/>
              <a:gd name="connsiteY430" fmla="*/ 1187934 h 2084191"/>
              <a:gd name="connsiteX431" fmla="*/ 989353 w 2051041"/>
              <a:gd name="connsiteY431" fmla="*/ 1158004 h 2084191"/>
              <a:gd name="connsiteX432" fmla="*/ 1152062 w 2051041"/>
              <a:gd name="connsiteY432" fmla="*/ 1153651 h 2084191"/>
              <a:gd name="connsiteX433" fmla="*/ 1185801 w 2051041"/>
              <a:gd name="connsiteY433" fmla="*/ 1186301 h 2084191"/>
              <a:gd name="connsiteX434" fmla="*/ 1153150 w 2051041"/>
              <a:gd name="connsiteY434" fmla="*/ 1219496 h 2084191"/>
              <a:gd name="connsiteX435" fmla="*/ 1119956 w 2051041"/>
              <a:gd name="connsiteY435" fmla="*/ 1187390 h 2084191"/>
              <a:gd name="connsiteX436" fmla="*/ 1152062 w 2051041"/>
              <a:gd name="connsiteY436" fmla="*/ 1153651 h 2084191"/>
              <a:gd name="connsiteX437" fmla="*/ 1315315 w 2051041"/>
              <a:gd name="connsiteY437" fmla="*/ 1152018 h 2084191"/>
              <a:gd name="connsiteX438" fmla="*/ 1351230 w 2051041"/>
              <a:gd name="connsiteY438" fmla="*/ 1186845 h 2084191"/>
              <a:gd name="connsiteX439" fmla="*/ 1315859 w 2051041"/>
              <a:gd name="connsiteY439" fmla="*/ 1221673 h 2084191"/>
              <a:gd name="connsiteX440" fmla="*/ 1281576 w 2051041"/>
              <a:gd name="connsiteY440" fmla="*/ 1187390 h 2084191"/>
              <a:gd name="connsiteX441" fmla="*/ 1315315 w 2051041"/>
              <a:gd name="connsiteY441" fmla="*/ 1152018 h 2084191"/>
              <a:gd name="connsiteX442" fmla="*/ 1479656 w 2051041"/>
              <a:gd name="connsiteY442" fmla="*/ 1149298 h 2084191"/>
              <a:gd name="connsiteX443" fmla="*/ 1516660 w 2051041"/>
              <a:gd name="connsiteY443" fmla="*/ 1188479 h 2084191"/>
              <a:gd name="connsiteX444" fmla="*/ 1478023 w 2051041"/>
              <a:gd name="connsiteY444" fmla="*/ 1224394 h 2084191"/>
              <a:gd name="connsiteX445" fmla="*/ 1441563 w 2051041"/>
              <a:gd name="connsiteY445" fmla="*/ 1185758 h 2084191"/>
              <a:gd name="connsiteX446" fmla="*/ 1479656 w 2051041"/>
              <a:gd name="connsiteY446" fmla="*/ 1149298 h 2084191"/>
              <a:gd name="connsiteX447" fmla="*/ 1642365 w 2051041"/>
              <a:gd name="connsiteY447" fmla="*/ 1148209 h 2084191"/>
              <a:gd name="connsiteX448" fmla="*/ 1681001 w 2051041"/>
              <a:gd name="connsiteY448" fmla="*/ 1187390 h 2084191"/>
              <a:gd name="connsiteX449" fmla="*/ 1641821 w 2051041"/>
              <a:gd name="connsiteY449" fmla="*/ 1226026 h 2084191"/>
              <a:gd name="connsiteX450" fmla="*/ 1603728 w 2051041"/>
              <a:gd name="connsiteY450" fmla="*/ 1186846 h 2084191"/>
              <a:gd name="connsiteX451" fmla="*/ 1642365 w 2051041"/>
              <a:gd name="connsiteY451" fmla="*/ 1148209 h 2084191"/>
              <a:gd name="connsiteX452" fmla="*/ 1969414 w 2051041"/>
              <a:gd name="connsiteY452" fmla="*/ 1147665 h 2084191"/>
              <a:gd name="connsiteX453" fmla="*/ 2009139 w 2051041"/>
              <a:gd name="connsiteY453" fmla="*/ 1187934 h 2084191"/>
              <a:gd name="connsiteX454" fmla="*/ 1968870 w 2051041"/>
              <a:gd name="connsiteY454" fmla="*/ 1227114 h 2084191"/>
              <a:gd name="connsiteX455" fmla="*/ 1929145 w 2051041"/>
              <a:gd name="connsiteY455" fmla="*/ 1186301 h 2084191"/>
              <a:gd name="connsiteX456" fmla="*/ 1969414 w 2051041"/>
              <a:gd name="connsiteY456" fmla="*/ 1147665 h 2084191"/>
              <a:gd name="connsiteX457" fmla="*/ 1805617 w 2051041"/>
              <a:gd name="connsiteY457" fmla="*/ 1147665 h 2084191"/>
              <a:gd name="connsiteX458" fmla="*/ 1844798 w 2051041"/>
              <a:gd name="connsiteY458" fmla="*/ 1187934 h 2084191"/>
              <a:gd name="connsiteX459" fmla="*/ 1805073 w 2051041"/>
              <a:gd name="connsiteY459" fmla="*/ 1226571 h 2084191"/>
              <a:gd name="connsiteX460" fmla="*/ 1766981 w 2051041"/>
              <a:gd name="connsiteY460" fmla="*/ 1186845 h 2084191"/>
              <a:gd name="connsiteX461" fmla="*/ 1805617 w 2051041"/>
              <a:gd name="connsiteY461" fmla="*/ 1147665 h 2084191"/>
              <a:gd name="connsiteX462" fmla="*/ 417425 w 2051041"/>
              <a:gd name="connsiteY462" fmla="*/ 1090527 h 2084191"/>
              <a:gd name="connsiteX463" fmla="*/ 432662 w 2051041"/>
              <a:gd name="connsiteY463" fmla="*/ 1105764 h 2084191"/>
              <a:gd name="connsiteX464" fmla="*/ 417969 w 2051041"/>
              <a:gd name="connsiteY464" fmla="*/ 1120457 h 2084191"/>
              <a:gd name="connsiteX465" fmla="*/ 402732 w 2051041"/>
              <a:gd name="connsiteY465" fmla="*/ 1105219 h 2084191"/>
              <a:gd name="connsiteX466" fmla="*/ 417425 w 2051041"/>
              <a:gd name="connsiteY466" fmla="*/ 1090527 h 2084191"/>
              <a:gd name="connsiteX467" fmla="*/ 580677 w 2051041"/>
              <a:gd name="connsiteY467" fmla="*/ 1083996 h 2084191"/>
              <a:gd name="connsiteX468" fmla="*/ 602444 w 2051041"/>
              <a:gd name="connsiteY468" fmla="*/ 1105219 h 2084191"/>
              <a:gd name="connsiteX469" fmla="*/ 581221 w 2051041"/>
              <a:gd name="connsiteY469" fmla="*/ 1127530 h 2084191"/>
              <a:gd name="connsiteX470" fmla="*/ 558910 w 2051041"/>
              <a:gd name="connsiteY470" fmla="*/ 1105219 h 2084191"/>
              <a:gd name="connsiteX471" fmla="*/ 580677 w 2051041"/>
              <a:gd name="connsiteY471" fmla="*/ 1083996 h 2084191"/>
              <a:gd name="connsiteX472" fmla="*/ 743386 w 2051041"/>
              <a:gd name="connsiteY472" fmla="*/ 1079099 h 2084191"/>
              <a:gd name="connsiteX473" fmla="*/ 770595 w 2051041"/>
              <a:gd name="connsiteY473" fmla="*/ 1105219 h 2084191"/>
              <a:gd name="connsiteX474" fmla="*/ 745019 w 2051041"/>
              <a:gd name="connsiteY474" fmla="*/ 1132428 h 2084191"/>
              <a:gd name="connsiteX475" fmla="*/ 717810 w 2051041"/>
              <a:gd name="connsiteY475" fmla="*/ 1106308 h 2084191"/>
              <a:gd name="connsiteX476" fmla="*/ 743386 w 2051041"/>
              <a:gd name="connsiteY476" fmla="*/ 1079099 h 2084191"/>
              <a:gd name="connsiteX477" fmla="*/ 907727 w 2051041"/>
              <a:gd name="connsiteY477" fmla="*/ 1076378 h 2084191"/>
              <a:gd name="connsiteX478" fmla="*/ 937112 w 2051041"/>
              <a:gd name="connsiteY478" fmla="*/ 1105219 h 2084191"/>
              <a:gd name="connsiteX479" fmla="*/ 908271 w 2051041"/>
              <a:gd name="connsiteY479" fmla="*/ 1134061 h 2084191"/>
              <a:gd name="connsiteX480" fmla="*/ 878885 w 2051041"/>
              <a:gd name="connsiteY480" fmla="*/ 1105764 h 2084191"/>
              <a:gd name="connsiteX481" fmla="*/ 907727 w 2051041"/>
              <a:gd name="connsiteY481" fmla="*/ 1076378 h 2084191"/>
              <a:gd name="connsiteX482" fmla="*/ 1071524 w 2051041"/>
              <a:gd name="connsiteY482" fmla="*/ 1072569 h 2084191"/>
              <a:gd name="connsiteX483" fmla="*/ 1104174 w 2051041"/>
              <a:gd name="connsiteY483" fmla="*/ 1105220 h 2084191"/>
              <a:gd name="connsiteX484" fmla="*/ 1070435 w 2051041"/>
              <a:gd name="connsiteY484" fmla="*/ 1137870 h 2084191"/>
              <a:gd name="connsiteX485" fmla="*/ 1038329 w 2051041"/>
              <a:gd name="connsiteY485" fmla="*/ 1105764 h 2084191"/>
              <a:gd name="connsiteX486" fmla="*/ 1071524 w 2051041"/>
              <a:gd name="connsiteY486" fmla="*/ 1072569 h 2084191"/>
              <a:gd name="connsiteX487" fmla="*/ 1235865 w 2051041"/>
              <a:gd name="connsiteY487" fmla="*/ 1068760 h 2084191"/>
              <a:gd name="connsiteX488" fmla="*/ 1271237 w 2051041"/>
              <a:gd name="connsiteY488" fmla="*/ 1106852 h 2084191"/>
              <a:gd name="connsiteX489" fmla="*/ 1234777 w 2051041"/>
              <a:gd name="connsiteY489" fmla="*/ 1142223 h 2084191"/>
              <a:gd name="connsiteX490" fmla="*/ 1198861 w 2051041"/>
              <a:gd name="connsiteY490" fmla="*/ 1105219 h 2084191"/>
              <a:gd name="connsiteX491" fmla="*/ 1235865 w 2051041"/>
              <a:gd name="connsiteY491" fmla="*/ 1068760 h 2084191"/>
              <a:gd name="connsiteX492" fmla="*/ 1396397 w 2051041"/>
              <a:gd name="connsiteY492" fmla="*/ 1067127 h 2084191"/>
              <a:gd name="connsiteX493" fmla="*/ 1435578 w 2051041"/>
              <a:gd name="connsiteY493" fmla="*/ 1105219 h 2084191"/>
              <a:gd name="connsiteX494" fmla="*/ 1396941 w 2051041"/>
              <a:gd name="connsiteY494" fmla="*/ 1143856 h 2084191"/>
              <a:gd name="connsiteX495" fmla="*/ 1358849 w 2051041"/>
              <a:gd name="connsiteY495" fmla="*/ 1105763 h 2084191"/>
              <a:gd name="connsiteX496" fmla="*/ 1396397 w 2051041"/>
              <a:gd name="connsiteY496" fmla="*/ 1067127 h 2084191"/>
              <a:gd name="connsiteX497" fmla="*/ 1560738 w 2051041"/>
              <a:gd name="connsiteY497" fmla="*/ 1066582 h 2084191"/>
              <a:gd name="connsiteX498" fmla="*/ 1599919 w 2051041"/>
              <a:gd name="connsiteY498" fmla="*/ 1105763 h 2084191"/>
              <a:gd name="connsiteX499" fmla="*/ 1560738 w 2051041"/>
              <a:gd name="connsiteY499" fmla="*/ 1144400 h 2084191"/>
              <a:gd name="connsiteX500" fmla="*/ 1521013 w 2051041"/>
              <a:gd name="connsiteY500" fmla="*/ 1105763 h 2084191"/>
              <a:gd name="connsiteX501" fmla="*/ 1560738 w 2051041"/>
              <a:gd name="connsiteY501" fmla="*/ 1066582 h 2084191"/>
              <a:gd name="connsiteX502" fmla="*/ 1723447 w 2051041"/>
              <a:gd name="connsiteY502" fmla="*/ 1064406 h 2084191"/>
              <a:gd name="connsiteX503" fmla="*/ 1764260 w 2051041"/>
              <a:gd name="connsiteY503" fmla="*/ 1104675 h 2084191"/>
              <a:gd name="connsiteX504" fmla="*/ 1724535 w 2051041"/>
              <a:gd name="connsiteY504" fmla="*/ 1146032 h 2084191"/>
              <a:gd name="connsiteX505" fmla="*/ 1683178 w 2051041"/>
              <a:gd name="connsiteY505" fmla="*/ 1105764 h 2084191"/>
              <a:gd name="connsiteX506" fmla="*/ 1723447 w 2051041"/>
              <a:gd name="connsiteY506" fmla="*/ 1064406 h 2084191"/>
              <a:gd name="connsiteX507" fmla="*/ 2051041 w 2051041"/>
              <a:gd name="connsiteY507" fmla="*/ 1063318 h 2084191"/>
              <a:gd name="connsiteX508" fmla="*/ 2051041 w 2051041"/>
              <a:gd name="connsiteY508" fmla="*/ 1147740 h 2084191"/>
              <a:gd name="connsiteX509" fmla="*/ 2049952 w 2051041"/>
              <a:gd name="connsiteY509" fmla="*/ 1148210 h 2084191"/>
              <a:gd name="connsiteX510" fmla="*/ 2008051 w 2051041"/>
              <a:gd name="connsiteY510" fmla="*/ 1105764 h 2084191"/>
              <a:gd name="connsiteX511" fmla="*/ 2051041 w 2051041"/>
              <a:gd name="connsiteY511" fmla="*/ 1063318 h 2084191"/>
              <a:gd name="connsiteX512" fmla="*/ 1887787 w 2051041"/>
              <a:gd name="connsiteY512" fmla="*/ 1062773 h 2084191"/>
              <a:gd name="connsiteX513" fmla="*/ 1929145 w 2051041"/>
              <a:gd name="connsiteY513" fmla="*/ 1105763 h 2084191"/>
              <a:gd name="connsiteX514" fmla="*/ 1886699 w 2051041"/>
              <a:gd name="connsiteY514" fmla="*/ 1147665 h 2084191"/>
              <a:gd name="connsiteX515" fmla="*/ 1844798 w 2051041"/>
              <a:gd name="connsiteY515" fmla="*/ 1105219 h 2084191"/>
              <a:gd name="connsiteX516" fmla="*/ 1887787 w 2051041"/>
              <a:gd name="connsiteY516" fmla="*/ 1062773 h 2084191"/>
              <a:gd name="connsiteX517" fmla="*/ 335798 w 2051041"/>
              <a:gd name="connsiteY517" fmla="*/ 1011621 h 2084191"/>
              <a:gd name="connsiteX518" fmla="*/ 348314 w 2051041"/>
              <a:gd name="connsiteY518" fmla="*/ 1023049 h 2084191"/>
              <a:gd name="connsiteX519" fmla="*/ 336886 w 2051041"/>
              <a:gd name="connsiteY519" fmla="*/ 1036109 h 2084191"/>
              <a:gd name="connsiteX520" fmla="*/ 324370 w 2051041"/>
              <a:gd name="connsiteY520" fmla="*/ 1024681 h 2084191"/>
              <a:gd name="connsiteX521" fmla="*/ 335798 w 2051041"/>
              <a:gd name="connsiteY521" fmla="*/ 1011621 h 2084191"/>
              <a:gd name="connsiteX522" fmla="*/ 499051 w 2051041"/>
              <a:gd name="connsiteY522" fmla="*/ 1002914 h 2084191"/>
              <a:gd name="connsiteX523" fmla="*/ 520818 w 2051041"/>
              <a:gd name="connsiteY523" fmla="*/ 1024137 h 2084191"/>
              <a:gd name="connsiteX524" fmla="*/ 499595 w 2051041"/>
              <a:gd name="connsiteY524" fmla="*/ 1045360 h 2084191"/>
              <a:gd name="connsiteX525" fmla="*/ 478372 w 2051041"/>
              <a:gd name="connsiteY525" fmla="*/ 1024137 h 2084191"/>
              <a:gd name="connsiteX526" fmla="*/ 499051 w 2051041"/>
              <a:gd name="connsiteY526" fmla="*/ 1002914 h 2084191"/>
              <a:gd name="connsiteX527" fmla="*/ 663392 w 2051041"/>
              <a:gd name="connsiteY527" fmla="*/ 997473 h 2084191"/>
              <a:gd name="connsiteX528" fmla="*/ 688424 w 2051041"/>
              <a:gd name="connsiteY528" fmla="*/ 1024138 h 2084191"/>
              <a:gd name="connsiteX529" fmla="*/ 661759 w 2051041"/>
              <a:gd name="connsiteY529" fmla="*/ 1050258 h 2084191"/>
              <a:gd name="connsiteX530" fmla="*/ 636727 w 2051041"/>
              <a:gd name="connsiteY530" fmla="*/ 1023593 h 2084191"/>
              <a:gd name="connsiteX531" fmla="*/ 663392 w 2051041"/>
              <a:gd name="connsiteY531" fmla="*/ 997473 h 2084191"/>
              <a:gd name="connsiteX532" fmla="*/ 826645 w 2051041"/>
              <a:gd name="connsiteY532" fmla="*/ 995840 h 2084191"/>
              <a:gd name="connsiteX533" fmla="*/ 854942 w 2051041"/>
              <a:gd name="connsiteY533" fmla="*/ 1024137 h 2084191"/>
              <a:gd name="connsiteX534" fmla="*/ 825557 w 2051041"/>
              <a:gd name="connsiteY534" fmla="*/ 1052978 h 2084191"/>
              <a:gd name="connsiteX535" fmla="*/ 797260 w 2051041"/>
              <a:gd name="connsiteY535" fmla="*/ 1023593 h 2084191"/>
              <a:gd name="connsiteX536" fmla="*/ 826645 w 2051041"/>
              <a:gd name="connsiteY536" fmla="*/ 995840 h 2084191"/>
              <a:gd name="connsiteX537" fmla="*/ 990441 w 2051041"/>
              <a:gd name="connsiteY537" fmla="*/ 990942 h 2084191"/>
              <a:gd name="connsiteX538" fmla="*/ 1022548 w 2051041"/>
              <a:gd name="connsiteY538" fmla="*/ 1025225 h 2084191"/>
              <a:gd name="connsiteX539" fmla="*/ 988809 w 2051041"/>
              <a:gd name="connsiteY539" fmla="*/ 1056787 h 2084191"/>
              <a:gd name="connsiteX540" fmla="*/ 956702 w 2051041"/>
              <a:gd name="connsiteY540" fmla="*/ 1023593 h 2084191"/>
              <a:gd name="connsiteX541" fmla="*/ 990441 w 2051041"/>
              <a:gd name="connsiteY541" fmla="*/ 990942 h 2084191"/>
              <a:gd name="connsiteX542" fmla="*/ 1150974 w 2051041"/>
              <a:gd name="connsiteY542" fmla="*/ 987678 h 2084191"/>
              <a:gd name="connsiteX543" fmla="*/ 1189610 w 2051041"/>
              <a:gd name="connsiteY543" fmla="*/ 1023593 h 2084191"/>
              <a:gd name="connsiteX544" fmla="*/ 1152062 w 2051041"/>
              <a:gd name="connsiteY544" fmla="*/ 1061685 h 2084191"/>
              <a:gd name="connsiteX545" fmla="*/ 1115058 w 2051041"/>
              <a:gd name="connsiteY545" fmla="*/ 1024682 h 2084191"/>
              <a:gd name="connsiteX546" fmla="*/ 1150974 w 2051041"/>
              <a:gd name="connsiteY546" fmla="*/ 987678 h 2084191"/>
              <a:gd name="connsiteX547" fmla="*/ 1315314 w 2051041"/>
              <a:gd name="connsiteY547" fmla="*/ 985501 h 2084191"/>
              <a:gd name="connsiteX548" fmla="*/ 1354495 w 2051041"/>
              <a:gd name="connsiteY548" fmla="*/ 1023593 h 2084191"/>
              <a:gd name="connsiteX549" fmla="*/ 1315858 w 2051041"/>
              <a:gd name="connsiteY549" fmla="*/ 1062230 h 2084191"/>
              <a:gd name="connsiteX550" fmla="*/ 1277222 w 2051041"/>
              <a:gd name="connsiteY550" fmla="*/ 1024137 h 2084191"/>
              <a:gd name="connsiteX551" fmla="*/ 1315314 w 2051041"/>
              <a:gd name="connsiteY551" fmla="*/ 985501 h 2084191"/>
              <a:gd name="connsiteX552" fmla="*/ 1479656 w 2051041"/>
              <a:gd name="connsiteY552" fmla="*/ 984412 h 2084191"/>
              <a:gd name="connsiteX553" fmla="*/ 1519380 w 2051041"/>
              <a:gd name="connsiteY553" fmla="*/ 1025225 h 2084191"/>
              <a:gd name="connsiteX554" fmla="*/ 1478567 w 2051041"/>
              <a:gd name="connsiteY554" fmla="*/ 1063318 h 2084191"/>
              <a:gd name="connsiteX555" fmla="*/ 1439387 w 2051041"/>
              <a:gd name="connsiteY555" fmla="*/ 1023593 h 2084191"/>
              <a:gd name="connsiteX556" fmla="*/ 1479656 w 2051041"/>
              <a:gd name="connsiteY556" fmla="*/ 984412 h 2084191"/>
              <a:gd name="connsiteX557" fmla="*/ 1641820 w 2051041"/>
              <a:gd name="connsiteY557" fmla="*/ 981691 h 2084191"/>
              <a:gd name="connsiteX558" fmla="*/ 1684810 w 2051041"/>
              <a:gd name="connsiteY558" fmla="*/ 1023592 h 2084191"/>
              <a:gd name="connsiteX559" fmla="*/ 1642909 w 2051041"/>
              <a:gd name="connsiteY559" fmla="*/ 1066038 h 2084191"/>
              <a:gd name="connsiteX560" fmla="*/ 1599919 w 2051041"/>
              <a:gd name="connsiteY560" fmla="*/ 1023592 h 2084191"/>
              <a:gd name="connsiteX561" fmla="*/ 1641820 w 2051041"/>
              <a:gd name="connsiteY561" fmla="*/ 981691 h 2084191"/>
              <a:gd name="connsiteX562" fmla="*/ 1806161 w 2051041"/>
              <a:gd name="connsiteY562" fmla="*/ 980603 h 2084191"/>
              <a:gd name="connsiteX563" fmla="*/ 1849151 w 2051041"/>
              <a:gd name="connsiteY563" fmla="*/ 1023592 h 2084191"/>
              <a:gd name="connsiteX564" fmla="*/ 1805617 w 2051041"/>
              <a:gd name="connsiteY564" fmla="*/ 1067127 h 2084191"/>
              <a:gd name="connsiteX565" fmla="*/ 1762083 w 2051041"/>
              <a:gd name="connsiteY565" fmla="*/ 1023592 h 2084191"/>
              <a:gd name="connsiteX566" fmla="*/ 1806161 w 2051041"/>
              <a:gd name="connsiteY566" fmla="*/ 980603 h 2084191"/>
              <a:gd name="connsiteX567" fmla="*/ 1969414 w 2051041"/>
              <a:gd name="connsiteY567" fmla="*/ 980059 h 2084191"/>
              <a:gd name="connsiteX568" fmla="*/ 2012404 w 2051041"/>
              <a:gd name="connsiteY568" fmla="*/ 1024137 h 2084191"/>
              <a:gd name="connsiteX569" fmla="*/ 1968870 w 2051041"/>
              <a:gd name="connsiteY569" fmla="*/ 1067127 h 2084191"/>
              <a:gd name="connsiteX570" fmla="*/ 1924792 w 2051041"/>
              <a:gd name="connsiteY570" fmla="*/ 1024137 h 2084191"/>
              <a:gd name="connsiteX571" fmla="*/ 1969414 w 2051041"/>
              <a:gd name="connsiteY571" fmla="*/ 980059 h 2084191"/>
              <a:gd name="connsiteX572" fmla="*/ 254171 w 2051041"/>
              <a:gd name="connsiteY572" fmla="*/ 931083 h 2084191"/>
              <a:gd name="connsiteX573" fmla="*/ 265599 w 2051041"/>
              <a:gd name="connsiteY573" fmla="*/ 941967 h 2084191"/>
              <a:gd name="connsiteX574" fmla="*/ 254171 w 2051041"/>
              <a:gd name="connsiteY574" fmla="*/ 952850 h 2084191"/>
              <a:gd name="connsiteX575" fmla="*/ 243832 w 2051041"/>
              <a:gd name="connsiteY575" fmla="*/ 941967 h 2084191"/>
              <a:gd name="connsiteX576" fmla="*/ 254171 w 2051041"/>
              <a:gd name="connsiteY576" fmla="*/ 931083 h 2084191"/>
              <a:gd name="connsiteX577" fmla="*/ 417968 w 2051041"/>
              <a:gd name="connsiteY577" fmla="*/ 922377 h 2084191"/>
              <a:gd name="connsiteX578" fmla="*/ 437559 w 2051041"/>
              <a:gd name="connsiteY578" fmla="*/ 942511 h 2084191"/>
              <a:gd name="connsiteX579" fmla="*/ 417968 w 2051041"/>
              <a:gd name="connsiteY579" fmla="*/ 961557 h 2084191"/>
              <a:gd name="connsiteX580" fmla="*/ 397834 w 2051041"/>
              <a:gd name="connsiteY580" fmla="*/ 941423 h 2084191"/>
              <a:gd name="connsiteX581" fmla="*/ 417968 w 2051041"/>
              <a:gd name="connsiteY581" fmla="*/ 922377 h 2084191"/>
              <a:gd name="connsiteX582" fmla="*/ 581222 w 2051041"/>
              <a:gd name="connsiteY582" fmla="*/ 916934 h 2084191"/>
              <a:gd name="connsiteX583" fmla="*/ 606798 w 2051041"/>
              <a:gd name="connsiteY583" fmla="*/ 943054 h 2084191"/>
              <a:gd name="connsiteX584" fmla="*/ 581222 w 2051041"/>
              <a:gd name="connsiteY584" fmla="*/ 967542 h 2084191"/>
              <a:gd name="connsiteX585" fmla="*/ 556190 w 2051041"/>
              <a:gd name="connsiteY585" fmla="*/ 943054 h 2084191"/>
              <a:gd name="connsiteX586" fmla="*/ 581222 w 2051041"/>
              <a:gd name="connsiteY586" fmla="*/ 916934 h 2084191"/>
              <a:gd name="connsiteX587" fmla="*/ 744474 w 2051041"/>
              <a:gd name="connsiteY587" fmla="*/ 913669 h 2084191"/>
              <a:gd name="connsiteX588" fmla="*/ 773315 w 2051041"/>
              <a:gd name="connsiteY588" fmla="*/ 942510 h 2084191"/>
              <a:gd name="connsiteX589" fmla="*/ 743930 w 2051041"/>
              <a:gd name="connsiteY589" fmla="*/ 970807 h 2084191"/>
              <a:gd name="connsiteX590" fmla="*/ 716177 w 2051041"/>
              <a:gd name="connsiteY590" fmla="*/ 941966 h 2084191"/>
              <a:gd name="connsiteX591" fmla="*/ 744474 w 2051041"/>
              <a:gd name="connsiteY591" fmla="*/ 913669 h 2084191"/>
              <a:gd name="connsiteX592" fmla="*/ 908271 w 2051041"/>
              <a:gd name="connsiteY592" fmla="*/ 908772 h 2084191"/>
              <a:gd name="connsiteX593" fmla="*/ 940377 w 2051041"/>
              <a:gd name="connsiteY593" fmla="*/ 944144 h 2084191"/>
              <a:gd name="connsiteX594" fmla="*/ 906094 w 2051041"/>
              <a:gd name="connsiteY594" fmla="*/ 975162 h 2084191"/>
              <a:gd name="connsiteX595" fmla="*/ 874532 w 2051041"/>
              <a:gd name="connsiteY595" fmla="*/ 940879 h 2084191"/>
              <a:gd name="connsiteX596" fmla="*/ 908271 w 2051041"/>
              <a:gd name="connsiteY596" fmla="*/ 908772 h 2084191"/>
              <a:gd name="connsiteX597" fmla="*/ 1072068 w 2051041"/>
              <a:gd name="connsiteY597" fmla="*/ 906051 h 2084191"/>
              <a:gd name="connsiteX598" fmla="*/ 1107984 w 2051041"/>
              <a:gd name="connsiteY598" fmla="*/ 942511 h 2084191"/>
              <a:gd name="connsiteX599" fmla="*/ 1070980 w 2051041"/>
              <a:gd name="connsiteY599" fmla="*/ 979515 h 2084191"/>
              <a:gd name="connsiteX600" fmla="*/ 1034520 w 2051041"/>
              <a:gd name="connsiteY600" fmla="*/ 942511 h 2084191"/>
              <a:gd name="connsiteX601" fmla="*/ 1072068 w 2051041"/>
              <a:gd name="connsiteY601" fmla="*/ 906051 h 2084191"/>
              <a:gd name="connsiteX602" fmla="*/ 1235321 w 2051041"/>
              <a:gd name="connsiteY602" fmla="*/ 903874 h 2084191"/>
              <a:gd name="connsiteX603" fmla="*/ 1272325 w 2051041"/>
              <a:gd name="connsiteY603" fmla="*/ 943054 h 2084191"/>
              <a:gd name="connsiteX604" fmla="*/ 1233688 w 2051041"/>
              <a:gd name="connsiteY604" fmla="*/ 981147 h 2084191"/>
              <a:gd name="connsiteX605" fmla="*/ 1195596 w 2051041"/>
              <a:gd name="connsiteY605" fmla="*/ 940878 h 2084191"/>
              <a:gd name="connsiteX606" fmla="*/ 1235321 w 2051041"/>
              <a:gd name="connsiteY606" fmla="*/ 903874 h 2084191"/>
              <a:gd name="connsiteX607" fmla="*/ 1397486 w 2051041"/>
              <a:gd name="connsiteY607" fmla="*/ 901153 h 2084191"/>
              <a:gd name="connsiteX608" fmla="*/ 1438299 w 2051041"/>
              <a:gd name="connsiteY608" fmla="*/ 942511 h 2084191"/>
              <a:gd name="connsiteX609" fmla="*/ 1396941 w 2051041"/>
              <a:gd name="connsiteY609" fmla="*/ 983324 h 2084191"/>
              <a:gd name="connsiteX610" fmla="*/ 1356128 w 2051041"/>
              <a:gd name="connsiteY610" fmla="*/ 941967 h 2084191"/>
              <a:gd name="connsiteX611" fmla="*/ 1397486 w 2051041"/>
              <a:gd name="connsiteY611" fmla="*/ 901153 h 2084191"/>
              <a:gd name="connsiteX612" fmla="*/ 1560738 w 2051041"/>
              <a:gd name="connsiteY612" fmla="*/ 898977 h 2084191"/>
              <a:gd name="connsiteX613" fmla="*/ 1603728 w 2051041"/>
              <a:gd name="connsiteY613" fmla="*/ 942511 h 2084191"/>
              <a:gd name="connsiteX614" fmla="*/ 1560738 w 2051041"/>
              <a:gd name="connsiteY614" fmla="*/ 985501 h 2084191"/>
              <a:gd name="connsiteX615" fmla="*/ 1517204 w 2051041"/>
              <a:gd name="connsiteY615" fmla="*/ 941423 h 2084191"/>
              <a:gd name="connsiteX616" fmla="*/ 1560738 w 2051041"/>
              <a:gd name="connsiteY616" fmla="*/ 898977 h 2084191"/>
              <a:gd name="connsiteX617" fmla="*/ 1723990 w 2051041"/>
              <a:gd name="connsiteY617" fmla="*/ 897888 h 2084191"/>
              <a:gd name="connsiteX618" fmla="*/ 1768069 w 2051041"/>
              <a:gd name="connsiteY618" fmla="*/ 942510 h 2084191"/>
              <a:gd name="connsiteX619" fmla="*/ 1723990 w 2051041"/>
              <a:gd name="connsiteY619" fmla="*/ 986589 h 2084191"/>
              <a:gd name="connsiteX620" fmla="*/ 1679912 w 2051041"/>
              <a:gd name="connsiteY620" fmla="*/ 941422 h 2084191"/>
              <a:gd name="connsiteX621" fmla="*/ 1723990 w 2051041"/>
              <a:gd name="connsiteY621" fmla="*/ 897888 h 2084191"/>
              <a:gd name="connsiteX622" fmla="*/ 2050497 w 2051041"/>
              <a:gd name="connsiteY622" fmla="*/ 897344 h 2084191"/>
              <a:gd name="connsiteX623" fmla="*/ 2051041 w 2051041"/>
              <a:gd name="connsiteY623" fmla="*/ 897453 h 2084191"/>
              <a:gd name="connsiteX624" fmla="*/ 2051041 w 2051041"/>
              <a:gd name="connsiteY624" fmla="*/ 986917 h 2084191"/>
              <a:gd name="connsiteX625" fmla="*/ 2049952 w 2051041"/>
              <a:gd name="connsiteY625" fmla="*/ 987133 h 2084191"/>
              <a:gd name="connsiteX626" fmla="*/ 2005330 w 2051041"/>
              <a:gd name="connsiteY626" fmla="*/ 941422 h 2084191"/>
              <a:gd name="connsiteX627" fmla="*/ 2050497 w 2051041"/>
              <a:gd name="connsiteY627" fmla="*/ 897344 h 2084191"/>
              <a:gd name="connsiteX628" fmla="*/ 1887243 w 2051041"/>
              <a:gd name="connsiteY628" fmla="*/ 897344 h 2084191"/>
              <a:gd name="connsiteX629" fmla="*/ 1931866 w 2051041"/>
              <a:gd name="connsiteY629" fmla="*/ 942511 h 2084191"/>
              <a:gd name="connsiteX630" fmla="*/ 1887243 w 2051041"/>
              <a:gd name="connsiteY630" fmla="*/ 986589 h 2084191"/>
              <a:gd name="connsiteX631" fmla="*/ 1843165 w 2051041"/>
              <a:gd name="connsiteY631" fmla="*/ 941422 h 2084191"/>
              <a:gd name="connsiteX632" fmla="*/ 1887243 w 2051041"/>
              <a:gd name="connsiteY632" fmla="*/ 897344 h 2084191"/>
              <a:gd name="connsiteX633" fmla="*/ 172545 w 2051041"/>
              <a:gd name="connsiteY633" fmla="*/ 854354 h 2084191"/>
              <a:gd name="connsiteX634" fmla="*/ 179619 w 2051041"/>
              <a:gd name="connsiteY634" fmla="*/ 860884 h 2084191"/>
              <a:gd name="connsiteX635" fmla="*/ 173634 w 2051041"/>
              <a:gd name="connsiteY635" fmla="*/ 866870 h 2084191"/>
              <a:gd name="connsiteX636" fmla="*/ 166015 w 2051041"/>
              <a:gd name="connsiteY636" fmla="*/ 861973 h 2084191"/>
              <a:gd name="connsiteX637" fmla="*/ 172545 w 2051041"/>
              <a:gd name="connsiteY637" fmla="*/ 854354 h 2084191"/>
              <a:gd name="connsiteX638" fmla="*/ 336342 w 2051041"/>
              <a:gd name="connsiteY638" fmla="*/ 843471 h 2084191"/>
              <a:gd name="connsiteX639" fmla="*/ 353211 w 2051041"/>
              <a:gd name="connsiteY639" fmla="*/ 860340 h 2084191"/>
              <a:gd name="connsiteX640" fmla="*/ 336886 w 2051041"/>
              <a:gd name="connsiteY640" fmla="*/ 877210 h 2084191"/>
              <a:gd name="connsiteX641" fmla="*/ 320017 w 2051041"/>
              <a:gd name="connsiteY641" fmla="*/ 860884 h 2084191"/>
              <a:gd name="connsiteX642" fmla="*/ 336342 w 2051041"/>
              <a:gd name="connsiteY642" fmla="*/ 843471 h 2084191"/>
              <a:gd name="connsiteX643" fmla="*/ 500139 w 2051041"/>
              <a:gd name="connsiteY643" fmla="*/ 837485 h 2084191"/>
              <a:gd name="connsiteX644" fmla="*/ 522994 w 2051041"/>
              <a:gd name="connsiteY644" fmla="*/ 861428 h 2084191"/>
              <a:gd name="connsiteX645" fmla="*/ 499595 w 2051041"/>
              <a:gd name="connsiteY645" fmla="*/ 884284 h 2084191"/>
              <a:gd name="connsiteX646" fmla="*/ 476739 w 2051041"/>
              <a:gd name="connsiteY646" fmla="*/ 860340 h 2084191"/>
              <a:gd name="connsiteX647" fmla="*/ 500139 w 2051041"/>
              <a:gd name="connsiteY647" fmla="*/ 837485 h 2084191"/>
              <a:gd name="connsiteX648" fmla="*/ 662848 w 2051041"/>
              <a:gd name="connsiteY648" fmla="*/ 832587 h 2084191"/>
              <a:gd name="connsiteX649" fmla="*/ 690057 w 2051041"/>
              <a:gd name="connsiteY649" fmla="*/ 860340 h 2084191"/>
              <a:gd name="connsiteX650" fmla="*/ 662848 w 2051041"/>
              <a:gd name="connsiteY650" fmla="*/ 888637 h 2084191"/>
              <a:gd name="connsiteX651" fmla="*/ 634551 w 2051041"/>
              <a:gd name="connsiteY651" fmla="*/ 861428 h 2084191"/>
              <a:gd name="connsiteX652" fmla="*/ 662848 w 2051041"/>
              <a:gd name="connsiteY652" fmla="*/ 832587 h 2084191"/>
              <a:gd name="connsiteX653" fmla="*/ 826101 w 2051041"/>
              <a:gd name="connsiteY653" fmla="*/ 827146 h 2084191"/>
              <a:gd name="connsiteX654" fmla="*/ 859295 w 2051041"/>
              <a:gd name="connsiteY654" fmla="*/ 860885 h 2084191"/>
              <a:gd name="connsiteX655" fmla="*/ 825556 w 2051041"/>
              <a:gd name="connsiteY655" fmla="*/ 892991 h 2084191"/>
              <a:gd name="connsiteX656" fmla="*/ 793450 w 2051041"/>
              <a:gd name="connsiteY656" fmla="*/ 860885 h 2084191"/>
              <a:gd name="connsiteX657" fmla="*/ 826101 w 2051041"/>
              <a:gd name="connsiteY657" fmla="*/ 827146 h 2084191"/>
              <a:gd name="connsiteX658" fmla="*/ 988809 w 2051041"/>
              <a:gd name="connsiteY658" fmla="*/ 824424 h 2084191"/>
              <a:gd name="connsiteX659" fmla="*/ 1025813 w 2051041"/>
              <a:gd name="connsiteY659" fmla="*/ 860339 h 2084191"/>
              <a:gd name="connsiteX660" fmla="*/ 989897 w 2051041"/>
              <a:gd name="connsiteY660" fmla="*/ 897344 h 2084191"/>
              <a:gd name="connsiteX661" fmla="*/ 953437 w 2051041"/>
              <a:gd name="connsiteY661" fmla="*/ 861972 h 2084191"/>
              <a:gd name="connsiteX662" fmla="*/ 988809 w 2051041"/>
              <a:gd name="connsiteY662" fmla="*/ 824424 h 2084191"/>
              <a:gd name="connsiteX663" fmla="*/ 1153695 w 2051041"/>
              <a:gd name="connsiteY663" fmla="*/ 821704 h 2084191"/>
              <a:gd name="connsiteX664" fmla="*/ 1191243 w 2051041"/>
              <a:gd name="connsiteY664" fmla="*/ 861429 h 2084191"/>
              <a:gd name="connsiteX665" fmla="*/ 1152606 w 2051041"/>
              <a:gd name="connsiteY665" fmla="*/ 899521 h 2084191"/>
              <a:gd name="connsiteX666" fmla="*/ 1114514 w 2051041"/>
              <a:gd name="connsiteY666" fmla="*/ 859252 h 2084191"/>
              <a:gd name="connsiteX667" fmla="*/ 1153695 w 2051041"/>
              <a:gd name="connsiteY667" fmla="*/ 821704 h 2084191"/>
              <a:gd name="connsiteX668" fmla="*/ 1316403 w 2051041"/>
              <a:gd name="connsiteY668" fmla="*/ 818982 h 2084191"/>
              <a:gd name="connsiteX669" fmla="*/ 1357216 w 2051041"/>
              <a:gd name="connsiteY669" fmla="*/ 860884 h 2084191"/>
              <a:gd name="connsiteX670" fmla="*/ 1315315 w 2051041"/>
              <a:gd name="connsiteY670" fmla="*/ 901697 h 2084191"/>
              <a:gd name="connsiteX671" fmla="*/ 1274501 w 2051041"/>
              <a:gd name="connsiteY671" fmla="*/ 860340 h 2084191"/>
              <a:gd name="connsiteX672" fmla="*/ 1316403 w 2051041"/>
              <a:gd name="connsiteY672" fmla="*/ 818982 h 2084191"/>
              <a:gd name="connsiteX673" fmla="*/ 1479112 w 2051041"/>
              <a:gd name="connsiteY673" fmla="*/ 816806 h 2084191"/>
              <a:gd name="connsiteX674" fmla="*/ 1522646 w 2051041"/>
              <a:gd name="connsiteY674" fmla="*/ 860340 h 2084191"/>
              <a:gd name="connsiteX675" fmla="*/ 1479656 w 2051041"/>
              <a:gd name="connsiteY675" fmla="*/ 904419 h 2084191"/>
              <a:gd name="connsiteX676" fmla="*/ 1435578 w 2051041"/>
              <a:gd name="connsiteY676" fmla="*/ 860884 h 2084191"/>
              <a:gd name="connsiteX677" fmla="*/ 1479112 w 2051041"/>
              <a:gd name="connsiteY677" fmla="*/ 816806 h 2084191"/>
              <a:gd name="connsiteX678" fmla="*/ 1642909 w 2051041"/>
              <a:gd name="connsiteY678" fmla="*/ 815718 h 2084191"/>
              <a:gd name="connsiteX679" fmla="*/ 1686987 w 2051041"/>
              <a:gd name="connsiteY679" fmla="*/ 860885 h 2084191"/>
              <a:gd name="connsiteX680" fmla="*/ 1641276 w 2051041"/>
              <a:gd name="connsiteY680" fmla="*/ 905507 h 2084191"/>
              <a:gd name="connsiteX681" fmla="*/ 1597742 w 2051041"/>
              <a:gd name="connsiteY681" fmla="*/ 860340 h 2084191"/>
              <a:gd name="connsiteX682" fmla="*/ 1642909 w 2051041"/>
              <a:gd name="connsiteY682" fmla="*/ 815718 h 2084191"/>
              <a:gd name="connsiteX683" fmla="*/ 1806161 w 2051041"/>
              <a:gd name="connsiteY683" fmla="*/ 815173 h 2084191"/>
              <a:gd name="connsiteX684" fmla="*/ 1852416 w 2051041"/>
              <a:gd name="connsiteY684" fmla="*/ 860884 h 2084191"/>
              <a:gd name="connsiteX685" fmla="*/ 1805617 w 2051041"/>
              <a:gd name="connsiteY685" fmla="*/ 906594 h 2084191"/>
              <a:gd name="connsiteX686" fmla="*/ 1759906 w 2051041"/>
              <a:gd name="connsiteY686" fmla="*/ 860884 h 2084191"/>
              <a:gd name="connsiteX687" fmla="*/ 1806161 w 2051041"/>
              <a:gd name="connsiteY687" fmla="*/ 815173 h 2084191"/>
              <a:gd name="connsiteX688" fmla="*/ 1968326 w 2051041"/>
              <a:gd name="connsiteY688" fmla="*/ 812453 h 2084191"/>
              <a:gd name="connsiteX689" fmla="*/ 2000977 w 2051041"/>
              <a:gd name="connsiteY689" fmla="*/ 826057 h 2084191"/>
              <a:gd name="connsiteX690" fmla="*/ 2015670 w 2051041"/>
              <a:gd name="connsiteY690" fmla="*/ 859796 h 2084191"/>
              <a:gd name="connsiteX691" fmla="*/ 1969415 w 2051041"/>
              <a:gd name="connsiteY691" fmla="*/ 907684 h 2084191"/>
              <a:gd name="connsiteX692" fmla="*/ 1922071 w 2051041"/>
              <a:gd name="connsiteY692" fmla="*/ 860885 h 2084191"/>
              <a:gd name="connsiteX693" fmla="*/ 1968326 w 2051041"/>
              <a:gd name="connsiteY693" fmla="*/ 812453 h 2084191"/>
              <a:gd name="connsiteX694" fmla="*/ 255260 w 2051041"/>
              <a:gd name="connsiteY694" fmla="*/ 762932 h 2084191"/>
              <a:gd name="connsiteX695" fmla="*/ 270497 w 2051041"/>
              <a:gd name="connsiteY695" fmla="*/ 779802 h 2084191"/>
              <a:gd name="connsiteX696" fmla="*/ 254172 w 2051041"/>
              <a:gd name="connsiteY696" fmla="*/ 795038 h 2084191"/>
              <a:gd name="connsiteX697" fmla="*/ 238935 w 2051041"/>
              <a:gd name="connsiteY697" fmla="*/ 778713 h 2084191"/>
              <a:gd name="connsiteX698" fmla="*/ 255260 w 2051041"/>
              <a:gd name="connsiteY698" fmla="*/ 762932 h 2084191"/>
              <a:gd name="connsiteX699" fmla="*/ 416881 w 2051041"/>
              <a:gd name="connsiteY699" fmla="*/ 756402 h 2084191"/>
              <a:gd name="connsiteX700" fmla="*/ 440280 w 2051041"/>
              <a:gd name="connsiteY700" fmla="*/ 778713 h 2084191"/>
              <a:gd name="connsiteX701" fmla="*/ 419057 w 2051041"/>
              <a:gd name="connsiteY701" fmla="*/ 801024 h 2084191"/>
              <a:gd name="connsiteX702" fmla="*/ 396202 w 2051041"/>
              <a:gd name="connsiteY702" fmla="*/ 779257 h 2084191"/>
              <a:gd name="connsiteX703" fmla="*/ 416881 w 2051041"/>
              <a:gd name="connsiteY703" fmla="*/ 756402 h 2084191"/>
              <a:gd name="connsiteX704" fmla="*/ 581766 w 2051041"/>
              <a:gd name="connsiteY704" fmla="*/ 751505 h 2084191"/>
              <a:gd name="connsiteX705" fmla="*/ 608975 w 2051041"/>
              <a:gd name="connsiteY705" fmla="*/ 779802 h 2084191"/>
              <a:gd name="connsiteX706" fmla="*/ 580678 w 2051041"/>
              <a:gd name="connsiteY706" fmla="*/ 806467 h 2084191"/>
              <a:gd name="connsiteX707" fmla="*/ 553469 w 2051041"/>
              <a:gd name="connsiteY707" fmla="*/ 778714 h 2084191"/>
              <a:gd name="connsiteX708" fmla="*/ 581766 w 2051041"/>
              <a:gd name="connsiteY708" fmla="*/ 751505 h 2084191"/>
              <a:gd name="connsiteX709" fmla="*/ 746107 w 2051041"/>
              <a:gd name="connsiteY709" fmla="*/ 746607 h 2084191"/>
              <a:gd name="connsiteX710" fmla="*/ 777125 w 2051041"/>
              <a:gd name="connsiteY710" fmla="*/ 780346 h 2084191"/>
              <a:gd name="connsiteX711" fmla="*/ 742842 w 2051041"/>
              <a:gd name="connsiteY711" fmla="*/ 811364 h 2084191"/>
              <a:gd name="connsiteX712" fmla="*/ 712368 w 2051041"/>
              <a:gd name="connsiteY712" fmla="*/ 778713 h 2084191"/>
              <a:gd name="connsiteX713" fmla="*/ 746107 w 2051041"/>
              <a:gd name="connsiteY713" fmla="*/ 746607 h 2084191"/>
              <a:gd name="connsiteX714" fmla="*/ 907727 w 2051041"/>
              <a:gd name="connsiteY714" fmla="*/ 741710 h 2084191"/>
              <a:gd name="connsiteX715" fmla="*/ 944187 w 2051041"/>
              <a:gd name="connsiteY715" fmla="*/ 778714 h 2084191"/>
              <a:gd name="connsiteX716" fmla="*/ 907727 w 2051041"/>
              <a:gd name="connsiteY716" fmla="*/ 815174 h 2084191"/>
              <a:gd name="connsiteX717" fmla="*/ 872355 w 2051041"/>
              <a:gd name="connsiteY717" fmla="*/ 779258 h 2084191"/>
              <a:gd name="connsiteX718" fmla="*/ 907727 w 2051041"/>
              <a:gd name="connsiteY718" fmla="*/ 741710 h 2084191"/>
              <a:gd name="connsiteX719" fmla="*/ 1070979 w 2051041"/>
              <a:gd name="connsiteY719" fmla="*/ 740621 h 2084191"/>
              <a:gd name="connsiteX720" fmla="*/ 1110160 w 2051041"/>
              <a:gd name="connsiteY720" fmla="*/ 779258 h 2084191"/>
              <a:gd name="connsiteX721" fmla="*/ 1070979 w 2051041"/>
              <a:gd name="connsiteY721" fmla="*/ 817894 h 2084191"/>
              <a:gd name="connsiteX722" fmla="*/ 1031799 w 2051041"/>
              <a:gd name="connsiteY722" fmla="*/ 778714 h 2084191"/>
              <a:gd name="connsiteX723" fmla="*/ 1070979 w 2051041"/>
              <a:gd name="connsiteY723" fmla="*/ 740621 h 2084191"/>
              <a:gd name="connsiteX724" fmla="*/ 1233688 w 2051041"/>
              <a:gd name="connsiteY724" fmla="*/ 736268 h 2084191"/>
              <a:gd name="connsiteX725" fmla="*/ 1276134 w 2051041"/>
              <a:gd name="connsiteY725" fmla="*/ 777625 h 2084191"/>
              <a:gd name="connsiteX726" fmla="*/ 1235320 w 2051041"/>
              <a:gd name="connsiteY726" fmla="*/ 820615 h 2084191"/>
              <a:gd name="connsiteX727" fmla="*/ 1192331 w 2051041"/>
              <a:gd name="connsiteY727" fmla="*/ 779258 h 2084191"/>
              <a:gd name="connsiteX728" fmla="*/ 1233688 w 2051041"/>
              <a:gd name="connsiteY728" fmla="*/ 736268 h 2084191"/>
              <a:gd name="connsiteX729" fmla="*/ 1397485 w 2051041"/>
              <a:gd name="connsiteY729" fmla="*/ 735724 h 2084191"/>
              <a:gd name="connsiteX730" fmla="*/ 1441019 w 2051041"/>
              <a:gd name="connsiteY730" fmla="*/ 779802 h 2084191"/>
              <a:gd name="connsiteX731" fmla="*/ 1396397 w 2051041"/>
              <a:gd name="connsiteY731" fmla="*/ 823336 h 2084191"/>
              <a:gd name="connsiteX732" fmla="*/ 1352863 w 2051041"/>
              <a:gd name="connsiteY732" fmla="*/ 779258 h 2084191"/>
              <a:gd name="connsiteX733" fmla="*/ 1397485 w 2051041"/>
              <a:gd name="connsiteY733" fmla="*/ 735724 h 2084191"/>
              <a:gd name="connsiteX734" fmla="*/ 1562371 w 2051041"/>
              <a:gd name="connsiteY734" fmla="*/ 734636 h 2084191"/>
              <a:gd name="connsiteX735" fmla="*/ 1605905 w 2051041"/>
              <a:gd name="connsiteY735" fmla="*/ 779802 h 2084191"/>
              <a:gd name="connsiteX736" fmla="*/ 1560194 w 2051041"/>
              <a:gd name="connsiteY736" fmla="*/ 823881 h 2084191"/>
              <a:gd name="connsiteX737" fmla="*/ 1515572 w 2051041"/>
              <a:gd name="connsiteY737" fmla="*/ 777626 h 2084191"/>
              <a:gd name="connsiteX738" fmla="*/ 1562371 w 2051041"/>
              <a:gd name="connsiteY738" fmla="*/ 734636 h 2084191"/>
              <a:gd name="connsiteX739" fmla="*/ 1724535 w 2051041"/>
              <a:gd name="connsiteY739" fmla="*/ 730827 h 2084191"/>
              <a:gd name="connsiteX740" fmla="*/ 1772422 w 2051041"/>
              <a:gd name="connsiteY740" fmla="*/ 779258 h 2084191"/>
              <a:gd name="connsiteX741" fmla="*/ 1723446 w 2051041"/>
              <a:gd name="connsiteY741" fmla="*/ 826602 h 2084191"/>
              <a:gd name="connsiteX742" fmla="*/ 1676647 w 2051041"/>
              <a:gd name="connsiteY742" fmla="*/ 778714 h 2084191"/>
              <a:gd name="connsiteX743" fmla="*/ 1724535 w 2051041"/>
              <a:gd name="connsiteY743" fmla="*/ 730827 h 2084191"/>
              <a:gd name="connsiteX744" fmla="*/ 1886699 w 2051041"/>
              <a:gd name="connsiteY744" fmla="*/ 730826 h 2084191"/>
              <a:gd name="connsiteX745" fmla="*/ 1935131 w 2051041"/>
              <a:gd name="connsiteY745" fmla="*/ 778713 h 2084191"/>
              <a:gd name="connsiteX746" fmla="*/ 1887244 w 2051041"/>
              <a:gd name="connsiteY746" fmla="*/ 827145 h 2084191"/>
              <a:gd name="connsiteX747" fmla="*/ 1838812 w 2051041"/>
              <a:gd name="connsiteY747" fmla="*/ 778713 h 2084191"/>
              <a:gd name="connsiteX748" fmla="*/ 1886699 w 2051041"/>
              <a:gd name="connsiteY748" fmla="*/ 730826 h 2084191"/>
              <a:gd name="connsiteX749" fmla="*/ 2050496 w 2051041"/>
              <a:gd name="connsiteY749" fmla="*/ 730282 h 2084191"/>
              <a:gd name="connsiteX750" fmla="*/ 2051041 w 2051041"/>
              <a:gd name="connsiteY750" fmla="*/ 730396 h 2084191"/>
              <a:gd name="connsiteX751" fmla="*/ 2051041 w 2051041"/>
              <a:gd name="connsiteY751" fmla="*/ 826942 h 2084191"/>
              <a:gd name="connsiteX752" fmla="*/ 2049952 w 2051041"/>
              <a:gd name="connsiteY752" fmla="*/ 827145 h 2084191"/>
              <a:gd name="connsiteX753" fmla="*/ 2002065 w 2051041"/>
              <a:gd name="connsiteY753" fmla="*/ 778169 h 2084191"/>
              <a:gd name="connsiteX754" fmla="*/ 2050496 w 2051041"/>
              <a:gd name="connsiteY754" fmla="*/ 730282 h 2084191"/>
              <a:gd name="connsiteX755" fmla="*/ 173634 w 2051041"/>
              <a:gd name="connsiteY755" fmla="*/ 685660 h 2084191"/>
              <a:gd name="connsiteX756" fmla="*/ 184518 w 2051041"/>
              <a:gd name="connsiteY756" fmla="*/ 698176 h 2084191"/>
              <a:gd name="connsiteX757" fmla="*/ 172546 w 2051041"/>
              <a:gd name="connsiteY757" fmla="*/ 709059 h 2084191"/>
              <a:gd name="connsiteX758" fmla="*/ 161118 w 2051041"/>
              <a:gd name="connsiteY758" fmla="*/ 697088 h 2084191"/>
              <a:gd name="connsiteX759" fmla="*/ 173634 w 2051041"/>
              <a:gd name="connsiteY759" fmla="*/ 685660 h 2084191"/>
              <a:gd name="connsiteX760" fmla="*/ 335798 w 2051041"/>
              <a:gd name="connsiteY760" fmla="*/ 675320 h 2084191"/>
              <a:gd name="connsiteX761" fmla="*/ 357565 w 2051041"/>
              <a:gd name="connsiteY761" fmla="*/ 696543 h 2084191"/>
              <a:gd name="connsiteX762" fmla="*/ 336342 w 2051041"/>
              <a:gd name="connsiteY762" fmla="*/ 718854 h 2084191"/>
              <a:gd name="connsiteX763" fmla="*/ 315120 w 2051041"/>
              <a:gd name="connsiteY763" fmla="*/ 697631 h 2084191"/>
              <a:gd name="connsiteX764" fmla="*/ 335798 w 2051041"/>
              <a:gd name="connsiteY764" fmla="*/ 675320 h 2084191"/>
              <a:gd name="connsiteX765" fmla="*/ 499051 w 2051041"/>
              <a:gd name="connsiteY765" fmla="*/ 670423 h 2084191"/>
              <a:gd name="connsiteX766" fmla="*/ 526804 w 2051041"/>
              <a:gd name="connsiteY766" fmla="*/ 697088 h 2084191"/>
              <a:gd name="connsiteX767" fmla="*/ 499595 w 2051041"/>
              <a:gd name="connsiteY767" fmla="*/ 724296 h 2084191"/>
              <a:gd name="connsiteX768" fmla="*/ 472930 w 2051041"/>
              <a:gd name="connsiteY768" fmla="*/ 697632 h 2084191"/>
              <a:gd name="connsiteX769" fmla="*/ 499051 w 2051041"/>
              <a:gd name="connsiteY769" fmla="*/ 670423 h 2084191"/>
              <a:gd name="connsiteX770" fmla="*/ 662848 w 2051041"/>
              <a:gd name="connsiteY770" fmla="*/ 665525 h 2084191"/>
              <a:gd name="connsiteX771" fmla="*/ 694954 w 2051041"/>
              <a:gd name="connsiteY771" fmla="*/ 697087 h 2084191"/>
              <a:gd name="connsiteX772" fmla="*/ 663392 w 2051041"/>
              <a:gd name="connsiteY772" fmla="*/ 729194 h 2084191"/>
              <a:gd name="connsiteX773" fmla="*/ 632374 w 2051041"/>
              <a:gd name="connsiteY773" fmla="*/ 698176 h 2084191"/>
              <a:gd name="connsiteX774" fmla="*/ 662848 w 2051041"/>
              <a:gd name="connsiteY774" fmla="*/ 665525 h 2084191"/>
              <a:gd name="connsiteX775" fmla="*/ 825013 w 2051041"/>
              <a:gd name="connsiteY775" fmla="*/ 663349 h 2084191"/>
              <a:gd name="connsiteX776" fmla="*/ 860384 w 2051041"/>
              <a:gd name="connsiteY776" fmla="*/ 697632 h 2084191"/>
              <a:gd name="connsiteX777" fmla="*/ 826101 w 2051041"/>
              <a:gd name="connsiteY777" fmla="*/ 731915 h 2084191"/>
              <a:gd name="connsiteX778" fmla="*/ 791818 w 2051041"/>
              <a:gd name="connsiteY778" fmla="*/ 698176 h 2084191"/>
              <a:gd name="connsiteX779" fmla="*/ 825013 w 2051041"/>
              <a:gd name="connsiteY779" fmla="*/ 663349 h 2084191"/>
              <a:gd name="connsiteX780" fmla="*/ 988809 w 2051041"/>
              <a:gd name="connsiteY780" fmla="*/ 658995 h 2084191"/>
              <a:gd name="connsiteX781" fmla="*/ 1027446 w 2051041"/>
              <a:gd name="connsiteY781" fmla="*/ 697087 h 2084191"/>
              <a:gd name="connsiteX782" fmla="*/ 989353 w 2051041"/>
              <a:gd name="connsiteY782" fmla="*/ 735723 h 2084191"/>
              <a:gd name="connsiteX783" fmla="*/ 950717 w 2051041"/>
              <a:gd name="connsiteY783" fmla="*/ 697631 h 2084191"/>
              <a:gd name="connsiteX784" fmla="*/ 988809 w 2051041"/>
              <a:gd name="connsiteY784" fmla="*/ 658995 h 2084191"/>
              <a:gd name="connsiteX785" fmla="*/ 1152607 w 2051041"/>
              <a:gd name="connsiteY785" fmla="*/ 655729 h 2084191"/>
              <a:gd name="connsiteX786" fmla="*/ 1195052 w 2051041"/>
              <a:gd name="connsiteY786" fmla="*/ 697087 h 2084191"/>
              <a:gd name="connsiteX787" fmla="*/ 1153151 w 2051041"/>
              <a:gd name="connsiteY787" fmla="*/ 739533 h 2084191"/>
              <a:gd name="connsiteX788" fmla="*/ 1110705 w 2051041"/>
              <a:gd name="connsiteY788" fmla="*/ 697631 h 2084191"/>
              <a:gd name="connsiteX789" fmla="*/ 1152607 w 2051041"/>
              <a:gd name="connsiteY789" fmla="*/ 655729 h 2084191"/>
              <a:gd name="connsiteX790" fmla="*/ 1316948 w 2051041"/>
              <a:gd name="connsiteY790" fmla="*/ 653554 h 2084191"/>
              <a:gd name="connsiteX791" fmla="*/ 1359937 w 2051041"/>
              <a:gd name="connsiteY791" fmla="*/ 697632 h 2084191"/>
              <a:gd name="connsiteX792" fmla="*/ 1315315 w 2051041"/>
              <a:gd name="connsiteY792" fmla="*/ 740622 h 2084191"/>
              <a:gd name="connsiteX793" fmla="*/ 1271781 w 2051041"/>
              <a:gd name="connsiteY793" fmla="*/ 696544 h 2084191"/>
              <a:gd name="connsiteX794" fmla="*/ 1316948 w 2051041"/>
              <a:gd name="connsiteY794" fmla="*/ 653554 h 2084191"/>
              <a:gd name="connsiteX795" fmla="*/ 1479112 w 2051041"/>
              <a:gd name="connsiteY795" fmla="*/ 651921 h 2084191"/>
              <a:gd name="connsiteX796" fmla="*/ 1524823 w 2051041"/>
              <a:gd name="connsiteY796" fmla="*/ 697088 h 2084191"/>
              <a:gd name="connsiteX797" fmla="*/ 1479112 w 2051041"/>
              <a:gd name="connsiteY797" fmla="*/ 742254 h 2084191"/>
              <a:gd name="connsiteX798" fmla="*/ 1433945 w 2051041"/>
              <a:gd name="connsiteY798" fmla="*/ 697088 h 2084191"/>
              <a:gd name="connsiteX799" fmla="*/ 1479112 w 2051041"/>
              <a:gd name="connsiteY799" fmla="*/ 651921 h 2084191"/>
              <a:gd name="connsiteX800" fmla="*/ 1642909 w 2051041"/>
              <a:gd name="connsiteY800" fmla="*/ 649744 h 2084191"/>
              <a:gd name="connsiteX801" fmla="*/ 1690796 w 2051041"/>
              <a:gd name="connsiteY801" fmla="*/ 697087 h 2084191"/>
              <a:gd name="connsiteX802" fmla="*/ 1642909 w 2051041"/>
              <a:gd name="connsiteY802" fmla="*/ 745519 h 2084191"/>
              <a:gd name="connsiteX803" fmla="*/ 1594477 w 2051041"/>
              <a:gd name="connsiteY803" fmla="*/ 697632 h 2084191"/>
              <a:gd name="connsiteX804" fmla="*/ 1642909 w 2051041"/>
              <a:gd name="connsiteY804" fmla="*/ 649744 h 2084191"/>
              <a:gd name="connsiteX805" fmla="*/ 1805617 w 2051041"/>
              <a:gd name="connsiteY805" fmla="*/ 648112 h 2084191"/>
              <a:gd name="connsiteX806" fmla="*/ 1854593 w 2051041"/>
              <a:gd name="connsiteY806" fmla="*/ 698176 h 2084191"/>
              <a:gd name="connsiteX807" fmla="*/ 1805073 w 2051041"/>
              <a:gd name="connsiteY807" fmla="*/ 746607 h 2084191"/>
              <a:gd name="connsiteX808" fmla="*/ 1756097 w 2051041"/>
              <a:gd name="connsiteY808" fmla="*/ 697087 h 2084191"/>
              <a:gd name="connsiteX809" fmla="*/ 1805617 w 2051041"/>
              <a:gd name="connsiteY809" fmla="*/ 648112 h 2084191"/>
              <a:gd name="connsiteX810" fmla="*/ 1969414 w 2051041"/>
              <a:gd name="connsiteY810" fmla="*/ 647023 h 2084191"/>
              <a:gd name="connsiteX811" fmla="*/ 2018934 w 2051041"/>
              <a:gd name="connsiteY811" fmla="*/ 698176 h 2084191"/>
              <a:gd name="connsiteX812" fmla="*/ 1968326 w 2051041"/>
              <a:gd name="connsiteY812" fmla="*/ 746063 h 2084191"/>
              <a:gd name="connsiteX813" fmla="*/ 1918806 w 2051041"/>
              <a:gd name="connsiteY813" fmla="*/ 697087 h 2084191"/>
              <a:gd name="connsiteX814" fmla="*/ 1969414 w 2051041"/>
              <a:gd name="connsiteY814" fmla="*/ 647023 h 2084191"/>
              <a:gd name="connsiteX815" fmla="*/ 90919 w 2051041"/>
              <a:gd name="connsiteY815" fmla="*/ 606754 h 2084191"/>
              <a:gd name="connsiteX816" fmla="*/ 99626 w 2051041"/>
              <a:gd name="connsiteY816" fmla="*/ 615460 h 2084191"/>
              <a:gd name="connsiteX817" fmla="*/ 92007 w 2051041"/>
              <a:gd name="connsiteY817" fmla="*/ 627976 h 2084191"/>
              <a:gd name="connsiteX818" fmla="*/ 82756 w 2051041"/>
              <a:gd name="connsiteY818" fmla="*/ 616005 h 2084191"/>
              <a:gd name="connsiteX819" fmla="*/ 90919 w 2051041"/>
              <a:gd name="connsiteY819" fmla="*/ 606754 h 2084191"/>
              <a:gd name="connsiteX820" fmla="*/ 254172 w 2051041"/>
              <a:gd name="connsiteY820" fmla="*/ 598047 h 2084191"/>
              <a:gd name="connsiteX821" fmla="*/ 272674 w 2051041"/>
              <a:gd name="connsiteY821" fmla="*/ 614917 h 2084191"/>
              <a:gd name="connsiteX822" fmla="*/ 255260 w 2051041"/>
              <a:gd name="connsiteY822" fmla="*/ 633419 h 2084191"/>
              <a:gd name="connsiteX823" fmla="*/ 236758 w 2051041"/>
              <a:gd name="connsiteY823" fmla="*/ 616005 h 2084191"/>
              <a:gd name="connsiteX824" fmla="*/ 254172 w 2051041"/>
              <a:gd name="connsiteY824" fmla="*/ 598047 h 2084191"/>
              <a:gd name="connsiteX825" fmla="*/ 418513 w 2051041"/>
              <a:gd name="connsiteY825" fmla="*/ 590429 h 2084191"/>
              <a:gd name="connsiteX826" fmla="*/ 443001 w 2051041"/>
              <a:gd name="connsiteY826" fmla="*/ 614917 h 2084191"/>
              <a:gd name="connsiteX827" fmla="*/ 419058 w 2051041"/>
              <a:gd name="connsiteY827" fmla="*/ 640493 h 2084191"/>
              <a:gd name="connsiteX828" fmla="*/ 392937 w 2051041"/>
              <a:gd name="connsiteY828" fmla="*/ 616005 h 2084191"/>
              <a:gd name="connsiteX829" fmla="*/ 418513 w 2051041"/>
              <a:gd name="connsiteY829" fmla="*/ 590429 h 2084191"/>
              <a:gd name="connsiteX830" fmla="*/ 581222 w 2051041"/>
              <a:gd name="connsiteY830" fmla="*/ 587163 h 2084191"/>
              <a:gd name="connsiteX831" fmla="*/ 610063 w 2051041"/>
              <a:gd name="connsiteY831" fmla="*/ 616549 h 2084191"/>
              <a:gd name="connsiteX832" fmla="*/ 580677 w 2051041"/>
              <a:gd name="connsiteY832" fmla="*/ 645390 h 2084191"/>
              <a:gd name="connsiteX833" fmla="*/ 551836 w 2051041"/>
              <a:gd name="connsiteY833" fmla="*/ 615461 h 2084191"/>
              <a:gd name="connsiteX834" fmla="*/ 581222 w 2051041"/>
              <a:gd name="connsiteY834" fmla="*/ 587163 h 2084191"/>
              <a:gd name="connsiteX835" fmla="*/ 743930 w 2051041"/>
              <a:gd name="connsiteY835" fmla="*/ 582266 h 2084191"/>
              <a:gd name="connsiteX836" fmla="*/ 779301 w 2051041"/>
              <a:gd name="connsiteY836" fmla="*/ 616005 h 2084191"/>
              <a:gd name="connsiteX837" fmla="*/ 745563 w 2051041"/>
              <a:gd name="connsiteY837" fmla="*/ 649744 h 2084191"/>
              <a:gd name="connsiteX838" fmla="*/ 711824 w 2051041"/>
              <a:gd name="connsiteY838" fmla="*/ 616549 h 2084191"/>
              <a:gd name="connsiteX839" fmla="*/ 743930 w 2051041"/>
              <a:gd name="connsiteY839" fmla="*/ 582266 h 2084191"/>
              <a:gd name="connsiteX840" fmla="*/ 907183 w 2051041"/>
              <a:gd name="connsiteY840" fmla="*/ 577913 h 2084191"/>
              <a:gd name="connsiteX841" fmla="*/ 945276 w 2051041"/>
              <a:gd name="connsiteY841" fmla="*/ 615461 h 2084191"/>
              <a:gd name="connsiteX842" fmla="*/ 907727 w 2051041"/>
              <a:gd name="connsiteY842" fmla="*/ 654098 h 2084191"/>
              <a:gd name="connsiteX843" fmla="*/ 869091 w 2051041"/>
              <a:gd name="connsiteY843" fmla="*/ 616006 h 2084191"/>
              <a:gd name="connsiteX844" fmla="*/ 907183 w 2051041"/>
              <a:gd name="connsiteY844" fmla="*/ 577913 h 2084191"/>
              <a:gd name="connsiteX845" fmla="*/ 1069891 w 2051041"/>
              <a:gd name="connsiteY845" fmla="*/ 574648 h 2084191"/>
              <a:gd name="connsiteX846" fmla="*/ 1111248 w 2051041"/>
              <a:gd name="connsiteY846" fmla="*/ 615461 h 2084191"/>
              <a:gd name="connsiteX847" fmla="*/ 1070435 w 2051041"/>
              <a:gd name="connsiteY847" fmla="*/ 656274 h 2084191"/>
              <a:gd name="connsiteX848" fmla="*/ 1029622 w 2051041"/>
              <a:gd name="connsiteY848" fmla="*/ 614917 h 2084191"/>
              <a:gd name="connsiteX849" fmla="*/ 1069891 w 2051041"/>
              <a:gd name="connsiteY849" fmla="*/ 574648 h 2084191"/>
              <a:gd name="connsiteX850" fmla="*/ 1235321 w 2051041"/>
              <a:gd name="connsiteY850" fmla="*/ 572472 h 2084191"/>
              <a:gd name="connsiteX851" fmla="*/ 1277222 w 2051041"/>
              <a:gd name="connsiteY851" fmla="*/ 616550 h 2084191"/>
              <a:gd name="connsiteX852" fmla="*/ 1233688 w 2051041"/>
              <a:gd name="connsiteY852" fmla="*/ 660084 h 2084191"/>
              <a:gd name="connsiteX853" fmla="*/ 1190154 w 2051041"/>
              <a:gd name="connsiteY853" fmla="*/ 614917 h 2084191"/>
              <a:gd name="connsiteX854" fmla="*/ 1235321 w 2051041"/>
              <a:gd name="connsiteY854" fmla="*/ 572472 h 2084191"/>
              <a:gd name="connsiteX855" fmla="*/ 1397485 w 2051041"/>
              <a:gd name="connsiteY855" fmla="*/ 569206 h 2084191"/>
              <a:gd name="connsiteX856" fmla="*/ 1443196 w 2051041"/>
              <a:gd name="connsiteY856" fmla="*/ 616005 h 2084191"/>
              <a:gd name="connsiteX857" fmla="*/ 1396941 w 2051041"/>
              <a:gd name="connsiteY857" fmla="*/ 661172 h 2084191"/>
              <a:gd name="connsiteX858" fmla="*/ 1351775 w 2051041"/>
              <a:gd name="connsiteY858" fmla="*/ 614373 h 2084191"/>
              <a:gd name="connsiteX859" fmla="*/ 1397485 w 2051041"/>
              <a:gd name="connsiteY859" fmla="*/ 569206 h 2084191"/>
              <a:gd name="connsiteX860" fmla="*/ 1560738 w 2051041"/>
              <a:gd name="connsiteY860" fmla="*/ 567029 h 2084191"/>
              <a:gd name="connsiteX861" fmla="*/ 1609714 w 2051041"/>
              <a:gd name="connsiteY861" fmla="*/ 615461 h 2084191"/>
              <a:gd name="connsiteX862" fmla="*/ 1561283 w 2051041"/>
              <a:gd name="connsiteY862" fmla="*/ 663892 h 2084191"/>
              <a:gd name="connsiteX863" fmla="*/ 1512851 w 2051041"/>
              <a:gd name="connsiteY863" fmla="*/ 616005 h 2084191"/>
              <a:gd name="connsiteX864" fmla="*/ 1560738 w 2051041"/>
              <a:gd name="connsiteY864" fmla="*/ 567029 h 2084191"/>
              <a:gd name="connsiteX865" fmla="*/ 1725624 w 2051041"/>
              <a:gd name="connsiteY865" fmla="*/ 565397 h 2084191"/>
              <a:gd name="connsiteX866" fmla="*/ 1774599 w 2051041"/>
              <a:gd name="connsiteY866" fmla="*/ 616005 h 2084191"/>
              <a:gd name="connsiteX867" fmla="*/ 1723447 w 2051041"/>
              <a:gd name="connsiteY867" fmla="*/ 664981 h 2084191"/>
              <a:gd name="connsiteX868" fmla="*/ 1674471 w 2051041"/>
              <a:gd name="connsiteY868" fmla="*/ 615461 h 2084191"/>
              <a:gd name="connsiteX869" fmla="*/ 1725624 w 2051041"/>
              <a:gd name="connsiteY869" fmla="*/ 565397 h 2084191"/>
              <a:gd name="connsiteX870" fmla="*/ 1886699 w 2051041"/>
              <a:gd name="connsiteY870" fmla="*/ 564853 h 2084191"/>
              <a:gd name="connsiteX871" fmla="*/ 1938396 w 2051041"/>
              <a:gd name="connsiteY871" fmla="*/ 614917 h 2084191"/>
              <a:gd name="connsiteX872" fmla="*/ 1887787 w 2051041"/>
              <a:gd name="connsiteY872" fmla="*/ 665525 h 2084191"/>
              <a:gd name="connsiteX873" fmla="*/ 1837179 w 2051041"/>
              <a:gd name="connsiteY873" fmla="*/ 615461 h 2084191"/>
              <a:gd name="connsiteX874" fmla="*/ 1886699 w 2051041"/>
              <a:gd name="connsiteY874" fmla="*/ 564853 h 2084191"/>
              <a:gd name="connsiteX875" fmla="*/ 2050496 w 2051041"/>
              <a:gd name="connsiteY875" fmla="*/ 564852 h 2084191"/>
              <a:gd name="connsiteX876" fmla="*/ 2051041 w 2051041"/>
              <a:gd name="connsiteY876" fmla="*/ 564962 h 2084191"/>
              <a:gd name="connsiteX877" fmla="*/ 2051041 w 2051041"/>
              <a:gd name="connsiteY877" fmla="*/ 665899 h 2084191"/>
              <a:gd name="connsiteX878" fmla="*/ 2049952 w 2051041"/>
              <a:gd name="connsiteY878" fmla="*/ 666069 h 2084191"/>
              <a:gd name="connsiteX879" fmla="*/ 1999344 w 2051041"/>
              <a:gd name="connsiteY879" fmla="*/ 615460 h 2084191"/>
              <a:gd name="connsiteX880" fmla="*/ 2050496 w 2051041"/>
              <a:gd name="connsiteY880" fmla="*/ 564852 h 2084191"/>
              <a:gd name="connsiteX881" fmla="*/ 173090 w 2051041"/>
              <a:gd name="connsiteY881" fmla="*/ 517509 h 2084191"/>
              <a:gd name="connsiteX882" fmla="*/ 189959 w 2051041"/>
              <a:gd name="connsiteY882" fmla="*/ 533834 h 2084191"/>
              <a:gd name="connsiteX883" fmla="*/ 173634 w 2051041"/>
              <a:gd name="connsiteY883" fmla="*/ 550160 h 2084191"/>
              <a:gd name="connsiteX884" fmla="*/ 157308 w 2051041"/>
              <a:gd name="connsiteY884" fmla="*/ 534923 h 2084191"/>
              <a:gd name="connsiteX885" fmla="*/ 173090 w 2051041"/>
              <a:gd name="connsiteY885" fmla="*/ 517509 h 2084191"/>
              <a:gd name="connsiteX886" fmla="*/ 335798 w 2051041"/>
              <a:gd name="connsiteY886" fmla="*/ 511523 h 2084191"/>
              <a:gd name="connsiteX887" fmla="*/ 358654 w 2051041"/>
              <a:gd name="connsiteY887" fmla="*/ 533834 h 2084191"/>
              <a:gd name="connsiteX888" fmla="*/ 336343 w 2051041"/>
              <a:gd name="connsiteY888" fmla="*/ 556689 h 2084191"/>
              <a:gd name="connsiteX889" fmla="*/ 312943 w 2051041"/>
              <a:gd name="connsiteY889" fmla="*/ 534378 h 2084191"/>
              <a:gd name="connsiteX890" fmla="*/ 335798 w 2051041"/>
              <a:gd name="connsiteY890" fmla="*/ 511523 h 2084191"/>
              <a:gd name="connsiteX891" fmla="*/ 500139 w 2051041"/>
              <a:gd name="connsiteY891" fmla="*/ 506626 h 2084191"/>
              <a:gd name="connsiteX892" fmla="*/ 527348 w 2051041"/>
              <a:gd name="connsiteY892" fmla="*/ 535467 h 2084191"/>
              <a:gd name="connsiteX893" fmla="*/ 497963 w 2051041"/>
              <a:gd name="connsiteY893" fmla="*/ 561587 h 2084191"/>
              <a:gd name="connsiteX894" fmla="*/ 471842 w 2051041"/>
              <a:gd name="connsiteY894" fmla="*/ 533290 h 2084191"/>
              <a:gd name="connsiteX895" fmla="*/ 500139 w 2051041"/>
              <a:gd name="connsiteY895" fmla="*/ 506626 h 2084191"/>
              <a:gd name="connsiteX896" fmla="*/ 662304 w 2051041"/>
              <a:gd name="connsiteY896" fmla="*/ 500639 h 2084191"/>
              <a:gd name="connsiteX897" fmla="*/ 696042 w 2051041"/>
              <a:gd name="connsiteY897" fmla="*/ 533290 h 2084191"/>
              <a:gd name="connsiteX898" fmla="*/ 663392 w 2051041"/>
              <a:gd name="connsiteY898" fmla="*/ 566485 h 2084191"/>
              <a:gd name="connsiteX899" fmla="*/ 630197 w 2051041"/>
              <a:gd name="connsiteY899" fmla="*/ 534378 h 2084191"/>
              <a:gd name="connsiteX900" fmla="*/ 662304 w 2051041"/>
              <a:gd name="connsiteY900" fmla="*/ 500639 h 2084191"/>
              <a:gd name="connsiteX901" fmla="*/ 825557 w 2051041"/>
              <a:gd name="connsiteY901" fmla="*/ 496830 h 2084191"/>
              <a:gd name="connsiteX902" fmla="*/ 863649 w 2051041"/>
              <a:gd name="connsiteY902" fmla="*/ 534923 h 2084191"/>
              <a:gd name="connsiteX903" fmla="*/ 825557 w 2051041"/>
              <a:gd name="connsiteY903" fmla="*/ 571383 h 2084191"/>
              <a:gd name="connsiteX904" fmla="*/ 788553 w 2051041"/>
              <a:gd name="connsiteY904" fmla="*/ 534379 h 2084191"/>
              <a:gd name="connsiteX905" fmla="*/ 825557 w 2051041"/>
              <a:gd name="connsiteY905" fmla="*/ 496830 h 2084191"/>
              <a:gd name="connsiteX906" fmla="*/ 989898 w 2051041"/>
              <a:gd name="connsiteY906" fmla="*/ 494110 h 2084191"/>
              <a:gd name="connsiteX907" fmla="*/ 1029078 w 2051041"/>
              <a:gd name="connsiteY907" fmla="*/ 534923 h 2084191"/>
              <a:gd name="connsiteX908" fmla="*/ 989353 w 2051041"/>
              <a:gd name="connsiteY908" fmla="*/ 574104 h 2084191"/>
              <a:gd name="connsiteX909" fmla="*/ 949629 w 2051041"/>
              <a:gd name="connsiteY909" fmla="*/ 533835 h 2084191"/>
              <a:gd name="connsiteX910" fmla="*/ 989898 w 2051041"/>
              <a:gd name="connsiteY910" fmla="*/ 494110 h 2084191"/>
              <a:gd name="connsiteX911" fmla="*/ 1152062 w 2051041"/>
              <a:gd name="connsiteY911" fmla="*/ 490301 h 2084191"/>
              <a:gd name="connsiteX912" fmla="*/ 1196140 w 2051041"/>
              <a:gd name="connsiteY912" fmla="*/ 533835 h 2084191"/>
              <a:gd name="connsiteX913" fmla="*/ 1152606 w 2051041"/>
              <a:gd name="connsiteY913" fmla="*/ 577369 h 2084191"/>
              <a:gd name="connsiteX914" fmla="*/ 1109072 w 2051041"/>
              <a:gd name="connsiteY914" fmla="*/ 534379 h 2084191"/>
              <a:gd name="connsiteX915" fmla="*/ 1152062 w 2051041"/>
              <a:gd name="connsiteY915" fmla="*/ 490301 h 2084191"/>
              <a:gd name="connsiteX916" fmla="*/ 1316947 w 2051041"/>
              <a:gd name="connsiteY916" fmla="*/ 489212 h 2084191"/>
              <a:gd name="connsiteX917" fmla="*/ 1361570 w 2051041"/>
              <a:gd name="connsiteY917" fmla="*/ 534923 h 2084191"/>
              <a:gd name="connsiteX918" fmla="*/ 1315859 w 2051041"/>
              <a:gd name="connsiteY918" fmla="*/ 580090 h 2084191"/>
              <a:gd name="connsiteX919" fmla="*/ 1270693 w 2051041"/>
              <a:gd name="connsiteY919" fmla="*/ 533835 h 2084191"/>
              <a:gd name="connsiteX920" fmla="*/ 1316947 w 2051041"/>
              <a:gd name="connsiteY920" fmla="*/ 489212 h 2084191"/>
              <a:gd name="connsiteX921" fmla="*/ 1479112 w 2051041"/>
              <a:gd name="connsiteY921" fmla="*/ 484315 h 2084191"/>
              <a:gd name="connsiteX922" fmla="*/ 1528087 w 2051041"/>
              <a:gd name="connsiteY922" fmla="*/ 533835 h 2084191"/>
              <a:gd name="connsiteX923" fmla="*/ 1479656 w 2051041"/>
              <a:gd name="connsiteY923" fmla="*/ 582267 h 2084191"/>
              <a:gd name="connsiteX924" fmla="*/ 1431224 w 2051041"/>
              <a:gd name="connsiteY924" fmla="*/ 533835 h 2084191"/>
              <a:gd name="connsiteX925" fmla="*/ 1479112 w 2051041"/>
              <a:gd name="connsiteY925" fmla="*/ 484315 h 2084191"/>
              <a:gd name="connsiteX926" fmla="*/ 1643452 w 2051041"/>
              <a:gd name="connsiteY926" fmla="*/ 484314 h 2084191"/>
              <a:gd name="connsiteX927" fmla="*/ 1692973 w 2051041"/>
              <a:gd name="connsiteY927" fmla="*/ 534923 h 2084191"/>
              <a:gd name="connsiteX928" fmla="*/ 1641276 w 2051041"/>
              <a:gd name="connsiteY928" fmla="*/ 583898 h 2084191"/>
              <a:gd name="connsiteX929" fmla="*/ 1592300 w 2051041"/>
              <a:gd name="connsiteY929" fmla="*/ 532202 h 2084191"/>
              <a:gd name="connsiteX930" fmla="*/ 1643452 w 2051041"/>
              <a:gd name="connsiteY930" fmla="*/ 484314 h 2084191"/>
              <a:gd name="connsiteX931" fmla="*/ 1806162 w 2051041"/>
              <a:gd name="connsiteY931" fmla="*/ 481594 h 2084191"/>
              <a:gd name="connsiteX932" fmla="*/ 1857858 w 2051041"/>
              <a:gd name="connsiteY932" fmla="*/ 536011 h 2084191"/>
              <a:gd name="connsiteX933" fmla="*/ 1803441 w 2051041"/>
              <a:gd name="connsiteY933" fmla="*/ 586075 h 2084191"/>
              <a:gd name="connsiteX934" fmla="*/ 1753377 w 2051041"/>
              <a:gd name="connsiteY934" fmla="*/ 533290 h 2084191"/>
              <a:gd name="connsiteX935" fmla="*/ 1806162 w 2051041"/>
              <a:gd name="connsiteY935" fmla="*/ 481594 h 2084191"/>
              <a:gd name="connsiteX936" fmla="*/ 1968326 w 2051041"/>
              <a:gd name="connsiteY936" fmla="*/ 480505 h 2084191"/>
              <a:gd name="connsiteX937" fmla="*/ 2022200 w 2051041"/>
              <a:gd name="connsiteY937" fmla="*/ 534379 h 2084191"/>
              <a:gd name="connsiteX938" fmla="*/ 1969415 w 2051041"/>
              <a:gd name="connsiteY938" fmla="*/ 588252 h 2084191"/>
              <a:gd name="connsiteX939" fmla="*/ 1915541 w 2051041"/>
              <a:gd name="connsiteY939" fmla="*/ 534923 h 2084191"/>
              <a:gd name="connsiteX940" fmla="*/ 1968326 w 2051041"/>
              <a:gd name="connsiteY940" fmla="*/ 480505 h 2084191"/>
              <a:gd name="connsiteX941" fmla="*/ 91464 w 2051041"/>
              <a:gd name="connsiteY941" fmla="*/ 440780 h 2084191"/>
              <a:gd name="connsiteX942" fmla="*/ 102891 w 2051041"/>
              <a:gd name="connsiteY942" fmla="*/ 451664 h 2084191"/>
              <a:gd name="connsiteX943" fmla="*/ 92008 w 2051041"/>
              <a:gd name="connsiteY943" fmla="*/ 464179 h 2084191"/>
              <a:gd name="connsiteX944" fmla="*/ 80036 w 2051041"/>
              <a:gd name="connsiteY944" fmla="*/ 452752 h 2084191"/>
              <a:gd name="connsiteX945" fmla="*/ 91464 w 2051041"/>
              <a:gd name="connsiteY945" fmla="*/ 440780 h 2084191"/>
              <a:gd name="connsiteX946" fmla="*/ 254172 w 2051041"/>
              <a:gd name="connsiteY946" fmla="*/ 430441 h 2084191"/>
              <a:gd name="connsiteX947" fmla="*/ 275939 w 2051041"/>
              <a:gd name="connsiteY947" fmla="*/ 452208 h 2084191"/>
              <a:gd name="connsiteX948" fmla="*/ 254716 w 2051041"/>
              <a:gd name="connsiteY948" fmla="*/ 473975 h 2084191"/>
              <a:gd name="connsiteX949" fmla="*/ 232405 w 2051041"/>
              <a:gd name="connsiteY949" fmla="*/ 452752 h 2084191"/>
              <a:gd name="connsiteX950" fmla="*/ 254172 w 2051041"/>
              <a:gd name="connsiteY950" fmla="*/ 430441 h 2084191"/>
              <a:gd name="connsiteX951" fmla="*/ 417969 w 2051041"/>
              <a:gd name="connsiteY951" fmla="*/ 424999 h 2084191"/>
              <a:gd name="connsiteX952" fmla="*/ 444634 w 2051041"/>
              <a:gd name="connsiteY952" fmla="*/ 452752 h 2084191"/>
              <a:gd name="connsiteX953" fmla="*/ 417425 w 2051041"/>
              <a:gd name="connsiteY953" fmla="*/ 479417 h 2084191"/>
              <a:gd name="connsiteX954" fmla="*/ 390760 w 2051041"/>
              <a:gd name="connsiteY954" fmla="*/ 452208 h 2084191"/>
              <a:gd name="connsiteX955" fmla="*/ 417969 w 2051041"/>
              <a:gd name="connsiteY955" fmla="*/ 424999 h 2084191"/>
              <a:gd name="connsiteX956" fmla="*/ 580677 w 2051041"/>
              <a:gd name="connsiteY956" fmla="*/ 419558 h 2084191"/>
              <a:gd name="connsiteX957" fmla="*/ 612783 w 2051041"/>
              <a:gd name="connsiteY957" fmla="*/ 452208 h 2084191"/>
              <a:gd name="connsiteX958" fmla="*/ 581221 w 2051041"/>
              <a:gd name="connsiteY958" fmla="*/ 484315 h 2084191"/>
              <a:gd name="connsiteX959" fmla="*/ 549115 w 2051041"/>
              <a:gd name="connsiteY959" fmla="*/ 452208 h 2084191"/>
              <a:gd name="connsiteX960" fmla="*/ 580677 w 2051041"/>
              <a:gd name="connsiteY960" fmla="*/ 419558 h 2084191"/>
              <a:gd name="connsiteX961" fmla="*/ 743931 w 2051041"/>
              <a:gd name="connsiteY961" fmla="*/ 415748 h 2084191"/>
              <a:gd name="connsiteX962" fmla="*/ 780390 w 2051041"/>
              <a:gd name="connsiteY962" fmla="*/ 452208 h 2084191"/>
              <a:gd name="connsiteX963" fmla="*/ 744475 w 2051041"/>
              <a:gd name="connsiteY963" fmla="*/ 489212 h 2084191"/>
              <a:gd name="connsiteX964" fmla="*/ 708559 w 2051041"/>
              <a:gd name="connsiteY964" fmla="*/ 453840 h 2084191"/>
              <a:gd name="connsiteX965" fmla="*/ 743931 w 2051041"/>
              <a:gd name="connsiteY965" fmla="*/ 415748 h 2084191"/>
              <a:gd name="connsiteX966" fmla="*/ 908271 w 2051041"/>
              <a:gd name="connsiteY966" fmla="*/ 414116 h 2084191"/>
              <a:gd name="connsiteX967" fmla="*/ 946363 w 2051041"/>
              <a:gd name="connsiteY967" fmla="*/ 453296 h 2084191"/>
              <a:gd name="connsiteX968" fmla="*/ 906638 w 2051041"/>
              <a:gd name="connsiteY968" fmla="*/ 491933 h 2084191"/>
              <a:gd name="connsiteX969" fmla="*/ 868546 w 2051041"/>
              <a:gd name="connsiteY969" fmla="*/ 452208 h 2084191"/>
              <a:gd name="connsiteX970" fmla="*/ 908271 w 2051041"/>
              <a:gd name="connsiteY970" fmla="*/ 414116 h 2084191"/>
              <a:gd name="connsiteX971" fmla="*/ 1072068 w 2051041"/>
              <a:gd name="connsiteY971" fmla="*/ 409218 h 2084191"/>
              <a:gd name="connsiteX972" fmla="*/ 1113970 w 2051041"/>
              <a:gd name="connsiteY972" fmla="*/ 452752 h 2084191"/>
              <a:gd name="connsiteX973" fmla="*/ 1070436 w 2051041"/>
              <a:gd name="connsiteY973" fmla="*/ 495198 h 2084191"/>
              <a:gd name="connsiteX974" fmla="*/ 1028534 w 2051041"/>
              <a:gd name="connsiteY974" fmla="*/ 451120 h 2084191"/>
              <a:gd name="connsiteX975" fmla="*/ 1072068 w 2051041"/>
              <a:gd name="connsiteY975" fmla="*/ 409218 h 2084191"/>
              <a:gd name="connsiteX976" fmla="*/ 1235865 w 2051041"/>
              <a:gd name="connsiteY976" fmla="*/ 408130 h 2084191"/>
              <a:gd name="connsiteX977" fmla="*/ 1279400 w 2051041"/>
              <a:gd name="connsiteY977" fmla="*/ 453296 h 2084191"/>
              <a:gd name="connsiteX978" fmla="*/ 1233689 w 2051041"/>
              <a:gd name="connsiteY978" fmla="*/ 497374 h 2084191"/>
              <a:gd name="connsiteX979" fmla="*/ 1189611 w 2051041"/>
              <a:gd name="connsiteY979" fmla="*/ 451664 h 2084191"/>
              <a:gd name="connsiteX980" fmla="*/ 1235865 w 2051041"/>
              <a:gd name="connsiteY980" fmla="*/ 408130 h 2084191"/>
              <a:gd name="connsiteX981" fmla="*/ 1396941 w 2051041"/>
              <a:gd name="connsiteY981" fmla="*/ 403776 h 2084191"/>
              <a:gd name="connsiteX982" fmla="*/ 1446461 w 2051041"/>
              <a:gd name="connsiteY982" fmla="*/ 450575 h 2084191"/>
              <a:gd name="connsiteX983" fmla="*/ 1399118 w 2051041"/>
              <a:gd name="connsiteY983" fmla="*/ 500640 h 2084191"/>
              <a:gd name="connsiteX984" fmla="*/ 1349598 w 2051041"/>
              <a:gd name="connsiteY984" fmla="*/ 453296 h 2084191"/>
              <a:gd name="connsiteX985" fmla="*/ 1396941 w 2051041"/>
              <a:gd name="connsiteY985" fmla="*/ 403776 h 2084191"/>
              <a:gd name="connsiteX986" fmla="*/ 1560738 w 2051041"/>
              <a:gd name="connsiteY986" fmla="*/ 402144 h 2084191"/>
              <a:gd name="connsiteX987" fmla="*/ 1611347 w 2051041"/>
              <a:gd name="connsiteY987" fmla="*/ 453297 h 2084191"/>
              <a:gd name="connsiteX988" fmla="*/ 1560194 w 2051041"/>
              <a:gd name="connsiteY988" fmla="*/ 502272 h 2084191"/>
              <a:gd name="connsiteX989" fmla="*/ 1511218 w 2051041"/>
              <a:gd name="connsiteY989" fmla="*/ 451664 h 2084191"/>
              <a:gd name="connsiteX990" fmla="*/ 1560738 w 2051041"/>
              <a:gd name="connsiteY990" fmla="*/ 402144 h 2084191"/>
              <a:gd name="connsiteX991" fmla="*/ 1723991 w 2051041"/>
              <a:gd name="connsiteY991" fmla="*/ 399423 h 2084191"/>
              <a:gd name="connsiteX992" fmla="*/ 1776776 w 2051041"/>
              <a:gd name="connsiteY992" fmla="*/ 452752 h 2084191"/>
              <a:gd name="connsiteX993" fmla="*/ 1725079 w 2051041"/>
              <a:gd name="connsiteY993" fmla="*/ 504993 h 2084191"/>
              <a:gd name="connsiteX994" fmla="*/ 1671750 w 2051041"/>
              <a:gd name="connsiteY994" fmla="*/ 452752 h 2084191"/>
              <a:gd name="connsiteX995" fmla="*/ 1723991 w 2051041"/>
              <a:gd name="connsiteY995" fmla="*/ 399423 h 2084191"/>
              <a:gd name="connsiteX996" fmla="*/ 2051040 w 2051041"/>
              <a:gd name="connsiteY996" fmla="*/ 398335 h 2084191"/>
              <a:gd name="connsiteX997" fmla="*/ 2051041 w 2051041"/>
              <a:gd name="connsiteY997" fmla="*/ 398335 h 2084191"/>
              <a:gd name="connsiteX998" fmla="*/ 2051041 w 2051041"/>
              <a:gd name="connsiteY998" fmla="*/ 506936 h 2084191"/>
              <a:gd name="connsiteX999" fmla="*/ 2049952 w 2051041"/>
              <a:gd name="connsiteY999" fmla="*/ 507170 h 2084191"/>
              <a:gd name="connsiteX1000" fmla="*/ 1995534 w 2051041"/>
              <a:gd name="connsiteY1000" fmla="*/ 452208 h 2084191"/>
              <a:gd name="connsiteX1001" fmla="*/ 2051040 w 2051041"/>
              <a:gd name="connsiteY1001" fmla="*/ 398335 h 2084191"/>
              <a:gd name="connsiteX1002" fmla="*/ 1888332 w 2051041"/>
              <a:gd name="connsiteY1002" fmla="*/ 398335 h 2084191"/>
              <a:gd name="connsiteX1003" fmla="*/ 1941661 w 2051041"/>
              <a:gd name="connsiteY1003" fmla="*/ 452208 h 2084191"/>
              <a:gd name="connsiteX1004" fmla="*/ 1886699 w 2051041"/>
              <a:gd name="connsiteY1004" fmla="*/ 506082 h 2084191"/>
              <a:gd name="connsiteX1005" fmla="*/ 1833370 w 2051041"/>
              <a:gd name="connsiteY1005" fmla="*/ 452208 h 2084191"/>
              <a:gd name="connsiteX1006" fmla="*/ 1888332 w 2051041"/>
              <a:gd name="connsiteY1006" fmla="*/ 398335 h 2084191"/>
              <a:gd name="connsiteX1007" fmla="*/ 12014 w 2051041"/>
              <a:gd name="connsiteY1007" fmla="*/ 364052 h 2084191"/>
              <a:gd name="connsiteX1008" fmla="*/ 15823 w 2051041"/>
              <a:gd name="connsiteY1008" fmla="*/ 370038 h 2084191"/>
              <a:gd name="connsiteX1009" fmla="*/ 9293 w 2051041"/>
              <a:gd name="connsiteY1009" fmla="*/ 377656 h 2084191"/>
              <a:gd name="connsiteX1010" fmla="*/ 3307 w 2051041"/>
              <a:gd name="connsiteY1010" fmla="*/ 371126 h 2084191"/>
              <a:gd name="connsiteX1011" fmla="*/ 12014 w 2051041"/>
              <a:gd name="connsiteY1011" fmla="*/ 364052 h 2084191"/>
              <a:gd name="connsiteX1012" fmla="*/ 172545 w 2051041"/>
              <a:gd name="connsiteY1012" fmla="*/ 353713 h 2084191"/>
              <a:gd name="connsiteX1013" fmla="*/ 190503 w 2051041"/>
              <a:gd name="connsiteY1013" fmla="*/ 370582 h 2084191"/>
              <a:gd name="connsiteX1014" fmla="*/ 173090 w 2051041"/>
              <a:gd name="connsiteY1014" fmla="*/ 387996 h 2084191"/>
              <a:gd name="connsiteX1015" fmla="*/ 155676 w 2051041"/>
              <a:gd name="connsiteY1015" fmla="*/ 371126 h 2084191"/>
              <a:gd name="connsiteX1016" fmla="*/ 172545 w 2051041"/>
              <a:gd name="connsiteY1016" fmla="*/ 353713 h 2084191"/>
              <a:gd name="connsiteX1017" fmla="*/ 336886 w 2051041"/>
              <a:gd name="connsiteY1017" fmla="*/ 345550 h 2084191"/>
              <a:gd name="connsiteX1018" fmla="*/ 361374 w 2051041"/>
              <a:gd name="connsiteY1018" fmla="*/ 371670 h 2084191"/>
              <a:gd name="connsiteX1019" fmla="*/ 335798 w 2051041"/>
              <a:gd name="connsiteY1019" fmla="*/ 395070 h 2084191"/>
              <a:gd name="connsiteX1020" fmla="*/ 311854 w 2051041"/>
              <a:gd name="connsiteY1020" fmla="*/ 370038 h 2084191"/>
              <a:gd name="connsiteX1021" fmla="*/ 336886 w 2051041"/>
              <a:gd name="connsiteY1021" fmla="*/ 345550 h 2084191"/>
              <a:gd name="connsiteX1022" fmla="*/ 499596 w 2051041"/>
              <a:gd name="connsiteY1022" fmla="*/ 342284 h 2084191"/>
              <a:gd name="connsiteX1023" fmla="*/ 528437 w 2051041"/>
              <a:gd name="connsiteY1023" fmla="*/ 370582 h 2084191"/>
              <a:gd name="connsiteX1024" fmla="*/ 499051 w 2051041"/>
              <a:gd name="connsiteY1024" fmla="*/ 399423 h 2084191"/>
              <a:gd name="connsiteX1025" fmla="*/ 470210 w 2051041"/>
              <a:gd name="connsiteY1025" fmla="*/ 370037 h 2084191"/>
              <a:gd name="connsiteX1026" fmla="*/ 499596 w 2051041"/>
              <a:gd name="connsiteY1026" fmla="*/ 342284 h 2084191"/>
              <a:gd name="connsiteX1027" fmla="*/ 663392 w 2051041"/>
              <a:gd name="connsiteY1027" fmla="*/ 337387 h 2084191"/>
              <a:gd name="connsiteX1028" fmla="*/ 697131 w 2051041"/>
              <a:gd name="connsiteY1028" fmla="*/ 371126 h 2084191"/>
              <a:gd name="connsiteX1029" fmla="*/ 662304 w 2051041"/>
              <a:gd name="connsiteY1029" fmla="*/ 404321 h 2084191"/>
              <a:gd name="connsiteX1030" fmla="*/ 629109 w 2051041"/>
              <a:gd name="connsiteY1030" fmla="*/ 371126 h 2084191"/>
              <a:gd name="connsiteX1031" fmla="*/ 663392 w 2051041"/>
              <a:gd name="connsiteY1031" fmla="*/ 337387 h 2084191"/>
              <a:gd name="connsiteX1032" fmla="*/ 825556 w 2051041"/>
              <a:gd name="connsiteY1032" fmla="*/ 332489 h 2084191"/>
              <a:gd name="connsiteX1033" fmla="*/ 864737 w 2051041"/>
              <a:gd name="connsiteY1033" fmla="*/ 370037 h 2084191"/>
              <a:gd name="connsiteX1034" fmla="*/ 826645 w 2051041"/>
              <a:gd name="connsiteY1034" fmla="*/ 409218 h 2084191"/>
              <a:gd name="connsiteX1035" fmla="*/ 787464 w 2051041"/>
              <a:gd name="connsiteY1035" fmla="*/ 371126 h 2084191"/>
              <a:gd name="connsiteX1036" fmla="*/ 825556 w 2051041"/>
              <a:gd name="connsiteY1036" fmla="*/ 332489 h 2084191"/>
              <a:gd name="connsiteX1037" fmla="*/ 989898 w 2051041"/>
              <a:gd name="connsiteY1037" fmla="*/ 328680 h 2084191"/>
              <a:gd name="connsiteX1038" fmla="*/ 1031255 w 2051041"/>
              <a:gd name="connsiteY1038" fmla="*/ 371126 h 2084191"/>
              <a:gd name="connsiteX1039" fmla="*/ 989354 w 2051041"/>
              <a:gd name="connsiteY1039" fmla="*/ 413027 h 2084191"/>
              <a:gd name="connsiteX1040" fmla="*/ 947452 w 2051041"/>
              <a:gd name="connsiteY1040" fmla="*/ 370037 h 2084191"/>
              <a:gd name="connsiteX1041" fmla="*/ 989898 w 2051041"/>
              <a:gd name="connsiteY1041" fmla="*/ 328680 h 2084191"/>
              <a:gd name="connsiteX1042" fmla="*/ 1153150 w 2051041"/>
              <a:gd name="connsiteY1042" fmla="*/ 326504 h 2084191"/>
              <a:gd name="connsiteX1043" fmla="*/ 1197228 w 2051041"/>
              <a:gd name="connsiteY1043" fmla="*/ 370582 h 2084191"/>
              <a:gd name="connsiteX1044" fmla="*/ 1152606 w 2051041"/>
              <a:gd name="connsiteY1044" fmla="*/ 414661 h 2084191"/>
              <a:gd name="connsiteX1045" fmla="*/ 1108528 w 2051041"/>
              <a:gd name="connsiteY1045" fmla="*/ 370038 h 2084191"/>
              <a:gd name="connsiteX1046" fmla="*/ 1153150 w 2051041"/>
              <a:gd name="connsiteY1046" fmla="*/ 326504 h 2084191"/>
              <a:gd name="connsiteX1047" fmla="*/ 1317492 w 2051041"/>
              <a:gd name="connsiteY1047" fmla="*/ 323239 h 2084191"/>
              <a:gd name="connsiteX1048" fmla="*/ 1364835 w 2051041"/>
              <a:gd name="connsiteY1048" fmla="*/ 372215 h 2084191"/>
              <a:gd name="connsiteX1049" fmla="*/ 1314771 w 2051041"/>
              <a:gd name="connsiteY1049" fmla="*/ 419014 h 2084191"/>
              <a:gd name="connsiteX1050" fmla="*/ 1268516 w 2051041"/>
              <a:gd name="connsiteY1050" fmla="*/ 370582 h 2084191"/>
              <a:gd name="connsiteX1051" fmla="*/ 1317492 w 2051041"/>
              <a:gd name="connsiteY1051" fmla="*/ 323239 h 2084191"/>
              <a:gd name="connsiteX1052" fmla="*/ 1479112 w 2051041"/>
              <a:gd name="connsiteY1052" fmla="*/ 320517 h 2084191"/>
              <a:gd name="connsiteX1053" fmla="*/ 1529720 w 2051041"/>
              <a:gd name="connsiteY1053" fmla="*/ 371670 h 2084191"/>
              <a:gd name="connsiteX1054" fmla="*/ 1478568 w 2051041"/>
              <a:gd name="connsiteY1054" fmla="*/ 420101 h 2084191"/>
              <a:gd name="connsiteX1055" fmla="*/ 1429592 w 2051041"/>
              <a:gd name="connsiteY1055" fmla="*/ 370037 h 2084191"/>
              <a:gd name="connsiteX1056" fmla="*/ 1479112 w 2051041"/>
              <a:gd name="connsiteY1056" fmla="*/ 320517 h 2084191"/>
              <a:gd name="connsiteX1057" fmla="*/ 1642364 w 2051041"/>
              <a:gd name="connsiteY1057" fmla="*/ 318341 h 2084191"/>
              <a:gd name="connsiteX1058" fmla="*/ 1695694 w 2051041"/>
              <a:gd name="connsiteY1058" fmla="*/ 370582 h 2084191"/>
              <a:gd name="connsiteX1059" fmla="*/ 1643453 w 2051041"/>
              <a:gd name="connsiteY1059" fmla="*/ 424455 h 2084191"/>
              <a:gd name="connsiteX1060" fmla="*/ 1589035 w 2051041"/>
              <a:gd name="connsiteY1060" fmla="*/ 371670 h 2084191"/>
              <a:gd name="connsiteX1061" fmla="*/ 1642364 w 2051041"/>
              <a:gd name="connsiteY1061" fmla="*/ 318341 h 2084191"/>
              <a:gd name="connsiteX1062" fmla="*/ 90919 w 2051041"/>
              <a:gd name="connsiteY1062" fmla="*/ 273718 h 2084191"/>
              <a:gd name="connsiteX1063" fmla="*/ 106700 w 2051041"/>
              <a:gd name="connsiteY1063" fmla="*/ 288411 h 2084191"/>
              <a:gd name="connsiteX1064" fmla="*/ 91463 w 2051041"/>
              <a:gd name="connsiteY1064" fmla="*/ 303648 h 2084191"/>
              <a:gd name="connsiteX1065" fmla="*/ 76770 w 2051041"/>
              <a:gd name="connsiteY1065" fmla="*/ 288411 h 2084191"/>
              <a:gd name="connsiteX1066" fmla="*/ 90919 w 2051041"/>
              <a:gd name="connsiteY1066" fmla="*/ 273718 h 2084191"/>
              <a:gd name="connsiteX1067" fmla="*/ 254716 w 2051041"/>
              <a:gd name="connsiteY1067" fmla="*/ 267733 h 2084191"/>
              <a:gd name="connsiteX1068" fmla="*/ 276483 w 2051041"/>
              <a:gd name="connsiteY1068" fmla="*/ 288956 h 2084191"/>
              <a:gd name="connsiteX1069" fmla="*/ 254172 w 2051041"/>
              <a:gd name="connsiteY1069" fmla="*/ 311811 h 2084191"/>
              <a:gd name="connsiteX1070" fmla="*/ 232405 w 2051041"/>
              <a:gd name="connsiteY1070" fmla="*/ 289500 h 2084191"/>
              <a:gd name="connsiteX1071" fmla="*/ 254716 w 2051041"/>
              <a:gd name="connsiteY1071" fmla="*/ 267733 h 2084191"/>
              <a:gd name="connsiteX1072" fmla="*/ 1941117 w 2051041"/>
              <a:gd name="connsiteY1072" fmla="*/ 263202 h 2084191"/>
              <a:gd name="connsiteX1073" fmla="*/ 1936219 w 2051041"/>
              <a:gd name="connsiteY1073" fmla="*/ 266467 h 2084191"/>
              <a:gd name="connsiteX1074" fmla="*/ 1938396 w 2051041"/>
              <a:gd name="connsiteY1074" fmla="*/ 272453 h 2084191"/>
              <a:gd name="connsiteX1075" fmla="*/ 1932954 w 2051041"/>
              <a:gd name="connsiteY1075" fmla="*/ 325782 h 2084191"/>
              <a:gd name="connsiteX1076" fmla="*/ 1930777 w 2051041"/>
              <a:gd name="connsiteY1076" fmla="*/ 331224 h 2084191"/>
              <a:gd name="connsiteX1077" fmla="*/ 1936219 w 2051041"/>
              <a:gd name="connsiteY1077" fmla="*/ 330136 h 2084191"/>
              <a:gd name="connsiteX1078" fmla="*/ 1966693 w 2051041"/>
              <a:gd name="connsiteY1078" fmla="*/ 320340 h 2084191"/>
              <a:gd name="connsiteX1079" fmla="*/ 1998799 w 2051041"/>
              <a:gd name="connsiteY1079" fmla="*/ 328503 h 2084191"/>
              <a:gd name="connsiteX1080" fmla="*/ 2003153 w 2051041"/>
              <a:gd name="connsiteY1080" fmla="*/ 330136 h 2084191"/>
              <a:gd name="connsiteX1081" fmla="*/ 2001520 w 2051041"/>
              <a:gd name="connsiteY1081" fmla="*/ 324694 h 2084191"/>
              <a:gd name="connsiteX1082" fmla="*/ 1994446 w 2051041"/>
              <a:gd name="connsiteY1082" fmla="*/ 309457 h 2084191"/>
              <a:gd name="connsiteX1083" fmla="*/ 1998255 w 2051041"/>
              <a:gd name="connsiteY1083" fmla="*/ 267555 h 2084191"/>
              <a:gd name="connsiteX1084" fmla="*/ 2000976 w 2051041"/>
              <a:gd name="connsiteY1084" fmla="*/ 263746 h 2084191"/>
              <a:gd name="connsiteX1085" fmla="*/ 1995534 w 2051041"/>
              <a:gd name="connsiteY1085" fmla="*/ 263746 h 2084191"/>
              <a:gd name="connsiteX1086" fmla="*/ 1941117 w 2051041"/>
              <a:gd name="connsiteY1086" fmla="*/ 263202 h 2084191"/>
              <a:gd name="connsiteX1087" fmla="*/ 417425 w 2051041"/>
              <a:gd name="connsiteY1087" fmla="*/ 262291 h 2084191"/>
              <a:gd name="connsiteX1088" fmla="*/ 445178 w 2051041"/>
              <a:gd name="connsiteY1088" fmla="*/ 288956 h 2084191"/>
              <a:gd name="connsiteX1089" fmla="*/ 417969 w 2051041"/>
              <a:gd name="connsiteY1089" fmla="*/ 317253 h 2084191"/>
              <a:gd name="connsiteX1090" fmla="*/ 390216 w 2051041"/>
              <a:gd name="connsiteY1090" fmla="*/ 290044 h 2084191"/>
              <a:gd name="connsiteX1091" fmla="*/ 417425 w 2051041"/>
              <a:gd name="connsiteY1091" fmla="*/ 262291 h 2084191"/>
              <a:gd name="connsiteX1092" fmla="*/ 580678 w 2051041"/>
              <a:gd name="connsiteY1092" fmla="*/ 256304 h 2084191"/>
              <a:gd name="connsiteX1093" fmla="*/ 613872 w 2051041"/>
              <a:gd name="connsiteY1093" fmla="*/ 288955 h 2084191"/>
              <a:gd name="connsiteX1094" fmla="*/ 581222 w 2051041"/>
              <a:gd name="connsiteY1094" fmla="*/ 322150 h 2084191"/>
              <a:gd name="connsiteX1095" fmla="*/ 548027 w 2051041"/>
              <a:gd name="connsiteY1095" fmla="*/ 289499 h 2084191"/>
              <a:gd name="connsiteX1096" fmla="*/ 580678 w 2051041"/>
              <a:gd name="connsiteY1096" fmla="*/ 256304 h 2084191"/>
              <a:gd name="connsiteX1097" fmla="*/ 743930 w 2051041"/>
              <a:gd name="connsiteY1097" fmla="*/ 251951 h 2084191"/>
              <a:gd name="connsiteX1098" fmla="*/ 782022 w 2051041"/>
              <a:gd name="connsiteY1098" fmla="*/ 289499 h 2084191"/>
              <a:gd name="connsiteX1099" fmla="*/ 744474 w 2051041"/>
              <a:gd name="connsiteY1099" fmla="*/ 326503 h 2084191"/>
              <a:gd name="connsiteX1100" fmla="*/ 707470 w 2051041"/>
              <a:gd name="connsiteY1100" fmla="*/ 289499 h 2084191"/>
              <a:gd name="connsiteX1101" fmla="*/ 743930 w 2051041"/>
              <a:gd name="connsiteY1101" fmla="*/ 251951 h 2084191"/>
              <a:gd name="connsiteX1102" fmla="*/ 907183 w 2051041"/>
              <a:gd name="connsiteY1102" fmla="*/ 249775 h 2084191"/>
              <a:gd name="connsiteX1103" fmla="*/ 947452 w 2051041"/>
              <a:gd name="connsiteY1103" fmla="*/ 289500 h 2084191"/>
              <a:gd name="connsiteX1104" fmla="*/ 908271 w 2051041"/>
              <a:gd name="connsiteY1104" fmla="*/ 329225 h 2084191"/>
              <a:gd name="connsiteX1105" fmla="*/ 867458 w 2051041"/>
              <a:gd name="connsiteY1105" fmla="*/ 290044 h 2084191"/>
              <a:gd name="connsiteX1106" fmla="*/ 907183 w 2051041"/>
              <a:gd name="connsiteY1106" fmla="*/ 249775 h 2084191"/>
              <a:gd name="connsiteX1107" fmla="*/ 1070435 w 2051041"/>
              <a:gd name="connsiteY1107" fmla="*/ 245965 h 2084191"/>
              <a:gd name="connsiteX1108" fmla="*/ 1114513 w 2051041"/>
              <a:gd name="connsiteY1108" fmla="*/ 290043 h 2084191"/>
              <a:gd name="connsiteX1109" fmla="*/ 1069347 w 2051041"/>
              <a:gd name="connsiteY1109" fmla="*/ 333578 h 2084191"/>
              <a:gd name="connsiteX1110" fmla="*/ 1026357 w 2051041"/>
              <a:gd name="connsiteY1110" fmla="*/ 288955 h 2084191"/>
              <a:gd name="connsiteX1111" fmla="*/ 1070435 w 2051041"/>
              <a:gd name="connsiteY1111" fmla="*/ 245965 h 2084191"/>
              <a:gd name="connsiteX1112" fmla="*/ 1233689 w 2051041"/>
              <a:gd name="connsiteY1112" fmla="*/ 241613 h 2084191"/>
              <a:gd name="connsiteX1113" fmla="*/ 1282120 w 2051041"/>
              <a:gd name="connsiteY1113" fmla="*/ 288412 h 2084191"/>
              <a:gd name="connsiteX1114" fmla="*/ 1235321 w 2051041"/>
              <a:gd name="connsiteY1114" fmla="*/ 335755 h 2084191"/>
              <a:gd name="connsiteX1115" fmla="*/ 1187434 w 2051041"/>
              <a:gd name="connsiteY1115" fmla="*/ 289500 h 2084191"/>
              <a:gd name="connsiteX1116" fmla="*/ 1233689 w 2051041"/>
              <a:gd name="connsiteY1116" fmla="*/ 241613 h 2084191"/>
              <a:gd name="connsiteX1117" fmla="*/ 1397485 w 2051041"/>
              <a:gd name="connsiteY1117" fmla="*/ 238891 h 2084191"/>
              <a:gd name="connsiteX1118" fmla="*/ 1448094 w 2051041"/>
              <a:gd name="connsiteY1118" fmla="*/ 288955 h 2084191"/>
              <a:gd name="connsiteX1119" fmla="*/ 1398029 w 2051041"/>
              <a:gd name="connsiteY1119" fmla="*/ 338475 h 2084191"/>
              <a:gd name="connsiteX1120" fmla="*/ 1348509 w 2051041"/>
              <a:gd name="connsiteY1120" fmla="*/ 289499 h 2084191"/>
              <a:gd name="connsiteX1121" fmla="*/ 1397485 w 2051041"/>
              <a:gd name="connsiteY1121" fmla="*/ 238891 h 2084191"/>
              <a:gd name="connsiteX1122" fmla="*/ 1559650 w 2051041"/>
              <a:gd name="connsiteY1122" fmla="*/ 237258 h 2084191"/>
              <a:gd name="connsiteX1123" fmla="*/ 1613523 w 2051041"/>
              <a:gd name="connsiteY1123" fmla="*/ 288955 h 2084191"/>
              <a:gd name="connsiteX1124" fmla="*/ 1560738 w 2051041"/>
              <a:gd name="connsiteY1124" fmla="*/ 342829 h 2084191"/>
              <a:gd name="connsiteX1125" fmla="*/ 1507953 w 2051041"/>
              <a:gd name="connsiteY1125" fmla="*/ 289499 h 2084191"/>
              <a:gd name="connsiteX1126" fmla="*/ 1559650 w 2051041"/>
              <a:gd name="connsiteY1126" fmla="*/ 237258 h 2084191"/>
              <a:gd name="connsiteX1127" fmla="*/ 9837 w 2051041"/>
              <a:gd name="connsiteY1127" fmla="*/ 198078 h 2084191"/>
              <a:gd name="connsiteX1128" fmla="*/ 19632 w 2051041"/>
              <a:gd name="connsiteY1128" fmla="*/ 207873 h 2084191"/>
              <a:gd name="connsiteX1129" fmla="*/ 10381 w 2051041"/>
              <a:gd name="connsiteY1129" fmla="*/ 218213 h 2084191"/>
              <a:gd name="connsiteX1130" fmla="*/ 42 w 2051041"/>
              <a:gd name="connsiteY1130" fmla="*/ 207873 h 2084191"/>
              <a:gd name="connsiteX1131" fmla="*/ 9837 w 2051041"/>
              <a:gd name="connsiteY1131" fmla="*/ 198078 h 2084191"/>
              <a:gd name="connsiteX1132" fmla="*/ 173090 w 2051041"/>
              <a:gd name="connsiteY1132" fmla="*/ 187739 h 2084191"/>
              <a:gd name="connsiteX1133" fmla="*/ 192136 w 2051041"/>
              <a:gd name="connsiteY1133" fmla="*/ 207329 h 2084191"/>
              <a:gd name="connsiteX1134" fmla="*/ 172546 w 2051041"/>
              <a:gd name="connsiteY1134" fmla="*/ 227464 h 2084191"/>
              <a:gd name="connsiteX1135" fmla="*/ 154044 w 2051041"/>
              <a:gd name="connsiteY1135" fmla="*/ 208418 h 2084191"/>
              <a:gd name="connsiteX1136" fmla="*/ 173090 w 2051041"/>
              <a:gd name="connsiteY1136" fmla="*/ 187739 h 2084191"/>
              <a:gd name="connsiteX1137" fmla="*/ 336887 w 2051041"/>
              <a:gd name="connsiteY1137" fmla="*/ 182297 h 2084191"/>
              <a:gd name="connsiteX1138" fmla="*/ 363007 w 2051041"/>
              <a:gd name="connsiteY1138" fmla="*/ 207329 h 2084191"/>
              <a:gd name="connsiteX1139" fmla="*/ 336887 w 2051041"/>
              <a:gd name="connsiteY1139" fmla="*/ 233994 h 2084191"/>
              <a:gd name="connsiteX1140" fmla="*/ 310766 w 2051041"/>
              <a:gd name="connsiteY1140" fmla="*/ 208961 h 2084191"/>
              <a:gd name="connsiteX1141" fmla="*/ 336887 w 2051041"/>
              <a:gd name="connsiteY1141" fmla="*/ 182297 h 2084191"/>
              <a:gd name="connsiteX1142" fmla="*/ 1856225 w 2051041"/>
              <a:gd name="connsiteY1142" fmla="*/ 180487 h 2084191"/>
              <a:gd name="connsiteX1143" fmla="*/ 1855681 w 2051041"/>
              <a:gd name="connsiteY1143" fmla="*/ 185929 h 2084191"/>
              <a:gd name="connsiteX1144" fmla="*/ 1851872 w 2051041"/>
              <a:gd name="connsiteY1144" fmla="*/ 244700 h 2084191"/>
              <a:gd name="connsiteX1145" fmla="*/ 1851328 w 2051041"/>
              <a:gd name="connsiteY1145" fmla="*/ 247965 h 2084191"/>
              <a:gd name="connsiteX1146" fmla="*/ 1854593 w 2051041"/>
              <a:gd name="connsiteY1146" fmla="*/ 247421 h 2084191"/>
              <a:gd name="connsiteX1147" fmla="*/ 1899215 w 2051041"/>
              <a:gd name="connsiteY1147" fmla="*/ 238714 h 2084191"/>
              <a:gd name="connsiteX1148" fmla="*/ 1913908 w 2051041"/>
              <a:gd name="connsiteY1148" fmla="*/ 243067 h 2084191"/>
              <a:gd name="connsiteX1149" fmla="*/ 1918806 w 2051041"/>
              <a:gd name="connsiteY1149" fmla="*/ 242523 h 2084191"/>
              <a:gd name="connsiteX1150" fmla="*/ 1918261 w 2051041"/>
              <a:gd name="connsiteY1150" fmla="*/ 238170 h 2084191"/>
              <a:gd name="connsiteX1151" fmla="*/ 1917173 w 2051041"/>
              <a:gd name="connsiteY1151" fmla="*/ 185929 h 2084191"/>
              <a:gd name="connsiteX1152" fmla="*/ 1918261 w 2051041"/>
              <a:gd name="connsiteY1152" fmla="*/ 181576 h 2084191"/>
              <a:gd name="connsiteX1153" fmla="*/ 1913908 w 2051041"/>
              <a:gd name="connsiteY1153" fmla="*/ 182664 h 2084191"/>
              <a:gd name="connsiteX1154" fmla="*/ 1860579 w 2051041"/>
              <a:gd name="connsiteY1154" fmla="*/ 180487 h 2084191"/>
              <a:gd name="connsiteX1155" fmla="*/ 1856225 w 2051041"/>
              <a:gd name="connsiteY1155" fmla="*/ 180487 h 2084191"/>
              <a:gd name="connsiteX1156" fmla="*/ 499595 w 2051041"/>
              <a:gd name="connsiteY1156" fmla="*/ 175767 h 2084191"/>
              <a:gd name="connsiteX1157" fmla="*/ 531158 w 2051041"/>
              <a:gd name="connsiteY1157" fmla="*/ 207874 h 2084191"/>
              <a:gd name="connsiteX1158" fmla="*/ 498507 w 2051041"/>
              <a:gd name="connsiteY1158" fmla="*/ 238347 h 2084191"/>
              <a:gd name="connsiteX1159" fmla="*/ 468033 w 2051041"/>
              <a:gd name="connsiteY1159" fmla="*/ 207329 h 2084191"/>
              <a:gd name="connsiteX1160" fmla="*/ 499595 w 2051041"/>
              <a:gd name="connsiteY1160" fmla="*/ 175767 h 2084191"/>
              <a:gd name="connsiteX1161" fmla="*/ 662304 w 2051041"/>
              <a:gd name="connsiteY1161" fmla="*/ 173046 h 2084191"/>
              <a:gd name="connsiteX1162" fmla="*/ 697676 w 2051041"/>
              <a:gd name="connsiteY1162" fmla="*/ 207873 h 2084191"/>
              <a:gd name="connsiteX1163" fmla="*/ 662304 w 2051041"/>
              <a:gd name="connsiteY1163" fmla="*/ 242156 h 2084191"/>
              <a:gd name="connsiteX1164" fmla="*/ 628021 w 2051041"/>
              <a:gd name="connsiteY1164" fmla="*/ 207873 h 2084191"/>
              <a:gd name="connsiteX1165" fmla="*/ 662304 w 2051041"/>
              <a:gd name="connsiteY1165" fmla="*/ 173046 h 2084191"/>
              <a:gd name="connsiteX1166" fmla="*/ 826645 w 2051041"/>
              <a:gd name="connsiteY1166" fmla="*/ 168148 h 2084191"/>
              <a:gd name="connsiteX1167" fmla="*/ 864737 w 2051041"/>
              <a:gd name="connsiteY1167" fmla="*/ 207329 h 2084191"/>
              <a:gd name="connsiteX1168" fmla="*/ 826100 w 2051041"/>
              <a:gd name="connsiteY1168" fmla="*/ 247054 h 2084191"/>
              <a:gd name="connsiteX1169" fmla="*/ 787464 w 2051041"/>
              <a:gd name="connsiteY1169" fmla="*/ 207873 h 2084191"/>
              <a:gd name="connsiteX1170" fmla="*/ 826645 w 2051041"/>
              <a:gd name="connsiteY1170" fmla="*/ 168148 h 2084191"/>
              <a:gd name="connsiteX1171" fmla="*/ 987721 w 2051041"/>
              <a:gd name="connsiteY1171" fmla="*/ 164883 h 2084191"/>
              <a:gd name="connsiteX1172" fmla="*/ 1031799 w 2051041"/>
              <a:gd name="connsiteY1172" fmla="*/ 207329 h 2084191"/>
              <a:gd name="connsiteX1173" fmla="*/ 988809 w 2051041"/>
              <a:gd name="connsiteY1173" fmla="*/ 250319 h 2084191"/>
              <a:gd name="connsiteX1174" fmla="*/ 945819 w 2051041"/>
              <a:gd name="connsiteY1174" fmla="*/ 208417 h 2084191"/>
              <a:gd name="connsiteX1175" fmla="*/ 987721 w 2051041"/>
              <a:gd name="connsiteY1175" fmla="*/ 164883 h 2084191"/>
              <a:gd name="connsiteX1176" fmla="*/ 1153150 w 2051041"/>
              <a:gd name="connsiteY1176" fmla="*/ 162707 h 2084191"/>
              <a:gd name="connsiteX1177" fmla="*/ 1197772 w 2051041"/>
              <a:gd name="connsiteY1177" fmla="*/ 207874 h 2084191"/>
              <a:gd name="connsiteX1178" fmla="*/ 1151517 w 2051041"/>
              <a:gd name="connsiteY1178" fmla="*/ 253584 h 2084191"/>
              <a:gd name="connsiteX1179" fmla="*/ 1107439 w 2051041"/>
              <a:gd name="connsiteY1179" fmla="*/ 207329 h 2084191"/>
              <a:gd name="connsiteX1180" fmla="*/ 1153150 w 2051041"/>
              <a:gd name="connsiteY1180" fmla="*/ 162707 h 2084191"/>
              <a:gd name="connsiteX1181" fmla="*/ 1315315 w 2051041"/>
              <a:gd name="connsiteY1181" fmla="*/ 158353 h 2084191"/>
              <a:gd name="connsiteX1182" fmla="*/ 1365379 w 2051041"/>
              <a:gd name="connsiteY1182" fmla="*/ 206785 h 2084191"/>
              <a:gd name="connsiteX1183" fmla="*/ 1315859 w 2051041"/>
              <a:gd name="connsiteY1183" fmla="*/ 256305 h 2084191"/>
              <a:gd name="connsiteX1184" fmla="*/ 1266883 w 2051041"/>
              <a:gd name="connsiteY1184" fmla="*/ 207873 h 2084191"/>
              <a:gd name="connsiteX1185" fmla="*/ 1315315 w 2051041"/>
              <a:gd name="connsiteY1185" fmla="*/ 158353 h 2084191"/>
              <a:gd name="connsiteX1186" fmla="*/ 1478567 w 2051041"/>
              <a:gd name="connsiteY1186" fmla="*/ 156721 h 2084191"/>
              <a:gd name="connsiteX1187" fmla="*/ 1529720 w 2051041"/>
              <a:gd name="connsiteY1187" fmla="*/ 207329 h 2084191"/>
              <a:gd name="connsiteX1188" fmla="*/ 1478567 w 2051041"/>
              <a:gd name="connsiteY1188" fmla="*/ 258482 h 2084191"/>
              <a:gd name="connsiteX1189" fmla="*/ 1427959 w 2051041"/>
              <a:gd name="connsiteY1189" fmla="*/ 207874 h 2084191"/>
              <a:gd name="connsiteX1190" fmla="*/ 1478567 w 2051041"/>
              <a:gd name="connsiteY1190" fmla="*/ 156721 h 2084191"/>
              <a:gd name="connsiteX1191" fmla="*/ 1644541 w 2051041"/>
              <a:gd name="connsiteY1191" fmla="*/ 153456 h 2084191"/>
              <a:gd name="connsiteX1192" fmla="*/ 1697326 w 2051041"/>
              <a:gd name="connsiteY1192" fmla="*/ 209506 h 2084191"/>
              <a:gd name="connsiteX1193" fmla="*/ 1641276 w 2051041"/>
              <a:gd name="connsiteY1193" fmla="*/ 262835 h 2084191"/>
              <a:gd name="connsiteX1194" fmla="*/ 1587947 w 2051041"/>
              <a:gd name="connsiteY1194" fmla="*/ 206785 h 2084191"/>
              <a:gd name="connsiteX1195" fmla="*/ 1644541 w 2051041"/>
              <a:gd name="connsiteY1195" fmla="*/ 153456 h 2084191"/>
              <a:gd name="connsiteX1196" fmla="*/ 91463 w 2051041"/>
              <a:gd name="connsiteY1196" fmla="*/ 109922 h 2084191"/>
              <a:gd name="connsiteX1197" fmla="*/ 107244 w 2051041"/>
              <a:gd name="connsiteY1197" fmla="*/ 126247 h 2084191"/>
              <a:gd name="connsiteX1198" fmla="*/ 91463 w 2051041"/>
              <a:gd name="connsiteY1198" fmla="*/ 142028 h 2084191"/>
              <a:gd name="connsiteX1199" fmla="*/ 75682 w 2051041"/>
              <a:gd name="connsiteY1199" fmla="*/ 126247 h 2084191"/>
              <a:gd name="connsiteX1200" fmla="*/ 91463 w 2051041"/>
              <a:gd name="connsiteY1200" fmla="*/ 109922 h 2084191"/>
              <a:gd name="connsiteX1201" fmla="*/ 1942341 w 2051041"/>
              <a:gd name="connsiteY1201" fmla="*/ 104915 h 2084191"/>
              <a:gd name="connsiteX1202" fmla="*/ 1942205 w 2051041"/>
              <a:gd name="connsiteY1202" fmla="*/ 111377 h 2084191"/>
              <a:gd name="connsiteX1203" fmla="*/ 1946559 w 2051041"/>
              <a:gd name="connsiteY1203" fmla="*/ 131511 h 2084191"/>
              <a:gd name="connsiteX1204" fmla="*/ 1939484 w 2051041"/>
              <a:gd name="connsiteY1204" fmla="*/ 157088 h 2084191"/>
              <a:gd name="connsiteX1205" fmla="*/ 1941117 w 2051041"/>
              <a:gd name="connsiteY1205" fmla="*/ 160353 h 2084191"/>
              <a:gd name="connsiteX1206" fmla="*/ 1986828 w 2051041"/>
              <a:gd name="connsiteY1206" fmla="*/ 157088 h 2084191"/>
              <a:gd name="connsiteX1207" fmla="*/ 1987916 w 2051041"/>
              <a:gd name="connsiteY1207" fmla="*/ 157088 h 2084191"/>
              <a:gd name="connsiteX1208" fmla="*/ 1993902 w 2051041"/>
              <a:gd name="connsiteY1208" fmla="*/ 150013 h 2084191"/>
              <a:gd name="connsiteX1209" fmla="*/ 1993902 w 2051041"/>
              <a:gd name="connsiteY1209" fmla="*/ 109744 h 2084191"/>
              <a:gd name="connsiteX1210" fmla="*/ 1989004 w 2051041"/>
              <a:gd name="connsiteY1210" fmla="*/ 105391 h 2084191"/>
              <a:gd name="connsiteX1211" fmla="*/ 1948191 w 2051041"/>
              <a:gd name="connsiteY1211" fmla="*/ 105391 h 2084191"/>
              <a:gd name="connsiteX1212" fmla="*/ 1942341 w 2051041"/>
              <a:gd name="connsiteY1212" fmla="*/ 104915 h 2084191"/>
              <a:gd name="connsiteX1213" fmla="*/ 255804 w 2051041"/>
              <a:gd name="connsiteY1213" fmla="*/ 103392 h 2084191"/>
              <a:gd name="connsiteX1214" fmla="*/ 277571 w 2051041"/>
              <a:gd name="connsiteY1214" fmla="*/ 126791 h 2084191"/>
              <a:gd name="connsiteX1215" fmla="*/ 254172 w 2051041"/>
              <a:gd name="connsiteY1215" fmla="*/ 148014 h 2084191"/>
              <a:gd name="connsiteX1216" fmla="*/ 232405 w 2051041"/>
              <a:gd name="connsiteY1216" fmla="*/ 125159 h 2084191"/>
              <a:gd name="connsiteX1217" fmla="*/ 255804 w 2051041"/>
              <a:gd name="connsiteY1217" fmla="*/ 103392 h 2084191"/>
              <a:gd name="connsiteX1218" fmla="*/ 1773511 w 2051041"/>
              <a:gd name="connsiteY1218" fmla="*/ 99405 h 2084191"/>
              <a:gd name="connsiteX1219" fmla="*/ 1773511 w 2051041"/>
              <a:gd name="connsiteY1219" fmla="*/ 107023 h 2084191"/>
              <a:gd name="connsiteX1220" fmla="*/ 1780585 w 2051041"/>
              <a:gd name="connsiteY1220" fmla="*/ 130423 h 2084191"/>
              <a:gd name="connsiteX1221" fmla="*/ 1773511 w 2051041"/>
              <a:gd name="connsiteY1221" fmla="*/ 155999 h 2084191"/>
              <a:gd name="connsiteX1222" fmla="*/ 1774055 w 2051041"/>
              <a:gd name="connsiteY1222" fmla="*/ 161985 h 2084191"/>
              <a:gd name="connsiteX1223" fmla="*/ 1780041 w 2051041"/>
              <a:gd name="connsiteY1223" fmla="*/ 162529 h 2084191"/>
              <a:gd name="connsiteX1224" fmla="*/ 1811059 w 2051041"/>
              <a:gd name="connsiteY1224" fmla="*/ 157632 h 2084191"/>
              <a:gd name="connsiteX1225" fmla="*/ 1829561 w 2051041"/>
              <a:gd name="connsiteY1225" fmla="*/ 161985 h 2084191"/>
              <a:gd name="connsiteX1226" fmla="*/ 1836635 w 2051041"/>
              <a:gd name="connsiteY1226" fmla="*/ 161985 h 2084191"/>
              <a:gd name="connsiteX1227" fmla="*/ 1833914 w 2051041"/>
              <a:gd name="connsiteY1227" fmla="*/ 157088 h 2084191"/>
              <a:gd name="connsiteX1228" fmla="*/ 1834458 w 2051041"/>
              <a:gd name="connsiteY1228" fmla="*/ 104303 h 2084191"/>
              <a:gd name="connsiteX1229" fmla="*/ 1835547 w 2051041"/>
              <a:gd name="connsiteY1229" fmla="*/ 99405 h 2084191"/>
              <a:gd name="connsiteX1230" fmla="*/ 1831193 w 2051041"/>
              <a:gd name="connsiteY1230" fmla="*/ 101038 h 2084191"/>
              <a:gd name="connsiteX1231" fmla="*/ 1780041 w 2051041"/>
              <a:gd name="connsiteY1231" fmla="*/ 101582 h 2084191"/>
              <a:gd name="connsiteX1232" fmla="*/ 1773511 w 2051041"/>
              <a:gd name="connsiteY1232" fmla="*/ 99405 h 2084191"/>
              <a:gd name="connsiteX1233" fmla="*/ 417424 w 2051041"/>
              <a:gd name="connsiteY1233" fmla="*/ 97950 h 2084191"/>
              <a:gd name="connsiteX1234" fmla="*/ 445721 w 2051041"/>
              <a:gd name="connsiteY1234" fmla="*/ 126247 h 2084191"/>
              <a:gd name="connsiteX1235" fmla="*/ 417424 w 2051041"/>
              <a:gd name="connsiteY1235" fmla="*/ 153456 h 2084191"/>
              <a:gd name="connsiteX1236" fmla="*/ 390215 w 2051041"/>
              <a:gd name="connsiteY1236" fmla="*/ 125159 h 2084191"/>
              <a:gd name="connsiteX1237" fmla="*/ 417424 w 2051041"/>
              <a:gd name="connsiteY1237" fmla="*/ 97950 h 2084191"/>
              <a:gd name="connsiteX1238" fmla="*/ 580677 w 2051041"/>
              <a:gd name="connsiteY1238" fmla="*/ 92508 h 2084191"/>
              <a:gd name="connsiteX1239" fmla="*/ 614960 w 2051041"/>
              <a:gd name="connsiteY1239" fmla="*/ 125159 h 2084191"/>
              <a:gd name="connsiteX1240" fmla="*/ 581766 w 2051041"/>
              <a:gd name="connsiteY1240" fmla="*/ 158353 h 2084191"/>
              <a:gd name="connsiteX1241" fmla="*/ 548571 w 2051041"/>
              <a:gd name="connsiteY1241" fmla="*/ 125703 h 2084191"/>
              <a:gd name="connsiteX1242" fmla="*/ 580677 w 2051041"/>
              <a:gd name="connsiteY1242" fmla="*/ 92508 h 2084191"/>
              <a:gd name="connsiteX1243" fmla="*/ 745019 w 2051041"/>
              <a:gd name="connsiteY1243" fmla="*/ 88154 h 2084191"/>
              <a:gd name="connsiteX1244" fmla="*/ 782567 w 2051041"/>
              <a:gd name="connsiteY1244" fmla="*/ 126791 h 2084191"/>
              <a:gd name="connsiteX1245" fmla="*/ 743930 w 2051041"/>
              <a:gd name="connsiteY1245" fmla="*/ 164339 h 2084191"/>
              <a:gd name="connsiteX1246" fmla="*/ 706382 w 2051041"/>
              <a:gd name="connsiteY1246" fmla="*/ 125702 h 2084191"/>
              <a:gd name="connsiteX1247" fmla="*/ 745019 w 2051041"/>
              <a:gd name="connsiteY1247" fmla="*/ 88154 h 2084191"/>
              <a:gd name="connsiteX1248" fmla="*/ 1685898 w 2051041"/>
              <a:gd name="connsiteY1248" fmla="*/ 84712 h 2084191"/>
              <a:gd name="connsiteX1249" fmla="*/ 1685681 w 2051041"/>
              <a:gd name="connsiteY1249" fmla="*/ 85147 h 2084191"/>
              <a:gd name="connsiteX1250" fmla="*/ 1685354 w 2051041"/>
              <a:gd name="connsiteY1250" fmla="*/ 85256 h 2084191"/>
              <a:gd name="connsiteX1251" fmla="*/ 1685898 w 2051041"/>
              <a:gd name="connsiteY1251" fmla="*/ 84712 h 2084191"/>
              <a:gd name="connsiteX1252" fmla="*/ 907183 w 2051041"/>
              <a:gd name="connsiteY1252" fmla="*/ 84345 h 2084191"/>
              <a:gd name="connsiteX1253" fmla="*/ 934935 w 2051041"/>
              <a:gd name="connsiteY1253" fmla="*/ 95228 h 2084191"/>
              <a:gd name="connsiteX1254" fmla="*/ 949628 w 2051041"/>
              <a:gd name="connsiteY1254" fmla="*/ 125158 h 2084191"/>
              <a:gd name="connsiteX1255" fmla="*/ 908271 w 2051041"/>
              <a:gd name="connsiteY1255" fmla="*/ 167060 h 2084191"/>
              <a:gd name="connsiteX1256" fmla="*/ 866369 w 2051041"/>
              <a:gd name="connsiteY1256" fmla="*/ 125702 h 2084191"/>
              <a:gd name="connsiteX1257" fmla="*/ 907183 w 2051041"/>
              <a:gd name="connsiteY1257" fmla="*/ 84345 h 2084191"/>
              <a:gd name="connsiteX1258" fmla="*/ 1070979 w 2051041"/>
              <a:gd name="connsiteY1258" fmla="*/ 82169 h 2084191"/>
              <a:gd name="connsiteX1259" fmla="*/ 1115602 w 2051041"/>
              <a:gd name="connsiteY1259" fmla="*/ 126247 h 2084191"/>
              <a:gd name="connsiteX1260" fmla="*/ 1071524 w 2051041"/>
              <a:gd name="connsiteY1260" fmla="*/ 170325 h 2084191"/>
              <a:gd name="connsiteX1261" fmla="*/ 1026357 w 2051041"/>
              <a:gd name="connsiteY1261" fmla="*/ 125703 h 2084191"/>
              <a:gd name="connsiteX1262" fmla="*/ 1070979 w 2051041"/>
              <a:gd name="connsiteY1262" fmla="*/ 82169 h 2084191"/>
              <a:gd name="connsiteX1263" fmla="*/ 1684811 w 2051041"/>
              <a:gd name="connsiteY1263" fmla="*/ 82168 h 2084191"/>
              <a:gd name="connsiteX1264" fmla="*/ 1684266 w 2051041"/>
              <a:gd name="connsiteY1264" fmla="*/ 82713 h 2084191"/>
              <a:gd name="connsiteX1265" fmla="*/ 1684469 w 2051041"/>
              <a:gd name="connsiteY1265" fmla="*/ 82365 h 2084191"/>
              <a:gd name="connsiteX1266" fmla="*/ 1234777 w 2051041"/>
              <a:gd name="connsiteY1266" fmla="*/ 78360 h 2084191"/>
              <a:gd name="connsiteX1267" fmla="*/ 1282664 w 2051041"/>
              <a:gd name="connsiteY1267" fmla="*/ 126791 h 2084191"/>
              <a:gd name="connsiteX1268" fmla="*/ 1234232 w 2051041"/>
              <a:gd name="connsiteY1268" fmla="*/ 174135 h 2084191"/>
              <a:gd name="connsiteX1269" fmla="*/ 1186889 w 2051041"/>
              <a:gd name="connsiteY1269" fmla="*/ 126791 h 2084191"/>
              <a:gd name="connsiteX1270" fmla="*/ 1234777 w 2051041"/>
              <a:gd name="connsiteY1270" fmla="*/ 78360 h 2084191"/>
              <a:gd name="connsiteX1271" fmla="*/ 1398574 w 2051041"/>
              <a:gd name="connsiteY1271" fmla="*/ 76182 h 2084191"/>
              <a:gd name="connsiteX1272" fmla="*/ 1448094 w 2051041"/>
              <a:gd name="connsiteY1272" fmla="*/ 127335 h 2084191"/>
              <a:gd name="connsiteX1273" fmla="*/ 1396941 w 2051041"/>
              <a:gd name="connsiteY1273" fmla="*/ 175766 h 2084191"/>
              <a:gd name="connsiteX1274" fmla="*/ 1347421 w 2051041"/>
              <a:gd name="connsiteY1274" fmla="*/ 125702 h 2084191"/>
              <a:gd name="connsiteX1275" fmla="*/ 1398574 w 2051041"/>
              <a:gd name="connsiteY1275" fmla="*/ 76182 h 2084191"/>
              <a:gd name="connsiteX1276" fmla="*/ 1561282 w 2051041"/>
              <a:gd name="connsiteY1276" fmla="*/ 72373 h 2084191"/>
              <a:gd name="connsiteX1277" fmla="*/ 1614611 w 2051041"/>
              <a:gd name="connsiteY1277" fmla="*/ 126247 h 2084191"/>
              <a:gd name="connsiteX1278" fmla="*/ 1560738 w 2051041"/>
              <a:gd name="connsiteY1278" fmla="*/ 179576 h 2084191"/>
              <a:gd name="connsiteX1279" fmla="*/ 1507409 w 2051041"/>
              <a:gd name="connsiteY1279" fmla="*/ 126247 h 2084191"/>
              <a:gd name="connsiteX1280" fmla="*/ 1561282 w 2051041"/>
              <a:gd name="connsiteY1280" fmla="*/ 72373 h 2084191"/>
              <a:gd name="connsiteX1281" fmla="*/ 10381 w 2051041"/>
              <a:gd name="connsiteY1281" fmla="*/ 33737 h 2084191"/>
              <a:gd name="connsiteX1282" fmla="*/ 20720 w 2051041"/>
              <a:gd name="connsiteY1282" fmla="*/ 45165 h 2084191"/>
              <a:gd name="connsiteX1283" fmla="*/ 9292 w 2051041"/>
              <a:gd name="connsiteY1283" fmla="*/ 54960 h 2084191"/>
              <a:gd name="connsiteX1284" fmla="*/ 41 w 2051041"/>
              <a:gd name="connsiteY1284" fmla="*/ 44621 h 2084191"/>
              <a:gd name="connsiteX1285" fmla="*/ 10381 w 2051041"/>
              <a:gd name="connsiteY1285" fmla="*/ 33737 h 2084191"/>
              <a:gd name="connsiteX1286" fmla="*/ 172546 w 2051041"/>
              <a:gd name="connsiteY1286" fmla="*/ 23942 h 2084191"/>
              <a:gd name="connsiteX1287" fmla="*/ 193224 w 2051041"/>
              <a:gd name="connsiteY1287" fmla="*/ 44621 h 2084191"/>
              <a:gd name="connsiteX1288" fmla="*/ 173090 w 2051041"/>
              <a:gd name="connsiteY1288" fmla="*/ 64755 h 2084191"/>
              <a:gd name="connsiteX1289" fmla="*/ 152411 w 2051041"/>
              <a:gd name="connsiteY1289" fmla="*/ 44621 h 2084191"/>
              <a:gd name="connsiteX1290" fmla="*/ 172546 w 2051041"/>
              <a:gd name="connsiteY1290" fmla="*/ 23942 h 2084191"/>
              <a:gd name="connsiteX1291" fmla="*/ 1861123 w 2051041"/>
              <a:gd name="connsiteY1291" fmla="*/ 22132 h 2084191"/>
              <a:gd name="connsiteX1292" fmla="*/ 1861123 w 2051041"/>
              <a:gd name="connsiteY1292" fmla="*/ 35737 h 2084191"/>
              <a:gd name="connsiteX1293" fmla="*/ 1861123 w 2051041"/>
              <a:gd name="connsiteY1293" fmla="*/ 61313 h 2084191"/>
              <a:gd name="connsiteX1294" fmla="*/ 1858946 w 2051041"/>
              <a:gd name="connsiteY1294" fmla="*/ 72740 h 2084191"/>
              <a:gd name="connsiteX1295" fmla="*/ 1866021 w 2051041"/>
              <a:gd name="connsiteY1295" fmla="*/ 76550 h 2084191"/>
              <a:gd name="connsiteX1296" fmla="*/ 1873639 w 2051041"/>
              <a:gd name="connsiteY1296" fmla="*/ 74917 h 2084191"/>
              <a:gd name="connsiteX1297" fmla="*/ 1900304 w 2051041"/>
              <a:gd name="connsiteY1297" fmla="*/ 74373 h 2084191"/>
              <a:gd name="connsiteX1298" fmla="*/ 1907922 w 2051041"/>
              <a:gd name="connsiteY1298" fmla="*/ 76006 h 2084191"/>
              <a:gd name="connsiteX1299" fmla="*/ 1912820 w 2051041"/>
              <a:gd name="connsiteY1299" fmla="*/ 70020 h 2084191"/>
              <a:gd name="connsiteX1300" fmla="*/ 1912820 w 2051041"/>
              <a:gd name="connsiteY1300" fmla="*/ 27030 h 2084191"/>
              <a:gd name="connsiteX1301" fmla="*/ 1908466 w 2051041"/>
              <a:gd name="connsiteY1301" fmla="*/ 22132 h 2084191"/>
              <a:gd name="connsiteX1302" fmla="*/ 1902480 w 2051041"/>
              <a:gd name="connsiteY1302" fmla="*/ 24309 h 2084191"/>
              <a:gd name="connsiteX1303" fmla="*/ 1873095 w 2051041"/>
              <a:gd name="connsiteY1303" fmla="*/ 24309 h 2084191"/>
              <a:gd name="connsiteX1304" fmla="*/ 1861123 w 2051041"/>
              <a:gd name="connsiteY1304" fmla="*/ 22132 h 2084191"/>
              <a:gd name="connsiteX1305" fmla="*/ 336886 w 2051041"/>
              <a:gd name="connsiteY1305" fmla="*/ 17412 h 2084191"/>
              <a:gd name="connsiteX1306" fmla="*/ 363007 w 2051041"/>
              <a:gd name="connsiteY1306" fmla="*/ 44077 h 2084191"/>
              <a:gd name="connsiteX1307" fmla="*/ 337431 w 2051041"/>
              <a:gd name="connsiteY1307" fmla="*/ 71285 h 2084191"/>
              <a:gd name="connsiteX1308" fmla="*/ 310222 w 2051041"/>
              <a:gd name="connsiteY1308" fmla="*/ 45165 h 2084191"/>
              <a:gd name="connsiteX1309" fmla="*/ 336886 w 2051041"/>
              <a:gd name="connsiteY1309" fmla="*/ 17412 h 2084191"/>
              <a:gd name="connsiteX1310" fmla="*/ 498507 w 2051041"/>
              <a:gd name="connsiteY1310" fmla="*/ 13059 h 2084191"/>
              <a:gd name="connsiteX1311" fmla="*/ 531702 w 2051041"/>
              <a:gd name="connsiteY1311" fmla="*/ 44621 h 2084191"/>
              <a:gd name="connsiteX1312" fmla="*/ 499595 w 2051041"/>
              <a:gd name="connsiteY1312" fmla="*/ 76727 h 2084191"/>
              <a:gd name="connsiteX1313" fmla="*/ 467489 w 2051041"/>
              <a:gd name="connsiteY1313" fmla="*/ 45165 h 2084191"/>
              <a:gd name="connsiteX1314" fmla="*/ 498507 w 2051041"/>
              <a:gd name="connsiteY1314" fmla="*/ 13059 h 2084191"/>
              <a:gd name="connsiteX1315" fmla="*/ 662303 w 2051041"/>
              <a:gd name="connsiteY1315" fmla="*/ 7616 h 2084191"/>
              <a:gd name="connsiteX1316" fmla="*/ 698763 w 2051041"/>
              <a:gd name="connsiteY1316" fmla="*/ 44076 h 2084191"/>
              <a:gd name="connsiteX1317" fmla="*/ 662303 w 2051041"/>
              <a:gd name="connsiteY1317" fmla="*/ 81080 h 2084191"/>
              <a:gd name="connsiteX1318" fmla="*/ 626932 w 2051041"/>
              <a:gd name="connsiteY1318" fmla="*/ 44076 h 2084191"/>
              <a:gd name="connsiteX1319" fmla="*/ 662303 w 2051041"/>
              <a:gd name="connsiteY1319" fmla="*/ 7616 h 2084191"/>
              <a:gd name="connsiteX1320" fmla="*/ 825557 w 2051041"/>
              <a:gd name="connsiteY1320" fmla="*/ 5440 h 2084191"/>
              <a:gd name="connsiteX1321" fmla="*/ 865281 w 2051041"/>
              <a:gd name="connsiteY1321" fmla="*/ 44621 h 2084191"/>
              <a:gd name="connsiteX1322" fmla="*/ 826101 w 2051041"/>
              <a:gd name="connsiteY1322" fmla="*/ 83257 h 2084191"/>
              <a:gd name="connsiteX1323" fmla="*/ 786920 w 2051041"/>
              <a:gd name="connsiteY1323" fmla="*/ 44621 h 2084191"/>
              <a:gd name="connsiteX1324" fmla="*/ 825557 w 2051041"/>
              <a:gd name="connsiteY1324" fmla="*/ 5440 h 2084191"/>
              <a:gd name="connsiteX1325" fmla="*/ 989353 w 2051041"/>
              <a:gd name="connsiteY1325" fmla="*/ 1086 h 2084191"/>
              <a:gd name="connsiteX1326" fmla="*/ 1032343 w 2051041"/>
              <a:gd name="connsiteY1326" fmla="*/ 43532 h 2084191"/>
              <a:gd name="connsiteX1327" fmla="*/ 989897 w 2051041"/>
              <a:gd name="connsiteY1327" fmla="*/ 87610 h 2084191"/>
              <a:gd name="connsiteX1328" fmla="*/ 945819 w 2051041"/>
              <a:gd name="connsiteY1328" fmla="*/ 44620 h 2084191"/>
              <a:gd name="connsiteX1329" fmla="*/ 989353 w 2051041"/>
              <a:gd name="connsiteY1329" fmla="*/ 1086 h 2084191"/>
              <a:gd name="connsiteX1330" fmla="*/ 1614056 w 2051041"/>
              <a:gd name="connsiteY1330" fmla="*/ 0 h 2084191"/>
              <a:gd name="connsiteX1331" fmla="*/ 1675529 w 2051041"/>
              <a:gd name="connsiteY1331" fmla="*/ 0 h 2084191"/>
              <a:gd name="connsiteX1332" fmla="*/ 1682905 w 2051041"/>
              <a:gd name="connsiteY1332" fmla="*/ 4720 h 2084191"/>
              <a:gd name="connsiteX1333" fmla="*/ 1933639 w 2051041"/>
              <a:gd name="connsiteY1333" fmla="*/ 4720 h 2084191"/>
              <a:gd name="connsiteX1334" fmla="*/ 2016655 w 2051041"/>
              <a:gd name="connsiteY1334" fmla="*/ 39107 h 2084191"/>
              <a:gd name="connsiteX1335" fmla="*/ 2028934 w 2051041"/>
              <a:gd name="connsiteY1335" fmla="*/ 57318 h 2084191"/>
              <a:gd name="connsiteX1336" fmla="*/ 2026008 w 2051041"/>
              <a:gd name="connsiteY1336" fmla="*/ 71108 h 2084191"/>
              <a:gd name="connsiteX1337" fmla="*/ 2030906 w 2051041"/>
              <a:gd name="connsiteY1337" fmla="*/ 75461 h 2084191"/>
              <a:gd name="connsiteX1338" fmla="*/ 2039929 w 2051041"/>
              <a:gd name="connsiteY1338" fmla="*/ 73627 h 2084191"/>
              <a:gd name="connsiteX1339" fmla="*/ 2041815 w 2051041"/>
              <a:gd name="connsiteY1339" fmla="*/ 76424 h 2084191"/>
              <a:gd name="connsiteX1340" fmla="*/ 2051041 w 2051041"/>
              <a:gd name="connsiteY1340" fmla="*/ 122122 h 2084191"/>
              <a:gd name="connsiteX1341" fmla="*/ 2051041 w 2051041"/>
              <a:gd name="connsiteY1341" fmla="*/ 186473 h 2084191"/>
              <a:gd name="connsiteX1342" fmla="*/ 2029818 w 2051041"/>
              <a:gd name="connsiteY1342" fmla="*/ 186473 h 2084191"/>
              <a:gd name="connsiteX1343" fmla="*/ 2023287 w 2051041"/>
              <a:gd name="connsiteY1343" fmla="*/ 192459 h 2084191"/>
              <a:gd name="connsiteX1344" fmla="*/ 2023832 w 2051041"/>
              <a:gd name="connsiteY1344" fmla="*/ 196268 h 2084191"/>
              <a:gd name="connsiteX1345" fmla="*/ 2019478 w 2051041"/>
              <a:gd name="connsiteY1345" fmla="*/ 239258 h 2084191"/>
              <a:gd name="connsiteX1346" fmla="*/ 2020022 w 2051041"/>
              <a:gd name="connsiteY1346" fmla="*/ 242523 h 2084191"/>
              <a:gd name="connsiteX1347" fmla="*/ 2023287 w 2051041"/>
              <a:gd name="connsiteY1347" fmla="*/ 243067 h 2084191"/>
              <a:gd name="connsiteX1348" fmla="*/ 2050224 w 2051041"/>
              <a:gd name="connsiteY1348" fmla="*/ 237150 h 2084191"/>
              <a:gd name="connsiteX1349" fmla="*/ 2051041 w 2051041"/>
              <a:gd name="connsiteY1349" fmla="*/ 237329 h 2084191"/>
              <a:gd name="connsiteX1350" fmla="*/ 2051041 w 2051041"/>
              <a:gd name="connsiteY1350" fmla="*/ 348996 h 2084191"/>
              <a:gd name="connsiteX1351" fmla="*/ 2036552 w 2051041"/>
              <a:gd name="connsiteY1351" fmla="*/ 347754 h 2084191"/>
              <a:gd name="connsiteX1352" fmla="*/ 2021111 w 2051041"/>
              <a:gd name="connsiteY1352" fmla="*/ 341019 h 2084191"/>
              <a:gd name="connsiteX1353" fmla="*/ 2016757 w 2051041"/>
              <a:gd name="connsiteY1353" fmla="*/ 338842 h 2084191"/>
              <a:gd name="connsiteX1354" fmla="*/ 2017301 w 2051041"/>
              <a:gd name="connsiteY1354" fmla="*/ 344284 h 2084191"/>
              <a:gd name="connsiteX1355" fmla="*/ 2025464 w 2051041"/>
              <a:gd name="connsiteY1355" fmla="*/ 376391 h 2084191"/>
              <a:gd name="connsiteX1356" fmla="*/ 1994446 w 2051041"/>
              <a:gd name="connsiteY1356" fmla="*/ 424278 h 2084191"/>
              <a:gd name="connsiteX1357" fmla="*/ 1933498 w 2051041"/>
              <a:gd name="connsiteY1357" fmla="*/ 416115 h 2084191"/>
              <a:gd name="connsiteX1358" fmla="*/ 1920438 w 2051041"/>
              <a:gd name="connsiteY1358" fmla="*/ 352447 h 2084191"/>
              <a:gd name="connsiteX1359" fmla="*/ 1925336 w 2051041"/>
              <a:gd name="connsiteY1359" fmla="*/ 338298 h 2084191"/>
              <a:gd name="connsiteX1360" fmla="*/ 1911731 w 2051041"/>
              <a:gd name="connsiteY1360" fmla="*/ 343196 h 2084191"/>
              <a:gd name="connsiteX1361" fmla="*/ 1898671 w 2051041"/>
              <a:gd name="connsiteY1361" fmla="*/ 347005 h 2084191"/>
              <a:gd name="connsiteX1362" fmla="*/ 1854593 w 2051041"/>
              <a:gd name="connsiteY1362" fmla="*/ 336666 h 2084191"/>
              <a:gd name="connsiteX1363" fmla="*/ 1847690 w 2051041"/>
              <a:gd name="connsiteY1363" fmla="*/ 333480 h 2084191"/>
              <a:gd name="connsiteX1364" fmla="*/ 1852961 w 2051041"/>
              <a:gd name="connsiteY1364" fmla="*/ 344461 h 2084191"/>
              <a:gd name="connsiteX1365" fmla="*/ 1826840 w 2051041"/>
              <a:gd name="connsiteY1365" fmla="*/ 420646 h 2084191"/>
              <a:gd name="connsiteX1366" fmla="*/ 1765893 w 2051041"/>
              <a:gd name="connsiteY1366" fmla="*/ 408130 h 2084191"/>
              <a:gd name="connsiteX1367" fmla="*/ 1759362 w 2051041"/>
              <a:gd name="connsiteY1367" fmla="*/ 342829 h 2084191"/>
              <a:gd name="connsiteX1368" fmla="*/ 1815991 w 2051041"/>
              <a:gd name="connsiteY1368" fmla="*/ 317193 h 2084191"/>
              <a:gd name="connsiteX1369" fmla="*/ 1834459 w 2051041"/>
              <a:gd name="connsiteY1369" fmla="*/ 325415 h 2084191"/>
              <a:gd name="connsiteX1370" fmla="*/ 1845023 w 2051041"/>
              <a:gd name="connsiteY1370" fmla="*/ 330169 h 2084191"/>
              <a:gd name="connsiteX1371" fmla="*/ 1840444 w 2051041"/>
              <a:gd name="connsiteY1371" fmla="*/ 321429 h 2084191"/>
              <a:gd name="connsiteX1372" fmla="*/ 1834458 w 2051041"/>
              <a:gd name="connsiteY1372" fmla="*/ 275174 h 2084191"/>
              <a:gd name="connsiteX1373" fmla="*/ 1840988 w 2051041"/>
              <a:gd name="connsiteY1373" fmla="*/ 259937 h 2084191"/>
              <a:gd name="connsiteX1374" fmla="*/ 1842077 w 2051041"/>
              <a:gd name="connsiteY1374" fmla="*/ 255584 h 2084191"/>
              <a:gd name="connsiteX1375" fmla="*/ 1837723 w 2051041"/>
              <a:gd name="connsiteY1375" fmla="*/ 257216 h 2084191"/>
              <a:gd name="connsiteX1376" fmla="*/ 1817589 w 2051041"/>
              <a:gd name="connsiteY1376" fmla="*/ 264834 h 2084191"/>
              <a:gd name="connsiteX1377" fmla="*/ 1768069 w 2051041"/>
              <a:gd name="connsiteY1377" fmla="*/ 251774 h 2084191"/>
              <a:gd name="connsiteX1378" fmla="*/ 1764740 w 2051041"/>
              <a:gd name="connsiteY1378" fmla="*/ 250110 h 2084191"/>
              <a:gd name="connsiteX1379" fmla="*/ 1773510 w 2051041"/>
              <a:gd name="connsiteY1379" fmla="*/ 267189 h 2084191"/>
              <a:gd name="connsiteX1380" fmla="*/ 1750655 w 2051041"/>
              <a:gd name="connsiteY1380" fmla="*/ 336843 h 2084191"/>
              <a:gd name="connsiteX1381" fmla="*/ 1673926 w 2051041"/>
              <a:gd name="connsiteY1381" fmla="*/ 310723 h 2084191"/>
              <a:gd name="connsiteX1382" fmla="*/ 1681545 w 2051041"/>
              <a:gd name="connsiteY1382" fmla="*/ 254673 h 2084191"/>
              <a:gd name="connsiteX1383" fmla="*/ 1733786 w 2051041"/>
              <a:gd name="connsiteY1383" fmla="*/ 235083 h 2084191"/>
              <a:gd name="connsiteX1384" fmla="*/ 1751743 w 2051041"/>
              <a:gd name="connsiteY1384" fmla="*/ 242157 h 2084191"/>
              <a:gd name="connsiteX1385" fmla="*/ 1762506 w 2051041"/>
              <a:gd name="connsiteY1385" fmla="*/ 246769 h 2084191"/>
              <a:gd name="connsiteX1386" fmla="*/ 1757185 w 2051041"/>
              <a:gd name="connsiteY1386" fmla="*/ 236537 h 2084191"/>
              <a:gd name="connsiteX1387" fmla="*/ 1756097 w 2051041"/>
              <a:gd name="connsiteY1387" fmla="*/ 185929 h 2084191"/>
              <a:gd name="connsiteX1388" fmla="*/ 1757185 w 2051041"/>
              <a:gd name="connsiteY1388" fmla="*/ 177766 h 2084191"/>
              <a:gd name="connsiteX1389" fmla="*/ 1749023 w 2051041"/>
              <a:gd name="connsiteY1389" fmla="*/ 178311 h 2084191"/>
              <a:gd name="connsiteX1390" fmla="*/ 1676103 w 2051041"/>
              <a:gd name="connsiteY1390" fmla="*/ 154911 h 2084191"/>
              <a:gd name="connsiteX1391" fmla="*/ 1681001 w 2051041"/>
              <a:gd name="connsiteY1391" fmla="*/ 94507 h 2084191"/>
              <a:gd name="connsiteX1392" fmla="*/ 1685681 w 2051041"/>
              <a:gd name="connsiteY1392" fmla="*/ 85147 h 2084191"/>
              <a:gd name="connsiteX1393" fmla="*/ 1693517 w 2051041"/>
              <a:gd name="connsiteY1393" fmla="*/ 82536 h 2084191"/>
              <a:gd name="connsiteX1394" fmla="*/ 1747934 w 2051041"/>
              <a:gd name="connsiteY1394" fmla="*/ 77638 h 2084191"/>
              <a:gd name="connsiteX1395" fmla="*/ 1756641 w 2051041"/>
              <a:gd name="connsiteY1395" fmla="*/ 79271 h 2084191"/>
              <a:gd name="connsiteX1396" fmla="*/ 1754464 w 2051041"/>
              <a:gd name="connsiteY1396" fmla="*/ 71652 h 2084191"/>
              <a:gd name="connsiteX1397" fmla="*/ 1752832 w 2051041"/>
              <a:gd name="connsiteY1397" fmla="*/ 68387 h 2084191"/>
              <a:gd name="connsiteX1398" fmla="*/ 1756097 w 2051041"/>
              <a:gd name="connsiteY1398" fmla="*/ 20500 h 2084191"/>
              <a:gd name="connsiteX1399" fmla="*/ 1756641 w 2051041"/>
              <a:gd name="connsiteY1399" fmla="*/ 16146 h 2084191"/>
              <a:gd name="connsiteX1400" fmla="*/ 1751744 w 2051041"/>
              <a:gd name="connsiteY1400" fmla="*/ 15058 h 2084191"/>
              <a:gd name="connsiteX1401" fmla="*/ 1741404 w 2051041"/>
              <a:gd name="connsiteY1401" fmla="*/ 19955 h 2084191"/>
              <a:gd name="connsiteX1402" fmla="*/ 1691884 w 2051041"/>
              <a:gd name="connsiteY1402" fmla="*/ 11249 h 2084191"/>
              <a:gd name="connsiteX1403" fmla="*/ 1685645 w 2051041"/>
              <a:gd name="connsiteY1403" fmla="*/ 8369 h 2084191"/>
              <a:gd name="connsiteX1404" fmla="*/ 1688620 w 2051041"/>
              <a:gd name="connsiteY1404" fmla="*/ 14691 h 2084191"/>
              <a:gd name="connsiteX1405" fmla="*/ 1691885 w 2051041"/>
              <a:gd name="connsiteY1405" fmla="*/ 69652 h 2084191"/>
              <a:gd name="connsiteX1406" fmla="*/ 1684469 w 2051041"/>
              <a:gd name="connsiteY1406" fmla="*/ 82365 h 2084191"/>
              <a:gd name="connsiteX1407" fmla="*/ 1663044 w 2051041"/>
              <a:gd name="connsiteY1407" fmla="*/ 94684 h 2084191"/>
              <a:gd name="connsiteX1408" fmla="*/ 1626584 w 2051041"/>
              <a:gd name="connsiteY1408" fmla="*/ 96861 h 2084191"/>
              <a:gd name="connsiteX1409" fmla="*/ 1590124 w 2051041"/>
              <a:gd name="connsiteY1409" fmla="*/ 60401 h 2084191"/>
              <a:gd name="connsiteX1410" fmla="*/ 1591757 w 2051041"/>
              <a:gd name="connsiteY1410" fmla="*/ 25030 h 2084191"/>
              <a:gd name="connsiteX1411" fmla="*/ 1460066 w 2051041"/>
              <a:gd name="connsiteY1411" fmla="*/ 0 h 2084191"/>
              <a:gd name="connsiteX1412" fmla="*/ 1498513 w 2051041"/>
              <a:gd name="connsiteY1412" fmla="*/ 0 h 2084191"/>
              <a:gd name="connsiteX1413" fmla="*/ 1517204 w 2051041"/>
              <a:gd name="connsiteY1413" fmla="*/ 8092 h 2084191"/>
              <a:gd name="connsiteX1414" fmla="*/ 1531896 w 2051041"/>
              <a:gd name="connsiteY1414" fmla="*/ 45164 h 2084191"/>
              <a:gd name="connsiteX1415" fmla="*/ 1479111 w 2051041"/>
              <a:gd name="connsiteY1415" fmla="*/ 97949 h 2084191"/>
              <a:gd name="connsiteX1416" fmla="*/ 1426870 w 2051041"/>
              <a:gd name="connsiteY1416" fmla="*/ 45164 h 2084191"/>
              <a:gd name="connsiteX1417" fmla="*/ 1441631 w 2051041"/>
              <a:gd name="connsiteY1417" fmla="*/ 7684 h 2084191"/>
              <a:gd name="connsiteX1418" fmla="*/ 1296749 w 2051041"/>
              <a:gd name="connsiteY1418" fmla="*/ 0 h 2084191"/>
              <a:gd name="connsiteX1419" fmla="*/ 1335755 w 2051041"/>
              <a:gd name="connsiteY1419" fmla="*/ 0 h 2084191"/>
              <a:gd name="connsiteX1420" fmla="*/ 1350278 w 2051041"/>
              <a:gd name="connsiteY1420" fmla="*/ 10270 h 2084191"/>
              <a:gd name="connsiteX1421" fmla="*/ 1365923 w 2051041"/>
              <a:gd name="connsiteY1421" fmla="*/ 45165 h 2084191"/>
              <a:gd name="connsiteX1422" fmla="*/ 1315315 w 2051041"/>
              <a:gd name="connsiteY1422" fmla="*/ 93052 h 2084191"/>
              <a:gd name="connsiteX1423" fmla="*/ 1266339 w 2051041"/>
              <a:gd name="connsiteY1423" fmla="*/ 44076 h 2084191"/>
              <a:gd name="connsiteX1424" fmla="*/ 1282732 w 2051041"/>
              <a:gd name="connsiteY1424" fmla="*/ 9317 h 2084191"/>
              <a:gd name="connsiteX1425" fmla="*/ 1148085 w 2051041"/>
              <a:gd name="connsiteY1425" fmla="*/ 0 h 2084191"/>
              <a:gd name="connsiteX1426" fmla="*/ 1161802 w 2051041"/>
              <a:gd name="connsiteY1426" fmla="*/ 0 h 2084191"/>
              <a:gd name="connsiteX1427" fmla="*/ 1169637 w 2051041"/>
              <a:gd name="connsiteY1427" fmla="*/ 1315 h 2084191"/>
              <a:gd name="connsiteX1428" fmla="*/ 1199405 w 2051041"/>
              <a:gd name="connsiteY1428" fmla="*/ 45164 h 2084191"/>
              <a:gd name="connsiteX1429" fmla="*/ 1151518 w 2051041"/>
              <a:gd name="connsiteY1429" fmla="*/ 91419 h 2084191"/>
              <a:gd name="connsiteX1430" fmla="*/ 1105807 w 2051041"/>
              <a:gd name="connsiteY1430" fmla="*/ 44620 h 2084191"/>
              <a:gd name="connsiteX1431" fmla="*/ 1119139 w 2051041"/>
              <a:gd name="connsiteY1431" fmla="*/ 11902 h 20841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Lst>
            <a:rect l="l" t="t" r="r" b="b"/>
            <a:pathLst>
              <a:path w="2051041" h="2084191">
                <a:moveTo>
                  <a:pt x="2051041" y="2080382"/>
                </a:moveTo>
                <a:lnTo>
                  <a:pt x="2051041" y="2083967"/>
                </a:lnTo>
                <a:lnTo>
                  <a:pt x="2047231" y="2084191"/>
                </a:lnTo>
                <a:cubicBezTo>
                  <a:pt x="2046687" y="2084191"/>
                  <a:pt x="2046143" y="2082559"/>
                  <a:pt x="2045599" y="2081470"/>
                </a:cubicBezTo>
                <a:close/>
                <a:moveTo>
                  <a:pt x="1478568" y="1997668"/>
                </a:moveTo>
                <a:cubicBezTo>
                  <a:pt x="1484010" y="1997668"/>
                  <a:pt x="1485642" y="2000933"/>
                  <a:pt x="1484554" y="2004743"/>
                </a:cubicBezTo>
                <a:cubicBezTo>
                  <a:pt x="1484010" y="2006919"/>
                  <a:pt x="1480745" y="2008551"/>
                  <a:pt x="1478568" y="2009096"/>
                </a:cubicBezTo>
                <a:cubicBezTo>
                  <a:pt x="1474759" y="2009640"/>
                  <a:pt x="1473126" y="2007463"/>
                  <a:pt x="1473126" y="2003654"/>
                </a:cubicBezTo>
                <a:cubicBezTo>
                  <a:pt x="1473126" y="1998756"/>
                  <a:pt x="1475303" y="1997124"/>
                  <a:pt x="1478568" y="1997668"/>
                </a:cubicBezTo>
                <a:close/>
                <a:moveTo>
                  <a:pt x="1641820" y="1993859"/>
                </a:moveTo>
                <a:cubicBezTo>
                  <a:pt x="1646718" y="1993314"/>
                  <a:pt x="1652160" y="1999300"/>
                  <a:pt x="1652160" y="2003654"/>
                </a:cubicBezTo>
                <a:cubicBezTo>
                  <a:pt x="1652160" y="2008551"/>
                  <a:pt x="1646718" y="2013449"/>
                  <a:pt x="1641820" y="2013449"/>
                </a:cubicBezTo>
                <a:cubicBezTo>
                  <a:pt x="1636923" y="2013449"/>
                  <a:pt x="1632025" y="2008007"/>
                  <a:pt x="1632025" y="2003654"/>
                </a:cubicBezTo>
                <a:cubicBezTo>
                  <a:pt x="1632025" y="1999300"/>
                  <a:pt x="1638011" y="1993859"/>
                  <a:pt x="1641820" y="1993859"/>
                </a:cubicBezTo>
                <a:close/>
                <a:moveTo>
                  <a:pt x="1969414" y="1992226"/>
                </a:moveTo>
                <a:cubicBezTo>
                  <a:pt x="1976488" y="1992226"/>
                  <a:pt x="1979753" y="1996035"/>
                  <a:pt x="1979753" y="2003654"/>
                </a:cubicBezTo>
                <a:cubicBezTo>
                  <a:pt x="1979753" y="2011272"/>
                  <a:pt x="1975944" y="2014537"/>
                  <a:pt x="1968325" y="2014537"/>
                </a:cubicBezTo>
                <a:cubicBezTo>
                  <a:pt x="1960707" y="2014537"/>
                  <a:pt x="1957442" y="2010728"/>
                  <a:pt x="1957986" y="2003110"/>
                </a:cubicBezTo>
                <a:cubicBezTo>
                  <a:pt x="1957986" y="1994947"/>
                  <a:pt x="1961251" y="1992226"/>
                  <a:pt x="1969414" y="1992226"/>
                </a:cubicBezTo>
                <a:close/>
                <a:moveTo>
                  <a:pt x="1805073" y="1992226"/>
                </a:moveTo>
                <a:cubicBezTo>
                  <a:pt x="1811058" y="1992226"/>
                  <a:pt x="1815956" y="1996035"/>
                  <a:pt x="1815956" y="2002565"/>
                </a:cubicBezTo>
                <a:cubicBezTo>
                  <a:pt x="1816500" y="2009096"/>
                  <a:pt x="1812147" y="2014537"/>
                  <a:pt x="1805073" y="2014537"/>
                </a:cubicBezTo>
                <a:cubicBezTo>
                  <a:pt x="1799087" y="2014537"/>
                  <a:pt x="1794189" y="2010184"/>
                  <a:pt x="1794189" y="2004198"/>
                </a:cubicBezTo>
                <a:cubicBezTo>
                  <a:pt x="1794189" y="1997668"/>
                  <a:pt x="1799087" y="1992770"/>
                  <a:pt x="1805073" y="1992226"/>
                </a:cubicBezTo>
                <a:close/>
                <a:moveTo>
                  <a:pt x="1234233" y="1916042"/>
                </a:moveTo>
                <a:cubicBezTo>
                  <a:pt x="1238586" y="1915497"/>
                  <a:pt x="1240763" y="1917674"/>
                  <a:pt x="1240219" y="1923660"/>
                </a:cubicBezTo>
                <a:cubicBezTo>
                  <a:pt x="1239674" y="1924204"/>
                  <a:pt x="1237498" y="1926381"/>
                  <a:pt x="1236953" y="1926381"/>
                </a:cubicBezTo>
                <a:cubicBezTo>
                  <a:pt x="1234233" y="1924204"/>
                  <a:pt x="1231512" y="1921483"/>
                  <a:pt x="1229335" y="1918762"/>
                </a:cubicBezTo>
                <a:cubicBezTo>
                  <a:pt x="1230968" y="1917674"/>
                  <a:pt x="1232600" y="1916586"/>
                  <a:pt x="1234233" y="1916042"/>
                </a:cubicBezTo>
                <a:close/>
                <a:moveTo>
                  <a:pt x="1397486" y="1911144"/>
                </a:moveTo>
                <a:cubicBezTo>
                  <a:pt x="1402927" y="1911144"/>
                  <a:pt x="1408369" y="1916041"/>
                  <a:pt x="1408369" y="1921483"/>
                </a:cubicBezTo>
                <a:cubicBezTo>
                  <a:pt x="1408369" y="1926925"/>
                  <a:pt x="1404016" y="1931279"/>
                  <a:pt x="1399118" y="1931823"/>
                </a:cubicBezTo>
                <a:cubicBezTo>
                  <a:pt x="1392588" y="1932367"/>
                  <a:pt x="1387146" y="1928013"/>
                  <a:pt x="1387146" y="1922028"/>
                </a:cubicBezTo>
                <a:cubicBezTo>
                  <a:pt x="1386602" y="1916586"/>
                  <a:pt x="1391500" y="1911144"/>
                  <a:pt x="1397486" y="1911144"/>
                </a:cubicBezTo>
                <a:close/>
                <a:moveTo>
                  <a:pt x="1560194" y="1906790"/>
                </a:moveTo>
                <a:cubicBezTo>
                  <a:pt x="1566180" y="1906790"/>
                  <a:pt x="1574342" y="1914953"/>
                  <a:pt x="1574342" y="1921482"/>
                </a:cubicBezTo>
                <a:cubicBezTo>
                  <a:pt x="1574342" y="1928013"/>
                  <a:pt x="1566724" y="1936175"/>
                  <a:pt x="1560738" y="1935631"/>
                </a:cubicBezTo>
                <a:cubicBezTo>
                  <a:pt x="1554752" y="1935631"/>
                  <a:pt x="1547678" y="1928557"/>
                  <a:pt x="1547134" y="1922027"/>
                </a:cubicBezTo>
                <a:cubicBezTo>
                  <a:pt x="1546589" y="1915497"/>
                  <a:pt x="1554208" y="1907334"/>
                  <a:pt x="1560194" y="1906790"/>
                </a:cubicBezTo>
                <a:close/>
                <a:moveTo>
                  <a:pt x="2049952" y="1905702"/>
                </a:moveTo>
                <a:lnTo>
                  <a:pt x="2051041" y="1906027"/>
                </a:lnTo>
                <a:lnTo>
                  <a:pt x="2051041" y="1938133"/>
                </a:lnTo>
                <a:lnTo>
                  <a:pt x="2050496" y="1938353"/>
                </a:lnTo>
                <a:cubicBezTo>
                  <a:pt x="2039613" y="1937808"/>
                  <a:pt x="2034715" y="1933455"/>
                  <a:pt x="2034171" y="1922572"/>
                </a:cubicBezTo>
                <a:cubicBezTo>
                  <a:pt x="2034171" y="1911144"/>
                  <a:pt x="2039069" y="1905702"/>
                  <a:pt x="2049952" y="1905702"/>
                </a:cubicBezTo>
                <a:close/>
                <a:moveTo>
                  <a:pt x="1723447" y="1905702"/>
                </a:moveTo>
                <a:cubicBezTo>
                  <a:pt x="1730521" y="1905702"/>
                  <a:pt x="1739772" y="1914409"/>
                  <a:pt x="1739772" y="1920939"/>
                </a:cubicBezTo>
                <a:cubicBezTo>
                  <a:pt x="1740316" y="1929101"/>
                  <a:pt x="1732698" y="1936720"/>
                  <a:pt x="1724535" y="1937264"/>
                </a:cubicBezTo>
                <a:cubicBezTo>
                  <a:pt x="1716373" y="1937264"/>
                  <a:pt x="1708754" y="1930190"/>
                  <a:pt x="1708210" y="1922027"/>
                </a:cubicBezTo>
                <a:cubicBezTo>
                  <a:pt x="1708210" y="1914953"/>
                  <a:pt x="1716373" y="1905702"/>
                  <a:pt x="1723447" y="1905702"/>
                </a:cubicBezTo>
                <a:close/>
                <a:moveTo>
                  <a:pt x="1887787" y="1905158"/>
                </a:moveTo>
                <a:cubicBezTo>
                  <a:pt x="1898671" y="1905158"/>
                  <a:pt x="1904113" y="1911144"/>
                  <a:pt x="1904113" y="1922028"/>
                </a:cubicBezTo>
                <a:cubicBezTo>
                  <a:pt x="1904113" y="1932367"/>
                  <a:pt x="1898127" y="1937809"/>
                  <a:pt x="1886699" y="1937809"/>
                </a:cubicBezTo>
                <a:cubicBezTo>
                  <a:pt x="1876360" y="1937809"/>
                  <a:pt x="1870918" y="1931823"/>
                  <a:pt x="1870918" y="1921483"/>
                </a:cubicBezTo>
                <a:cubicBezTo>
                  <a:pt x="1870918" y="1910600"/>
                  <a:pt x="1876904" y="1904614"/>
                  <a:pt x="1887787" y="1905158"/>
                </a:cubicBezTo>
                <a:close/>
                <a:moveTo>
                  <a:pt x="1152606" y="1831693"/>
                </a:moveTo>
                <a:cubicBezTo>
                  <a:pt x="1155871" y="1832782"/>
                  <a:pt x="1160769" y="1836591"/>
                  <a:pt x="1161313" y="1839312"/>
                </a:cubicBezTo>
                <a:cubicBezTo>
                  <a:pt x="1160769" y="1843121"/>
                  <a:pt x="1156959" y="1846931"/>
                  <a:pt x="1153694" y="1852916"/>
                </a:cubicBezTo>
                <a:cubicBezTo>
                  <a:pt x="1149341" y="1847475"/>
                  <a:pt x="1146076" y="1844754"/>
                  <a:pt x="1144988" y="1841489"/>
                </a:cubicBezTo>
                <a:cubicBezTo>
                  <a:pt x="1143355" y="1837135"/>
                  <a:pt x="1148797" y="1830605"/>
                  <a:pt x="1152606" y="1831693"/>
                </a:cubicBezTo>
                <a:close/>
                <a:moveTo>
                  <a:pt x="1315315" y="1825708"/>
                </a:moveTo>
                <a:cubicBezTo>
                  <a:pt x="1321301" y="1825164"/>
                  <a:pt x="1331096" y="1834415"/>
                  <a:pt x="1330552" y="1840401"/>
                </a:cubicBezTo>
                <a:cubicBezTo>
                  <a:pt x="1330552" y="1845298"/>
                  <a:pt x="1321301" y="1854549"/>
                  <a:pt x="1316404" y="1854549"/>
                </a:cubicBezTo>
                <a:cubicBezTo>
                  <a:pt x="1310962" y="1855094"/>
                  <a:pt x="1302255" y="1846387"/>
                  <a:pt x="1301711" y="1840945"/>
                </a:cubicBezTo>
                <a:cubicBezTo>
                  <a:pt x="1301167" y="1834959"/>
                  <a:pt x="1309329" y="1826252"/>
                  <a:pt x="1315315" y="1825708"/>
                </a:cubicBezTo>
                <a:close/>
                <a:moveTo>
                  <a:pt x="1479656" y="1822987"/>
                </a:moveTo>
                <a:cubicBezTo>
                  <a:pt x="1489995" y="1823531"/>
                  <a:pt x="1495981" y="1830061"/>
                  <a:pt x="1495981" y="1840401"/>
                </a:cubicBezTo>
                <a:cubicBezTo>
                  <a:pt x="1495981" y="1851284"/>
                  <a:pt x="1490539" y="1856726"/>
                  <a:pt x="1478567" y="1856182"/>
                </a:cubicBezTo>
                <a:cubicBezTo>
                  <a:pt x="1467140" y="1856182"/>
                  <a:pt x="1462242" y="1850740"/>
                  <a:pt x="1462242" y="1839312"/>
                </a:cubicBezTo>
                <a:cubicBezTo>
                  <a:pt x="1462242" y="1828429"/>
                  <a:pt x="1468772" y="1822443"/>
                  <a:pt x="1479656" y="1822987"/>
                </a:cubicBezTo>
                <a:close/>
                <a:moveTo>
                  <a:pt x="1642365" y="1821355"/>
                </a:moveTo>
                <a:cubicBezTo>
                  <a:pt x="1653248" y="1821355"/>
                  <a:pt x="1661955" y="1829518"/>
                  <a:pt x="1660867" y="1840401"/>
                </a:cubicBezTo>
                <a:cubicBezTo>
                  <a:pt x="1659778" y="1853461"/>
                  <a:pt x="1653792" y="1857270"/>
                  <a:pt x="1642365" y="1857270"/>
                </a:cubicBezTo>
                <a:cubicBezTo>
                  <a:pt x="1630937" y="1857270"/>
                  <a:pt x="1624407" y="1850740"/>
                  <a:pt x="1624407" y="1839857"/>
                </a:cubicBezTo>
                <a:cubicBezTo>
                  <a:pt x="1624407" y="1828973"/>
                  <a:pt x="1632025" y="1821355"/>
                  <a:pt x="1642365" y="1821355"/>
                </a:cubicBezTo>
                <a:close/>
                <a:moveTo>
                  <a:pt x="1806162" y="1819723"/>
                </a:moveTo>
                <a:cubicBezTo>
                  <a:pt x="1816501" y="1819723"/>
                  <a:pt x="1827385" y="1831150"/>
                  <a:pt x="1826840" y="1840945"/>
                </a:cubicBezTo>
                <a:cubicBezTo>
                  <a:pt x="1826296" y="1850740"/>
                  <a:pt x="1813780" y="1862168"/>
                  <a:pt x="1804529" y="1861080"/>
                </a:cubicBezTo>
                <a:cubicBezTo>
                  <a:pt x="1795278" y="1860536"/>
                  <a:pt x="1783851" y="1847476"/>
                  <a:pt x="1784395" y="1839313"/>
                </a:cubicBezTo>
                <a:cubicBezTo>
                  <a:pt x="1784939" y="1828973"/>
                  <a:pt x="1796367" y="1819178"/>
                  <a:pt x="1806162" y="1819723"/>
                </a:cubicBezTo>
                <a:close/>
                <a:moveTo>
                  <a:pt x="1968870" y="1819178"/>
                </a:moveTo>
                <a:cubicBezTo>
                  <a:pt x="1980298" y="1819178"/>
                  <a:pt x="1990093" y="1828973"/>
                  <a:pt x="1990093" y="1840401"/>
                </a:cubicBezTo>
                <a:cubicBezTo>
                  <a:pt x="1990093" y="1851285"/>
                  <a:pt x="1980298" y="1861624"/>
                  <a:pt x="1968870" y="1861624"/>
                </a:cubicBezTo>
                <a:cubicBezTo>
                  <a:pt x="1957986" y="1861624"/>
                  <a:pt x="1947647" y="1851285"/>
                  <a:pt x="1947647" y="1840401"/>
                </a:cubicBezTo>
                <a:cubicBezTo>
                  <a:pt x="1947647" y="1828973"/>
                  <a:pt x="1957986" y="1819178"/>
                  <a:pt x="1968870" y="1819178"/>
                </a:cubicBezTo>
                <a:close/>
                <a:moveTo>
                  <a:pt x="1070436" y="1747347"/>
                </a:moveTo>
                <a:cubicBezTo>
                  <a:pt x="1078598" y="1747347"/>
                  <a:pt x="1081863" y="1750612"/>
                  <a:pt x="1081863" y="1758231"/>
                </a:cubicBezTo>
                <a:cubicBezTo>
                  <a:pt x="1081863" y="1766393"/>
                  <a:pt x="1078598" y="1769658"/>
                  <a:pt x="1070980" y="1769658"/>
                </a:cubicBezTo>
                <a:cubicBezTo>
                  <a:pt x="1063361" y="1769658"/>
                  <a:pt x="1060096" y="1766393"/>
                  <a:pt x="1059552" y="1758775"/>
                </a:cubicBezTo>
                <a:cubicBezTo>
                  <a:pt x="1059552" y="1751156"/>
                  <a:pt x="1062817" y="1747347"/>
                  <a:pt x="1070436" y="1747347"/>
                </a:cubicBezTo>
                <a:close/>
                <a:moveTo>
                  <a:pt x="1233688" y="1742449"/>
                </a:moveTo>
                <a:cubicBezTo>
                  <a:pt x="1242939" y="1741904"/>
                  <a:pt x="1250558" y="1750067"/>
                  <a:pt x="1250558" y="1758774"/>
                </a:cubicBezTo>
                <a:cubicBezTo>
                  <a:pt x="1250558" y="1767481"/>
                  <a:pt x="1242939" y="1775099"/>
                  <a:pt x="1233688" y="1775099"/>
                </a:cubicBezTo>
                <a:cubicBezTo>
                  <a:pt x="1224981" y="1775099"/>
                  <a:pt x="1218451" y="1768025"/>
                  <a:pt x="1217907" y="1759318"/>
                </a:cubicBezTo>
                <a:cubicBezTo>
                  <a:pt x="1217907" y="1750067"/>
                  <a:pt x="1224981" y="1742449"/>
                  <a:pt x="1233688" y="1742449"/>
                </a:cubicBezTo>
                <a:close/>
                <a:moveTo>
                  <a:pt x="1399662" y="1739728"/>
                </a:moveTo>
                <a:cubicBezTo>
                  <a:pt x="1410002" y="1740817"/>
                  <a:pt x="1418164" y="1750068"/>
                  <a:pt x="1417076" y="1760407"/>
                </a:cubicBezTo>
                <a:cubicBezTo>
                  <a:pt x="1415988" y="1769114"/>
                  <a:pt x="1404560" y="1779997"/>
                  <a:pt x="1396941" y="1779453"/>
                </a:cubicBezTo>
                <a:cubicBezTo>
                  <a:pt x="1388779" y="1778909"/>
                  <a:pt x="1376807" y="1765305"/>
                  <a:pt x="1377895" y="1757686"/>
                </a:cubicBezTo>
                <a:cubicBezTo>
                  <a:pt x="1379528" y="1746803"/>
                  <a:pt x="1389867" y="1738640"/>
                  <a:pt x="1399662" y="1739728"/>
                </a:cubicBezTo>
                <a:close/>
                <a:moveTo>
                  <a:pt x="1723991" y="1735919"/>
                </a:moveTo>
                <a:cubicBezTo>
                  <a:pt x="1738140" y="1735919"/>
                  <a:pt x="1746847" y="1744626"/>
                  <a:pt x="1746847" y="1758774"/>
                </a:cubicBezTo>
                <a:cubicBezTo>
                  <a:pt x="1746847" y="1772379"/>
                  <a:pt x="1738140" y="1781086"/>
                  <a:pt x="1723991" y="1781086"/>
                </a:cubicBezTo>
                <a:cubicBezTo>
                  <a:pt x="1709299" y="1781086"/>
                  <a:pt x="1701680" y="1773467"/>
                  <a:pt x="1701680" y="1758774"/>
                </a:cubicBezTo>
                <a:cubicBezTo>
                  <a:pt x="1701680" y="1744626"/>
                  <a:pt x="1709843" y="1735919"/>
                  <a:pt x="1723991" y="1735919"/>
                </a:cubicBezTo>
                <a:close/>
                <a:moveTo>
                  <a:pt x="1560194" y="1735919"/>
                </a:moveTo>
                <a:cubicBezTo>
                  <a:pt x="1572710" y="1736463"/>
                  <a:pt x="1582505" y="1746258"/>
                  <a:pt x="1582505" y="1758230"/>
                </a:cubicBezTo>
                <a:cubicBezTo>
                  <a:pt x="1582505" y="1770202"/>
                  <a:pt x="1572710" y="1779997"/>
                  <a:pt x="1560738" y="1779997"/>
                </a:cubicBezTo>
                <a:cubicBezTo>
                  <a:pt x="1549855" y="1779997"/>
                  <a:pt x="1538427" y="1769114"/>
                  <a:pt x="1538427" y="1758230"/>
                </a:cubicBezTo>
                <a:cubicBezTo>
                  <a:pt x="1538427" y="1746803"/>
                  <a:pt x="1548766" y="1735919"/>
                  <a:pt x="1560194" y="1735919"/>
                </a:cubicBezTo>
                <a:close/>
                <a:moveTo>
                  <a:pt x="2051041" y="1734831"/>
                </a:moveTo>
                <a:lnTo>
                  <a:pt x="2051041" y="1781438"/>
                </a:lnTo>
                <a:lnTo>
                  <a:pt x="2050496" y="1781630"/>
                </a:lnTo>
                <a:cubicBezTo>
                  <a:pt x="2033627" y="1782174"/>
                  <a:pt x="2027097" y="1772379"/>
                  <a:pt x="2027097" y="1758775"/>
                </a:cubicBezTo>
                <a:cubicBezTo>
                  <a:pt x="2027097" y="1744082"/>
                  <a:pt x="2033627" y="1734831"/>
                  <a:pt x="2051041" y="1734831"/>
                </a:cubicBezTo>
                <a:close/>
                <a:moveTo>
                  <a:pt x="1887788" y="1734831"/>
                </a:moveTo>
                <a:cubicBezTo>
                  <a:pt x="1902481" y="1735375"/>
                  <a:pt x="1910099" y="1742994"/>
                  <a:pt x="1910099" y="1758775"/>
                </a:cubicBezTo>
                <a:cubicBezTo>
                  <a:pt x="1910099" y="1771835"/>
                  <a:pt x="1903025" y="1782718"/>
                  <a:pt x="1886699" y="1781086"/>
                </a:cubicBezTo>
                <a:cubicBezTo>
                  <a:pt x="1872551" y="1782174"/>
                  <a:pt x="1863844" y="1770203"/>
                  <a:pt x="1863844" y="1757687"/>
                </a:cubicBezTo>
                <a:cubicBezTo>
                  <a:pt x="1863844" y="1742994"/>
                  <a:pt x="1874728" y="1734287"/>
                  <a:pt x="1887788" y="1734831"/>
                </a:cubicBezTo>
                <a:close/>
                <a:moveTo>
                  <a:pt x="826100" y="1671706"/>
                </a:moveTo>
                <a:cubicBezTo>
                  <a:pt x="830454" y="1670618"/>
                  <a:pt x="832086" y="1673338"/>
                  <a:pt x="832086" y="1677692"/>
                </a:cubicBezTo>
                <a:cubicBezTo>
                  <a:pt x="832086" y="1681501"/>
                  <a:pt x="829365" y="1683134"/>
                  <a:pt x="825556" y="1683134"/>
                </a:cubicBezTo>
                <a:cubicBezTo>
                  <a:pt x="821203" y="1683134"/>
                  <a:pt x="819570" y="1679869"/>
                  <a:pt x="820658" y="1676603"/>
                </a:cubicBezTo>
                <a:cubicBezTo>
                  <a:pt x="821203" y="1674427"/>
                  <a:pt x="823924" y="1672250"/>
                  <a:pt x="826100" y="1671706"/>
                </a:cubicBezTo>
                <a:close/>
                <a:moveTo>
                  <a:pt x="989354" y="1661912"/>
                </a:moveTo>
                <a:cubicBezTo>
                  <a:pt x="994251" y="1661912"/>
                  <a:pt x="1004046" y="1671707"/>
                  <a:pt x="1004046" y="1676604"/>
                </a:cubicBezTo>
                <a:cubicBezTo>
                  <a:pt x="1004046" y="1682590"/>
                  <a:pt x="996428" y="1690209"/>
                  <a:pt x="989354" y="1690209"/>
                </a:cubicBezTo>
                <a:cubicBezTo>
                  <a:pt x="982823" y="1690209"/>
                  <a:pt x="975749" y="1683679"/>
                  <a:pt x="975205" y="1677693"/>
                </a:cubicBezTo>
                <a:cubicBezTo>
                  <a:pt x="974661" y="1671707"/>
                  <a:pt x="983912" y="1661367"/>
                  <a:pt x="989354" y="1661912"/>
                </a:cubicBezTo>
                <a:close/>
                <a:moveTo>
                  <a:pt x="1153151" y="1659734"/>
                </a:moveTo>
                <a:cubicBezTo>
                  <a:pt x="1162946" y="1658646"/>
                  <a:pt x="1171108" y="1667353"/>
                  <a:pt x="1170564" y="1677692"/>
                </a:cubicBezTo>
                <a:cubicBezTo>
                  <a:pt x="1170020" y="1688575"/>
                  <a:pt x="1162946" y="1694562"/>
                  <a:pt x="1152062" y="1694562"/>
                </a:cubicBezTo>
                <a:cubicBezTo>
                  <a:pt x="1141179" y="1694017"/>
                  <a:pt x="1135737" y="1688031"/>
                  <a:pt x="1135737" y="1677148"/>
                </a:cubicBezTo>
                <a:cubicBezTo>
                  <a:pt x="1135737" y="1664632"/>
                  <a:pt x="1141179" y="1659190"/>
                  <a:pt x="1153151" y="1659734"/>
                </a:cubicBezTo>
                <a:close/>
                <a:moveTo>
                  <a:pt x="1315315" y="1655381"/>
                </a:moveTo>
                <a:cubicBezTo>
                  <a:pt x="1327287" y="1654836"/>
                  <a:pt x="1337082" y="1664088"/>
                  <a:pt x="1337082" y="1676603"/>
                </a:cubicBezTo>
                <a:cubicBezTo>
                  <a:pt x="1337082" y="1688575"/>
                  <a:pt x="1326743" y="1698915"/>
                  <a:pt x="1315315" y="1698915"/>
                </a:cubicBezTo>
                <a:cubicBezTo>
                  <a:pt x="1304976" y="1698915"/>
                  <a:pt x="1294092" y="1687487"/>
                  <a:pt x="1294092" y="1677148"/>
                </a:cubicBezTo>
                <a:cubicBezTo>
                  <a:pt x="1294092" y="1666264"/>
                  <a:pt x="1304431" y="1655925"/>
                  <a:pt x="1315315" y="1655381"/>
                </a:cubicBezTo>
                <a:close/>
                <a:moveTo>
                  <a:pt x="1479111" y="1654293"/>
                </a:moveTo>
                <a:cubicBezTo>
                  <a:pt x="1495437" y="1653204"/>
                  <a:pt x="1501967" y="1664632"/>
                  <a:pt x="1501967" y="1677692"/>
                </a:cubicBezTo>
                <a:cubicBezTo>
                  <a:pt x="1501967" y="1689664"/>
                  <a:pt x="1492716" y="1700548"/>
                  <a:pt x="1479111" y="1700548"/>
                </a:cubicBezTo>
                <a:cubicBezTo>
                  <a:pt x="1466596" y="1700548"/>
                  <a:pt x="1455712" y="1690208"/>
                  <a:pt x="1455712" y="1676604"/>
                </a:cubicBezTo>
                <a:cubicBezTo>
                  <a:pt x="1456256" y="1663544"/>
                  <a:pt x="1464963" y="1653204"/>
                  <a:pt x="1479111" y="1654293"/>
                </a:cubicBezTo>
                <a:close/>
                <a:moveTo>
                  <a:pt x="1643452" y="1650483"/>
                </a:moveTo>
                <a:cubicBezTo>
                  <a:pt x="1654880" y="1651027"/>
                  <a:pt x="1667940" y="1664087"/>
                  <a:pt x="1668484" y="1676603"/>
                </a:cubicBezTo>
                <a:cubicBezTo>
                  <a:pt x="1669029" y="1689120"/>
                  <a:pt x="1655968" y="1702724"/>
                  <a:pt x="1643452" y="1703268"/>
                </a:cubicBezTo>
                <a:cubicBezTo>
                  <a:pt x="1631480" y="1703812"/>
                  <a:pt x="1617332" y="1690208"/>
                  <a:pt x="1617332" y="1677692"/>
                </a:cubicBezTo>
                <a:cubicBezTo>
                  <a:pt x="1616788" y="1664632"/>
                  <a:pt x="1630392" y="1650483"/>
                  <a:pt x="1643452" y="1650483"/>
                </a:cubicBezTo>
                <a:close/>
                <a:moveTo>
                  <a:pt x="1968326" y="1649940"/>
                </a:moveTo>
                <a:cubicBezTo>
                  <a:pt x="1983019" y="1649395"/>
                  <a:pt x="1997167" y="1664088"/>
                  <a:pt x="1995535" y="1676604"/>
                </a:cubicBezTo>
                <a:cubicBezTo>
                  <a:pt x="1997167" y="1689664"/>
                  <a:pt x="1982474" y="1704901"/>
                  <a:pt x="1968870" y="1704357"/>
                </a:cubicBezTo>
                <a:cubicBezTo>
                  <a:pt x="1954177" y="1703813"/>
                  <a:pt x="1942205" y="1691841"/>
                  <a:pt x="1941661" y="1677148"/>
                </a:cubicBezTo>
                <a:cubicBezTo>
                  <a:pt x="1941117" y="1662456"/>
                  <a:pt x="1956354" y="1649940"/>
                  <a:pt x="1968326" y="1649940"/>
                </a:cubicBezTo>
                <a:close/>
                <a:moveTo>
                  <a:pt x="1805617" y="1649939"/>
                </a:moveTo>
                <a:cubicBezTo>
                  <a:pt x="1819222" y="1648851"/>
                  <a:pt x="1832826" y="1664088"/>
                  <a:pt x="1832826" y="1677148"/>
                </a:cubicBezTo>
                <a:cubicBezTo>
                  <a:pt x="1832282" y="1690752"/>
                  <a:pt x="1819222" y="1703812"/>
                  <a:pt x="1805073" y="1704357"/>
                </a:cubicBezTo>
                <a:cubicBezTo>
                  <a:pt x="1792557" y="1704901"/>
                  <a:pt x="1777864" y="1688031"/>
                  <a:pt x="1778409" y="1677148"/>
                </a:cubicBezTo>
                <a:cubicBezTo>
                  <a:pt x="1779497" y="1662999"/>
                  <a:pt x="1791469" y="1649939"/>
                  <a:pt x="1805617" y="1649939"/>
                </a:cubicBezTo>
                <a:close/>
                <a:moveTo>
                  <a:pt x="744474" y="1588992"/>
                </a:moveTo>
                <a:cubicBezTo>
                  <a:pt x="748827" y="1588992"/>
                  <a:pt x="751004" y="1590624"/>
                  <a:pt x="751004" y="1594978"/>
                </a:cubicBezTo>
                <a:cubicBezTo>
                  <a:pt x="751004" y="1598787"/>
                  <a:pt x="749916" y="1601508"/>
                  <a:pt x="745562" y="1602052"/>
                </a:cubicBezTo>
                <a:cubicBezTo>
                  <a:pt x="740665" y="1602052"/>
                  <a:pt x="738488" y="1600420"/>
                  <a:pt x="738488" y="1594978"/>
                </a:cubicBezTo>
                <a:cubicBezTo>
                  <a:pt x="737944" y="1590624"/>
                  <a:pt x="740121" y="1588992"/>
                  <a:pt x="744474" y="1588992"/>
                </a:cubicBezTo>
                <a:close/>
                <a:moveTo>
                  <a:pt x="907183" y="1579741"/>
                </a:moveTo>
                <a:cubicBezTo>
                  <a:pt x="913169" y="1579197"/>
                  <a:pt x="923508" y="1588992"/>
                  <a:pt x="923508" y="1594978"/>
                </a:cubicBezTo>
                <a:cubicBezTo>
                  <a:pt x="923508" y="1600964"/>
                  <a:pt x="915345" y="1610215"/>
                  <a:pt x="908815" y="1610759"/>
                </a:cubicBezTo>
                <a:cubicBezTo>
                  <a:pt x="901197" y="1611303"/>
                  <a:pt x="892490" y="1603685"/>
                  <a:pt x="892490" y="1595522"/>
                </a:cubicBezTo>
                <a:cubicBezTo>
                  <a:pt x="892490" y="1588448"/>
                  <a:pt x="900653" y="1579741"/>
                  <a:pt x="907183" y="1579741"/>
                </a:cubicBezTo>
                <a:close/>
                <a:moveTo>
                  <a:pt x="1071524" y="1574843"/>
                </a:moveTo>
                <a:cubicBezTo>
                  <a:pt x="1081319" y="1575387"/>
                  <a:pt x="1091114" y="1585726"/>
                  <a:pt x="1091114" y="1595522"/>
                </a:cubicBezTo>
                <a:cubicBezTo>
                  <a:pt x="1091114" y="1605317"/>
                  <a:pt x="1080231" y="1615656"/>
                  <a:pt x="1070980" y="1615656"/>
                </a:cubicBezTo>
                <a:cubicBezTo>
                  <a:pt x="1062273" y="1615656"/>
                  <a:pt x="1050845" y="1604228"/>
                  <a:pt x="1050301" y="1595522"/>
                </a:cubicBezTo>
                <a:cubicBezTo>
                  <a:pt x="1050301" y="1586270"/>
                  <a:pt x="1062273" y="1574299"/>
                  <a:pt x="1071524" y="1574843"/>
                </a:cubicBezTo>
                <a:close/>
                <a:moveTo>
                  <a:pt x="1233688" y="1573210"/>
                </a:moveTo>
                <a:cubicBezTo>
                  <a:pt x="1247837" y="1573210"/>
                  <a:pt x="1256544" y="1581373"/>
                  <a:pt x="1256544" y="1595522"/>
                </a:cubicBezTo>
                <a:cubicBezTo>
                  <a:pt x="1256544" y="1609670"/>
                  <a:pt x="1247837" y="1618377"/>
                  <a:pt x="1233688" y="1618377"/>
                </a:cubicBezTo>
                <a:cubicBezTo>
                  <a:pt x="1221172" y="1618377"/>
                  <a:pt x="1212465" y="1608582"/>
                  <a:pt x="1211377" y="1596610"/>
                </a:cubicBezTo>
                <a:cubicBezTo>
                  <a:pt x="1210289" y="1584638"/>
                  <a:pt x="1222261" y="1571034"/>
                  <a:pt x="1233688" y="1573210"/>
                </a:cubicBezTo>
                <a:close/>
                <a:moveTo>
                  <a:pt x="1398030" y="1569402"/>
                </a:moveTo>
                <a:cubicBezTo>
                  <a:pt x="1411634" y="1569946"/>
                  <a:pt x="1423606" y="1582462"/>
                  <a:pt x="1423062" y="1595522"/>
                </a:cubicBezTo>
                <a:cubicBezTo>
                  <a:pt x="1423062" y="1608582"/>
                  <a:pt x="1410546" y="1621099"/>
                  <a:pt x="1397485" y="1621099"/>
                </a:cubicBezTo>
                <a:cubicBezTo>
                  <a:pt x="1384969" y="1621099"/>
                  <a:pt x="1371365" y="1608038"/>
                  <a:pt x="1371365" y="1595522"/>
                </a:cubicBezTo>
                <a:cubicBezTo>
                  <a:pt x="1371365" y="1582462"/>
                  <a:pt x="1384969" y="1568857"/>
                  <a:pt x="1398030" y="1569402"/>
                </a:cubicBezTo>
                <a:close/>
                <a:moveTo>
                  <a:pt x="1560194" y="1568313"/>
                </a:moveTo>
                <a:cubicBezTo>
                  <a:pt x="1574342" y="1566680"/>
                  <a:pt x="1587403" y="1581373"/>
                  <a:pt x="1587947" y="1594433"/>
                </a:cubicBezTo>
                <a:cubicBezTo>
                  <a:pt x="1588491" y="1608582"/>
                  <a:pt x="1574887" y="1622730"/>
                  <a:pt x="1560194" y="1622730"/>
                </a:cubicBezTo>
                <a:cubicBezTo>
                  <a:pt x="1547134" y="1622730"/>
                  <a:pt x="1532985" y="1608582"/>
                  <a:pt x="1532985" y="1594977"/>
                </a:cubicBezTo>
                <a:cubicBezTo>
                  <a:pt x="1532985" y="1581917"/>
                  <a:pt x="1547134" y="1566680"/>
                  <a:pt x="1560194" y="1568313"/>
                </a:cubicBezTo>
                <a:close/>
                <a:moveTo>
                  <a:pt x="1887244" y="1567225"/>
                </a:moveTo>
                <a:cubicBezTo>
                  <a:pt x="1905202" y="1567225"/>
                  <a:pt x="1915541" y="1578109"/>
                  <a:pt x="1915541" y="1594978"/>
                </a:cubicBezTo>
                <a:cubicBezTo>
                  <a:pt x="1915541" y="1612392"/>
                  <a:pt x="1903569" y="1624363"/>
                  <a:pt x="1886699" y="1623819"/>
                </a:cubicBezTo>
                <a:cubicBezTo>
                  <a:pt x="1872551" y="1623819"/>
                  <a:pt x="1857314" y="1613480"/>
                  <a:pt x="1858947" y="1594978"/>
                </a:cubicBezTo>
                <a:cubicBezTo>
                  <a:pt x="1857858" y="1577564"/>
                  <a:pt x="1870918" y="1567225"/>
                  <a:pt x="1887244" y="1567225"/>
                </a:cubicBezTo>
                <a:close/>
                <a:moveTo>
                  <a:pt x="1724535" y="1567225"/>
                </a:moveTo>
                <a:cubicBezTo>
                  <a:pt x="1743037" y="1567225"/>
                  <a:pt x="1752288" y="1581373"/>
                  <a:pt x="1752288" y="1594978"/>
                </a:cubicBezTo>
                <a:cubicBezTo>
                  <a:pt x="1752288" y="1609127"/>
                  <a:pt x="1741949" y="1623275"/>
                  <a:pt x="1724535" y="1623275"/>
                </a:cubicBezTo>
                <a:cubicBezTo>
                  <a:pt x="1710930" y="1623819"/>
                  <a:pt x="1694605" y="1613480"/>
                  <a:pt x="1696238" y="1594978"/>
                </a:cubicBezTo>
                <a:cubicBezTo>
                  <a:pt x="1694605" y="1577564"/>
                  <a:pt x="1708754" y="1567225"/>
                  <a:pt x="1724535" y="1567225"/>
                </a:cubicBezTo>
                <a:close/>
                <a:moveTo>
                  <a:pt x="2050496" y="1566680"/>
                </a:moveTo>
                <a:lnTo>
                  <a:pt x="2051041" y="1566888"/>
                </a:lnTo>
                <a:lnTo>
                  <a:pt x="2051041" y="1623794"/>
                </a:lnTo>
                <a:lnTo>
                  <a:pt x="2049408" y="1624363"/>
                </a:lnTo>
                <a:cubicBezTo>
                  <a:pt x="2033083" y="1623818"/>
                  <a:pt x="2021111" y="1611302"/>
                  <a:pt x="2021655" y="1594977"/>
                </a:cubicBezTo>
                <a:cubicBezTo>
                  <a:pt x="2022199" y="1575931"/>
                  <a:pt x="2033627" y="1567224"/>
                  <a:pt x="2050496" y="1566680"/>
                </a:cubicBezTo>
                <a:close/>
                <a:moveTo>
                  <a:pt x="663392" y="1505188"/>
                </a:moveTo>
                <a:cubicBezTo>
                  <a:pt x="666113" y="1505188"/>
                  <a:pt x="669922" y="1510086"/>
                  <a:pt x="674819" y="1513895"/>
                </a:cubicBezTo>
                <a:cubicBezTo>
                  <a:pt x="669378" y="1517704"/>
                  <a:pt x="665569" y="1522602"/>
                  <a:pt x="662848" y="1522058"/>
                </a:cubicBezTo>
                <a:cubicBezTo>
                  <a:pt x="659583" y="1521513"/>
                  <a:pt x="654685" y="1516072"/>
                  <a:pt x="654685" y="1513351"/>
                </a:cubicBezTo>
                <a:cubicBezTo>
                  <a:pt x="654685" y="1510086"/>
                  <a:pt x="660127" y="1505188"/>
                  <a:pt x="663392" y="1505188"/>
                </a:cubicBezTo>
                <a:close/>
                <a:moveTo>
                  <a:pt x="826101" y="1497570"/>
                </a:moveTo>
                <a:cubicBezTo>
                  <a:pt x="834263" y="1497025"/>
                  <a:pt x="842426" y="1505188"/>
                  <a:pt x="842970" y="1513351"/>
                </a:cubicBezTo>
                <a:cubicBezTo>
                  <a:pt x="842970" y="1522058"/>
                  <a:pt x="835352" y="1529676"/>
                  <a:pt x="826645" y="1529676"/>
                </a:cubicBezTo>
                <a:cubicBezTo>
                  <a:pt x="818482" y="1529676"/>
                  <a:pt x="810864" y="1523146"/>
                  <a:pt x="810319" y="1514983"/>
                </a:cubicBezTo>
                <a:cubicBezTo>
                  <a:pt x="809775" y="1506276"/>
                  <a:pt x="817394" y="1498114"/>
                  <a:pt x="826101" y="1497570"/>
                </a:cubicBezTo>
                <a:close/>
                <a:moveTo>
                  <a:pt x="988265" y="1492128"/>
                </a:moveTo>
                <a:cubicBezTo>
                  <a:pt x="998605" y="1492128"/>
                  <a:pt x="1010577" y="1501379"/>
                  <a:pt x="1010577" y="1513351"/>
                </a:cubicBezTo>
                <a:cubicBezTo>
                  <a:pt x="1010577" y="1524234"/>
                  <a:pt x="1000237" y="1534574"/>
                  <a:pt x="989354" y="1534574"/>
                </a:cubicBezTo>
                <a:cubicBezTo>
                  <a:pt x="979559" y="1534574"/>
                  <a:pt x="968675" y="1523690"/>
                  <a:pt x="968131" y="1513895"/>
                </a:cubicBezTo>
                <a:cubicBezTo>
                  <a:pt x="968131" y="1503556"/>
                  <a:pt x="977926" y="1492672"/>
                  <a:pt x="988265" y="1492128"/>
                </a:cubicBezTo>
                <a:close/>
                <a:moveTo>
                  <a:pt x="1152606" y="1490496"/>
                </a:moveTo>
                <a:cubicBezTo>
                  <a:pt x="1167299" y="1489407"/>
                  <a:pt x="1176006" y="1498658"/>
                  <a:pt x="1176006" y="1513351"/>
                </a:cubicBezTo>
                <a:cubicBezTo>
                  <a:pt x="1176006" y="1530764"/>
                  <a:pt x="1166755" y="1537295"/>
                  <a:pt x="1152606" y="1537839"/>
                </a:cubicBezTo>
                <a:cubicBezTo>
                  <a:pt x="1139546" y="1537839"/>
                  <a:pt x="1129207" y="1530764"/>
                  <a:pt x="1129207" y="1514984"/>
                </a:cubicBezTo>
                <a:cubicBezTo>
                  <a:pt x="1129207" y="1498114"/>
                  <a:pt x="1138458" y="1491040"/>
                  <a:pt x="1152606" y="1490496"/>
                </a:cubicBezTo>
                <a:close/>
                <a:moveTo>
                  <a:pt x="1316403" y="1487231"/>
                </a:moveTo>
                <a:cubicBezTo>
                  <a:pt x="1331095" y="1487775"/>
                  <a:pt x="1342523" y="1499203"/>
                  <a:pt x="1342523" y="1513896"/>
                </a:cubicBezTo>
                <a:cubicBezTo>
                  <a:pt x="1342523" y="1528588"/>
                  <a:pt x="1330551" y="1540560"/>
                  <a:pt x="1315314" y="1540560"/>
                </a:cubicBezTo>
                <a:cubicBezTo>
                  <a:pt x="1303887" y="1542193"/>
                  <a:pt x="1288106" y="1527500"/>
                  <a:pt x="1288650" y="1513896"/>
                </a:cubicBezTo>
                <a:cubicBezTo>
                  <a:pt x="1289194" y="1498659"/>
                  <a:pt x="1301166" y="1486687"/>
                  <a:pt x="1316403" y="1487231"/>
                </a:cubicBezTo>
                <a:close/>
                <a:moveTo>
                  <a:pt x="1479656" y="1485054"/>
                </a:moveTo>
                <a:cubicBezTo>
                  <a:pt x="1495437" y="1485598"/>
                  <a:pt x="1508497" y="1496482"/>
                  <a:pt x="1507409" y="1513895"/>
                </a:cubicBezTo>
                <a:cubicBezTo>
                  <a:pt x="1508497" y="1527500"/>
                  <a:pt x="1498158" y="1542192"/>
                  <a:pt x="1479112" y="1541648"/>
                </a:cubicBezTo>
                <a:cubicBezTo>
                  <a:pt x="1462787" y="1541648"/>
                  <a:pt x="1451359" y="1529676"/>
                  <a:pt x="1451359" y="1513351"/>
                </a:cubicBezTo>
                <a:cubicBezTo>
                  <a:pt x="1451359" y="1493761"/>
                  <a:pt x="1466596" y="1485054"/>
                  <a:pt x="1479656" y="1485054"/>
                </a:cubicBezTo>
                <a:close/>
                <a:moveTo>
                  <a:pt x="1641820" y="1482334"/>
                </a:moveTo>
                <a:cubicBezTo>
                  <a:pt x="1657057" y="1481789"/>
                  <a:pt x="1672838" y="1496482"/>
                  <a:pt x="1673382" y="1512807"/>
                </a:cubicBezTo>
                <a:cubicBezTo>
                  <a:pt x="1673927" y="1528044"/>
                  <a:pt x="1658145" y="1544370"/>
                  <a:pt x="1642909" y="1544370"/>
                </a:cubicBezTo>
                <a:cubicBezTo>
                  <a:pt x="1626039" y="1542193"/>
                  <a:pt x="1612979" y="1532942"/>
                  <a:pt x="1612435" y="1513351"/>
                </a:cubicBezTo>
                <a:cubicBezTo>
                  <a:pt x="1611890" y="1497571"/>
                  <a:pt x="1626583" y="1483422"/>
                  <a:pt x="1641820" y="1482334"/>
                </a:cubicBezTo>
                <a:close/>
                <a:moveTo>
                  <a:pt x="1804529" y="1481788"/>
                </a:moveTo>
                <a:cubicBezTo>
                  <a:pt x="1820855" y="1481244"/>
                  <a:pt x="1836091" y="1494304"/>
                  <a:pt x="1837180" y="1513351"/>
                </a:cubicBezTo>
                <a:cubicBezTo>
                  <a:pt x="1838812" y="1528043"/>
                  <a:pt x="1825208" y="1544913"/>
                  <a:pt x="1805617" y="1545457"/>
                </a:cubicBezTo>
                <a:cubicBezTo>
                  <a:pt x="1787660" y="1544913"/>
                  <a:pt x="1774055" y="1532397"/>
                  <a:pt x="1773511" y="1514983"/>
                </a:cubicBezTo>
                <a:cubicBezTo>
                  <a:pt x="1772967" y="1494849"/>
                  <a:pt x="1788204" y="1482333"/>
                  <a:pt x="1804529" y="1481788"/>
                </a:cubicBezTo>
                <a:close/>
                <a:moveTo>
                  <a:pt x="1968870" y="1480700"/>
                </a:moveTo>
                <a:cubicBezTo>
                  <a:pt x="1984651" y="1480700"/>
                  <a:pt x="2000977" y="1495937"/>
                  <a:pt x="2000977" y="1513351"/>
                </a:cubicBezTo>
                <a:cubicBezTo>
                  <a:pt x="2001521" y="1529132"/>
                  <a:pt x="1987916" y="1546001"/>
                  <a:pt x="1968870" y="1545457"/>
                </a:cubicBezTo>
                <a:cubicBezTo>
                  <a:pt x="1949824" y="1545457"/>
                  <a:pt x="1936764" y="1530764"/>
                  <a:pt x="1936764" y="1513351"/>
                </a:cubicBezTo>
                <a:cubicBezTo>
                  <a:pt x="1936764" y="1493760"/>
                  <a:pt x="1953633" y="1480700"/>
                  <a:pt x="1968870" y="1480700"/>
                </a:cubicBezTo>
                <a:close/>
                <a:moveTo>
                  <a:pt x="581221" y="1423562"/>
                </a:moveTo>
                <a:cubicBezTo>
                  <a:pt x="586663" y="1423562"/>
                  <a:pt x="589384" y="1427371"/>
                  <a:pt x="588840" y="1431725"/>
                </a:cubicBezTo>
                <a:cubicBezTo>
                  <a:pt x="588840" y="1434990"/>
                  <a:pt x="585030" y="1438255"/>
                  <a:pt x="581765" y="1443153"/>
                </a:cubicBezTo>
                <a:cubicBezTo>
                  <a:pt x="577412" y="1438255"/>
                  <a:pt x="574147" y="1436078"/>
                  <a:pt x="573059" y="1432813"/>
                </a:cubicBezTo>
                <a:cubicBezTo>
                  <a:pt x="571426" y="1429004"/>
                  <a:pt x="576868" y="1423562"/>
                  <a:pt x="581221" y="1423562"/>
                </a:cubicBezTo>
                <a:close/>
                <a:moveTo>
                  <a:pt x="745562" y="1414855"/>
                </a:moveTo>
                <a:cubicBezTo>
                  <a:pt x="754269" y="1415399"/>
                  <a:pt x="761344" y="1423018"/>
                  <a:pt x="761344" y="1432269"/>
                </a:cubicBezTo>
                <a:cubicBezTo>
                  <a:pt x="761344" y="1442064"/>
                  <a:pt x="754813" y="1448050"/>
                  <a:pt x="745018" y="1448050"/>
                </a:cubicBezTo>
                <a:cubicBezTo>
                  <a:pt x="734679" y="1448050"/>
                  <a:pt x="728693" y="1442064"/>
                  <a:pt x="728693" y="1431725"/>
                </a:cubicBezTo>
                <a:cubicBezTo>
                  <a:pt x="728693" y="1421386"/>
                  <a:pt x="735223" y="1414311"/>
                  <a:pt x="745562" y="1414855"/>
                </a:cubicBezTo>
                <a:close/>
                <a:moveTo>
                  <a:pt x="908815" y="1409958"/>
                </a:moveTo>
                <a:cubicBezTo>
                  <a:pt x="920243" y="1410502"/>
                  <a:pt x="930038" y="1420297"/>
                  <a:pt x="930038" y="1431725"/>
                </a:cubicBezTo>
                <a:cubicBezTo>
                  <a:pt x="929494" y="1443697"/>
                  <a:pt x="919155" y="1454036"/>
                  <a:pt x="907183" y="1453492"/>
                </a:cubicBezTo>
                <a:cubicBezTo>
                  <a:pt x="896844" y="1453492"/>
                  <a:pt x="885960" y="1442064"/>
                  <a:pt x="885960" y="1431725"/>
                </a:cubicBezTo>
                <a:cubicBezTo>
                  <a:pt x="885960" y="1420297"/>
                  <a:pt x="897388" y="1409414"/>
                  <a:pt x="908815" y="1409958"/>
                </a:cubicBezTo>
                <a:close/>
                <a:moveTo>
                  <a:pt x="1070436" y="1406693"/>
                </a:moveTo>
                <a:cubicBezTo>
                  <a:pt x="1084584" y="1406693"/>
                  <a:pt x="1096012" y="1418121"/>
                  <a:pt x="1096012" y="1432269"/>
                </a:cubicBezTo>
                <a:cubicBezTo>
                  <a:pt x="1096012" y="1445329"/>
                  <a:pt x="1082952" y="1458390"/>
                  <a:pt x="1070436" y="1457846"/>
                </a:cubicBezTo>
                <a:cubicBezTo>
                  <a:pt x="1058464" y="1457301"/>
                  <a:pt x="1044860" y="1443153"/>
                  <a:pt x="1045404" y="1431181"/>
                </a:cubicBezTo>
                <a:cubicBezTo>
                  <a:pt x="1045948" y="1418665"/>
                  <a:pt x="1057920" y="1406693"/>
                  <a:pt x="1070436" y="1406693"/>
                </a:cubicBezTo>
                <a:close/>
                <a:moveTo>
                  <a:pt x="1235865" y="1404516"/>
                </a:moveTo>
                <a:cubicBezTo>
                  <a:pt x="1252191" y="1405605"/>
                  <a:pt x="1262530" y="1415944"/>
                  <a:pt x="1261986" y="1433358"/>
                </a:cubicBezTo>
                <a:cubicBezTo>
                  <a:pt x="1261442" y="1449683"/>
                  <a:pt x="1251102" y="1459478"/>
                  <a:pt x="1233689" y="1459478"/>
                </a:cubicBezTo>
                <a:cubicBezTo>
                  <a:pt x="1218452" y="1461655"/>
                  <a:pt x="1206480" y="1445329"/>
                  <a:pt x="1206480" y="1432269"/>
                </a:cubicBezTo>
                <a:cubicBezTo>
                  <a:pt x="1206480" y="1417032"/>
                  <a:pt x="1220084" y="1403428"/>
                  <a:pt x="1235865" y="1404516"/>
                </a:cubicBezTo>
                <a:close/>
                <a:moveTo>
                  <a:pt x="1397485" y="1400162"/>
                </a:moveTo>
                <a:cubicBezTo>
                  <a:pt x="1412178" y="1400162"/>
                  <a:pt x="1427959" y="1416487"/>
                  <a:pt x="1427959" y="1431724"/>
                </a:cubicBezTo>
                <a:cubicBezTo>
                  <a:pt x="1428503" y="1446961"/>
                  <a:pt x="1413810" y="1462198"/>
                  <a:pt x="1398029" y="1463287"/>
                </a:cubicBezTo>
                <a:cubicBezTo>
                  <a:pt x="1384425" y="1464375"/>
                  <a:pt x="1367555" y="1448049"/>
                  <a:pt x="1366467" y="1432813"/>
                </a:cubicBezTo>
                <a:cubicBezTo>
                  <a:pt x="1365923" y="1418120"/>
                  <a:pt x="1382792" y="1400162"/>
                  <a:pt x="1397485" y="1400162"/>
                </a:cubicBezTo>
                <a:close/>
                <a:moveTo>
                  <a:pt x="1561282" y="1399618"/>
                </a:moveTo>
                <a:cubicBezTo>
                  <a:pt x="1575975" y="1399618"/>
                  <a:pt x="1593388" y="1415943"/>
                  <a:pt x="1593388" y="1432269"/>
                </a:cubicBezTo>
                <a:cubicBezTo>
                  <a:pt x="1593388" y="1446961"/>
                  <a:pt x="1578696" y="1464919"/>
                  <a:pt x="1560738" y="1464375"/>
                </a:cubicBezTo>
                <a:cubicBezTo>
                  <a:pt x="1542236" y="1463831"/>
                  <a:pt x="1529176" y="1450226"/>
                  <a:pt x="1528631" y="1432813"/>
                </a:cubicBezTo>
                <a:cubicBezTo>
                  <a:pt x="1528087" y="1414311"/>
                  <a:pt x="1545501" y="1399618"/>
                  <a:pt x="1561282" y="1399618"/>
                </a:cubicBezTo>
                <a:close/>
                <a:moveTo>
                  <a:pt x="1723446" y="1399074"/>
                </a:moveTo>
                <a:cubicBezTo>
                  <a:pt x="1741948" y="1399074"/>
                  <a:pt x="1757185" y="1413767"/>
                  <a:pt x="1757185" y="1432269"/>
                </a:cubicBezTo>
                <a:cubicBezTo>
                  <a:pt x="1757185" y="1451315"/>
                  <a:pt x="1743037" y="1463831"/>
                  <a:pt x="1723991" y="1465464"/>
                </a:cubicBezTo>
                <a:cubicBezTo>
                  <a:pt x="1707121" y="1466552"/>
                  <a:pt x="1690252" y="1448594"/>
                  <a:pt x="1691340" y="1433357"/>
                </a:cubicBezTo>
                <a:cubicBezTo>
                  <a:pt x="1692428" y="1412678"/>
                  <a:pt x="1704400" y="1399074"/>
                  <a:pt x="1723446" y="1399074"/>
                </a:cubicBezTo>
                <a:close/>
                <a:moveTo>
                  <a:pt x="1886700" y="1398530"/>
                </a:moveTo>
                <a:cubicBezTo>
                  <a:pt x="1904113" y="1396898"/>
                  <a:pt x="1922071" y="1415944"/>
                  <a:pt x="1920439" y="1432269"/>
                </a:cubicBezTo>
                <a:cubicBezTo>
                  <a:pt x="1919350" y="1451315"/>
                  <a:pt x="1907378" y="1464920"/>
                  <a:pt x="1887788" y="1464920"/>
                </a:cubicBezTo>
                <a:cubicBezTo>
                  <a:pt x="1867109" y="1464920"/>
                  <a:pt x="1854049" y="1452948"/>
                  <a:pt x="1854049" y="1433358"/>
                </a:cubicBezTo>
                <a:cubicBezTo>
                  <a:pt x="1854049" y="1412679"/>
                  <a:pt x="1867109" y="1400163"/>
                  <a:pt x="1886700" y="1398530"/>
                </a:cubicBezTo>
                <a:close/>
                <a:moveTo>
                  <a:pt x="2051041" y="1398217"/>
                </a:moveTo>
                <a:lnTo>
                  <a:pt x="2051041" y="1464535"/>
                </a:lnTo>
                <a:lnTo>
                  <a:pt x="2049953" y="1464920"/>
                </a:lnTo>
                <a:cubicBezTo>
                  <a:pt x="2032539" y="1467096"/>
                  <a:pt x="2017302" y="1450771"/>
                  <a:pt x="2017302" y="1431725"/>
                </a:cubicBezTo>
                <a:cubicBezTo>
                  <a:pt x="2017302" y="1422746"/>
                  <a:pt x="2021383" y="1414311"/>
                  <a:pt x="2027709" y="1408121"/>
                </a:cubicBezTo>
                <a:close/>
                <a:moveTo>
                  <a:pt x="500139" y="1341936"/>
                </a:moveTo>
                <a:cubicBezTo>
                  <a:pt x="503404" y="1343568"/>
                  <a:pt x="506125" y="1346833"/>
                  <a:pt x="511023" y="1350643"/>
                </a:cubicBezTo>
                <a:cubicBezTo>
                  <a:pt x="506125" y="1354452"/>
                  <a:pt x="502860" y="1357717"/>
                  <a:pt x="499595" y="1358261"/>
                </a:cubicBezTo>
                <a:cubicBezTo>
                  <a:pt x="495241" y="1359349"/>
                  <a:pt x="490888" y="1353908"/>
                  <a:pt x="491432" y="1349010"/>
                </a:cubicBezTo>
                <a:cubicBezTo>
                  <a:pt x="491976" y="1344112"/>
                  <a:pt x="495241" y="1340848"/>
                  <a:pt x="500139" y="1341936"/>
                </a:cubicBezTo>
                <a:close/>
                <a:moveTo>
                  <a:pt x="662848" y="1333773"/>
                </a:moveTo>
                <a:cubicBezTo>
                  <a:pt x="673187" y="1333773"/>
                  <a:pt x="679173" y="1340303"/>
                  <a:pt x="679173" y="1350643"/>
                </a:cubicBezTo>
                <a:cubicBezTo>
                  <a:pt x="679173" y="1359894"/>
                  <a:pt x="672099" y="1366424"/>
                  <a:pt x="662848" y="1366424"/>
                </a:cubicBezTo>
                <a:cubicBezTo>
                  <a:pt x="653053" y="1366424"/>
                  <a:pt x="647067" y="1359894"/>
                  <a:pt x="647067" y="1350098"/>
                </a:cubicBezTo>
                <a:cubicBezTo>
                  <a:pt x="647067" y="1339759"/>
                  <a:pt x="653053" y="1333773"/>
                  <a:pt x="662848" y="1333773"/>
                </a:cubicBezTo>
                <a:close/>
                <a:moveTo>
                  <a:pt x="826645" y="1328331"/>
                </a:moveTo>
                <a:cubicBezTo>
                  <a:pt x="838617" y="1328331"/>
                  <a:pt x="848412" y="1338670"/>
                  <a:pt x="847868" y="1350642"/>
                </a:cubicBezTo>
                <a:cubicBezTo>
                  <a:pt x="847868" y="1362070"/>
                  <a:pt x="836984" y="1372409"/>
                  <a:pt x="825556" y="1372409"/>
                </a:cubicBezTo>
                <a:cubicBezTo>
                  <a:pt x="814673" y="1372409"/>
                  <a:pt x="803789" y="1360982"/>
                  <a:pt x="804334" y="1349554"/>
                </a:cubicBezTo>
                <a:cubicBezTo>
                  <a:pt x="804334" y="1337582"/>
                  <a:pt x="814673" y="1328331"/>
                  <a:pt x="826645" y="1328331"/>
                </a:cubicBezTo>
                <a:close/>
                <a:moveTo>
                  <a:pt x="989353" y="1323978"/>
                </a:moveTo>
                <a:cubicBezTo>
                  <a:pt x="1002957" y="1324522"/>
                  <a:pt x="1014385" y="1334861"/>
                  <a:pt x="1015473" y="1350098"/>
                </a:cubicBezTo>
                <a:cubicBezTo>
                  <a:pt x="1014929" y="1363702"/>
                  <a:pt x="1004046" y="1376219"/>
                  <a:pt x="989353" y="1376763"/>
                </a:cubicBezTo>
                <a:cubicBezTo>
                  <a:pt x="976293" y="1376763"/>
                  <a:pt x="963777" y="1364791"/>
                  <a:pt x="963777" y="1350642"/>
                </a:cubicBezTo>
                <a:cubicBezTo>
                  <a:pt x="963233" y="1334861"/>
                  <a:pt x="977925" y="1323434"/>
                  <a:pt x="989353" y="1323978"/>
                </a:cubicBezTo>
                <a:close/>
                <a:moveTo>
                  <a:pt x="1152606" y="1322889"/>
                </a:moveTo>
                <a:cubicBezTo>
                  <a:pt x="1170564" y="1320712"/>
                  <a:pt x="1180903" y="1335405"/>
                  <a:pt x="1181447" y="1350098"/>
                </a:cubicBezTo>
                <a:cubicBezTo>
                  <a:pt x="1181447" y="1364791"/>
                  <a:pt x="1171108" y="1379483"/>
                  <a:pt x="1152606" y="1379483"/>
                </a:cubicBezTo>
                <a:cubicBezTo>
                  <a:pt x="1137913" y="1379483"/>
                  <a:pt x="1124853" y="1367511"/>
                  <a:pt x="1124853" y="1350642"/>
                </a:cubicBezTo>
                <a:cubicBezTo>
                  <a:pt x="1124309" y="1333228"/>
                  <a:pt x="1137913" y="1320712"/>
                  <a:pt x="1152606" y="1322889"/>
                </a:cubicBezTo>
                <a:close/>
                <a:moveTo>
                  <a:pt x="1315315" y="1318536"/>
                </a:moveTo>
                <a:cubicBezTo>
                  <a:pt x="1334361" y="1318536"/>
                  <a:pt x="1345789" y="1331596"/>
                  <a:pt x="1347966" y="1350098"/>
                </a:cubicBezTo>
                <a:cubicBezTo>
                  <a:pt x="1345245" y="1369144"/>
                  <a:pt x="1334905" y="1382205"/>
                  <a:pt x="1315315" y="1381661"/>
                </a:cubicBezTo>
                <a:cubicBezTo>
                  <a:pt x="1296813" y="1381116"/>
                  <a:pt x="1284841" y="1369144"/>
                  <a:pt x="1284297" y="1350098"/>
                </a:cubicBezTo>
                <a:cubicBezTo>
                  <a:pt x="1284297" y="1331052"/>
                  <a:pt x="1297357" y="1319080"/>
                  <a:pt x="1315315" y="1318536"/>
                </a:cubicBezTo>
                <a:close/>
                <a:moveTo>
                  <a:pt x="1480744" y="1317448"/>
                </a:moveTo>
                <a:cubicBezTo>
                  <a:pt x="1499246" y="1317992"/>
                  <a:pt x="1512851" y="1332140"/>
                  <a:pt x="1512306" y="1351731"/>
                </a:cubicBezTo>
                <a:cubicBezTo>
                  <a:pt x="1511762" y="1370233"/>
                  <a:pt x="1497070" y="1383837"/>
                  <a:pt x="1477479" y="1383293"/>
                </a:cubicBezTo>
                <a:cubicBezTo>
                  <a:pt x="1458977" y="1382749"/>
                  <a:pt x="1447550" y="1368600"/>
                  <a:pt x="1446461" y="1349554"/>
                </a:cubicBezTo>
                <a:cubicBezTo>
                  <a:pt x="1445373" y="1333773"/>
                  <a:pt x="1463331" y="1314727"/>
                  <a:pt x="1480744" y="1317448"/>
                </a:cubicBezTo>
                <a:close/>
                <a:moveTo>
                  <a:pt x="1642908" y="1315815"/>
                </a:moveTo>
                <a:cubicBezTo>
                  <a:pt x="1663043" y="1315815"/>
                  <a:pt x="1677735" y="1333229"/>
                  <a:pt x="1676647" y="1351731"/>
                </a:cubicBezTo>
                <a:cubicBezTo>
                  <a:pt x="1675559" y="1371865"/>
                  <a:pt x="1661954" y="1384381"/>
                  <a:pt x="1640732" y="1383837"/>
                </a:cubicBezTo>
                <a:cubicBezTo>
                  <a:pt x="1620597" y="1384381"/>
                  <a:pt x="1608081" y="1368056"/>
                  <a:pt x="1608081" y="1349554"/>
                </a:cubicBezTo>
                <a:cubicBezTo>
                  <a:pt x="1608081" y="1329964"/>
                  <a:pt x="1623318" y="1315815"/>
                  <a:pt x="1642908" y="1315815"/>
                </a:cubicBezTo>
                <a:close/>
                <a:moveTo>
                  <a:pt x="1968870" y="1314183"/>
                </a:moveTo>
                <a:cubicBezTo>
                  <a:pt x="1989548" y="1314727"/>
                  <a:pt x="2004785" y="1329420"/>
                  <a:pt x="2005329" y="1351187"/>
                </a:cubicBezTo>
                <a:cubicBezTo>
                  <a:pt x="2004785" y="1370233"/>
                  <a:pt x="1985739" y="1388735"/>
                  <a:pt x="1967781" y="1388191"/>
                </a:cubicBezTo>
                <a:cubicBezTo>
                  <a:pt x="1949823" y="1387647"/>
                  <a:pt x="1931322" y="1367512"/>
                  <a:pt x="1931866" y="1350098"/>
                </a:cubicBezTo>
                <a:cubicBezTo>
                  <a:pt x="1932410" y="1331596"/>
                  <a:pt x="1950912" y="1313094"/>
                  <a:pt x="1968870" y="1314183"/>
                </a:cubicBezTo>
                <a:close/>
                <a:moveTo>
                  <a:pt x="1806161" y="1313639"/>
                </a:moveTo>
                <a:cubicBezTo>
                  <a:pt x="1825207" y="1314183"/>
                  <a:pt x="1843165" y="1332141"/>
                  <a:pt x="1841533" y="1351187"/>
                </a:cubicBezTo>
                <a:cubicBezTo>
                  <a:pt x="1840988" y="1360438"/>
                  <a:pt x="1838267" y="1370233"/>
                  <a:pt x="1830105" y="1376763"/>
                </a:cubicBezTo>
                <a:cubicBezTo>
                  <a:pt x="1822486" y="1383293"/>
                  <a:pt x="1813235" y="1387102"/>
                  <a:pt x="1803984" y="1387102"/>
                </a:cubicBezTo>
                <a:cubicBezTo>
                  <a:pt x="1786027" y="1387102"/>
                  <a:pt x="1768613" y="1367512"/>
                  <a:pt x="1768613" y="1350098"/>
                </a:cubicBezTo>
                <a:cubicBezTo>
                  <a:pt x="1769157" y="1331596"/>
                  <a:pt x="1788203" y="1313094"/>
                  <a:pt x="1806161" y="1313639"/>
                </a:cubicBezTo>
                <a:close/>
                <a:moveTo>
                  <a:pt x="419057" y="1262486"/>
                </a:moveTo>
                <a:cubicBezTo>
                  <a:pt x="423410" y="1262486"/>
                  <a:pt x="425587" y="1265207"/>
                  <a:pt x="424499" y="1269016"/>
                </a:cubicBezTo>
                <a:cubicBezTo>
                  <a:pt x="423410" y="1271737"/>
                  <a:pt x="421234" y="1273914"/>
                  <a:pt x="417969" y="1278811"/>
                </a:cubicBezTo>
                <a:cubicBezTo>
                  <a:pt x="414704" y="1273914"/>
                  <a:pt x="412527" y="1271737"/>
                  <a:pt x="411983" y="1269016"/>
                </a:cubicBezTo>
                <a:cubicBezTo>
                  <a:pt x="410894" y="1264118"/>
                  <a:pt x="414159" y="1262486"/>
                  <a:pt x="419057" y="1262486"/>
                </a:cubicBezTo>
                <a:close/>
                <a:moveTo>
                  <a:pt x="581221" y="1252147"/>
                </a:moveTo>
                <a:cubicBezTo>
                  <a:pt x="591016" y="1252691"/>
                  <a:pt x="598091" y="1260310"/>
                  <a:pt x="597547" y="1269017"/>
                </a:cubicBezTo>
                <a:cubicBezTo>
                  <a:pt x="597547" y="1278268"/>
                  <a:pt x="589928" y="1284798"/>
                  <a:pt x="580133" y="1284254"/>
                </a:cubicBezTo>
                <a:cubicBezTo>
                  <a:pt x="570882" y="1283709"/>
                  <a:pt x="564896" y="1277179"/>
                  <a:pt x="564896" y="1268472"/>
                </a:cubicBezTo>
                <a:cubicBezTo>
                  <a:pt x="564896" y="1259222"/>
                  <a:pt x="571970" y="1252147"/>
                  <a:pt x="581221" y="1252147"/>
                </a:cubicBezTo>
                <a:close/>
                <a:moveTo>
                  <a:pt x="745018" y="1246705"/>
                </a:moveTo>
                <a:cubicBezTo>
                  <a:pt x="757534" y="1246705"/>
                  <a:pt x="766785" y="1257044"/>
                  <a:pt x="766241" y="1269560"/>
                </a:cubicBezTo>
                <a:cubicBezTo>
                  <a:pt x="765697" y="1280988"/>
                  <a:pt x="755358" y="1290783"/>
                  <a:pt x="744474" y="1290783"/>
                </a:cubicBezTo>
                <a:cubicBezTo>
                  <a:pt x="733046" y="1290783"/>
                  <a:pt x="722707" y="1279900"/>
                  <a:pt x="722707" y="1267928"/>
                </a:cubicBezTo>
                <a:cubicBezTo>
                  <a:pt x="722707" y="1255956"/>
                  <a:pt x="733046" y="1246705"/>
                  <a:pt x="745018" y="1246705"/>
                </a:cubicBezTo>
                <a:close/>
                <a:moveTo>
                  <a:pt x="907727" y="1241807"/>
                </a:moveTo>
                <a:cubicBezTo>
                  <a:pt x="921331" y="1241807"/>
                  <a:pt x="934391" y="1257044"/>
                  <a:pt x="933847" y="1269016"/>
                </a:cubicBezTo>
                <a:cubicBezTo>
                  <a:pt x="933847" y="1282620"/>
                  <a:pt x="920787" y="1295680"/>
                  <a:pt x="907183" y="1295136"/>
                </a:cubicBezTo>
                <a:cubicBezTo>
                  <a:pt x="893578" y="1294592"/>
                  <a:pt x="880518" y="1280988"/>
                  <a:pt x="880518" y="1267927"/>
                </a:cubicBezTo>
                <a:cubicBezTo>
                  <a:pt x="881062" y="1254323"/>
                  <a:pt x="894122" y="1242351"/>
                  <a:pt x="907727" y="1241807"/>
                </a:cubicBezTo>
                <a:close/>
                <a:moveTo>
                  <a:pt x="1070979" y="1240719"/>
                </a:moveTo>
                <a:cubicBezTo>
                  <a:pt x="1091114" y="1240175"/>
                  <a:pt x="1099276" y="1252691"/>
                  <a:pt x="1099821" y="1268472"/>
                </a:cubicBezTo>
                <a:cubicBezTo>
                  <a:pt x="1099821" y="1285886"/>
                  <a:pt x="1088393" y="1297858"/>
                  <a:pt x="1070435" y="1297858"/>
                </a:cubicBezTo>
                <a:cubicBezTo>
                  <a:pt x="1053566" y="1297858"/>
                  <a:pt x="1042138" y="1286430"/>
                  <a:pt x="1042138" y="1269560"/>
                </a:cubicBezTo>
                <a:cubicBezTo>
                  <a:pt x="1042138" y="1250514"/>
                  <a:pt x="1053566" y="1240719"/>
                  <a:pt x="1070979" y="1240719"/>
                </a:cubicBezTo>
                <a:close/>
                <a:moveTo>
                  <a:pt x="1234233" y="1235821"/>
                </a:moveTo>
                <a:cubicBezTo>
                  <a:pt x="1250558" y="1235821"/>
                  <a:pt x="1267972" y="1252691"/>
                  <a:pt x="1266883" y="1269016"/>
                </a:cubicBezTo>
                <a:cubicBezTo>
                  <a:pt x="1266339" y="1285885"/>
                  <a:pt x="1251646" y="1301122"/>
                  <a:pt x="1234233" y="1300578"/>
                </a:cubicBezTo>
                <a:cubicBezTo>
                  <a:pt x="1216275" y="1300578"/>
                  <a:pt x="1201582" y="1286430"/>
                  <a:pt x="1201582" y="1267383"/>
                </a:cubicBezTo>
                <a:cubicBezTo>
                  <a:pt x="1201582" y="1249425"/>
                  <a:pt x="1217907" y="1235821"/>
                  <a:pt x="1234233" y="1235821"/>
                </a:cubicBezTo>
                <a:close/>
                <a:moveTo>
                  <a:pt x="1396397" y="1234733"/>
                </a:moveTo>
                <a:cubicBezTo>
                  <a:pt x="1413810" y="1233645"/>
                  <a:pt x="1433945" y="1250514"/>
                  <a:pt x="1431224" y="1268472"/>
                </a:cubicBezTo>
                <a:cubicBezTo>
                  <a:pt x="1433401" y="1286430"/>
                  <a:pt x="1415443" y="1303299"/>
                  <a:pt x="1396941" y="1302755"/>
                </a:cubicBezTo>
                <a:cubicBezTo>
                  <a:pt x="1381160" y="1302211"/>
                  <a:pt x="1363202" y="1290783"/>
                  <a:pt x="1363746" y="1269016"/>
                </a:cubicBezTo>
                <a:cubicBezTo>
                  <a:pt x="1364290" y="1248881"/>
                  <a:pt x="1376806" y="1235821"/>
                  <a:pt x="1396397" y="1234733"/>
                </a:cubicBezTo>
                <a:close/>
                <a:moveTo>
                  <a:pt x="1559649" y="1232557"/>
                </a:moveTo>
                <a:cubicBezTo>
                  <a:pt x="1580328" y="1232013"/>
                  <a:pt x="1595021" y="1246705"/>
                  <a:pt x="1597742" y="1268472"/>
                </a:cubicBezTo>
                <a:cubicBezTo>
                  <a:pt x="1598286" y="1286974"/>
                  <a:pt x="1580872" y="1304932"/>
                  <a:pt x="1561826" y="1305476"/>
                </a:cubicBezTo>
                <a:cubicBezTo>
                  <a:pt x="1543868" y="1306564"/>
                  <a:pt x="1524822" y="1288063"/>
                  <a:pt x="1523734" y="1269561"/>
                </a:cubicBezTo>
                <a:cubicBezTo>
                  <a:pt x="1522645" y="1252147"/>
                  <a:pt x="1541147" y="1232557"/>
                  <a:pt x="1559649" y="1232557"/>
                </a:cubicBezTo>
                <a:close/>
                <a:moveTo>
                  <a:pt x="1723990" y="1231468"/>
                </a:moveTo>
                <a:cubicBezTo>
                  <a:pt x="1743037" y="1231468"/>
                  <a:pt x="1761539" y="1249426"/>
                  <a:pt x="1762083" y="1268472"/>
                </a:cubicBezTo>
                <a:cubicBezTo>
                  <a:pt x="1762627" y="1290239"/>
                  <a:pt x="1741404" y="1306020"/>
                  <a:pt x="1724535" y="1307109"/>
                </a:cubicBezTo>
                <a:cubicBezTo>
                  <a:pt x="1706033" y="1306564"/>
                  <a:pt x="1687531" y="1290239"/>
                  <a:pt x="1686442" y="1270105"/>
                </a:cubicBezTo>
                <a:cubicBezTo>
                  <a:pt x="1685354" y="1254323"/>
                  <a:pt x="1701679" y="1231468"/>
                  <a:pt x="1723990" y="1231468"/>
                </a:cubicBezTo>
                <a:close/>
                <a:moveTo>
                  <a:pt x="1888332" y="1230924"/>
                </a:moveTo>
                <a:cubicBezTo>
                  <a:pt x="1905745" y="1229836"/>
                  <a:pt x="1928056" y="1250514"/>
                  <a:pt x="1925336" y="1269561"/>
                </a:cubicBezTo>
                <a:cubicBezTo>
                  <a:pt x="1925336" y="1289695"/>
                  <a:pt x="1907378" y="1306564"/>
                  <a:pt x="1887243" y="1307653"/>
                </a:cubicBezTo>
                <a:cubicBezTo>
                  <a:pt x="1870918" y="1308197"/>
                  <a:pt x="1847519" y="1288063"/>
                  <a:pt x="1849151" y="1267928"/>
                </a:cubicBezTo>
                <a:cubicBezTo>
                  <a:pt x="1850239" y="1247794"/>
                  <a:pt x="1867653" y="1231468"/>
                  <a:pt x="1888332" y="1230924"/>
                </a:cubicBezTo>
                <a:close/>
                <a:moveTo>
                  <a:pt x="2049952" y="1230380"/>
                </a:moveTo>
                <a:lnTo>
                  <a:pt x="2051041" y="1230805"/>
                </a:lnTo>
                <a:lnTo>
                  <a:pt x="2051041" y="1307109"/>
                </a:lnTo>
                <a:cubicBezTo>
                  <a:pt x="2033627" y="1309830"/>
                  <a:pt x="2011316" y="1286974"/>
                  <a:pt x="2012404" y="1268472"/>
                </a:cubicBezTo>
                <a:cubicBezTo>
                  <a:pt x="2013493" y="1247794"/>
                  <a:pt x="2029274" y="1230380"/>
                  <a:pt x="2049952" y="1230380"/>
                </a:cubicBezTo>
                <a:close/>
                <a:moveTo>
                  <a:pt x="337431" y="1181404"/>
                </a:moveTo>
                <a:cubicBezTo>
                  <a:pt x="339608" y="1182493"/>
                  <a:pt x="341240" y="1184669"/>
                  <a:pt x="345050" y="1187934"/>
                </a:cubicBezTo>
                <a:cubicBezTo>
                  <a:pt x="340696" y="1190111"/>
                  <a:pt x="338519" y="1192288"/>
                  <a:pt x="336343" y="1192288"/>
                </a:cubicBezTo>
                <a:cubicBezTo>
                  <a:pt x="331445" y="1192832"/>
                  <a:pt x="330901" y="1189567"/>
                  <a:pt x="330901" y="1185758"/>
                </a:cubicBezTo>
                <a:cubicBezTo>
                  <a:pt x="330901" y="1181404"/>
                  <a:pt x="334166" y="1180860"/>
                  <a:pt x="337431" y="1181404"/>
                </a:cubicBezTo>
                <a:close/>
                <a:moveTo>
                  <a:pt x="499051" y="1171065"/>
                </a:moveTo>
                <a:cubicBezTo>
                  <a:pt x="506125" y="1170521"/>
                  <a:pt x="516465" y="1179772"/>
                  <a:pt x="516465" y="1187390"/>
                </a:cubicBezTo>
                <a:cubicBezTo>
                  <a:pt x="515921" y="1193920"/>
                  <a:pt x="507214" y="1202627"/>
                  <a:pt x="500140" y="1202627"/>
                </a:cubicBezTo>
                <a:cubicBezTo>
                  <a:pt x="493065" y="1202627"/>
                  <a:pt x="484358" y="1195008"/>
                  <a:pt x="483814" y="1187390"/>
                </a:cubicBezTo>
                <a:cubicBezTo>
                  <a:pt x="483270" y="1180316"/>
                  <a:pt x="491977" y="1171065"/>
                  <a:pt x="499051" y="1171065"/>
                </a:cubicBezTo>
                <a:close/>
                <a:moveTo>
                  <a:pt x="662848" y="1165623"/>
                </a:moveTo>
                <a:cubicBezTo>
                  <a:pt x="675364" y="1165623"/>
                  <a:pt x="684615" y="1174874"/>
                  <a:pt x="684615" y="1187390"/>
                </a:cubicBezTo>
                <a:cubicBezTo>
                  <a:pt x="684615" y="1199362"/>
                  <a:pt x="674820" y="1209157"/>
                  <a:pt x="662848" y="1209157"/>
                </a:cubicBezTo>
                <a:cubicBezTo>
                  <a:pt x="651420" y="1209157"/>
                  <a:pt x="641081" y="1198274"/>
                  <a:pt x="641081" y="1186846"/>
                </a:cubicBezTo>
                <a:cubicBezTo>
                  <a:pt x="641081" y="1175418"/>
                  <a:pt x="651420" y="1165623"/>
                  <a:pt x="662848" y="1165623"/>
                </a:cubicBezTo>
                <a:close/>
                <a:moveTo>
                  <a:pt x="825556" y="1160725"/>
                </a:moveTo>
                <a:cubicBezTo>
                  <a:pt x="840249" y="1161270"/>
                  <a:pt x="851677" y="1171609"/>
                  <a:pt x="852765" y="1186846"/>
                </a:cubicBezTo>
                <a:cubicBezTo>
                  <a:pt x="853309" y="1199906"/>
                  <a:pt x="840249" y="1213511"/>
                  <a:pt x="826645" y="1213511"/>
                </a:cubicBezTo>
                <a:cubicBezTo>
                  <a:pt x="813585" y="1214055"/>
                  <a:pt x="799980" y="1200995"/>
                  <a:pt x="798892" y="1188479"/>
                </a:cubicBezTo>
                <a:cubicBezTo>
                  <a:pt x="797803" y="1173241"/>
                  <a:pt x="814129" y="1160181"/>
                  <a:pt x="825556" y="1160725"/>
                </a:cubicBezTo>
                <a:close/>
                <a:moveTo>
                  <a:pt x="989353" y="1158004"/>
                </a:moveTo>
                <a:cubicBezTo>
                  <a:pt x="1007855" y="1159092"/>
                  <a:pt x="1018739" y="1168888"/>
                  <a:pt x="1018195" y="1187934"/>
                </a:cubicBezTo>
                <a:cubicBezTo>
                  <a:pt x="1017651" y="1206436"/>
                  <a:pt x="1007311" y="1216231"/>
                  <a:pt x="988809" y="1216775"/>
                </a:cubicBezTo>
                <a:cubicBezTo>
                  <a:pt x="972484" y="1217319"/>
                  <a:pt x="960512" y="1203715"/>
                  <a:pt x="959968" y="1187934"/>
                </a:cubicBezTo>
                <a:cubicBezTo>
                  <a:pt x="959968" y="1170520"/>
                  <a:pt x="972484" y="1158004"/>
                  <a:pt x="989353" y="1158004"/>
                </a:cubicBezTo>
                <a:close/>
                <a:moveTo>
                  <a:pt x="1152062" y="1153651"/>
                </a:moveTo>
                <a:cubicBezTo>
                  <a:pt x="1166755" y="1152562"/>
                  <a:pt x="1186345" y="1171065"/>
                  <a:pt x="1185801" y="1186301"/>
                </a:cubicBezTo>
                <a:cubicBezTo>
                  <a:pt x="1184713" y="1205348"/>
                  <a:pt x="1171652" y="1218952"/>
                  <a:pt x="1153150" y="1219496"/>
                </a:cubicBezTo>
                <a:cubicBezTo>
                  <a:pt x="1135193" y="1221129"/>
                  <a:pt x="1119412" y="1204259"/>
                  <a:pt x="1119956" y="1187390"/>
                </a:cubicBezTo>
                <a:cubicBezTo>
                  <a:pt x="1120500" y="1168888"/>
                  <a:pt x="1134648" y="1154739"/>
                  <a:pt x="1152062" y="1153651"/>
                </a:cubicBezTo>
                <a:close/>
                <a:moveTo>
                  <a:pt x="1315315" y="1152018"/>
                </a:moveTo>
                <a:cubicBezTo>
                  <a:pt x="1336537" y="1151474"/>
                  <a:pt x="1351230" y="1169432"/>
                  <a:pt x="1351230" y="1186845"/>
                </a:cubicBezTo>
                <a:cubicBezTo>
                  <a:pt x="1350686" y="1205891"/>
                  <a:pt x="1338714" y="1222217"/>
                  <a:pt x="1315859" y="1221673"/>
                </a:cubicBezTo>
                <a:cubicBezTo>
                  <a:pt x="1294092" y="1221128"/>
                  <a:pt x="1282120" y="1209157"/>
                  <a:pt x="1281576" y="1187390"/>
                </a:cubicBezTo>
                <a:cubicBezTo>
                  <a:pt x="1281031" y="1167255"/>
                  <a:pt x="1295724" y="1152562"/>
                  <a:pt x="1315315" y="1152018"/>
                </a:cubicBezTo>
                <a:close/>
                <a:moveTo>
                  <a:pt x="1479656" y="1149298"/>
                </a:moveTo>
                <a:cubicBezTo>
                  <a:pt x="1500878" y="1149842"/>
                  <a:pt x="1517204" y="1168888"/>
                  <a:pt x="1516660" y="1188479"/>
                </a:cubicBezTo>
                <a:cubicBezTo>
                  <a:pt x="1515027" y="1210246"/>
                  <a:pt x="1495981" y="1224938"/>
                  <a:pt x="1478023" y="1224394"/>
                </a:cubicBezTo>
                <a:cubicBezTo>
                  <a:pt x="1457889" y="1223850"/>
                  <a:pt x="1439931" y="1205892"/>
                  <a:pt x="1441563" y="1185758"/>
                </a:cubicBezTo>
                <a:cubicBezTo>
                  <a:pt x="1442652" y="1166167"/>
                  <a:pt x="1458977" y="1149298"/>
                  <a:pt x="1479656" y="1149298"/>
                </a:cubicBezTo>
                <a:close/>
                <a:moveTo>
                  <a:pt x="1642365" y="1148209"/>
                </a:moveTo>
                <a:cubicBezTo>
                  <a:pt x="1659779" y="1147121"/>
                  <a:pt x="1681001" y="1166711"/>
                  <a:pt x="1681001" y="1187390"/>
                </a:cubicBezTo>
                <a:cubicBezTo>
                  <a:pt x="1681001" y="1208613"/>
                  <a:pt x="1658690" y="1226026"/>
                  <a:pt x="1641821" y="1226026"/>
                </a:cubicBezTo>
                <a:cubicBezTo>
                  <a:pt x="1624407" y="1226026"/>
                  <a:pt x="1601007" y="1205348"/>
                  <a:pt x="1603728" y="1186846"/>
                </a:cubicBezTo>
                <a:cubicBezTo>
                  <a:pt x="1603728" y="1165623"/>
                  <a:pt x="1621686" y="1149298"/>
                  <a:pt x="1642365" y="1148209"/>
                </a:cubicBezTo>
                <a:close/>
                <a:moveTo>
                  <a:pt x="1969414" y="1147665"/>
                </a:moveTo>
                <a:cubicBezTo>
                  <a:pt x="1991725" y="1146032"/>
                  <a:pt x="2009139" y="1165623"/>
                  <a:pt x="2009139" y="1187934"/>
                </a:cubicBezTo>
                <a:cubicBezTo>
                  <a:pt x="2008595" y="1209157"/>
                  <a:pt x="1990093" y="1227114"/>
                  <a:pt x="1968870" y="1227114"/>
                </a:cubicBezTo>
                <a:cubicBezTo>
                  <a:pt x="1949824" y="1227114"/>
                  <a:pt x="1928601" y="1209701"/>
                  <a:pt x="1929145" y="1186301"/>
                </a:cubicBezTo>
                <a:cubicBezTo>
                  <a:pt x="1929145" y="1165623"/>
                  <a:pt x="1948191" y="1145488"/>
                  <a:pt x="1969414" y="1147665"/>
                </a:cubicBezTo>
                <a:close/>
                <a:moveTo>
                  <a:pt x="1805617" y="1147665"/>
                </a:moveTo>
                <a:cubicBezTo>
                  <a:pt x="1825752" y="1147665"/>
                  <a:pt x="1845342" y="1165078"/>
                  <a:pt x="1844798" y="1187934"/>
                </a:cubicBezTo>
                <a:cubicBezTo>
                  <a:pt x="1844254" y="1208612"/>
                  <a:pt x="1824664" y="1227115"/>
                  <a:pt x="1805073" y="1226571"/>
                </a:cubicBezTo>
                <a:cubicBezTo>
                  <a:pt x="1787115" y="1226571"/>
                  <a:pt x="1764260" y="1209701"/>
                  <a:pt x="1766981" y="1186845"/>
                </a:cubicBezTo>
                <a:cubicBezTo>
                  <a:pt x="1764804" y="1165623"/>
                  <a:pt x="1786027" y="1147665"/>
                  <a:pt x="1805617" y="1147665"/>
                </a:cubicBezTo>
                <a:close/>
                <a:moveTo>
                  <a:pt x="417425" y="1090527"/>
                </a:moveTo>
                <a:cubicBezTo>
                  <a:pt x="423955" y="1090527"/>
                  <a:pt x="433206" y="1099234"/>
                  <a:pt x="432662" y="1105764"/>
                </a:cubicBezTo>
                <a:cubicBezTo>
                  <a:pt x="432662" y="1111206"/>
                  <a:pt x="423955" y="1119912"/>
                  <a:pt x="417969" y="1120457"/>
                </a:cubicBezTo>
                <a:cubicBezTo>
                  <a:pt x="411439" y="1121001"/>
                  <a:pt x="402188" y="1111750"/>
                  <a:pt x="402732" y="1105219"/>
                </a:cubicBezTo>
                <a:cubicBezTo>
                  <a:pt x="402732" y="1099234"/>
                  <a:pt x="411439" y="1090527"/>
                  <a:pt x="417425" y="1090527"/>
                </a:cubicBezTo>
                <a:close/>
                <a:moveTo>
                  <a:pt x="580677" y="1083996"/>
                </a:moveTo>
                <a:cubicBezTo>
                  <a:pt x="592105" y="1083996"/>
                  <a:pt x="601900" y="1093791"/>
                  <a:pt x="602444" y="1105219"/>
                </a:cubicBezTo>
                <a:cubicBezTo>
                  <a:pt x="602988" y="1116647"/>
                  <a:pt x="593193" y="1126986"/>
                  <a:pt x="581221" y="1127530"/>
                </a:cubicBezTo>
                <a:cubicBezTo>
                  <a:pt x="570338" y="1127530"/>
                  <a:pt x="558910" y="1116102"/>
                  <a:pt x="558910" y="1105219"/>
                </a:cubicBezTo>
                <a:cubicBezTo>
                  <a:pt x="558910" y="1094880"/>
                  <a:pt x="570338" y="1083996"/>
                  <a:pt x="580677" y="1083996"/>
                </a:cubicBezTo>
                <a:close/>
                <a:moveTo>
                  <a:pt x="743386" y="1079099"/>
                </a:moveTo>
                <a:cubicBezTo>
                  <a:pt x="756991" y="1079099"/>
                  <a:pt x="769507" y="1088894"/>
                  <a:pt x="770595" y="1105219"/>
                </a:cubicBezTo>
                <a:cubicBezTo>
                  <a:pt x="771683" y="1116103"/>
                  <a:pt x="760800" y="1131340"/>
                  <a:pt x="745019" y="1132428"/>
                </a:cubicBezTo>
                <a:cubicBezTo>
                  <a:pt x="734135" y="1134061"/>
                  <a:pt x="717810" y="1118280"/>
                  <a:pt x="717810" y="1106308"/>
                </a:cubicBezTo>
                <a:cubicBezTo>
                  <a:pt x="717810" y="1091071"/>
                  <a:pt x="731414" y="1079099"/>
                  <a:pt x="743386" y="1079099"/>
                </a:cubicBezTo>
                <a:close/>
                <a:moveTo>
                  <a:pt x="907727" y="1076378"/>
                </a:moveTo>
                <a:cubicBezTo>
                  <a:pt x="926773" y="1076378"/>
                  <a:pt x="937112" y="1087262"/>
                  <a:pt x="937112" y="1105219"/>
                </a:cubicBezTo>
                <a:cubicBezTo>
                  <a:pt x="937112" y="1121545"/>
                  <a:pt x="928950" y="1134061"/>
                  <a:pt x="908271" y="1134061"/>
                </a:cubicBezTo>
                <a:cubicBezTo>
                  <a:pt x="888681" y="1134605"/>
                  <a:pt x="878341" y="1122633"/>
                  <a:pt x="878885" y="1105764"/>
                </a:cubicBezTo>
                <a:cubicBezTo>
                  <a:pt x="878341" y="1086173"/>
                  <a:pt x="892490" y="1076378"/>
                  <a:pt x="907727" y="1076378"/>
                </a:cubicBezTo>
                <a:close/>
                <a:moveTo>
                  <a:pt x="1071524" y="1072569"/>
                </a:moveTo>
                <a:cubicBezTo>
                  <a:pt x="1089482" y="1072569"/>
                  <a:pt x="1104174" y="1087806"/>
                  <a:pt x="1104174" y="1105220"/>
                </a:cubicBezTo>
                <a:cubicBezTo>
                  <a:pt x="1104174" y="1123722"/>
                  <a:pt x="1090026" y="1137870"/>
                  <a:pt x="1070435" y="1137870"/>
                </a:cubicBezTo>
                <a:cubicBezTo>
                  <a:pt x="1054110" y="1140047"/>
                  <a:pt x="1037241" y="1121545"/>
                  <a:pt x="1038329" y="1105764"/>
                </a:cubicBezTo>
                <a:cubicBezTo>
                  <a:pt x="1039417" y="1086173"/>
                  <a:pt x="1052478" y="1072569"/>
                  <a:pt x="1071524" y="1072569"/>
                </a:cubicBezTo>
                <a:close/>
                <a:moveTo>
                  <a:pt x="1235865" y="1068760"/>
                </a:moveTo>
                <a:cubicBezTo>
                  <a:pt x="1254912" y="1070392"/>
                  <a:pt x="1272325" y="1088894"/>
                  <a:pt x="1271237" y="1106852"/>
                </a:cubicBezTo>
                <a:cubicBezTo>
                  <a:pt x="1270149" y="1124810"/>
                  <a:pt x="1252735" y="1142223"/>
                  <a:pt x="1234777" y="1142223"/>
                </a:cubicBezTo>
                <a:cubicBezTo>
                  <a:pt x="1215187" y="1142223"/>
                  <a:pt x="1197773" y="1124265"/>
                  <a:pt x="1198861" y="1105219"/>
                </a:cubicBezTo>
                <a:cubicBezTo>
                  <a:pt x="1199406" y="1085629"/>
                  <a:pt x="1217908" y="1067127"/>
                  <a:pt x="1235865" y="1068760"/>
                </a:cubicBezTo>
                <a:close/>
                <a:moveTo>
                  <a:pt x="1396397" y="1067127"/>
                </a:moveTo>
                <a:cubicBezTo>
                  <a:pt x="1416532" y="1065494"/>
                  <a:pt x="1437755" y="1087806"/>
                  <a:pt x="1435578" y="1105219"/>
                </a:cubicBezTo>
                <a:cubicBezTo>
                  <a:pt x="1437210" y="1125898"/>
                  <a:pt x="1413267" y="1144400"/>
                  <a:pt x="1396941" y="1143856"/>
                </a:cubicBezTo>
                <a:cubicBezTo>
                  <a:pt x="1377895" y="1143856"/>
                  <a:pt x="1358305" y="1122633"/>
                  <a:pt x="1358849" y="1105763"/>
                </a:cubicBezTo>
                <a:cubicBezTo>
                  <a:pt x="1359393" y="1085629"/>
                  <a:pt x="1376807" y="1068759"/>
                  <a:pt x="1396397" y="1067127"/>
                </a:cubicBezTo>
                <a:close/>
                <a:moveTo>
                  <a:pt x="1560738" y="1066582"/>
                </a:moveTo>
                <a:cubicBezTo>
                  <a:pt x="1581961" y="1063862"/>
                  <a:pt x="1599919" y="1083452"/>
                  <a:pt x="1599919" y="1105763"/>
                </a:cubicBezTo>
                <a:cubicBezTo>
                  <a:pt x="1599919" y="1127530"/>
                  <a:pt x="1581417" y="1144400"/>
                  <a:pt x="1560738" y="1144400"/>
                </a:cubicBezTo>
                <a:cubicBezTo>
                  <a:pt x="1538971" y="1144400"/>
                  <a:pt x="1521557" y="1125898"/>
                  <a:pt x="1521013" y="1105763"/>
                </a:cubicBezTo>
                <a:cubicBezTo>
                  <a:pt x="1521013" y="1085629"/>
                  <a:pt x="1538971" y="1063862"/>
                  <a:pt x="1560738" y="1066582"/>
                </a:cubicBezTo>
                <a:close/>
                <a:moveTo>
                  <a:pt x="1723447" y="1064406"/>
                </a:moveTo>
                <a:cubicBezTo>
                  <a:pt x="1744126" y="1063862"/>
                  <a:pt x="1763716" y="1076378"/>
                  <a:pt x="1764260" y="1104675"/>
                </a:cubicBezTo>
                <a:cubicBezTo>
                  <a:pt x="1764804" y="1130796"/>
                  <a:pt x="1745758" y="1145488"/>
                  <a:pt x="1724535" y="1146032"/>
                </a:cubicBezTo>
                <a:cubicBezTo>
                  <a:pt x="1703313" y="1147121"/>
                  <a:pt x="1683722" y="1130796"/>
                  <a:pt x="1683178" y="1105764"/>
                </a:cubicBezTo>
                <a:cubicBezTo>
                  <a:pt x="1684266" y="1082364"/>
                  <a:pt x="1698415" y="1064950"/>
                  <a:pt x="1723447" y="1064406"/>
                </a:cubicBezTo>
                <a:close/>
                <a:moveTo>
                  <a:pt x="2051041" y="1063318"/>
                </a:moveTo>
                <a:lnTo>
                  <a:pt x="2051041" y="1147740"/>
                </a:lnTo>
                <a:lnTo>
                  <a:pt x="2049952" y="1148210"/>
                </a:lnTo>
                <a:cubicBezTo>
                  <a:pt x="2028730" y="1147121"/>
                  <a:pt x="2008051" y="1128619"/>
                  <a:pt x="2008051" y="1105764"/>
                </a:cubicBezTo>
                <a:cubicBezTo>
                  <a:pt x="2008595" y="1081276"/>
                  <a:pt x="2027641" y="1063862"/>
                  <a:pt x="2051041" y="1063318"/>
                </a:cubicBezTo>
                <a:close/>
                <a:moveTo>
                  <a:pt x="1887787" y="1062773"/>
                </a:moveTo>
                <a:cubicBezTo>
                  <a:pt x="1909554" y="1063862"/>
                  <a:pt x="1930233" y="1084540"/>
                  <a:pt x="1929145" y="1105763"/>
                </a:cubicBezTo>
                <a:cubicBezTo>
                  <a:pt x="1928056" y="1130251"/>
                  <a:pt x="1908466" y="1147121"/>
                  <a:pt x="1886699" y="1147665"/>
                </a:cubicBezTo>
                <a:cubicBezTo>
                  <a:pt x="1862755" y="1145488"/>
                  <a:pt x="1845886" y="1127530"/>
                  <a:pt x="1844798" y="1105219"/>
                </a:cubicBezTo>
                <a:cubicBezTo>
                  <a:pt x="1844253" y="1083996"/>
                  <a:pt x="1867109" y="1061685"/>
                  <a:pt x="1887787" y="1062773"/>
                </a:cubicBezTo>
                <a:close/>
                <a:moveTo>
                  <a:pt x="335798" y="1011621"/>
                </a:moveTo>
                <a:cubicBezTo>
                  <a:pt x="343960" y="1011621"/>
                  <a:pt x="347770" y="1014886"/>
                  <a:pt x="348314" y="1023049"/>
                </a:cubicBezTo>
                <a:cubicBezTo>
                  <a:pt x="348314" y="1031755"/>
                  <a:pt x="344505" y="1036109"/>
                  <a:pt x="336886" y="1036109"/>
                </a:cubicBezTo>
                <a:cubicBezTo>
                  <a:pt x="329268" y="1036109"/>
                  <a:pt x="324914" y="1032300"/>
                  <a:pt x="324370" y="1024681"/>
                </a:cubicBezTo>
                <a:cubicBezTo>
                  <a:pt x="323826" y="1015974"/>
                  <a:pt x="327635" y="1011621"/>
                  <a:pt x="335798" y="1011621"/>
                </a:cubicBezTo>
                <a:close/>
                <a:moveTo>
                  <a:pt x="499051" y="1002914"/>
                </a:moveTo>
                <a:cubicBezTo>
                  <a:pt x="508846" y="1002370"/>
                  <a:pt x="520818" y="1014342"/>
                  <a:pt x="520818" y="1024137"/>
                </a:cubicBezTo>
                <a:cubicBezTo>
                  <a:pt x="520818" y="1032844"/>
                  <a:pt x="508846" y="1045360"/>
                  <a:pt x="499595" y="1045360"/>
                </a:cubicBezTo>
                <a:cubicBezTo>
                  <a:pt x="490888" y="1045360"/>
                  <a:pt x="478372" y="1032844"/>
                  <a:pt x="478372" y="1024137"/>
                </a:cubicBezTo>
                <a:cubicBezTo>
                  <a:pt x="478372" y="1014886"/>
                  <a:pt x="489800" y="1002914"/>
                  <a:pt x="499051" y="1002914"/>
                </a:cubicBezTo>
                <a:close/>
                <a:moveTo>
                  <a:pt x="663392" y="997473"/>
                </a:moveTo>
                <a:cubicBezTo>
                  <a:pt x="675908" y="998561"/>
                  <a:pt x="688968" y="1011622"/>
                  <a:pt x="688424" y="1024138"/>
                </a:cubicBezTo>
                <a:cubicBezTo>
                  <a:pt x="687880" y="1039374"/>
                  <a:pt x="676452" y="1050802"/>
                  <a:pt x="661759" y="1050258"/>
                </a:cubicBezTo>
                <a:cubicBezTo>
                  <a:pt x="647066" y="1049170"/>
                  <a:pt x="637271" y="1036109"/>
                  <a:pt x="636727" y="1023593"/>
                </a:cubicBezTo>
                <a:cubicBezTo>
                  <a:pt x="637271" y="1010533"/>
                  <a:pt x="651420" y="996929"/>
                  <a:pt x="663392" y="997473"/>
                </a:cubicBezTo>
                <a:close/>
                <a:moveTo>
                  <a:pt x="826645" y="995840"/>
                </a:moveTo>
                <a:cubicBezTo>
                  <a:pt x="845147" y="995296"/>
                  <a:pt x="855486" y="1007267"/>
                  <a:pt x="854942" y="1024137"/>
                </a:cubicBezTo>
                <a:cubicBezTo>
                  <a:pt x="855486" y="1039374"/>
                  <a:pt x="845147" y="1052978"/>
                  <a:pt x="825557" y="1052978"/>
                </a:cubicBezTo>
                <a:cubicBezTo>
                  <a:pt x="808143" y="1052434"/>
                  <a:pt x="796715" y="1041006"/>
                  <a:pt x="797260" y="1023593"/>
                </a:cubicBezTo>
                <a:cubicBezTo>
                  <a:pt x="797260" y="1005635"/>
                  <a:pt x="808687" y="995840"/>
                  <a:pt x="826645" y="995840"/>
                </a:cubicBezTo>
                <a:close/>
                <a:moveTo>
                  <a:pt x="990441" y="990942"/>
                </a:moveTo>
                <a:cubicBezTo>
                  <a:pt x="1008943" y="990942"/>
                  <a:pt x="1023092" y="1006179"/>
                  <a:pt x="1022548" y="1025225"/>
                </a:cubicBezTo>
                <a:cubicBezTo>
                  <a:pt x="1022004" y="1043183"/>
                  <a:pt x="1007311" y="1056243"/>
                  <a:pt x="988809" y="1056787"/>
                </a:cubicBezTo>
                <a:cubicBezTo>
                  <a:pt x="973028" y="1057332"/>
                  <a:pt x="956702" y="1041551"/>
                  <a:pt x="956702" y="1023593"/>
                </a:cubicBezTo>
                <a:cubicBezTo>
                  <a:pt x="956158" y="1006723"/>
                  <a:pt x="973572" y="988221"/>
                  <a:pt x="990441" y="990942"/>
                </a:cubicBezTo>
                <a:close/>
                <a:moveTo>
                  <a:pt x="1150974" y="987678"/>
                </a:moveTo>
                <a:cubicBezTo>
                  <a:pt x="1170020" y="986045"/>
                  <a:pt x="1189066" y="1004547"/>
                  <a:pt x="1189610" y="1023593"/>
                </a:cubicBezTo>
                <a:cubicBezTo>
                  <a:pt x="1190154" y="1042095"/>
                  <a:pt x="1170564" y="1061685"/>
                  <a:pt x="1152062" y="1061685"/>
                </a:cubicBezTo>
                <a:cubicBezTo>
                  <a:pt x="1134104" y="1061685"/>
                  <a:pt x="1115602" y="1042639"/>
                  <a:pt x="1115058" y="1024682"/>
                </a:cubicBezTo>
                <a:cubicBezTo>
                  <a:pt x="1115058" y="1006724"/>
                  <a:pt x="1133016" y="988222"/>
                  <a:pt x="1150974" y="987678"/>
                </a:cubicBezTo>
                <a:close/>
                <a:moveTo>
                  <a:pt x="1315314" y="985501"/>
                </a:moveTo>
                <a:cubicBezTo>
                  <a:pt x="1335993" y="983868"/>
                  <a:pt x="1354495" y="1005635"/>
                  <a:pt x="1354495" y="1023593"/>
                </a:cubicBezTo>
                <a:cubicBezTo>
                  <a:pt x="1355039" y="1042639"/>
                  <a:pt x="1333816" y="1065495"/>
                  <a:pt x="1315858" y="1062230"/>
                </a:cubicBezTo>
                <a:cubicBezTo>
                  <a:pt x="1294636" y="1062230"/>
                  <a:pt x="1277222" y="1045360"/>
                  <a:pt x="1277222" y="1024137"/>
                </a:cubicBezTo>
                <a:cubicBezTo>
                  <a:pt x="1277222" y="1002914"/>
                  <a:pt x="1294091" y="986589"/>
                  <a:pt x="1315314" y="985501"/>
                </a:cubicBezTo>
                <a:close/>
                <a:moveTo>
                  <a:pt x="1479656" y="984412"/>
                </a:moveTo>
                <a:cubicBezTo>
                  <a:pt x="1503055" y="984412"/>
                  <a:pt x="1519925" y="1000737"/>
                  <a:pt x="1519380" y="1025225"/>
                </a:cubicBezTo>
                <a:cubicBezTo>
                  <a:pt x="1518836" y="1045904"/>
                  <a:pt x="1502511" y="1065494"/>
                  <a:pt x="1478567" y="1063318"/>
                </a:cubicBezTo>
                <a:cubicBezTo>
                  <a:pt x="1454624" y="1064950"/>
                  <a:pt x="1438842" y="1044816"/>
                  <a:pt x="1439387" y="1023593"/>
                </a:cubicBezTo>
                <a:cubicBezTo>
                  <a:pt x="1439931" y="1000193"/>
                  <a:pt x="1455712" y="983868"/>
                  <a:pt x="1479656" y="984412"/>
                </a:cubicBezTo>
                <a:close/>
                <a:moveTo>
                  <a:pt x="1641820" y="981691"/>
                </a:moveTo>
                <a:cubicBezTo>
                  <a:pt x="1665220" y="981691"/>
                  <a:pt x="1683178" y="999649"/>
                  <a:pt x="1684810" y="1023592"/>
                </a:cubicBezTo>
                <a:cubicBezTo>
                  <a:pt x="1683722" y="1048625"/>
                  <a:pt x="1665220" y="1066038"/>
                  <a:pt x="1642909" y="1066038"/>
                </a:cubicBezTo>
                <a:cubicBezTo>
                  <a:pt x="1618421" y="1066038"/>
                  <a:pt x="1599919" y="1047536"/>
                  <a:pt x="1599919" y="1023592"/>
                </a:cubicBezTo>
                <a:cubicBezTo>
                  <a:pt x="1599919" y="1001281"/>
                  <a:pt x="1616788" y="982235"/>
                  <a:pt x="1641820" y="981691"/>
                </a:cubicBezTo>
                <a:close/>
                <a:moveTo>
                  <a:pt x="1806161" y="980603"/>
                </a:moveTo>
                <a:cubicBezTo>
                  <a:pt x="1829561" y="980603"/>
                  <a:pt x="1848607" y="1000737"/>
                  <a:pt x="1849151" y="1023592"/>
                </a:cubicBezTo>
                <a:cubicBezTo>
                  <a:pt x="1849151" y="1046992"/>
                  <a:pt x="1827928" y="1068215"/>
                  <a:pt x="1805617" y="1067127"/>
                </a:cubicBezTo>
                <a:cubicBezTo>
                  <a:pt x="1781673" y="1068215"/>
                  <a:pt x="1762083" y="1044815"/>
                  <a:pt x="1762083" y="1023592"/>
                </a:cubicBezTo>
                <a:cubicBezTo>
                  <a:pt x="1762083" y="1002370"/>
                  <a:pt x="1781673" y="980058"/>
                  <a:pt x="1806161" y="980603"/>
                </a:cubicBezTo>
                <a:close/>
                <a:moveTo>
                  <a:pt x="1969414" y="980059"/>
                </a:moveTo>
                <a:cubicBezTo>
                  <a:pt x="1993358" y="980603"/>
                  <a:pt x="2012404" y="1001282"/>
                  <a:pt x="2012404" y="1024137"/>
                </a:cubicBezTo>
                <a:cubicBezTo>
                  <a:pt x="2012404" y="1046449"/>
                  <a:pt x="1991726" y="1069304"/>
                  <a:pt x="1968870" y="1067127"/>
                </a:cubicBezTo>
                <a:cubicBezTo>
                  <a:pt x="1946015" y="1068760"/>
                  <a:pt x="1925336" y="1044272"/>
                  <a:pt x="1924792" y="1024137"/>
                </a:cubicBezTo>
                <a:cubicBezTo>
                  <a:pt x="1924792" y="1002914"/>
                  <a:pt x="1944382" y="980059"/>
                  <a:pt x="1969414" y="980059"/>
                </a:cubicBezTo>
                <a:close/>
                <a:moveTo>
                  <a:pt x="254171" y="931083"/>
                </a:moveTo>
                <a:cubicBezTo>
                  <a:pt x="260701" y="931083"/>
                  <a:pt x="265599" y="935437"/>
                  <a:pt x="265599" y="941967"/>
                </a:cubicBezTo>
                <a:cubicBezTo>
                  <a:pt x="265599" y="948497"/>
                  <a:pt x="260701" y="952850"/>
                  <a:pt x="254171" y="952850"/>
                </a:cubicBezTo>
                <a:cubicBezTo>
                  <a:pt x="247641" y="952850"/>
                  <a:pt x="243832" y="948497"/>
                  <a:pt x="243832" y="941967"/>
                </a:cubicBezTo>
                <a:cubicBezTo>
                  <a:pt x="243832" y="935437"/>
                  <a:pt x="247641" y="931627"/>
                  <a:pt x="254171" y="931083"/>
                </a:cubicBezTo>
                <a:close/>
                <a:moveTo>
                  <a:pt x="417968" y="922377"/>
                </a:moveTo>
                <a:cubicBezTo>
                  <a:pt x="427219" y="921833"/>
                  <a:pt x="437559" y="932716"/>
                  <a:pt x="437559" y="942511"/>
                </a:cubicBezTo>
                <a:cubicBezTo>
                  <a:pt x="437559" y="951762"/>
                  <a:pt x="427219" y="961557"/>
                  <a:pt x="417968" y="961557"/>
                </a:cubicBezTo>
                <a:cubicBezTo>
                  <a:pt x="409262" y="961557"/>
                  <a:pt x="397290" y="949585"/>
                  <a:pt x="397834" y="941423"/>
                </a:cubicBezTo>
                <a:cubicBezTo>
                  <a:pt x="398378" y="933260"/>
                  <a:pt x="409806" y="922377"/>
                  <a:pt x="417968" y="922377"/>
                </a:cubicBezTo>
                <a:close/>
                <a:moveTo>
                  <a:pt x="581222" y="916934"/>
                </a:moveTo>
                <a:cubicBezTo>
                  <a:pt x="593738" y="916934"/>
                  <a:pt x="607342" y="931082"/>
                  <a:pt x="606798" y="943054"/>
                </a:cubicBezTo>
                <a:cubicBezTo>
                  <a:pt x="606254" y="955570"/>
                  <a:pt x="593738" y="967542"/>
                  <a:pt x="581222" y="967542"/>
                </a:cubicBezTo>
                <a:cubicBezTo>
                  <a:pt x="567617" y="966454"/>
                  <a:pt x="557278" y="958291"/>
                  <a:pt x="556190" y="943054"/>
                </a:cubicBezTo>
                <a:cubicBezTo>
                  <a:pt x="555101" y="929994"/>
                  <a:pt x="568161" y="916934"/>
                  <a:pt x="581222" y="916934"/>
                </a:cubicBezTo>
                <a:close/>
                <a:moveTo>
                  <a:pt x="744474" y="913669"/>
                </a:moveTo>
                <a:cubicBezTo>
                  <a:pt x="765153" y="913669"/>
                  <a:pt x="773860" y="927273"/>
                  <a:pt x="773315" y="942510"/>
                </a:cubicBezTo>
                <a:cubicBezTo>
                  <a:pt x="772771" y="959924"/>
                  <a:pt x="761344" y="971352"/>
                  <a:pt x="743930" y="970807"/>
                </a:cubicBezTo>
                <a:cubicBezTo>
                  <a:pt x="727061" y="970807"/>
                  <a:pt x="716177" y="959380"/>
                  <a:pt x="716177" y="941966"/>
                </a:cubicBezTo>
                <a:cubicBezTo>
                  <a:pt x="716177" y="923464"/>
                  <a:pt x="727605" y="914213"/>
                  <a:pt x="744474" y="913669"/>
                </a:cubicBezTo>
                <a:close/>
                <a:moveTo>
                  <a:pt x="908271" y="908772"/>
                </a:moveTo>
                <a:cubicBezTo>
                  <a:pt x="927317" y="910405"/>
                  <a:pt x="940922" y="924553"/>
                  <a:pt x="940377" y="944144"/>
                </a:cubicBezTo>
                <a:cubicBezTo>
                  <a:pt x="939833" y="962101"/>
                  <a:pt x="925141" y="975162"/>
                  <a:pt x="906094" y="975162"/>
                </a:cubicBezTo>
                <a:cubicBezTo>
                  <a:pt x="890313" y="975162"/>
                  <a:pt x="873988" y="959925"/>
                  <a:pt x="874532" y="940879"/>
                </a:cubicBezTo>
                <a:cubicBezTo>
                  <a:pt x="874532" y="925641"/>
                  <a:pt x="891402" y="907684"/>
                  <a:pt x="908271" y="908772"/>
                </a:cubicBezTo>
                <a:close/>
                <a:moveTo>
                  <a:pt x="1072068" y="906051"/>
                </a:moveTo>
                <a:cubicBezTo>
                  <a:pt x="1093291" y="907683"/>
                  <a:pt x="1105807" y="921832"/>
                  <a:pt x="1107984" y="942511"/>
                </a:cubicBezTo>
                <a:cubicBezTo>
                  <a:pt x="1107984" y="961013"/>
                  <a:pt x="1088938" y="979515"/>
                  <a:pt x="1070980" y="979515"/>
                </a:cubicBezTo>
                <a:cubicBezTo>
                  <a:pt x="1053022" y="979515"/>
                  <a:pt x="1034520" y="960469"/>
                  <a:pt x="1034520" y="942511"/>
                </a:cubicBezTo>
                <a:cubicBezTo>
                  <a:pt x="1034520" y="923465"/>
                  <a:pt x="1053566" y="904419"/>
                  <a:pt x="1072068" y="906051"/>
                </a:cubicBezTo>
                <a:close/>
                <a:moveTo>
                  <a:pt x="1235321" y="903874"/>
                </a:moveTo>
                <a:cubicBezTo>
                  <a:pt x="1257088" y="903874"/>
                  <a:pt x="1272325" y="920199"/>
                  <a:pt x="1272325" y="943054"/>
                </a:cubicBezTo>
                <a:cubicBezTo>
                  <a:pt x="1275045" y="962645"/>
                  <a:pt x="1251646" y="982779"/>
                  <a:pt x="1233688" y="981147"/>
                </a:cubicBezTo>
                <a:cubicBezTo>
                  <a:pt x="1211921" y="979514"/>
                  <a:pt x="1195052" y="963189"/>
                  <a:pt x="1195596" y="940878"/>
                </a:cubicBezTo>
                <a:cubicBezTo>
                  <a:pt x="1196140" y="919111"/>
                  <a:pt x="1212465" y="903330"/>
                  <a:pt x="1235321" y="903874"/>
                </a:cubicBezTo>
                <a:close/>
                <a:moveTo>
                  <a:pt x="1397486" y="901153"/>
                </a:moveTo>
                <a:cubicBezTo>
                  <a:pt x="1420885" y="901698"/>
                  <a:pt x="1437755" y="917479"/>
                  <a:pt x="1438299" y="942511"/>
                </a:cubicBezTo>
                <a:cubicBezTo>
                  <a:pt x="1437210" y="966999"/>
                  <a:pt x="1420341" y="983324"/>
                  <a:pt x="1396941" y="983324"/>
                </a:cubicBezTo>
                <a:cubicBezTo>
                  <a:pt x="1371909" y="983324"/>
                  <a:pt x="1355584" y="963190"/>
                  <a:pt x="1356128" y="941967"/>
                </a:cubicBezTo>
                <a:cubicBezTo>
                  <a:pt x="1356128" y="919655"/>
                  <a:pt x="1373542" y="900609"/>
                  <a:pt x="1397486" y="901153"/>
                </a:cubicBezTo>
                <a:close/>
                <a:moveTo>
                  <a:pt x="1560738" y="898977"/>
                </a:moveTo>
                <a:cubicBezTo>
                  <a:pt x="1584138" y="899521"/>
                  <a:pt x="1603728" y="917479"/>
                  <a:pt x="1603728" y="942511"/>
                </a:cubicBezTo>
                <a:cubicBezTo>
                  <a:pt x="1603728" y="966999"/>
                  <a:pt x="1581961" y="985501"/>
                  <a:pt x="1560738" y="985501"/>
                </a:cubicBezTo>
                <a:cubicBezTo>
                  <a:pt x="1537883" y="985501"/>
                  <a:pt x="1516660" y="963734"/>
                  <a:pt x="1517204" y="941423"/>
                </a:cubicBezTo>
                <a:cubicBezTo>
                  <a:pt x="1517748" y="919656"/>
                  <a:pt x="1535706" y="898977"/>
                  <a:pt x="1560738" y="898977"/>
                </a:cubicBezTo>
                <a:close/>
                <a:moveTo>
                  <a:pt x="1723990" y="897888"/>
                </a:moveTo>
                <a:cubicBezTo>
                  <a:pt x="1747934" y="897888"/>
                  <a:pt x="1769701" y="919111"/>
                  <a:pt x="1768069" y="942510"/>
                </a:cubicBezTo>
                <a:cubicBezTo>
                  <a:pt x="1770245" y="965366"/>
                  <a:pt x="1746302" y="987133"/>
                  <a:pt x="1723990" y="986589"/>
                </a:cubicBezTo>
                <a:cubicBezTo>
                  <a:pt x="1701679" y="986589"/>
                  <a:pt x="1679912" y="964278"/>
                  <a:pt x="1679912" y="941422"/>
                </a:cubicBezTo>
                <a:cubicBezTo>
                  <a:pt x="1680456" y="919655"/>
                  <a:pt x="1700047" y="897888"/>
                  <a:pt x="1723990" y="897888"/>
                </a:cubicBezTo>
                <a:close/>
                <a:moveTo>
                  <a:pt x="2050497" y="897344"/>
                </a:moveTo>
                <a:lnTo>
                  <a:pt x="2051041" y="897453"/>
                </a:lnTo>
                <a:lnTo>
                  <a:pt x="2051041" y="986917"/>
                </a:lnTo>
                <a:lnTo>
                  <a:pt x="2049952" y="987133"/>
                </a:lnTo>
                <a:cubicBezTo>
                  <a:pt x="2026553" y="987133"/>
                  <a:pt x="2004786" y="965366"/>
                  <a:pt x="2005330" y="941422"/>
                </a:cubicBezTo>
                <a:cubicBezTo>
                  <a:pt x="2005874" y="918023"/>
                  <a:pt x="2026009" y="897344"/>
                  <a:pt x="2050497" y="897344"/>
                </a:cubicBezTo>
                <a:close/>
                <a:moveTo>
                  <a:pt x="1887243" y="897344"/>
                </a:moveTo>
                <a:cubicBezTo>
                  <a:pt x="1910099" y="897344"/>
                  <a:pt x="1931866" y="916390"/>
                  <a:pt x="1931866" y="942511"/>
                </a:cubicBezTo>
                <a:cubicBezTo>
                  <a:pt x="1931866" y="965910"/>
                  <a:pt x="1910099" y="986589"/>
                  <a:pt x="1887243" y="986589"/>
                </a:cubicBezTo>
                <a:cubicBezTo>
                  <a:pt x="1864932" y="987133"/>
                  <a:pt x="1839900" y="965910"/>
                  <a:pt x="1843165" y="941422"/>
                </a:cubicBezTo>
                <a:cubicBezTo>
                  <a:pt x="1840444" y="918567"/>
                  <a:pt x="1863299" y="897344"/>
                  <a:pt x="1887243" y="897344"/>
                </a:cubicBezTo>
                <a:close/>
                <a:moveTo>
                  <a:pt x="172545" y="854354"/>
                </a:moveTo>
                <a:cubicBezTo>
                  <a:pt x="176899" y="854354"/>
                  <a:pt x="179619" y="855442"/>
                  <a:pt x="179619" y="860884"/>
                </a:cubicBezTo>
                <a:cubicBezTo>
                  <a:pt x="180164" y="864693"/>
                  <a:pt x="177987" y="866870"/>
                  <a:pt x="173634" y="866870"/>
                </a:cubicBezTo>
                <a:cubicBezTo>
                  <a:pt x="169824" y="866870"/>
                  <a:pt x="166559" y="866870"/>
                  <a:pt x="166015" y="861973"/>
                </a:cubicBezTo>
                <a:cubicBezTo>
                  <a:pt x="165471" y="857075"/>
                  <a:pt x="167103" y="854354"/>
                  <a:pt x="172545" y="854354"/>
                </a:cubicBezTo>
                <a:close/>
                <a:moveTo>
                  <a:pt x="336342" y="843471"/>
                </a:moveTo>
                <a:cubicBezTo>
                  <a:pt x="346681" y="844015"/>
                  <a:pt x="353211" y="849457"/>
                  <a:pt x="353211" y="860340"/>
                </a:cubicBezTo>
                <a:cubicBezTo>
                  <a:pt x="353211" y="872312"/>
                  <a:pt x="348858" y="876665"/>
                  <a:pt x="336886" y="877210"/>
                </a:cubicBezTo>
                <a:cubicBezTo>
                  <a:pt x="324370" y="877210"/>
                  <a:pt x="320561" y="872856"/>
                  <a:pt x="320017" y="860884"/>
                </a:cubicBezTo>
                <a:cubicBezTo>
                  <a:pt x="319473" y="851089"/>
                  <a:pt x="327635" y="842927"/>
                  <a:pt x="336342" y="843471"/>
                </a:cubicBezTo>
                <a:close/>
                <a:moveTo>
                  <a:pt x="500139" y="837485"/>
                </a:moveTo>
                <a:cubicBezTo>
                  <a:pt x="514832" y="837485"/>
                  <a:pt x="522994" y="846735"/>
                  <a:pt x="522994" y="861428"/>
                </a:cubicBezTo>
                <a:cubicBezTo>
                  <a:pt x="522994" y="876121"/>
                  <a:pt x="513743" y="884284"/>
                  <a:pt x="499595" y="884284"/>
                </a:cubicBezTo>
                <a:cubicBezTo>
                  <a:pt x="485446" y="883740"/>
                  <a:pt x="475651" y="875033"/>
                  <a:pt x="476739" y="860340"/>
                </a:cubicBezTo>
                <a:cubicBezTo>
                  <a:pt x="476195" y="842926"/>
                  <a:pt x="489256" y="836940"/>
                  <a:pt x="500139" y="837485"/>
                </a:cubicBezTo>
                <a:close/>
                <a:moveTo>
                  <a:pt x="662848" y="832587"/>
                </a:moveTo>
                <a:cubicBezTo>
                  <a:pt x="677541" y="832587"/>
                  <a:pt x="691689" y="842926"/>
                  <a:pt x="690057" y="860340"/>
                </a:cubicBezTo>
                <a:cubicBezTo>
                  <a:pt x="691689" y="876121"/>
                  <a:pt x="679718" y="888637"/>
                  <a:pt x="662848" y="888637"/>
                </a:cubicBezTo>
                <a:cubicBezTo>
                  <a:pt x="644890" y="888637"/>
                  <a:pt x="634551" y="874489"/>
                  <a:pt x="634551" y="861428"/>
                </a:cubicBezTo>
                <a:cubicBezTo>
                  <a:pt x="634551" y="842926"/>
                  <a:pt x="647611" y="832587"/>
                  <a:pt x="662848" y="832587"/>
                </a:cubicBezTo>
                <a:close/>
                <a:moveTo>
                  <a:pt x="826101" y="827146"/>
                </a:moveTo>
                <a:cubicBezTo>
                  <a:pt x="840249" y="826602"/>
                  <a:pt x="859840" y="843471"/>
                  <a:pt x="859295" y="860885"/>
                </a:cubicBezTo>
                <a:cubicBezTo>
                  <a:pt x="858751" y="875033"/>
                  <a:pt x="844603" y="894624"/>
                  <a:pt x="825556" y="892991"/>
                </a:cubicBezTo>
                <a:cubicBezTo>
                  <a:pt x="808687" y="894079"/>
                  <a:pt x="793450" y="877754"/>
                  <a:pt x="793450" y="860885"/>
                </a:cubicBezTo>
                <a:cubicBezTo>
                  <a:pt x="793994" y="842927"/>
                  <a:pt x="808143" y="828234"/>
                  <a:pt x="826101" y="827146"/>
                </a:cubicBezTo>
                <a:close/>
                <a:moveTo>
                  <a:pt x="988809" y="824424"/>
                </a:moveTo>
                <a:cubicBezTo>
                  <a:pt x="1010576" y="825512"/>
                  <a:pt x="1024180" y="839661"/>
                  <a:pt x="1025813" y="860339"/>
                </a:cubicBezTo>
                <a:cubicBezTo>
                  <a:pt x="1026901" y="878842"/>
                  <a:pt x="1008399" y="896799"/>
                  <a:pt x="989897" y="897344"/>
                </a:cubicBezTo>
                <a:cubicBezTo>
                  <a:pt x="971939" y="897344"/>
                  <a:pt x="953982" y="880474"/>
                  <a:pt x="953437" y="861972"/>
                </a:cubicBezTo>
                <a:cubicBezTo>
                  <a:pt x="951805" y="842926"/>
                  <a:pt x="969763" y="824968"/>
                  <a:pt x="988809" y="824424"/>
                </a:cubicBezTo>
                <a:close/>
                <a:moveTo>
                  <a:pt x="1153695" y="821704"/>
                </a:moveTo>
                <a:cubicBezTo>
                  <a:pt x="1175462" y="822248"/>
                  <a:pt x="1191243" y="839118"/>
                  <a:pt x="1191243" y="861429"/>
                </a:cubicBezTo>
                <a:cubicBezTo>
                  <a:pt x="1193964" y="882107"/>
                  <a:pt x="1169476" y="900610"/>
                  <a:pt x="1152606" y="899521"/>
                </a:cubicBezTo>
                <a:cubicBezTo>
                  <a:pt x="1130839" y="898433"/>
                  <a:pt x="1114514" y="882107"/>
                  <a:pt x="1114514" y="859252"/>
                </a:cubicBezTo>
                <a:cubicBezTo>
                  <a:pt x="1115058" y="837485"/>
                  <a:pt x="1131928" y="821704"/>
                  <a:pt x="1153695" y="821704"/>
                </a:cubicBezTo>
                <a:close/>
                <a:moveTo>
                  <a:pt x="1316403" y="818982"/>
                </a:moveTo>
                <a:cubicBezTo>
                  <a:pt x="1341979" y="820071"/>
                  <a:pt x="1356128" y="838573"/>
                  <a:pt x="1357216" y="860884"/>
                </a:cubicBezTo>
                <a:cubicBezTo>
                  <a:pt x="1356128" y="884828"/>
                  <a:pt x="1337626" y="901697"/>
                  <a:pt x="1315315" y="901697"/>
                </a:cubicBezTo>
                <a:cubicBezTo>
                  <a:pt x="1293003" y="901697"/>
                  <a:pt x="1273957" y="884284"/>
                  <a:pt x="1274501" y="860340"/>
                </a:cubicBezTo>
                <a:cubicBezTo>
                  <a:pt x="1275046" y="835852"/>
                  <a:pt x="1291915" y="818438"/>
                  <a:pt x="1316403" y="818982"/>
                </a:cubicBezTo>
                <a:close/>
                <a:moveTo>
                  <a:pt x="1479112" y="816806"/>
                </a:moveTo>
                <a:cubicBezTo>
                  <a:pt x="1501423" y="816806"/>
                  <a:pt x="1523190" y="835852"/>
                  <a:pt x="1522646" y="860340"/>
                </a:cubicBezTo>
                <a:cubicBezTo>
                  <a:pt x="1523735" y="885372"/>
                  <a:pt x="1499791" y="904419"/>
                  <a:pt x="1479656" y="904419"/>
                </a:cubicBezTo>
                <a:cubicBezTo>
                  <a:pt x="1457889" y="904419"/>
                  <a:pt x="1436122" y="883740"/>
                  <a:pt x="1435578" y="860884"/>
                </a:cubicBezTo>
                <a:cubicBezTo>
                  <a:pt x="1435578" y="838573"/>
                  <a:pt x="1455713" y="816806"/>
                  <a:pt x="1479112" y="816806"/>
                </a:cubicBezTo>
                <a:close/>
                <a:moveTo>
                  <a:pt x="1642909" y="815718"/>
                </a:moveTo>
                <a:cubicBezTo>
                  <a:pt x="1665764" y="816262"/>
                  <a:pt x="1686987" y="835852"/>
                  <a:pt x="1686987" y="860885"/>
                </a:cubicBezTo>
                <a:cubicBezTo>
                  <a:pt x="1686987" y="884284"/>
                  <a:pt x="1666308" y="906051"/>
                  <a:pt x="1641276" y="905507"/>
                </a:cubicBezTo>
                <a:cubicBezTo>
                  <a:pt x="1619509" y="905507"/>
                  <a:pt x="1595021" y="884284"/>
                  <a:pt x="1597742" y="860340"/>
                </a:cubicBezTo>
                <a:cubicBezTo>
                  <a:pt x="1595021" y="836941"/>
                  <a:pt x="1619509" y="815174"/>
                  <a:pt x="1642909" y="815718"/>
                </a:cubicBezTo>
                <a:close/>
                <a:moveTo>
                  <a:pt x="1806161" y="815173"/>
                </a:moveTo>
                <a:cubicBezTo>
                  <a:pt x="1832282" y="815717"/>
                  <a:pt x="1854593" y="836396"/>
                  <a:pt x="1852416" y="860884"/>
                </a:cubicBezTo>
                <a:cubicBezTo>
                  <a:pt x="1850240" y="885372"/>
                  <a:pt x="1837179" y="906050"/>
                  <a:pt x="1805617" y="906594"/>
                </a:cubicBezTo>
                <a:cubicBezTo>
                  <a:pt x="1776776" y="906594"/>
                  <a:pt x="1759362" y="885916"/>
                  <a:pt x="1759906" y="860884"/>
                </a:cubicBezTo>
                <a:cubicBezTo>
                  <a:pt x="1759906" y="834219"/>
                  <a:pt x="1776776" y="815717"/>
                  <a:pt x="1806161" y="815173"/>
                </a:cubicBezTo>
                <a:close/>
                <a:moveTo>
                  <a:pt x="1968326" y="812453"/>
                </a:moveTo>
                <a:cubicBezTo>
                  <a:pt x="1979754" y="812453"/>
                  <a:pt x="1991726" y="817351"/>
                  <a:pt x="2000977" y="826057"/>
                </a:cubicBezTo>
                <a:cubicBezTo>
                  <a:pt x="2010772" y="835308"/>
                  <a:pt x="2016214" y="847280"/>
                  <a:pt x="2015670" y="859796"/>
                </a:cubicBezTo>
                <a:cubicBezTo>
                  <a:pt x="2014581" y="884828"/>
                  <a:pt x="2000977" y="904963"/>
                  <a:pt x="1969415" y="907684"/>
                </a:cubicBezTo>
                <a:cubicBezTo>
                  <a:pt x="1942206" y="906051"/>
                  <a:pt x="1923704" y="890270"/>
                  <a:pt x="1922071" y="860885"/>
                </a:cubicBezTo>
                <a:cubicBezTo>
                  <a:pt x="1920983" y="836397"/>
                  <a:pt x="1943294" y="812453"/>
                  <a:pt x="1968326" y="812453"/>
                </a:cubicBezTo>
                <a:close/>
                <a:moveTo>
                  <a:pt x="255260" y="762932"/>
                </a:moveTo>
                <a:cubicBezTo>
                  <a:pt x="261790" y="763476"/>
                  <a:pt x="271041" y="773271"/>
                  <a:pt x="270497" y="779802"/>
                </a:cubicBezTo>
                <a:cubicBezTo>
                  <a:pt x="270497" y="786332"/>
                  <a:pt x="261246" y="795038"/>
                  <a:pt x="254172" y="795038"/>
                </a:cubicBezTo>
                <a:cubicBezTo>
                  <a:pt x="246553" y="795038"/>
                  <a:pt x="238391" y="786332"/>
                  <a:pt x="238935" y="778713"/>
                </a:cubicBezTo>
                <a:cubicBezTo>
                  <a:pt x="239479" y="771095"/>
                  <a:pt x="248186" y="762388"/>
                  <a:pt x="255260" y="762932"/>
                </a:cubicBezTo>
                <a:close/>
                <a:moveTo>
                  <a:pt x="416881" y="756402"/>
                </a:moveTo>
                <a:cubicBezTo>
                  <a:pt x="430485" y="756402"/>
                  <a:pt x="439736" y="765109"/>
                  <a:pt x="440280" y="778713"/>
                </a:cubicBezTo>
                <a:cubicBezTo>
                  <a:pt x="440280" y="791229"/>
                  <a:pt x="431573" y="801024"/>
                  <a:pt x="419057" y="801024"/>
                </a:cubicBezTo>
                <a:cubicBezTo>
                  <a:pt x="405997" y="801569"/>
                  <a:pt x="396202" y="792317"/>
                  <a:pt x="396202" y="779257"/>
                </a:cubicBezTo>
                <a:cubicBezTo>
                  <a:pt x="396202" y="766741"/>
                  <a:pt x="404909" y="756946"/>
                  <a:pt x="416881" y="756402"/>
                </a:cubicBezTo>
                <a:close/>
                <a:moveTo>
                  <a:pt x="581766" y="751505"/>
                </a:moveTo>
                <a:cubicBezTo>
                  <a:pt x="598091" y="752594"/>
                  <a:pt x="607887" y="762933"/>
                  <a:pt x="608975" y="779802"/>
                </a:cubicBezTo>
                <a:cubicBezTo>
                  <a:pt x="608975" y="792318"/>
                  <a:pt x="596459" y="808644"/>
                  <a:pt x="580678" y="806467"/>
                </a:cubicBezTo>
                <a:cubicBezTo>
                  <a:pt x="565985" y="808100"/>
                  <a:pt x="553469" y="792318"/>
                  <a:pt x="553469" y="778714"/>
                </a:cubicBezTo>
                <a:cubicBezTo>
                  <a:pt x="553469" y="764021"/>
                  <a:pt x="567618" y="750417"/>
                  <a:pt x="581766" y="751505"/>
                </a:cubicBezTo>
                <a:close/>
                <a:moveTo>
                  <a:pt x="746107" y="746607"/>
                </a:moveTo>
                <a:cubicBezTo>
                  <a:pt x="762432" y="747695"/>
                  <a:pt x="778213" y="765653"/>
                  <a:pt x="777125" y="780346"/>
                </a:cubicBezTo>
                <a:cubicBezTo>
                  <a:pt x="776581" y="795038"/>
                  <a:pt x="762432" y="811908"/>
                  <a:pt x="742842" y="811364"/>
                </a:cubicBezTo>
                <a:cubicBezTo>
                  <a:pt x="725428" y="810276"/>
                  <a:pt x="712368" y="795583"/>
                  <a:pt x="712368" y="778713"/>
                </a:cubicBezTo>
                <a:cubicBezTo>
                  <a:pt x="712368" y="760755"/>
                  <a:pt x="730870" y="745519"/>
                  <a:pt x="746107" y="746607"/>
                </a:cubicBezTo>
                <a:close/>
                <a:moveTo>
                  <a:pt x="907727" y="741710"/>
                </a:moveTo>
                <a:cubicBezTo>
                  <a:pt x="925684" y="741710"/>
                  <a:pt x="944187" y="760756"/>
                  <a:pt x="944187" y="778714"/>
                </a:cubicBezTo>
                <a:cubicBezTo>
                  <a:pt x="944187" y="796672"/>
                  <a:pt x="926229" y="815174"/>
                  <a:pt x="907727" y="815174"/>
                </a:cubicBezTo>
                <a:cubicBezTo>
                  <a:pt x="889225" y="815174"/>
                  <a:pt x="872899" y="798848"/>
                  <a:pt x="872355" y="779258"/>
                </a:cubicBezTo>
                <a:cubicBezTo>
                  <a:pt x="871811" y="759668"/>
                  <a:pt x="888136" y="742254"/>
                  <a:pt x="907727" y="741710"/>
                </a:cubicBezTo>
                <a:close/>
                <a:moveTo>
                  <a:pt x="1070979" y="740621"/>
                </a:moveTo>
                <a:cubicBezTo>
                  <a:pt x="1091114" y="737357"/>
                  <a:pt x="1110704" y="761300"/>
                  <a:pt x="1110160" y="779258"/>
                </a:cubicBezTo>
                <a:cubicBezTo>
                  <a:pt x="1110160" y="798304"/>
                  <a:pt x="1089481" y="817894"/>
                  <a:pt x="1070979" y="817894"/>
                </a:cubicBezTo>
                <a:cubicBezTo>
                  <a:pt x="1049757" y="817894"/>
                  <a:pt x="1031255" y="797216"/>
                  <a:pt x="1031799" y="778714"/>
                </a:cubicBezTo>
                <a:cubicBezTo>
                  <a:pt x="1033431" y="756947"/>
                  <a:pt x="1049212" y="740621"/>
                  <a:pt x="1070979" y="740621"/>
                </a:cubicBezTo>
                <a:close/>
                <a:moveTo>
                  <a:pt x="1233688" y="736268"/>
                </a:moveTo>
                <a:cubicBezTo>
                  <a:pt x="1254367" y="735723"/>
                  <a:pt x="1276134" y="756402"/>
                  <a:pt x="1276134" y="777625"/>
                </a:cubicBezTo>
                <a:cubicBezTo>
                  <a:pt x="1276134" y="801025"/>
                  <a:pt x="1258720" y="819526"/>
                  <a:pt x="1235320" y="820615"/>
                </a:cubicBezTo>
                <a:cubicBezTo>
                  <a:pt x="1211377" y="821159"/>
                  <a:pt x="1193419" y="802657"/>
                  <a:pt x="1192331" y="779258"/>
                </a:cubicBezTo>
                <a:cubicBezTo>
                  <a:pt x="1190698" y="758579"/>
                  <a:pt x="1213009" y="736812"/>
                  <a:pt x="1233688" y="736268"/>
                </a:cubicBezTo>
                <a:close/>
                <a:moveTo>
                  <a:pt x="1397485" y="735724"/>
                </a:moveTo>
                <a:cubicBezTo>
                  <a:pt x="1421973" y="734091"/>
                  <a:pt x="1441564" y="757491"/>
                  <a:pt x="1441019" y="779802"/>
                </a:cubicBezTo>
                <a:cubicBezTo>
                  <a:pt x="1441019" y="803746"/>
                  <a:pt x="1418708" y="823336"/>
                  <a:pt x="1396397" y="823336"/>
                </a:cubicBezTo>
                <a:cubicBezTo>
                  <a:pt x="1374630" y="823336"/>
                  <a:pt x="1352863" y="802113"/>
                  <a:pt x="1352863" y="779258"/>
                </a:cubicBezTo>
                <a:cubicBezTo>
                  <a:pt x="1353407" y="758579"/>
                  <a:pt x="1372453" y="733547"/>
                  <a:pt x="1397485" y="735724"/>
                </a:cubicBezTo>
                <a:close/>
                <a:moveTo>
                  <a:pt x="1562371" y="734636"/>
                </a:moveTo>
                <a:cubicBezTo>
                  <a:pt x="1586314" y="732459"/>
                  <a:pt x="1605905" y="754226"/>
                  <a:pt x="1605905" y="779802"/>
                </a:cubicBezTo>
                <a:cubicBezTo>
                  <a:pt x="1605361" y="805923"/>
                  <a:pt x="1585226" y="823881"/>
                  <a:pt x="1560194" y="823881"/>
                </a:cubicBezTo>
                <a:cubicBezTo>
                  <a:pt x="1535706" y="823881"/>
                  <a:pt x="1515027" y="803202"/>
                  <a:pt x="1515572" y="777626"/>
                </a:cubicBezTo>
                <a:cubicBezTo>
                  <a:pt x="1516116" y="755859"/>
                  <a:pt x="1535162" y="731371"/>
                  <a:pt x="1562371" y="734636"/>
                </a:cubicBezTo>
                <a:close/>
                <a:moveTo>
                  <a:pt x="1724535" y="730827"/>
                </a:moveTo>
                <a:cubicBezTo>
                  <a:pt x="1748478" y="731371"/>
                  <a:pt x="1772422" y="755314"/>
                  <a:pt x="1772422" y="779258"/>
                </a:cubicBezTo>
                <a:cubicBezTo>
                  <a:pt x="1771878" y="804290"/>
                  <a:pt x="1748478" y="826602"/>
                  <a:pt x="1723446" y="826602"/>
                </a:cubicBezTo>
                <a:cubicBezTo>
                  <a:pt x="1696238" y="823881"/>
                  <a:pt x="1677736" y="807011"/>
                  <a:pt x="1676647" y="778714"/>
                </a:cubicBezTo>
                <a:cubicBezTo>
                  <a:pt x="1676103" y="753138"/>
                  <a:pt x="1699503" y="730282"/>
                  <a:pt x="1724535" y="730827"/>
                </a:cubicBezTo>
                <a:close/>
                <a:moveTo>
                  <a:pt x="1886699" y="730826"/>
                </a:moveTo>
                <a:cubicBezTo>
                  <a:pt x="1914452" y="730826"/>
                  <a:pt x="1934587" y="749872"/>
                  <a:pt x="1935131" y="778713"/>
                </a:cubicBezTo>
                <a:cubicBezTo>
                  <a:pt x="1936219" y="804834"/>
                  <a:pt x="1916085" y="826601"/>
                  <a:pt x="1887244" y="827145"/>
                </a:cubicBezTo>
                <a:cubicBezTo>
                  <a:pt x="1860579" y="826601"/>
                  <a:pt x="1838812" y="805922"/>
                  <a:pt x="1838812" y="778713"/>
                </a:cubicBezTo>
                <a:cubicBezTo>
                  <a:pt x="1839356" y="750416"/>
                  <a:pt x="1860035" y="730282"/>
                  <a:pt x="1886699" y="730826"/>
                </a:cubicBezTo>
                <a:close/>
                <a:moveTo>
                  <a:pt x="2050496" y="730282"/>
                </a:moveTo>
                <a:lnTo>
                  <a:pt x="2051041" y="730396"/>
                </a:lnTo>
                <a:lnTo>
                  <a:pt x="2051041" y="826942"/>
                </a:lnTo>
                <a:lnTo>
                  <a:pt x="2049952" y="827145"/>
                </a:lnTo>
                <a:cubicBezTo>
                  <a:pt x="2023832" y="827145"/>
                  <a:pt x="2001521" y="804290"/>
                  <a:pt x="2002065" y="778169"/>
                </a:cubicBezTo>
                <a:cubicBezTo>
                  <a:pt x="2002609" y="751505"/>
                  <a:pt x="2024376" y="730282"/>
                  <a:pt x="2050496" y="730282"/>
                </a:cubicBezTo>
                <a:close/>
                <a:moveTo>
                  <a:pt x="173634" y="685660"/>
                </a:moveTo>
                <a:cubicBezTo>
                  <a:pt x="181253" y="685660"/>
                  <a:pt x="185062" y="690013"/>
                  <a:pt x="184518" y="698176"/>
                </a:cubicBezTo>
                <a:cubicBezTo>
                  <a:pt x="183973" y="705250"/>
                  <a:pt x="180164" y="709059"/>
                  <a:pt x="172546" y="709059"/>
                </a:cubicBezTo>
                <a:cubicBezTo>
                  <a:pt x="164383" y="709059"/>
                  <a:pt x="160574" y="705250"/>
                  <a:pt x="161118" y="697088"/>
                </a:cubicBezTo>
                <a:cubicBezTo>
                  <a:pt x="161662" y="688925"/>
                  <a:pt x="164927" y="685660"/>
                  <a:pt x="173634" y="685660"/>
                </a:cubicBezTo>
                <a:close/>
                <a:moveTo>
                  <a:pt x="335798" y="675320"/>
                </a:moveTo>
                <a:cubicBezTo>
                  <a:pt x="345593" y="675320"/>
                  <a:pt x="357565" y="685115"/>
                  <a:pt x="357565" y="696543"/>
                </a:cubicBezTo>
                <a:cubicBezTo>
                  <a:pt x="357565" y="707426"/>
                  <a:pt x="346682" y="718854"/>
                  <a:pt x="336342" y="718854"/>
                </a:cubicBezTo>
                <a:cubicBezTo>
                  <a:pt x="327091" y="718854"/>
                  <a:pt x="315664" y="707426"/>
                  <a:pt x="315120" y="697631"/>
                </a:cubicBezTo>
                <a:cubicBezTo>
                  <a:pt x="314575" y="687292"/>
                  <a:pt x="325459" y="675864"/>
                  <a:pt x="335798" y="675320"/>
                </a:cubicBezTo>
                <a:close/>
                <a:moveTo>
                  <a:pt x="499051" y="670423"/>
                </a:moveTo>
                <a:cubicBezTo>
                  <a:pt x="512111" y="669335"/>
                  <a:pt x="526804" y="684027"/>
                  <a:pt x="526804" y="697088"/>
                </a:cubicBezTo>
                <a:cubicBezTo>
                  <a:pt x="526804" y="711236"/>
                  <a:pt x="513744" y="724296"/>
                  <a:pt x="499595" y="724296"/>
                </a:cubicBezTo>
                <a:cubicBezTo>
                  <a:pt x="486535" y="724296"/>
                  <a:pt x="472930" y="711236"/>
                  <a:pt x="472930" y="697632"/>
                </a:cubicBezTo>
                <a:cubicBezTo>
                  <a:pt x="472386" y="684027"/>
                  <a:pt x="485446" y="670423"/>
                  <a:pt x="499051" y="670423"/>
                </a:cubicBezTo>
                <a:close/>
                <a:moveTo>
                  <a:pt x="662848" y="665525"/>
                </a:moveTo>
                <a:cubicBezTo>
                  <a:pt x="678629" y="665525"/>
                  <a:pt x="694410" y="681306"/>
                  <a:pt x="694954" y="697087"/>
                </a:cubicBezTo>
                <a:cubicBezTo>
                  <a:pt x="695499" y="712868"/>
                  <a:pt x="679173" y="729194"/>
                  <a:pt x="663392" y="729194"/>
                </a:cubicBezTo>
                <a:cubicBezTo>
                  <a:pt x="647611" y="729194"/>
                  <a:pt x="632374" y="713957"/>
                  <a:pt x="632374" y="698176"/>
                </a:cubicBezTo>
                <a:cubicBezTo>
                  <a:pt x="631286" y="681850"/>
                  <a:pt x="647067" y="665525"/>
                  <a:pt x="662848" y="665525"/>
                </a:cubicBezTo>
                <a:close/>
                <a:moveTo>
                  <a:pt x="825013" y="663349"/>
                </a:moveTo>
                <a:cubicBezTo>
                  <a:pt x="844603" y="662260"/>
                  <a:pt x="861472" y="676953"/>
                  <a:pt x="860384" y="697632"/>
                </a:cubicBezTo>
                <a:cubicBezTo>
                  <a:pt x="861472" y="716134"/>
                  <a:pt x="846780" y="731915"/>
                  <a:pt x="826101" y="731915"/>
                </a:cubicBezTo>
                <a:cubicBezTo>
                  <a:pt x="806511" y="731915"/>
                  <a:pt x="791818" y="719399"/>
                  <a:pt x="791818" y="698176"/>
                </a:cubicBezTo>
                <a:cubicBezTo>
                  <a:pt x="791818" y="676409"/>
                  <a:pt x="805967" y="663893"/>
                  <a:pt x="825013" y="663349"/>
                </a:cubicBezTo>
                <a:close/>
                <a:moveTo>
                  <a:pt x="988809" y="658995"/>
                </a:moveTo>
                <a:cubicBezTo>
                  <a:pt x="1008400" y="657362"/>
                  <a:pt x="1028534" y="679129"/>
                  <a:pt x="1027446" y="697087"/>
                </a:cubicBezTo>
                <a:cubicBezTo>
                  <a:pt x="1026902" y="718310"/>
                  <a:pt x="1010576" y="735723"/>
                  <a:pt x="989353" y="735723"/>
                </a:cubicBezTo>
                <a:cubicBezTo>
                  <a:pt x="968675" y="735723"/>
                  <a:pt x="950717" y="718310"/>
                  <a:pt x="950717" y="697631"/>
                </a:cubicBezTo>
                <a:cubicBezTo>
                  <a:pt x="950717" y="676408"/>
                  <a:pt x="968131" y="660627"/>
                  <a:pt x="988809" y="658995"/>
                </a:cubicBezTo>
                <a:close/>
                <a:moveTo>
                  <a:pt x="1152607" y="655729"/>
                </a:moveTo>
                <a:cubicBezTo>
                  <a:pt x="1173829" y="654097"/>
                  <a:pt x="1194508" y="675864"/>
                  <a:pt x="1195052" y="697087"/>
                </a:cubicBezTo>
                <a:cubicBezTo>
                  <a:pt x="1195596" y="717766"/>
                  <a:pt x="1173829" y="739533"/>
                  <a:pt x="1153151" y="739533"/>
                </a:cubicBezTo>
                <a:cubicBezTo>
                  <a:pt x="1132472" y="740077"/>
                  <a:pt x="1110705" y="718310"/>
                  <a:pt x="1110705" y="697631"/>
                </a:cubicBezTo>
                <a:cubicBezTo>
                  <a:pt x="1112882" y="674231"/>
                  <a:pt x="1127574" y="657362"/>
                  <a:pt x="1152607" y="655729"/>
                </a:cubicBezTo>
                <a:close/>
                <a:moveTo>
                  <a:pt x="1316948" y="653554"/>
                </a:moveTo>
                <a:cubicBezTo>
                  <a:pt x="1340347" y="654098"/>
                  <a:pt x="1359937" y="674777"/>
                  <a:pt x="1359937" y="697632"/>
                </a:cubicBezTo>
                <a:cubicBezTo>
                  <a:pt x="1359937" y="718855"/>
                  <a:pt x="1339803" y="743343"/>
                  <a:pt x="1315315" y="740622"/>
                </a:cubicBezTo>
                <a:cubicBezTo>
                  <a:pt x="1293004" y="742799"/>
                  <a:pt x="1271237" y="718311"/>
                  <a:pt x="1271781" y="696544"/>
                </a:cubicBezTo>
                <a:cubicBezTo>
                  <a:pt x="1271781" y="675321"/>
                  <a:pt x="1292460" y="653010"/>
                  <a:pt x="1316948" y="653554"/>
                </a:cubicBezTo>
                <a:close/>
                <a:moveTo>
                  <a:pt x="1479112" y="651921"/>
                </a:moveTo>
                <a:cubicBezTo>
                  <a:pt x="1506321" y="651377"/>
                  <a:pt x="1524823" y="669335"/>
                  <a:pt x="1524823" y="697088"/>
                </a:cubicBezTo>
                <a:cubicBezTo>
                  <a:pt x="1524823" y="722664"/>
                  <a:pt x="1506865" y="743343"/>
                  <a:pt x="1479112" y="742254"/>
                </a:cubicBezTo>
                <a:cubicBezTo>
                  <a:pt x="1450815" y="743343"/>
                  <a:pt x="1433401" y="721031"/>
                  <a:pt x="1433945" y="697088"/>
                </a:cubicBezTo>
                <a:cubicBezTo>
                  <a:pt x="1434490" y="670423"/>
                  <a:pt x="1451903" y="652465"/>
                  <a:pt x="1479112" y="651921"/>
                </a:cubicBezTo>
                <a:close/>
                <a:moveTo>
                  <a:pt x="1642909" y="649744"/>
                </a:moveTo>
                <a:cubicBezTo>
                  <a:pt x="1671750" y="650288"/>
                  <a:pt x="1690252" y="668790"/>
                  <a:pt x="1690796" y="697087"/>
                </a:cubicBezTo>
                <a:cubicBezTo>
                  <a:pt x="1691340" y="723752"/>
                  <a:pt x="1672294" y="743342"/>
                  <a:pt x="1642909" y="745519"/>
                </a:cubicBezTo>
                <a:cubicBezTo>
                  <a:pt x="1614067" y="743887"/>
                  <a:pt x="1594477" y="725384"/>
                  <a:pt x="1594477" y="697632"/>
                </a:cubicBezTo>
                <a:cubicBezTo>
                  <a:pt x="1594477" y="668790"/>
                  <a:pt x="1614611" y="649200"/>
                  <a:pt x="1642909" y="649744"/>
                </a:cubicBezTo>
                <a:close/>
                <a:moveTo>
                  <a:pt x="1805617" y="648112"/>
                </a:moveTo>
                <a:cubicBezTo>
                  <a:pt x="1829561" y="648112"/>
                  <a:pt x="1857314" y="672055"/>
                  <a:pt x="1854593" y="698176"/>
                </a:cubicBezTo>
                <a:cubicBezTo>
                  <a:pt x="1856770" y="719399"/>
                  <a:pt x="1832826" y="747151"/>
                  <a:pt x="1805073" y="746607"/>
                </a:cubicBezTo>
                <a:cubicBezTo>
                  <a:pt x="1779497" y="746063"/>
                  <a:pt x="1756097" y="721575"/>
                  <a:pt x="1756097" y="697087"/>
                </a:cubicBezTo>
                <a:cubicBezTo>
                  <a:pt x="1756097" y="670423"/>
                  <a:pt x="1782218" y="647567"/>
                  <a:pt x="1805617" y="648112"/>
                </a:cubicBezTo>
                <a:close/>
                <a:moveTo>
                  <a:pt x="1969414" y="647023"/>
                </a:moveTo>
                <a:cubicBezTo>
                  <a:pt x="1992814" y="647023"/>
                  <a:pt x="2020567" y="672055"/>
                  <a:pt x="2018934" y="698176"/>
                </a:cubicBezTo>
                <a:cubicBezTo>
                  <a:pt x="2017302" y="725384"/>
                  <a:pt x="1996623" y="746063"/>
                  <a:pt x="1968326" y="746063"/>
                </a:cubicBezTo>
                <a:cubicBezTo>
                  <a:pt x="1941661" y="748784"/>
                  <a:pt x="1919350" y="721031"/>
                  <a:pt x="1918806" y="697087"/>
                </a:cubicBezTo>
                <a:cubicBezTo>
                  <a:pt x="1918806" y="669878"/>
                  <a:pt x="1945471" y="647023"/>
                  <a:pt x="1969414" y="647023"/>
                </a:cubicBezTo>
                <a:close/>
                <a:moveTo>
                  <a:pt x="90919" y="606754"/>
                </a:moveTo>
                <a:cubicBezTo>
                  <a:pt x="94728" y="608386"/>
                  <a:pt x="99626" y="612195"/>
                  <a:pt x="99626" y="615460"/>
                </a:cubicBezTo>
                <a:cubicBezTo>
                  <a:pt x="100170" y="618181"/>
                  <a:pt x="95816" y="621990"/>
                  <a:pt x="92007" y="627976"/>
                </a:cubicBezTo>
                <a:cubicBezTo>
                  <a:pt x="87654" y="623079"/>
                  <a:pt x="84389" y="619814"/>
                  <a:pt x="82756" y="616005"/>
                </a:cubicBezTo>
                <a:cubicBezTo>
                  <a:pt x="81668" y="613284"/>
                  <a:pt x="88198" y="605665"/>
                  <a:pt x="90919" y="606754"/>
                </a:cubicBezTo>
                <a:close/>
                <a:moveTo>
                  <a:pt x="254172" y="598047"/>
                </a:moveTo>
                <a:cubicBezTo>
                  <a:pt x="265599" y="597503"/>
                  <a:pt x="273218" y="606210"/>
                  <a:pt x="272674" y="614917"/>
                </a:cubicBezTo>
                <a:cubicBezTo>
                  <a:pt x="272674" y="625800"/>
                  <a:pt x="266688" y="632874"/>
                  <a:pt x="255260" y="633419"/>
                </a:cubicBezTo>
                <a:cubicBezTo>
                  <a:pt x="244376" y="633963"/>
                  <a:pt x="237302" y="626889"/>
                  <a:pt x="236758" y="616005"/>
                </a:cubicBezTo>
                <a:cubicBezTo>
                  <a:pt x="236758" y="605122"/>
                  <a:pt x="243832" y="598047"/>
                  <a:pt x="254172" y="598047"/>
                </a:cubicBezTo>
                <a:close/>
                <a:moveTo>
                  <a:pt x="418513" y="590429"/>
                </a:moveTo>
                <a:cubicBezTo>
                  <a:pt x="431029" y="590429"/>
                  <a:pt x="442457" y="601857"/>
                  <a:pt x="443001" y="614917"/>
                </a:cubicBezTo>
                <a:cubicBezTo>
                  <a:pt x="443545" y="627977"/>
                  <a:pt x="432118" y="640493"/>
                  <a:pt x="419058" y="640493"/>
                </a:cubicBezTo>
                <a:cubicBezTo>
                  <a:pt x="404365" y="640493"/>
                  <a:pt x="394570" y="630698"/>
                  <a:pt x="392937" y="616005"/>
                </a:cubicBezTo>
                <a:cubicBezTo>
                  <a:pt x="391849" y="604033"/>
                  <a:pt x="405997" y="590429"/>
                  <a:pt x="418513" y="590429"/>
                </a:cubicBezTo>
                <a:close/>
                <a:moveTo>
                  <a:pt x="581222" y="587163"/>
                </a:moveTo>
                <a:cubicBezTo>
                  <a:pt x="600812" y="588252"/>
                  <a:pt x="610063" y="598047"/>
                  <a:pt x="610063" y="616549"/>
                </a:cubicBezTo>
                <a:cubicBezTo>
                  <a:pt x="610063" y="634507"/>
                  <a:pt x="599179" y="644846"/>
                  <a:pt x="580677" y="645390"/>
                </a:cubicBezTo>
                <a:cubicBezTo>
                  <a:pt x="565440" y="644846"/>
                  <a:pt x="551836" y="634507"/>
                  <a:pt x="551836" y="615461"/>
                </a:cubicBezTo>
                <a:cubicBezTo>
                  <a:pt x="551836" y="594782"/>
                  <a:pt x="567073" y="586075"/>
                  <a:pt x="581222" y="587163"/>
                </a:cubicBezTo>
                <a:close/>
                <a:moveTo>
                  <a:pt x="743930" y="582266"/>
                </a:moveTo>
                <a:cubicBezTo>
                  <a:pt x="761344" y="581178"/>
                  <a:pt x="779301" y="599136"/>
                  <a:pt x="779301" y="616005"/>
                </a:cubicBezTo>
                <a:cubicBezTo>
                  <a:pt x="779301" y="632874"/>
                  <a:pt x="762976" y="649744"/>
                  <a:pt x="745563" y="649744"/>
                </a:cubicBezTo>
                <a:cubicBezTo>
                  <a:pt x="728149" y="649200"/>
                  <a:pt x="710191" y="635595"/>
                  <a:pt x="711824" y="616549"/>
                </a:cubicBezTo>
                <a:cubicBezTo>
                  <a:pt x="711824" y="596415"/>
                  <a:pt x="724340" y="583355"/>
                  <a:pt x="743930" y="582266"/>
                </a:cubicBezTo>
                <a:close/>
                <a:moveTo>
                  <a:pt x="907183" y="577913"/>
                </a:moveTo>
                <a:cubicBezTo>
                  <a:pt x="927318" y="576825"/>
                  <a:pt x="947452" y="598592"/>
                  <a:pt x="945276" y="615461"/>
                </a:cubicBezTo>
                <a:cubicBezTo>
                  <a:pt x="945276" y="635596"/>
                  <a:pt x="927318" y="653554"/>
                  <a:pt x="907727" y="654098"/>
                </a:cubicBezTo>
                <a:cubicBezTo>
                  <a:pt x="890314" y="654642"/>
                  <a:pt x="869091" y="635052"/>
                  <a:pt x="869091" y="616006"/>
                </a:cubicBezTo>
                <a:cubicBezTo>
                  <a:pt x="869635" y="595871"/>
                  <a:pt x="887049" y="578457"/>
                  <a:pt x="907183" y="577913"/>
                </a:cubicBezTo>
                <a:close/>
                <a:moveTo>
                  <a:pt x="1069891" y="574648"/>
                </a:moveTo>
                <a:cubicBezTo>
                  <a:pt x="1092202" y="574648"/>
                  <a:pt x="1111793" y="589885"/>
                  <a:pt x="1111248" y="615461"/>
                </a:cubicBezTo>
                <a:cubicBezTo>
                  <a:pt x="1111793" y="639405"/>
                  <a:pt x="1093835" y="656274"/>
                  <a:pt x="1070435" y="656274"/>
                </a:cubicBezTo>
                <a:cubicBezTo>
                  <a:pt x="1045403" y="656274"/>
                  <a:pt x="1029622" y="635052"/>
                  <a:pt x="1029622" y="614917"/>
                </a:cubicBezTo>
                <a:cubicBezTo>
                  <a:pt x="1030166" y="593150"/>
                  <a:pt x="1046491" y="574648"/>
                  <a:pt x="1069891" y="574648"/>
                </a:cubicBezTo>
                <a:close/>
                <a:moveTo>
                  <a:pt x="1235321" y="572472"/>
                </a:moveTo>
                <a:cubicBezTo>
                  <a:pt x="1256543" y="572472"/>
                  <a:pt x="1279399" y="590973"/>
                  <a:pt x="1277222" y="616550"/>
                </a:cubicBezTo>
                <a:cubicBezTo>
                  <a:pt x="1278855" y="639949"/>
                  <a:pt x="1255455" y="660084"/>
                  <a:pt x="1233688" y="660084"/>
                </a:cubicBezTo>
                <a:cubicBezTo>
                  <a:pt x="1211377" y="660084"/>
                  <a:pt x="1189610" y="637773"/>
                  <a:pt x="1190154" y="614917"/>
                </a:cubicBezTo>
                <a:cubicBezTo>
                  <a:pt x="1190698" y="594783"/>
                  <a:pt x="1209200" y="571927"/>
                  <a:pt x="1235321" y="572472"/>
                </a:cubicBezTo>
                <a:close/>
                <a:moveTo>
                  <a:pt x="1397485" y="569206"/>
                </a:moveTo>
                <a:cubicBezTo>
                  <a:pt x="1423606" y="569750"/>
                  <a:pt x="1443196" y="587708"/>
                  <a:pt x="1443196" y="616005"/>
                </a:cubicBezTo>
                <a:cubicBezTo>
                  <a:pt x="1443196" y="642670"/>
                  <a:pt x="1424150" y="661716"/>
                  <a:pt x="1396941" y="661172"/>
                </a:cubicBezTo>
                <a:cubicBezTo>
                  <a:pt x="1369188" y="661172"/>
                  <a:pt x="1350686" y="638860"/>
                  <a:pt x="1351775" y="614373"/>
                </a:cubicBezTo>
                <a:cubicBezTo>
                  <a:pt x="1352319" y="587164"/>
                  <a:pt x="1371365" y="569206"/>
                  <a:pt x="1397485" y="569206"/>
                </a:cubicBezTo>
                <a:close/>
                <a:moveTo>
                  <a:pt x="1560738" y="567029"/>
                </a:moveTo>
                <a:cubicBezTo>
                  <a:pt x="1586859" y="567029"/>
                  <a:pt x="1608082" y="587708"/>
                  <a:pt x="1609714" y="615461"/>
                </a:cubicBezTo>
                <a:cubicBezTo>
                  <a:pt x="1608082" y="641581"/>
                  <a:pt x="1589580" y="663892"/>
                  <a:pt x="1561283" y="663892"/>
                </a:cubicBezTo>
                <a:cubicBezTo>
                  <a:pt x="1534074" y="663892"/>
                  <a:pt x="1512851" y="642669"/>
                  <a:pt x="1512851" y="616005"/>
                </a:cubicBezTo>
                <a:cubicBezTo>
                  <a:pt x="1512851" y="587163"/>
                  <a:pt x="1535706" y="567029"/>
                  <a:pt x="1560738" y="567029"/>
                </a:cubicBezTo>
                <a:close/>
                <a:moveTo>
                  <a:pt x="1725624" y="565397"/>
                </a:moveTo>
                <a:cubicBezTo>
                  <a:pt x="1747935" y="565941"/>
                  <a:pt x="1775144" y="590429"/>
                  <a:pt x="1774599" y="616005"/>
                </a:cubicBezTo>
                <a:cubicBezTo>
                  <a:pt x="1774055" y="638317"/>
                  <a:pt x="1751744" y="668246"/>
                  <a:pt x="1723447" y="664981"/>
                </a:cubicBezTo>
                <a:cubicBezTo>
                  <a:pt x="1700592" y="667158"/>
                  <a:pt x="1674471" y="643758"/>
                  <a:pt x="1674471" y="615461"/>
                </a:cubicBezTo>
                <a:cubicBezTo>
                  <a:pt x="1674471" y="588797"/>
                  <a:pt x="1700592" y="565397"/>
                  <a:pt x="1725624" y="565397"/>
                </a:cubicBezTo>
                <a:close/>
                <a:moveTo>
                  <a:pt x="1886699" y="564853"/>
                </a:moveTo>
                <a:cubicBezTo>
                  <a:pt x="1914996" y="564309"/>
                  <a:pt x="1938396" y="589341"/>
                  <a:pt x="1938396" y="614917"/>
                </a:cubicBezTo>
                <a:cubicBezTo>
                  <a:pt x="1938396" y="640493"/>
                  <a:pt x="1917717" y="667702"/>
                  <a:pt x="1887787" y="665525"/>
                </a:cubicBezTo>
                <a:cubicBezTo>
                  <a:pt x="1860034" y="667702"/>
                  <a:pt x="1837723" y="644302"/>
                  <a:pt x="1837179" y="615461"/>
                </a:cubicBezTo>
                <a:cubicBezTo>
                  <a:pt x="1837179" y="586620"/>
                  <a:pt x="1861667" y="565397"/>
                  <a:pt x="1886699" y="564853"/>
                </a:cubicBezTo>
                <a:close/>
                <a:moveTo>
                  <a:pt x="2050496" y="564852"/>
                </a:moveTo>
                <a:lnTo>
                  <a:pt x="2051041" y="564962"/>
                </a:lnTo>
                <a:lnTo>
                  <a:pt x="2051041" y="665899"/>
                </a:lnTo>
                <a:lnTo>
                  <a:pt x="2049952" y="666069"/>
                </a:lnTo>
                <a:cubicBezTo>
                  <a:pt x="2018934" y="667157"/>
                  <a:pt x="1999344" y="642669"/>
                  <a:pt x="1999344" y="615460"/>
                </a:cubicBezTo>
                <a:cubicBezTo>
                  <a:pt x="1999344" y="587163"/>
                  <a:pt x="2021655" y="564852"/>
                  <a:pt x="2050496" y="564852"/>
                </a:cubicBezTo>
                <a:close/>
                <a:moveTo>
                  <a:pt x="173090" y="517509"/>
                </a:moveTo>
                <a:cubicBezTo>
                  <a:pt x="181252" y="517509"/>
                  <a:pt x="189415" y="525672"/>
                  <a:pt x="189959" y="533834"/>
                </a:cubicBezTo>
                <a:cubicBezTo>
                  <a:pt x="189959" y="542541"/>
                  <a:pt x="182341" y="550160"/>
                  <a:pt x="173634" y="550160"/>
                </a:cubicBezTo>
                <a:cubicBezTo>
                  <a:pt x="165471" y="550160"/>
                  <a:pt x="157853" y="543085"/>
                  <a:pt x="157308" y="534923"/>
                </a:cubicBezTo>
                <a:cubicBezTo>
                  <a:pt x="156764" y="526216"/>
                  <a:pt x="164383" y="518053"/>
                  <a:pt x="173090" y="517509"/>
                </a:cubicBezTo>
                <a:close/>
                <a:moveTo>
                  <a:pt x="335798" y="511523"/>
                </a:moveTo>
                <a:cubicBezTo>
                  <a:pt x="349947" y="512067"/>
                  <a:pt x="357565" y="519686"/>
                  <a:pt x="358654" y="533834"/>
                </a:cubicBezTo>
                <a:cubicBezTo>
                  <a:pt x="359742" y="547439"/>
                  <a:pt x="348314" y="557778"/>
                  <a:pt x="336343" y="556689"/>
                </a:cubicBezTo>
                <a:cubicBezTo>
                  <a:pt x="324371" y="558322"/>
                  <a:pt x="312943" y="545806"/>
                  <a:pt x="312943" y="534378"/>
                </a:cubicBezTo>
                <a:cubicBezTo>
                  <a:pt x="312943" y="522951"/>
                  <a:pt x="322738" y="510979"/>
                  <a:pt x="335798" y="511523"/>
                </a:cubicBezTo>
                <a:close/>
                <a:moveTo>
                  <a:pt x="500139" y="506626"/>
                </a:moveTo>
                <a:cubicBezTo>
                  <a:pt x="517553" y="507170"/>
                  <a:pt x="527892" y="517509"/>
                  <a:pt x="527348" y="535467"/>
                </a:cubicBezTo>
                <a:cubicBezTo>
                  <a:pt x="526804" y="552880"/>
                  <a:pt x="515920" y="562131"/>
                  <a:pt x="497963" y="561587"/>
                </a:cubicBezTo>
                <a:cubicBezTo>
                  <a:pt x="481093" y="561043"/>
                  <a:pt x="472386" y="550704"/>
                  <a:pt x="471842" y="533290"/>
                </a:cubicBezTo>
                <a:cubicBezTo>
                  <a:pt x="471298" y="516965"/>
                  <a:pt x="485447" y="506081"/>
                  <a:pt x="500139" y="506626"/>
                </a:cubicBezTo>
                <a:close/>
                <a:moveTo>
                  <a:pt x="662304" y="500639"/>
                </a:moveTo>
                <a:cubicBezTo>
                  <a:pt x="677540" y="497919"/>
                  <a:pt x="696587" y="518597"/>
                  <a:pt x="696042" y="533290"/>
                </a:cubicBezTo>
                <a:cubicBezTo>
                  <a:pt x="694954" y="551792"/>
                  <a:pt x="681894" y="565396"/>
                  <a:pt x="663392" y="566485"/>
                </a:cubicBezTo>
                <a:cubicBezTo>
                  <a:pt x="643802" y="567573"/>
                  <a:pt x="629653" y="549615"/>
                  <a:pt x="630197" y="534378"/>
                </a:cubicBezTo>
                <a:cubicBezTo>
                  <a:pt x="630741" y="515876"/>
                  <a:pt x="644346" y="501184"/>
                  <a:pt x="662304" y="500639"/>
                </a:cubicBezTo>
                <a:close/>
                <a:moveTo>
                  <a:pt x="825557" y="496830"/>
                </a:moveTo>
                <a:cubicBezTo>
                  <a:pt x="846780" y="496286"/>
                  <a:pt x="862561" y="513700"/>
                  <a:pt x="863649" y="534923"/>
                </a:cubicBezTo>
                <a:cubicBezTo>
                  <a:pt x="862017" y="556690"/>
                  <a:pt x="845147" y="571927"/>
                  <a:pt x="825557" y="571383"/>
                </a:cubicBezTo>
                <a:cubicBezTo>
                  <a:pt x="805422" y="570838"/>
                  <a:pt x="788553" y="555057"/>
                  <a:pt x="788553" y="534379"/>
                </a:cubicBezTo>
                <a:cubicBezTo>
                  <a:pt x="788553" y="514244"/>
                  <a:pt x="804334" y="497375"/>
                  <a:pt x="825557" y="496830"/>
                </a:cubicBezTo>
                <a:close/>
                <a:moveTo>
                  <a:pt x="989898" y="494110"/>
                </a:moveTo>
                <a:cubicBezTo>
                  <a:pt x="1012209" y="494654"/>
                  <a:pt x="1029622" y="513156"/>
                  <a:pt x="1029078" y="534923"/>
                </a:cubicBezTo>
                <a:cubicBezTo>
                  <a:pt x="1028534" y="556146"/>
                  <a:pt x="1010576" y="574104"/>
                  <a:pt x="989353" y="574104"/>
                </a:cubicBezTo>
                <a:cubicBezTo>
                  <a:pt x="969763" y="574648"/>
                  <a:pt x="947452" y="556690"/>
                  <a:pt x="949629" y="533835"/>
                </a:cubicBezTo>
                <a:cubicBezTo>
                  <a:pt x="947996" y="512068"/>
                  <a:pt x="968675" y="494110"/>
                  <a:pt x="989898" y="494110"/>
                </a:cubicBezTo>
                <a:close/>
                <a:moveTo>
                  <a:pt x="1152062" y="490301"/>
                </a:moveTo>
                <a:cubicBezTo>
                  <a:pt x="1174917" y="490301"/>
                  <a:pt x="1196140" y="509347"/>
                  <a:pt x="1196140" y="533835"/>
                </a:cubicBezTo>
                <a:cubicBezTo>
                  <a:pt x="1197228" y="558867"/>
                  <a:pt x="1173829" y="577913"/>
                  <a:pt x="1152606" y="577369"/>
                </a:cubicBezTo>
                <a:cubicBezTo>
                  <a:pt x="1130839" y="577369"/>
                  <a:pt x="1109616" y="556690"/>
                  <a:pt x="1109072" y="534379"/>
                </a:cubicBezTo>
                <a:cubicBezTo>
                  <a:pt x="1108528" y="510980"/>
                  <a:pt x="1128662" y="490301"/>
                  <a:pt x="1152062" y="490301"/>
                </a:cubicBezTo>
                <a:close/>
                <a:moveTo>
                  <a:pt x="1316947" y="489212"/>
                </a:moveTo>
                <a:cubicBezTo>
                  <a:pt x="1343612" y="489756"/>
                  <a:pt x="1361570" y="510435"/>
                  <a:pt x="1361570" y="534923"/>
                </a:cubicBezTo>
                <a:cubicBezTo>
                  <a:pt x="1361570" y="560499"/>
                  <a:pt x="1341980" y="580090"/>
                  <a:pt x="1315859" y="580090"/>
                </a:cubicBezTo>
                <a:cubicBezTo>
                  <a:pt x="1291915" y="580090"/>
                  <a:pt x="1269060" y="560499"/>
                  <a:pt x="1270693" y="533835"/>
                </a:cubicBezTo>
                <a:cubicBezTo>
                  <a:pt x="1269604" y="508258"/>
                  <a:pt x="1291371" y="488124"/>
                  <a:pt x="1316947" y="489212"/>
                </a:cubicBezTo>
                <a:close/>
                <a:moveTo>
                  <a:pt x="1479112" y="484315"/>
                </a:moveTo>
                <a:cubicBezTo>
                  <a:pt x="1503599" y="484315"/>
                  <a:pt x="1528087" y="508259"/>
                  <a:pt x="1528087" y="533835"/>
                </a:cubicBezTo>
                <a:cubicBezTo>
                  <a:pt x="1528087" y="558867"/>
                  <a:pt x="1506865" y="582267"/>
                  <a:pt x="1479656" y="582267"/>
                </a:cubicBezTo>
                <a:cubicBezTo>
                  <a:pt x="1453535" y="582267"/>
                  <a:pt x="1431224" y="560500"/>
                  <a:pt x="1431224" y="533835"/>
                </a:cubicBezTo>
                <a:cubicBezTo>
                  <a:pt x="1430680" y="506626"/>
                  <a:pt x="1454624" y="485403"/>
                  <a:pt x="1479112" y="484315"/>
                </a:cubicBezTo>
                <a:close/>
                <a:moveTo>
                  <a:pt x="1643452" y="484314"/>
                </a:moveTo>
                <a:cubicBezTo>
                  <a:pt x="1667396" y="481049"/>
                  <a:pt x="1693517" y="509891"/>
                  <a:pt x="1692973" y="534923"/>
                </a:cubicBezTo>
                <a:cubicBezTo>
                  <a:pt x="1692428" y="558867"/>
                  <a:pt x="1669573" y="584987"/>
                  <a:pt x="1641276" y="583898"/>
                </a:cubicBezTo>
                <a:cubicBezTo>
                  <a:pt x="1616788" y="583354"/>
                  <a:pt x="1592300" y="562676"/>
                  <a:pt x="1592300" y="532202"/>
                </a:cubicBezTo>
                <a:cubicBezTo>
                  <a:pt x="1592300" y="509891"/>
                  <a:pt x="1615155" y="481049"/>
                  <a:pt x="1643452" y="484314"/>
                </a:cubicBezTo>
                <a:close/>
                <a:moveTo>
                  <a:pt x="1806162" y="481594"/>
                </a:moveTo>
                <a:cubicBezTo>
                  <a:pt x="1839901" y="484859"/>
                  <a:pt x="1858947" y="504993"/>
                  <a:pt x="1857858" y="536011"/>
                </a:cubicBezTo>
                <a:cubicBezTo>
                  <a:pt x="1855682" y="568662"/>
                  <a:pt x="1834459" y="584987"/>
                  <a:pt x="1803441" y="586075"/>
                </a:cubicBezTo>
                <a:cubicBezTo>
                  <a:pt x="1775144" y="584443"/>
                  <a:pt x="1751744" y="559955"/>
                  <a:pt x="1753377" y="533290"/>
                </a:cubicBezTo>
                <a:cubicBezTo>
                  <a:pt x="1755009" y="504993"/>
                  <a:pt x="1780041" y="479417"/>
                  <a:pt x="1806162" y="481594"/>
                </a:cubicBezTo>
                <a:close/>
                <a:moveTo>
                  <a:pt x="1968326" y="480505"/>
                </a:moveTo>
                <a:cubicBezTo>
                  <a:pt x="1998256" y="483226"/>
                  <a:pt x="2020023" y="501728"/>
                  <a:pt x="2022200" y="534379"/>
                </a:cubicBezTo>
                <a:cubicBezTo>
                  <a:pt x="2023832" y="560499"/>
                  <a:pt x="1996079" y="588252"/>
                  <a:pt x="1969415" y="588252"/>
                </a:cubicBezTo>
                <a:cubicBezTo>
                  <a:pt x="1943294" y="588796"/>
                  <a:pt x="1916085" y="561587"/>
                  <a:pt x="1915541" y="534923"/>
                </a:cubicBezTo>
                <a:cubicBezTo>
                  <a:pt x="1914453" y="508258"/>
                  <a:pt x="1941117" y="480505"/>
                  <a:pt x="1968326" y="480505"/>
                </a:cubicBezTo>
                <a:close/>
                <a:moveTo>
                  <a:pt x="91464" y="440780"/>
                </a:moveTo>
                <a:cubicBezTo>
                  <a:pt x="99082" y="440780"/>
                  <a:pt x="102347" y="443501"/>
                  <a:pt x="102891" y="451664"/>
                </a:cubicBezTo>
                <a:cubicBezTo>
                  <a:pt x="102891" y="460915"/>
                  <a:pt x="100171" y="464179"/>
                  <a:pt x="92008" y="464179"/>
                </a:cubicBezTo>
                <a:cubicBezTo>
                  <a:pt x="83301" y="464179"/>
                  <a:pt x="80036" y="461459"/>
                  <a:pt x="80036" y="452752"/>
                </a:cubicBezTo>
                <a:cubicBezTo>
                  <a:pt x="80036" y="444045"/>
                  <a:pt x="83301" y="440780"/>
                  <a:pt x="91464" y="440780"/>
                </a:cubicBezTo>
                <a:close/>
                <a:moveTo>
                  <a:pt x="254172" y="430441"/>
                </a:moveTo>
                <a:cubicBezTo>
                  <a:pt x="263967" y="430441"/>
                  <a:pt x="276483" y="440236"/>
                  <a:pt x="275939" y="452208"/>
                </a:cubicBezTo>
                <a:cubicBezTo>
                  <a:pt x="275939" y="463092"/>
                  <a:pt x="265600" y="473975"/>
                  <a:pt x="254716" y="473975"/>
                </a:cubicBezTo>
                <a:cubicBezTo>
                  <a:pt x="244377" y="473975"/>
                  <a:pt x="232949" y="463092"/>
                  <a:pt x="232405" y="452752"/>
                </a:cubicBezTo>
                <a:cubicBezTo>
                  <a:pt x="232405" y="442413"/>
                  <a:pt x="243833" y="430985"/>
                  <a:pt x="254172" y="430441"/>
                </a:cubicBezTo>
                <a:close/>
                <a:moveTo>
                  <a:pt x="417969" y="424999"/>
                </a:moveTo>
                <a:cubicBezTo>
                  <a:pt x="432118" y="424999"/>
                  <a:pt x="444634" y="438059"/>
                  <a:pt x="444634" y="452752"/>
                </a:cubicBezTo>
                <a:cubicBezTo>
                  <a:pt x="445178" y="464180"/>
                  <a:pt x="432662" y="481049"/>
                  <a:pt x="417425" y="479417"/>
                </a:cubicBezTo>
                <a:cubicBezTo>
                  <a:pt x="405453" y="481049"/>
                  <a:pt x="389672" y="465268"/>
                  <a:pt x="390760" y="452208"/>
                </a:cubicBezTo>
                <a:cubicBezTo>
                  <a:pt x="391849" y="437515"/>
                  <a:pt x="403276" y="424999"/>
                  <a:pt x="417969" y="424999"/>
                </a:cubicBezTo>
                <a:close/>
                <a:moveTo>
                  <a:pt x="580677" y="419558"/>
                </a:moveTo>
                <a:cubicBezTo>
                  <a:pt x="596458" y="419013"/>
                  <a:pt x="612783" y="434795"/>
                  <a:pt x="612783" y="452208"/>
                </a:cubicBezTo>
                <a:cubicBezTo>
                  <a:pt x="612783" y="469622"/>
                  <a:pt x="599723" y="483226"/>
                  <a:pt x="581221" y="484315"/>
                </a:cubicBezTo>
                <a:cubicBezTo>
                  <a:pt x="561087" y="482138"/>
                  <a:pt x="549659" y="470710"/>
                  <a:pt x="549115" y="452208"/>
                </a:cubicBezTo>
                <a:cubicBezTo>
                  <a:pt x="548571" y="433162"/>
                  <a:pt x="564352" y="420102"/>
                  <a:pt x="580677" y="419558"/>
                </a:cubicBezTo>
                <a:close/>
                <a:moveTo>
                  <a:pt x="743931" y="415748"/>
                </a:moveTo>
                <a:cubicBezTo>
                  <a:pt x="761888" y="414660"/>
                  <a:pt x="779846" y="432618"/>
                  <a:pt x="780390" y="452208"/>
                </a:cubicBezTo>
                <a:cubicBezTo>
                  <a:pt x="780934" y="471254"/>
                  <a:pt x="764065" y="488668"/>
                  <a:pt x="744475" y="489212"/>
                </a:cubicBezTo>
                <a:cubicBezTo>
                  <a:pt x="727061" y="489212"/>
                  <a:pt x="709103" y="472342"/>
                  <a:pt x="708559" y="453840"/>
                </a:cubicBezTo>
                <a:cubicBezTo>
                  <a:pt x="707471" y="435883"/>
                  <a:pt x="725428" y="416836"/>
                  <a:pt x="743931" y="415748"/>
                </a:cubicBezTo>
                <a:close/>
                <a:moveTo>
                  <a:pt x="908271" y="414116"/>
                </a:moveTo>
                <a:cubicBezTo>
                  <a:pt x="927861" y="411395"/>
                  <a:pt x="946907" y="431529"/>
                  <a:pt x="946363" y="453296"/>
                </a:cubicBezTo>
                <a:cubicBezTo>
                  <a:pt x="946363" y="473975"/>
                  <a:pt x="927317" y="491933"/>
                  <a:pt x="906638" y="491933"/>
                </a:cubicBezTo>
                <a:cubicBezTo>
                  <a:pt x="887048" y="491933"/>
                  <a:pt x="866913" y="473431"/>
                  <a:pt x="868546" y="452208"/>
                </a:cubicBezTo>
                <a:cubicBezTo>
                  <a:pt x="870179" y="428808"/>
                  <a:pt x="884871" y="413571"/>
                  <a:pt x="908271" y="414116"/>
                </a:cubicBezTo>
                <a:close/>
                <a:moveTo>
                  <a:pt x="1072068" y="409218"/>
                </a:moveTo>
                <a:cubicBezTo>
                  <a:pt x="1097100" y="410307"/>
                  <a:pt x="1113970" y="427720"/>
                  <a:pt x="1113970" y="452752"/>
                </a:cubicBezTo>
                <a:cubicBezTo>
                  <a:pt x="1113970" y="478329"/>
                  <a:pt x="1092203" y="495198"/>
                  <a:pt x="1070436" y="495198"/>
                </a:cubicBezTo>
                <a:cubicBezTo>
                  <a:pt x="1048124" y="494654"/>
                  <a:pt x="1027446" y="475063"/>
                  <a:pt x="1028534" y="451120"/>
                </a:cubicBezTo>
                <a:cubicBezTo>
                  <a:pt x="1029622" y="427720"/>
                  <a:pt x="1048669" y="408130"/>
                  <a:pt x="1072068" y="409218"/>
                </a:cubicBezTo>
                <a:close/>
                <a:moveTo>
                  <a:pt x="1235865" y="408130"/>
                </a:moveTo>
                <a:cubicBezTo>
                  <a:pt x="1258721" y="405953"/>
                  <a:pt x="1279400" y="427176"/>
                  <a:pt x="1279400" y="453296"/>
                </a:cubicBezTo>
                <a:cubicBezTo>
                  <a:pt x="1278855" y="478328"/>
                  <a:pt x="1258177" y="497374"/>
                  <a:pt x="1233689" y="497374"/>
                </a:cubicBezTo>
                <a:cubicBezTo>
                  <a:pt x="1209745" y="496830"/>
                  <a:pt x="1189066" y="476151"/>
                  <a:pt x="1189611" y="451664"/>
                </a:cubicBezTo>
                <a:cubicBezTo>
                  <a:pt x="1189611" y="429352"/>
                  <a:pt x="1209201" y="404864"/>
                  <a:pt x="1235865" y="408130"/>
                </a:cubicBezTo>
                <a:close/>
                <a:moveTo>
                  <a:pt x="1396941" y="403776"/>
                </a:moveTo>
                <a:cubicBezTo>
                  <a:pt x="1425238" y="403232"/>
                  <a:pt x="1445373" y="423911"/>
                  <a:pt x="1446461" y="450575"/>
                </a:cubicBezTo>
                <a:cubicBezTo>
                  <a:pt x="1447005" y="476696"/>
                  <a:pt x="1426327" y="500096"/>
                  <a:pt x="1399118" y="500640"/>
                </a:cubicBezTo>
                <a:cubicBezTo>
                  <a:pt x="1372453" y="501184"/>
                  <a:pt x="1349598" y="479961"/>
                  <a:pt x="1349598" y="453296"/>
                </a:cubicBezTo>
                <a:cubicBezTo>
                  <a:pt x="1349598" y="424999"/>
                  <a:pt x="1370277" y="404865"/>
                  <a:pt x="1396941" y="403776"/>
                </a:cubicBezTo>
                <a:close/>
                <a:moveTo>
                  <a:pt x="1560738" y="402144"/>
                </a:moveTo>
                <a:cubicBezTo>
                  <a:pt x="1588491" y="402144"/>
                  <a:pt x="1611347" y="427176"/>
                  <a:pt x="1611347" y="453297"/>
                </a:cubicBezTo>
                <a:cubicBezTo>
                  <a:pt x="1610803" y="476152"/>
                  <a:pt x="1590668" y="502817"/>
                  <a:pt x="1560194" y="502272"/>
                </a:cubicBezTo>
                <a:cubicBezTo>
                  <a:pt x="1534074" y="501728"/>
                  <a:pt x="1508498" y="479961"/>
                  <a:pt x="1511218" y="451664"/>
                </a:cubicBezTo>
                <a:cubicBezTo>
                  <a:pt x="1508498" y="425544"/>
                  <a:pt x="1534618" y="402144"/>
                  <a:pt x="1560738" y="402144"/>
                </a:cubicBezTo>
                <a:close/>
                <a:moveTo>
                  <a:pt x="1723991" y="399423"/>
                </a:moveTo>
                <a:cubicBezTo>
                  <a:pt x="1756097" y="402688"/>
                  <a:pt x="1777320" y="422278"/>
                  <a:pt x="1776776" y="452752"/>
                </a:cubicBezTo>
                <a:cubicBezTo>
                  <a:pt x="1776232" y="483226"/>
                  <a:pt x="1757730" y="501728"/>
                  <a:pt x="1725079" y="504993"/>
                </a:cubicBezTo>
                <a:cubicBezTo>
                  <a:pt x="1697870" y="507714"/>
                  <a:pt x="1670117" y="479961"/>
                  <a:pt x="1671750" y="452752"/>
                </a:cubicBezTo>
                <a:cubicBezTo>
                  <a:pt x="1673382" y="420102"/>
                  <a:pt x="1692428" y="403232"/>
                  <a:pt x="1723991" y="399423"/>
                </a:cubicBezTo>
                <a:close/>
                <a:moveTo>
                  <a:pt x="2051040" y="398335"/>
                </a:moveTo>
                <a:lnTo>
                  <a:pt x="2051041" y="398335"/>
                </a:lnTo>
                <a:lnTo>
                  <a:pt x="2051041" y="506936"/>
                </a:lnTo>
                <a:lnTo>
                  <a:pt x="2049952" y="507170"/>
                </a:lnTo>
                <a:cubicBezTo>
                  <a:pt x="2020566" y="506626"/>
                  <a:pt x="1995534" y="481593"/>
                  <a:pt x="1995534" y="452208"/>
                </a:cubicBezTo>
                <a:cubicBezTo>
                  <a:pt x="1996078" y="424455"/>
                  <a:pt x="2021655" y="397246"/>
                  <a:pt x="2051040" y="398335"/>
                </a:cubicBezTo>
                <a:close/>
                <a:moveTo>
                  <a:pt x="1888332" y="398335"/>
                </a:moveTo>
                <a:cubicBezTo>
                  <a:pt x="1915541" y="398879"/>
                  <a:pt x="1941661" y="423911"/>
                  <a:pt x="1941661" y="452208"/>
                </a:cubicBezTo>
                <a:cubicBezTo>
                  <a:pt x="1941661" y="481594"/>
                  <a:pt x="1916085" y="507170"/>
                  <a:pt x="1886699" y="506082"/>
                </a:cubicBezTo>
                <a:cubicBezTo>
                  <a:pt x="1857314" y="505538"/>
                  <a:pt x="1833914" y="481594"/>
                  <a:pt x="1833370" y="452208"/>
                </a:cubicBezTo>
                <a:cubicBezTo>
                  <a:pt x="1833370" y="423911"/>
                  <a:pt x="1860035" y="398335"/>
                  <a:pt x="1888332" y="398335"/>
                </a:cubicBezTo>
                <a:close/>
                <a:moveTo>
                  <a:pt x="12014" y="364052"/>
                </a:moveTo>
                <a:cubicBezTo>
                  <a:pt x="13102" y="365140"/>
                  <a:pt x="15279" y="367317"/>
                  <a:pt x="15823" y="370038"/>
                </a:cubicBezTo>
                <a:cubicBezTo>
                  <a:pt x="16911" y="374391"/>
                  <a:pt x="14191" y="377656"/>
                  <a:pt x="9293" y="377656"/>
                </a:cubicBezTo>
                <a:cubicBezTo>
                  <a:pt x="4940" y="377656"/>
                  <a:pt x="3307" y="374936"/>
                  <a:pt x="3307" y="371126"/>
                </a:cubicBezTo>
                <a:cubicBezTo>
                  <a:pt x="3307" y="367317"/>
                  <a:pt x="4940" y="364052"/>
                  <a:pt x="12014" y="364052"/>
                </a:cubicBezTo>
                <a:close/>
                <a:moveTo>
                  <a:pt x="172545" y="353713"/>
                </a:moveTo>
                <a:cubicBezTo>
                  <a:pt x="184517" y="353713"/>
                  <a:pt x="190503" y="359154"/>
                  <a:pt x="190503" y="370582"/>
                </a:cubicBezTo>
                <a:cubicBezTo>
                  <a:pt x="190503" y="381466"/>
                  <a:pt x="184517" y="387996"/>
                  <a:pt x="173090" y="387996"/>
                </a:cubicBezTo>
                <a:cubicBezTo>
                  <a:pt x="163839" y="388540"/>
                  <a:pt x="155676" y="381466"/>
                  <a:pt x="155676" y="371126"/>
                </a:cubicBezTo>
                <a:cubicBezTo>
                  <a:pt x="155676" y="362419"/>
                  <a:pt x="161662" y="352080"/>
                  <a:pt x="172545" y="353713"/>
                </a:cubicBezTo>
                <a:close/>
                <a:moveTo>
                  <a:pt x="336886" y="345550"/>
                </a:moveTo>
                <a:cubicBezTo>
                  <a:pt x="350490" y="346094"/>
                  <a:pt x="362462" y="358610"/>
                  <a:pt x="361374" y="371670"/>
                </a:cubicBezTo>
                <a:cubicBezTo>
                  <a:pt x="360286" y="385275"/>
                  <a:pt x="348858" y="395614"/>
                  <a:pt x="335798" y="395070"/>
                </a:cubicBezTo>
                <a:cubicBezTo>
                  <a:pt x="319472" y="394526"/>
                  <a:pt x="311854" y="381466"/>
                  <a:pt x="311854" y="370038"/>
                </a:cubicBezTo>
                <a:cubicBezTo>
                  <a:pt x="311854" y="356978"/>
                  <a:pt x="324370" y="345550"/>
                  <a:pt x="336886" y="345550"/>
                </a:cubicBezTo>
                <a:close/>
                <a:moveTo>
                  <a:pt x="499596" y="342284"/>
                </a:moveTo>
                <a:cubicBezTo>
                  <a:pt x="518642" y="341196"/>
                  <a:pt x="528437" y="354256"/>
                  <a:pt x="528437" y="370582"/>
                </a:cubicBezTo>
                <a:cubicBezTo>
                  <a:pt x="528437" y="386363"/>
                  <a:pt x="518642" y="399967"/>
                  <a:pt x="499051" y="399423"/>
                </a:cubicBezTo>
                <a:cubicBezTo>
                  <a:pt x="481094" y="399423"/>
                  <a:pt x="470210" y="387995"/>
                  <a:pt x="470210" y="370037"/>
                </a:cubicBezTo>
                <a:cubicBezTo>
                  <a:pt x="470754" y="352624"/>
                  <a:pt x="481638" y="341740"/>
                  <a:pt x="499596" y="342284"/>
                </a:cubicBezTo>
                <a:close/>
                <a:moveTo>
                  <a:pt x="663392" y="337387"/>
                </a:moveTo>
                <a:cubicBezTo>
                  <a:pt x="680262" y="337387"/>
                  <a:pt x="697675" y="354801"/>
                  <a:pt x="697131" y="371126"/>
                </a:cubicBezTo>
                <a:cubicBezTo>
                  <a:pt x="696043" y="390172"/>
                  <a:pt x="682982" y="404321"/>
                  <a:pt x="662304" y="404321"/>
                </a:cubicBezTo>
                <a:cubicBezTo>
                  <a:pt x="643258" y="405953"/>
                  <a:pt x="629109" y="389084"/>
                  <a:pt x="629109" y="371126"/>
                </a:cubicBezTo>
                <a:cubicBezTo>
                  <a:pt x="629109" y="352624"/>
                  <a:pt x="645434" y="337387"/>
                  <a:pt x="663392" y="337387"/>
                </a:cubicBezTo>
                <a:close/>
                <a:moveTo>
                  <a:pt x="825556" y="332489"/>
                </a:moveTo>
                <a:cubicBezTo>
                  <a:pt x="847323" y="333577"/>
                  <a:pt x="864193" y="349358"/>
                  <a:pt x="864737" y="370037"/>
                </a:cubicBezTo>
                <a:cubicBezTo>
                  <a:pt x="864193" y="391260"/>
                  <a:pt x="847323" y="409218"/>
                  <a:pt x="826645" y="409218"/>
                </a:cubicBezTo>
                <a:cubicBezTo>
                  <a:pt x="808687" y="412483"/>
                  <a:pt x="788008" y="387995"/>
                  <a:pt x="787464" y="371126"/>
                </a:cubicBezTo>
                <a:cubicBezTo>
                  <a:pt x="787464" y="353712"/>
                  <a:pt x="808687" y="331945"/>
                  <a:pt x="825556" y="332489"/>
                </a:cubicBezTo>
                <a:close/>
                <a:moveTo>
                  <a:pt x="989898" y="328680"/>
                </a:moveTo>
                <a:cubicBezTo>
                  <a:pt x="1013297" y="329224"/>
                  <a:pt x="1030167" y="347182"/>
                  <a:pt x="1031255" y="371126"/>
                </a:cubicBezTo>
                <a:cubicBezTo>
                  <a:pt x="1029623" y="396702"/>
                  <a:pt x="1010576" y="413027"/>
                  <a:pt x="989354" y="413027"/>
                </a:cubicBezTo>
                <a:cubicBezTo>
                  <a:pt x="964866" y="412483"/>
                  <a:pt x="946908" y="393981"/>
                  <a:pt x="947452" y="370037"/>
                </a:cubicBezTo>
                <a:cubicBezTo>
                  <a:pt x="947996" y="346094"/>
                  <a:pt x="964866" y="328680"/>
                  <a:pt x="989898" y="328680"/>
                </a:cubicBezTo>
                <a:close/>
                <a:moveTo>
                  <a:pt x="1153150" y="326504"/>
                </a:moveTo>
                <a:cubicBezTo>
                  <a:pt x="1177094" y="326504"/>
                  <a:pt x="1197228" y="347727"/>
                  <a:pt x="1197228" y="370582"/>
                </a:cubicBezTo>
                <a:cubicBezTo>
                  <a:pt x="1197228" y="392894"/>
                  <a:pt x="1176550" y="417925"/>
                  <a:pt x="1152606" y="414661"/>
                </a:cubicBezTo>
                <a:cubicBezTo>
                  <a:pt x="1130295" y="417925"/>
                  <a:pt x="1107984" y="393982"/>
                  <a:pt x="1108528" y="370038"/>
                </a:cubicBezTo>
                <a:cubicBezTo>
                  <a:pt x="1109072" y="347727"/>
                  <a:pt x="1129751" y="326504"/>
                  <a:pt x="1153150" y="326504"/>
                </a:cubicBezTo>
                <a:close/>
                <a:moveTo>
                  <a:pt x="1317492" y="323239"/>
                </a:moveTo>
                <a:cubicBezTo>
                  <a:pt x="1341979" y="322151"/>
                  <a:pt x="1367012" y="348271"/>
                  <a:pt x="1364835" y="372215"/>
                </a:cubicBezTo>
                <a:cubicBezTo>
                  <a:pt x="1361026" y="399968"/>
                  <a:pt x="1344700" y="416837"/>
                  <a:pt x="1314771" y="419014"/>
                </a:cubicBezTo>
                <a:cubicBezTo>
                  <a:pt x="1286474" y="415205"/>
                  <a:pt x="1267972" y="398879"/>
                  <a:pt x="1268516" y="370582"/>
                </a:cubicBezTo>
                <a:cubicBezTo>
                  <a:pt x="1268516" y="341197"/>
                  <a:pt x="1288650" y="324327"/>
                  <a:pt x="1317492" y="323239"/>
                </a:cubicBezTo>
                <a:close/>
                <a:moveTo>
                  <a:pt x="1479112" y="320517"/>
                </a:moveTo>
                <a:cubicBezTo>
                  <a:pt x="1503600" y="319973"/>
                  <a:pt x="1530265" y="343917"/>
                  <a:pt x="1529720" y="371670"/>
                </a:cubicBezTo>
                <a:cubicBezTo>
                  <a:pt x="1528632" y="395069"/>
                  <a:pt x="1506321" y="423366"/>
                  <a:pt x="1478568" y="420101"/>
                </a:cubicBezTo>
                <a:cubicBezTo>
                  <a:pt x="1452447" y="422822"/>
                  <a:pt x="1429592" y="397246"/>
                  <a:pt x="1429592" y="370037"/>
                </a:cubicBezTo>
                <a:cubicBezTo>
                  <a:pt x="1429592" y="342284"/>
                  <a:pt x="1455713" y="320517"/>
                  <a:pt x="1479112" y="320517"/>
                </a:cubicBezTo>
                <a:close/>
                <a:moveTo>
                  <a:pt x="1642364" y="318341"/>
                </a:moveTo>
                <a:cubicBezTo>
                  <a:pt x="1670661" y="318341"/>
                  <a:pt x="1692973" y="339020"/>
                  <a:pt x="1695694" y="370582"/>
                </a:cubicBezTo>
                <a:cubicBezTo>
                  <a:pt x="1696238" y="397791"/>
                  <a:pt x="1671206" y="423367"/>
                  <a:pt x="1643453" y="424455"/>
                </a:cubicBezTo>
                <a:cubicBezTo>
                  <a:pt x="1616788" y="425544"/>
                  <a:pt x="1589035" y="398335"/>
                  <a:pt x="1589035" y="371670"/>
                </a:cubicBezTo>
                <a:cubicBezTo>
                  <a:pt x="1589035" y="345006"/>
                  <a:pt x="1615155" y="317797"/>
                  <a:pt x="1642364" y="318341"/>
                </a:cubicBezTo>
                <a:close/>
                <a:moveTo>
                  <a:pt x="90919" y="273718"/>
                </a:moveTo>
                <a:cubicBezTo>
                  <a:pt x="96361" y="273174"/>
                  <a:pt x="106156" y="282425"/>
                  <a:pt x="106700" y="288411"/>
                </a:cubicBezTo>
                <a:cubicBezTo>
                  <a:pt x="106700" y="294941"/>
                  <a:pt x="97993" y="303648"/>
                  <a:pt x="91463" y="303648"/>
                </a:cubicBezTo>
                <a:cubicBezTo>
                  <a:pt x="84933" y="303648"/>
                  <a:pt x="76226" y="294941"/>
                  <a:pt x="76770" y="288411"/>
                </a:cubicBezTo>
                <a:cubicBezTo>
                  <a:pt x="76770" y="283513"/>
                  <a:pt x="86021" y="274262"/>
                  <a:pt x="90919" y="273718"/>
                </a:cubicBezTo>
                <a:close/>
                <a:moveTo>
                  <a:pt x="254716" y="267733"/>
                </a:moveTo>
                <a:cubicBezTo>
                  <a:pt x="267776" y="267733"/>
                  <a:pt x="276483" y="276440"/>
                  <a:pt x="276483" y="288956"/>
                </a:cubicBezTo>
                <a:cubicBezTo>
                  <a:pt x="276483" y="301472"/>
                  <a:pt x="266688" y="311811"/>
                  <a:pt x="254172" y="311811"/>
                </a:cubicBezTo>
                <a:cubicBezTo>
                  <a:pt x="243289" y="311811"/>
                  <a:pt x="232405" y="300384"/>
                  <a:pt x="232405" y="289500"/>
                </a:cubicBezTo>
                <a:cubicBezTo>
                  <a:pt x="232405" y="276984"/>
                  <a:pt x="242744" y="267733"/>
                  <a:pt x="254716" y="267733"/>
                </a:cubicBezTo>
                <a:close/>
                <a:moveTo>
                  <a:pt x="1941117" y="263202"/>
                </a:moveTo>
                <a:cubicBezTo>
                  <a:pt x="1937852" y="261570"/>
                  <a:pt x="1936219" y="263202"/>
                  <a:pt x="1936219" y="266467"/>
                </a:cubicBezTo>
                <a:cubicBezTo>
                  <a:pt x="1936763" y="268644"/>
                  <a:pt x="1937852" y="270276"/>
                  <a:pt x="1938396" y="272453"/>
                </a:cubicBezTo>
                <a:cubicBezTo>
                  <a:pt x="1944382" y="290955"/>
                  <a:pt x="1943838" y="308913"/>
                  <a:pt x="1932954" y="325782"/>
                </a:cubicBezTo>
                <a:cubicBezTo>
                  <a:pt x="1931866" y="327415"/>
                  <a:pt x="1931866" y="329047"/>
                  <a:pt x="1930777" y="331224"/>
                </a:cubicBezTo>
                <a:cubicBezTo>
                  <a:pt x="1932410" y="331224"/>
                  <a:pt x="1935131" y="331224"/>
                  <a:pt x="1936219" y="330136"/>
                </a:cubicBezTo>
                <a:cubicBezTo>
                  <a:pt x="1945470" y="323061"/>
                  <a:pt x="1955265" y="320885"/>
                  <a:pt x="1966693" y="320340"/>
                </a:cubicBezTo>
                <a:cubicBezTo>
                  <a:pt x="1978121" y="319796"/>
                  <a:pt x="1989004" y="323061"/>
                  <a:pt x="1998799" y="328503"/>
                </a:cubicBezTo>
                <a:cubicBezTo>
                  <a:pt x="2000432" y="329047"/>
                  <a:pt x="2001520" y="329592"/>
                  <a:pt x="2003153" y="330136"/>
                </a:cubicBezTo>
                <a:cubicBezTo>
                  <a:pt x="2002609" y="328503"/>
                  <a:pt x="2002609" y="326326"/>
                  <a:pt x="2001520" y="324694"/>
                </a:cubicBezTo>
                <a:cubicBezTo>
                  <a:pt x="1999344" y="319796"/>
                  <a:pt x="1995534" y="314899"/>
                  <a:pt x="1994446" y="309457"/>
                </a:cubicBezTo>
                <a:cubicBezTo>
                  <a:pt x="1992269" y="295308"/>
                  <a:pt x="1990093" y="281160"/>
                  <a:pt x="1998255" y="267555"/>
                </a:cubicBezTo>
                <a:cubicBezTo>
                  <a:pt x="2000432" y="267555"/>
                  <a:pt x="2000432" y="265923"/>
                  <a:pt x="2000976" y="263746"/>
                </a:cubicBezTo>
                <a:cubicBezTo>
                  <a:pt x="1998799" y="263746"/>
                  <a:pt x="1996623" y="262658"/>
                  <a:pt x="1995534" y="263746"/>
                </a:cubicBezTo>
                <a:cubicBezTo>
                  <a:pt x="1977577" y="272997"/>
                  <a:pt x="1959075" y="272997"/>
                  <a:pt x="1941117" y="263202"/>
                </a:cubicBezTo>
                <a:close/>
                <a:moveTo>
                  <a:pt x="417425" y="262291"/>
                </a:moveTo>
                <a:cubicBezTo>
                  <a:pt x="434839" y="262291"/>
                  <a:pt x="445178" y="272086"/>
                  <a:pt x="445178" y="288956"/>
                </a:cubicBezTo>
                <a:cubicBezTo>
                  <a:pt x="445178" y="305825"/>
                  <a:pt x="434839" y="316164"/>
                  <a:pt x="417969" y="317253"/>
                </a:cubicBezTo>
                <a:cubicBezTo>
                  <a:pt x="404909" y="317797"/>
                  <a:pt x="389672" y="306369"/>
                  <a:pt x="390216" y="290044"/>
                </a:cubicBezTo>
                <a:cubicBezTo>
                  <a:pt x="391305" y="272086"/>
                  <a:pt x="400011" y="262291"/>
                  <a:pt x="417425" y="262291"/>
                </a:cubicBezTo>
                <a:close/>
                <a:moveTo>
                  <a:pt x="580678" y="256304"/>
                </a:moveTo>
                <a:cubicBezTo>
                  <a:pt x="596459" y="255760"/>
                  <a:pt x="616049" y="273174"/>
                  <a:pt x="613872" y="288955"/>
                </a:cubicBezTo>
                <a:cubicBezTo>
                  <a:pt x="615505" y="304736"/>
                  <a:pt x="598635" y="322150"/>
                  <a:pt x="581222" y="322150"/>
                </a:cubicBezTo>
                <a:cubicBezTo>
                  <a:pt x="564352" y="322150"/>
                  <a:pt x="548571" y="308001"/>
                  <a:pt x="548027" y="289499"/>
                </a:cubicBezTo>
                <a:cubicBezTo>
                  <a:pt x="547483" y="272086"/>
                  <a:pt x="565441" y="256849"/>
                  <a:pt x="580678" y="256304"/>
                </a:cubicBezTo>
                <a:close/>
                <a:moveTo>
                  <a:pt x="743930" y="251951"/>
                </a:moveTo>
                <a:cubicBezTo>
                  <a:pt x="764609" y="251951"/>
                  <a:pt x="782566" y="268820"/>
                  <a:pt x="782022" y="289499"/>
                </a:cubicBezTo>
                <a:cubicBezTo>
                  <a:pt x="781478" y="311266"/>
                  <a:pt x="765153" y="326503"/>
                  <a:pt x="744474" y="326503"/>
                </a:cubicBezTo>
                <a:cubicBezTo>
                  <a:pt x="723795" y="326503"/>
                  <a:pt x="708014" y="311266"/>
                  <a:pt x="707470" y="289499"/>
                </a:cubicBezTo>
                <a:cubicBezTo>
                  <a:pt x="706926" y="271541"/>
                  <a:pt x="722163" y="252495"/>
                  <a:pt x="743930" y="251951"/>
                </a:cubicBezTo>
                <a:close/>
                <a:moveTo>
                  <a:pt x="907183" y="249775"/>
                </a:moveTo>
                <a:cubicBezTo>
                  <a:pt x="929494" y="249775"/>
                  <a:pt x="946908" y="263924"/>
                  <a:pt x="947452" y="289500"/>
                </a:cubicBezTo>
                <a:cubicBezTo>
                  <a:pt x="947996" y="311811"/>
                  <a:pt x="931127" y="330313"/>
                  <a:pt x="908271" y="329225"/>
                </a:cubicBezTo>
                <a:cubicBezTo>
                  <a:pt x="885960" y="330857"/>
                  <a:pt x="868002" y="312355"/>
                  <a:pt x="867458" y="290044"/>
                </a:cubicBezTo>
                <a:cubicBezTo>
                  <a:pt x="867458" y="266100"/>
                  <a:pt x="884872" y="249775"/>
                  <a:pt x="907183" y="249775"/>
                </a:cubicBezTo>
                <a:close/>
                <a:moveTo>
                  <a:pt x="1070435" y="245965"/>
                </a:moveTo>
                <a:cubicBezTo>
                  <a:pt x="1093291" y="245421"/>
                  <a:pt x="1116146" y="264467"/>
                  <a:pt x="1114513" y="290043"/>
                </a:cubicBezTo>
                <a:cubicBezTo>
                  <a:pt x="1115602" y="312899"/>
                  <a:pt x="1092202" y="334122"/>
                  <a:pt x="1069347" y="333578"/>
                </a:cubicBezTo>
                <a:cubicBezTo>
                  <a:pt x="1047036" y="333034"/>
                  <a:pt x="1026357" y="311266"/>
                  <a:pt x="1026357" y="288955"/>
                </a:cubicBezTo>
                <a:cubicBezTo>
                  <a:pt x="1026901" y="268276"/>
                  <a:pt x="1045403" y="245965"/>
                  <a:pt x="1070435" y="245965"/>
                </a:cubicBezTo>
                <a:close/>
                <a:moveTo>
                  <a:pt x="1233689" y="241613"/>
                </a:moveTo>
                <a:cubicBezTo>
                  <a:pt x="1257632" y="241068"/>
                  <a:pt x="1281032" y="263924"/>
                  <a:pt x="1282120" y="288412"/>
                </a:cubicBezTo>
                <a:cubicBezTo>
                  <a:pt x="1282665" y="312900"/>
                  <a:pt x="1260898" y="336299"/>
                  <a:pt x="1235321" y="335755"/>
                </a:cubicBezTo>
                <a:cubicBezTo>
                  <a:pt x="1206480" y="335211"/>
                  <a:pt x="1190155" y="318886"/>
                  <a:pt x="1187434" y="289500"/>
                </a:cubicBezTo>
                <a:cubicBezTo>
                  <a:pt x="1184713" y="266100"/>
                  <a:pt x="1208657" y="242701"/>
                  <a:pt x="1233689" y="241613"/>
                </a:cubicBezTo>
                <a:close/>
                <a:moveTo>
                  <a:pt x="1397485" y="238891"/>
                </a:moveTo>
                <a:cubicBezTo>
                  <a:pt x="1421973" y="237259"/>
                  <a:pt x="1448638" y="264467"/>
                  <a:pt x="1448094" y="288955"/>
                </a:cubicBezTo>
                <a:cubicBezTo>
                  <a:pt x="1447005" y="312355"/>
                  <a:pt x="1424150" y="341196"/>
                  <a:pt x="1398029" y="338475"/>
                </a:cubicBezTo>
                <a:cubicBezTo>
                  <a:pt x="1372453" y="340652"/>
                  <a:pt x="1347421" y="315620"/>
                  <a:pt x="1348509" y="289499"/>
                </a:cubicBezTo>
                <a:cubicBezTo>
                  <a:pt x="1349598" y="261202"/>
                  <a:pt x="1369732" y="240524"/>
                  <a:pt x="1397485" y="238891"/>
                </a:cubicBezTo>
                <a:close/>
                <a:moveTo>
                  <a:pt x="1559650" y="237258"/>
                </a:moveTo>
                <a:cubicBezTo>
                  <a:pt x="1590668" y="236170"/>
                  <a:pt x="1611891" y="259570"/>
                  <a:pt x="1613523" y="288955"/>
                </a:cubicBezTo>
                <a:cubicBezTo>
                  <a:pt x="1613523" y="316164"/>
                  <a:pt x="1587403" y="342829"/>
                  <a:pt x="1560738" y="342829"/>
                </a:cubicBezTo>
                <a:cubicBezTo>
                  <a:pt x="1534618" y="342829"/>
                  <a:pt x="1505776" y="315620"/>
                  <a:pt x="1507953" y="289499"/>
                </a:cubicBezTo>
                <a:cubicBezTo>
                  <a:pt x="1510130" y="261202"/>
                  <a:pt x="1526455" y="238347"/>
                  <a:pt x="1559650" y="237258"/>
                </a:cubicBezTo>
                <a:close/>
                <a:moveTo>
                  <a:pt x="9837" y="198078"/>
                </a:moveTo>
                <a:cubicBezTo>
                  <a:pt x="14190" y="198078"/>
                  <a:pt x="19632" y="202976"/>
                  <a:pt x="19632" y="207873"/>
                </a:cubicBezTo>
                <a:cubicBezTo>
                  <a:pt x="19632" y="212227"/>
                  <a:pt x="14190" y="217668"/>
                  <a:pt x="10381" y="218213"/>
                </a:cubicBezTo>
                <a:cubicBezTo>
                  <a:pt x="5483" y="218757"/>
                  <a:pt x="-503" y="212771"/>
                  <a:pt x="42" y="207873"/>
                </a:cubicBezTo>
                <a:cubicBezTo>
                  <a:pt x="42" y="202976"/>
                  <a:pt x="5483" y="198078"/>
                  <a:pt x="9837" y="198078"/>
                </a:cubicBezTo>
                <a:close/>
                <a:moveTo>
                  <a:pt x="173090" y="187739"/>
                </a:moveTo>
                <a:cubicBezTo>
                  <a:pt x="183429" y="188283"/>
                  <a:pt x="192136" y="196990"/>
                  <a:pt x="192136" y="207329"/>
                </a:cubicBezTo>
                <a:cubicBezTo>
                  <a:pt x="192136" y="217669"/>
                  <a:pt x="182341" y="228008"/>
                  <a:pt x="172546" y="227464"/>
                </a:cubicBezTo>
                <a:cubicBezTo>
                  <a:pt x="163839" y="226920"/>
                  <a:pt x="154588" y="217669"/>
                  <a:pt x="154044" y="208418"/>
                </a:cubicBezTo>
                <a:cubicBezTo>
                  <a:pt x="153500" y="198078"/>
                  <a:pt x="162751" y="187739"/>
                  <a:pt x="173090" y="187739"/>
                </a:cubicBezTo>
                <a:close/>
                <a:moveTo>
                  <a:pt x="336887" y="182297"/>
                </a:moveTo>
                <a:cubicBezTo>
                  <a:pt x="350491" y="182841"/>
                  <a:pt x="361919" y="191548"/>
                  <a:pt x="363007" y="207329"/>
                </a:cubicBezTo>
                <a:cubicBezTo>
                  <a:pt x="363551" y="219845"/>
                  <a:pt x="349947" y="233449"/>
                  <a:pt x="336887" y="233994"/>
                </a:cubicBezTo>
                <a:cubicBezTo>
                  <a:pt x="324371" y="233994"/>
                  <a:pt x="311311" y="221478"/>
                  <a:pt x="310766" y="208961"/>
                </a:cubicBezTo>
                <a:cubicBezTo>
                  <a:pt x="310222" y="195357"/>
                  <a:pt x="323282" y="181753"/>
                  <a:pt x="336887" y="182297"/>
                </a:cubicBezTo>
                <a:close/>
                <a:moveTo>
                  <a:pt x="1856225" y="180487"/>
                </a:moveTo>
                <a:cubicBezTo>
                  <a:pt x="1856225" y="182664"/>
                  <a:pt x="1855137" y="184841"/>
                  <a:pt x="1855681" y="185929"/>
                </a:cubicBezTo>
                <a:cubicBezTo>
                  <a:pt x="1863844" y="206064"/>
                  <a:pt x="1863844" y="226198"/>
                  <a:pt x="1851872" y="244700"/>
                </a:cubicBezTo>
                <a:cubicBezTo>
                  <a:pt x="1851328" y="245788"/>
                  <a:pt x="1851328" y="246877"/>
                  <a:pt x="1851328" y="247965"/>
                </a:cubicBezTo>
                <a:cubicBezTo>
                  <a:pt x="1852416" y="247965"/>
                  <a:pt x="1854049" y="247965"/>
                  <a:pt x="1854593" y="247421"/>
                </a:cubicBezTo>
                <a:cubicBezTo>
                  <a:pt x="1868197" y="237082"/>
                  <a:pt x="1883434" y="237082"/>
                  <a:pt x="1899215" y="238714"/>
                </a:cubicBezTo>
                <a:cubicBezTo>
                  <a:pt x="1904113" y="239258"/>
                  <a:pt x="1909010" y="241979"/>
                  <a:pt x="1913908" y="243067"/>
                </a:cubicBezTo>
                <a:cubicBezTo>
                  <a:pt x="1915541" y="243612"/>
                  <a:pt x="1917173" y="242523"/>
                  <a:pt x="1918806" y="242523"/>
                </a:cubicBezTo>
                <a:cubicBezTo>
                  <a:pt x="1918806" y="240891"/>
                  <a:pt x="1918806" y="239258"/>
                  <a:pt x="1918261" y="238170"/>
                </a:cubicBezTo>
                <a:cubicBezTo>
                  <a:pt x="1908466" y="220756"/>
                  <a:pt x="1910099" y="203887"/>
                  <a:pt x="1917173" y="185929"/>
                </a:cubicBezTo>
                <a:cubicBezTo>
                  <a:pt x="1917717" y="184297"/>
                  <a:pt x="1917717" y="183208"/>
                  <a:pt x="1918261" y="181576"/>
                </a:cubicBezTo>
                <a:cubicBezTo>
                  <a:pt x="1916629" y="182120"/>
                  <a:pt x="1914996" y="182120"/>
                  <a:pt x="1913908" y="182664"/>
                </a:cubicBezTo>
                <a:cubicBezTo>
                  <a:pt x="1895950" y="189738"/>
                  <a:pt x="1877992" y="190827"/>
                  <a:pt x="1860579" y="180487"/>
                </a:cubicBezTo>
                <a:cubicBezTo>
                  <a:pt x="1858946" y="181031"/>
                  <a:pt x="1857858" y="181031"/>
                  <a:pt x="1856225" y="180487"/>
                </a:cubicBezTo>
                <a:close/>
                <a:moveTo>
                  <a:pt x="499595" y="175767"/>
                </a:moveTo>
                <a:cubicBezTo>
                  <a:pt x="514832" y="175767"/>
                  <a:pt x="531702" y="193181"/>
                  <a:pt x="531158" y="207874"/>
                </a:cubicBezTo>
                <a:cubicBezTo>
                  <a:pt x="530613" y="223110"/>
                  <a:pt x="513744" y="239980"/>
                  <a:pt x="498507" y="238347"/>
                </a:cubicBezTo>
                <a:cubicBezTo>
                  <a:pt x="479461" y="236715"/>
                  <a:pt x="469666" y="224743"/>
                  <a:pt x="468033" y="207329"/>
                </a:cubicBezTo>
                <a:cubicBezTo>
                  <a:pt x="466945" y="192636"/>
                  <a:pt x="484903" y="175767"/>
                  <a:pt x="499595" y="175767"/>
                </a:cubicBezTo>
                <a:close/>
                <a:moveTo>
                  <a:pt x="662304" y="173046"/>
                </a:moveTo>
                <a:cubicBezTo>
                  <a:pt x="683527" y="171958"/>
                  <a:pt x="698220" y="189916"/>
                  <a:pt x="697676" y="207873"/>
                </a:cubicBezTo>
                <a:cubicBezTo>
                  <a:pt x="697131" y="227464"/>
                  <a:pt x="684615" y="243245"/>
                  <a:pt x="662304" y="242156"/>
                </a:cubicBezTo>
                <a:cubicBezTo>
                  <a:pt x="639993" y="241612"/>
                  <a:pt x="628565" y="229096"/>
                  <a:pt x="628021" y="207873"/>
                </a:cubicBezTo>
                <a:cubicBezTo>
                  <a:pt x="628021" y="187739"/>
                  <a:pt x="642714" y="172502"/>
                  <a:pt x="662304" y="173046"/>
                </a:cubicBezTo>
                <a:close/>
                <a:moveTo>
                  <a:pt x="826645" y="168148"/>
                </a:moveTo>
                <a:cubicBezTo>
                  <a:pt x="844602" y="168148"/>
                  <a:pt x="867458" y="187194"/>
                  <a:pt x="864737" y="207329"/>
                </a:cubicBezTo>
                <a:cubicBezTo>
                  <a:pt x="867458" y="229096"/>
                  <a:pt x="844058" y="247054"/>
                  <a:pt x="826100" y="247054"/>
                </a:cubicBezTo>
                <a:cubicBezTo>
                  <a:pt x="808687" y="247054"/>
                  <a:pt x="787464" y="228552"/>
                  <a:pt x="787464" y="207873"/>
                </a:cubicBezTo>
                <a:cubicBezTo>
                  <a:pt x="787464" y="187194"/>
                  <a:pt x="807054" y="168148"/>
                  <a:pt x="826645" y="168148"/>
                </a:cubicBezTo>
                <a:close/>
                <a:moveTo>
                  <a:pt x="987721" y="164883"/>
                </a:moveTo>
                <a:cubicBezTo>
                  <a:pt x="1012209" y="164339"/>
                  <a:pt x="1030711" y="181753"/>
                  <a:pt x="1031799" y="207329"/>
                </a:cubicBezTo>
                <a:cubicBezTo>
                  <a:pt x="1031255" y="232361"/>
                  <a:pt x="1011665" y="250319"/>
                  <a:pt x="988809" y="250319"/>
                </a:cubicBezTo>
                <a:cubicBezTo>
                  <a:pt x="965954" y="250319"/>
                  <a:pt x="946364" y="231273"/>
                  <a:pt x="945819" y="208417"/>
                </a:cubicBezTo>
                <a:cubicBezTo>
                  <a:pt x="945275" y="185018"/>
                  <a:pt x="962689" y="165428"/>
                  <a:pt x="987721" y="164883"/>
                </a:cubicBezTo>
                <a:close/>
                <a:moveTo>
                  <a:pt x="1153150" y="162707"/>
                </a:moveTo>
                <a:cubicBezTo>
                  <a:pt x="1177638" y="161619"/>
                  <a:pt x="1197772" y="180665"/>
                  <a:pt x="1197772" y="207874"/>
                </a:cubicBezTo>
                <a:cubicBezTo>
                  <a:pt x="1197772" y="235083"/>
                  <a:pt x="1176005" y="253584"/>
                  <a:pt x="1151517" y="253584"/>
                </a:cubicBezTo>
                <a:cubicBezTo>
                  <a:pt x="1128118" y="253040"/>
                  <a:pt x="1106895" y="234538"/>
                  <a:pt x="1107439" y="207329"/>
                </a:cubicBezTo>
                <a:cubicBezTo>
                  <a:pt x="1107983" y="179576"/>
                  <a:pt x="1129206" y="161075"/>
                  <a:pt x="1153150" y="162707"/>
                </a:cubicBezTo>
                <a:close/>
                <a:moveTo>
                  <a:pt x="1315315" y="158353"/>
                </a:moveTo>
                <a:cubicBezTo>
                  <a:pt x="1341435" y="156177"/>
                  <a:pt x="1365923" y="184474"/>
                  <a:pt x="1365379" y="206785"/>
                </a:cubicBezTo>
                <a:cubicBezTo>
                  <a:pt x="1365379" y="229640"/>
                  <a:pt x="1344156" y="256849"/>
                  <a:pt x="1315859" y="256305"/>
                </a:cubicBezTo>
                <a:cubicBezTo>
                  <a:pt x="1290283" y="256305"/>
                  <a:pt x="1267427" y="233994"/>
                  <a:pt x="1266883" y="207873"/>
                </a:cubicBezTo>
                <a:cubicBezTo>
                  <a:pt x="1265795" y="181209"/>
                  <a:pt x="1292460" y="157265"/>
                  <a:pt x="1315315" y="158353"/>
                </a:cubicBezTo>
                <a:close/>
                <a:moveTo>
                  <a:pt x="1478567" y="156721"/>
                </a:moveTo>
                <a:cubicBezTo>
                  <a:pt x="1510129" y="156721"/>
                  <a:pt x="1530264" y="180665"/>
                  <a:pt x="1529720" y="207329"/>
                </a:cubicBezTo>
                <a:cubicBezTo>
                  <a:pt x="1530264" y="236715"/>
                  <a:pt x="1510129" y="258482"/>
                  <a:pt x="1478567" y="258482"/>
                </a:cubicBezTo>
                <a:cubicBezTo>
                  <a:pt x="1449182" y="257938"/>
                  <a:pt x="1428503" y="238892"/>
                  <a:pt x="1427959" y="207874"/>
                </a:cubicBezTo>
                <a:cubicBezTo>
                  <a:pt x="1427415" y="179576"/>
                  <a:pt x="1447549" y="156721"/>
                  <a:pt x="1478567" y="156721"/>
                </a:cubicBezTo>
                <a:close/>
                <a:moveTo>
                  <a:pt x="1644541" y="153456"/>
                </a:moveTo>
                <a:cubicBezTo>
                  <a:pt x="1672294" y="154544"/>
                  <a:pt x="1697870" y="180665"/>
                  <a:pt x="1697326" y="209506"/>
                </a:cubicBezTo>
                <a:cubicBezTo>
                  <a:pt x="1696782" y="238347"/>
                  <a:pt x="1669573" y="263924"/>
                  <a:pt x="1641276" y="262835"/>
                </a:cubicBezTo>
                <a:cubicBezTo>
                  <a:pt x="1612979" y="261203"/>
                  <a:pt x="1587402" y="236715"/>
                  <a:pt x="1587947" y="206785"/>
                </a:cubicBezTo>
                <a:cubicBezTo>
                  <a:pt x="1587947" y="180121"/>
                  <a:pt x="1613523" y="152368"/>
                  <a:pt x="1644541" y="153456"/>
                </a:cubicBezTo>
                <a:close/>
                <a:moveTo>
                  <a:pt x="91463" y="109922"/>
                </a:moveTo>
                <a:cubicBezTo>
                  <a:pt x="97993" y="109922"/>
                  <a:pt x="107244" y="119173"/>
                  <a:pt x="107244" y="126247"/>
                </a:cubicBezTo>
                <a:cubicBezTo>
                  <a:pt x="107788" y="132777"/>
                  <a:pt x="98537" y="142028"/>
                  <a:pt x="91463" y="142028"/>
                </a:cubicBezTo>
                <a:cubicBezTo>
                  <a:pt x="83845" y="142028"/>
                  <a:pt x="75682" y="133866"/>
                  <a:pt x="75682" y="126247"/>
                </a:cubicBezTo>
                <a:cubicBezTo>
                  <a:pt x="75682" y="118629"/>
                  <a:pt x="84389" y="109922"/>
                  <a:pt x="91463" y="109922"/>
                </a:cubicBezTo>
                <a:close/>
                <a:moveTo>
                  <a:pt x="1942341" y="104915"/>
                </a:moveTo>
                <a:cubicBezTo>
                  <a:pt x="1941389" y="105799"/>
                  <a:pt x="1941389" y="107840"/>
                  <a:pt x="1942205" y="111377"/>
                </a:cubicBezTo>
                <a:cubicBezTo>
                  <a:pt x="1943294" y="118451"/>
                  <a:pt x="1944926" y="124437"/>
                  <a:pt x="1946559" y="131511"/>
                </a:cubicBezTo>
                <a:cubicBezTo>
                  <a:pt x="1944382" y="139674"/>
                  <a:pt x="1941661" y="148381"/>
                  <a:pt x="1939484" y="157088"/>
                </a:cubicBezTo>
                <a:cubicBezTo>
                  <a:pt x="1939484" y="158176"/>
                  <a:pt x="1941117" y="160353"/>
                  <a:pt x="1941117" y="160353"/>
                </a:cubicBezTo>
                <a:cubicBezTo>
                  <a:pt x="1955810" y="154367"/>
                  <a:pt x="1971046" y="150558"/>
                  <a:pt x="1986828" y="157088"/>
                </a:cubicBezTo>
                <a:cubicBezTo>
                  <a:pt x="1987372" y="157088"/>
                  <a:pt x="1987916" y="157088"/>
                  <a:pt x="1987916" y="157088"/>
                </a:cubicBezTo>
                <a:cubicBezTo>
                  <a:pt x="1994990" y="157632"/>
                  <a:pt x="1996623" y="155999"/>
                  <a:pt x="1993902" y="150013"/>
                </a:cubicBezTo>
                <a:cubicBezTo>
                  <a:pt x="1988460" y="136409"/>
                  <a:pt x="1988460" y="123349"/>
                  <a:pt x="1993902" y="109744"/>
                </a:cubicBezTo>
                <a:cubicBezTo>
                  <a:pt x="1995534" y="105935"/>
                  <a:pt x="1994446" y="103214"/>
                  <a:pt x="1989004" y="105391"/>
                </a:cubicBezTo>
                <a:cubicBezTo>
                  <a:pt x="1975400" y="109744"/>
                  <a:pt x="1961796" y="109744"/>
                  <a:pt x="1948191" y="105391"/>
                </a:cubicBezTo>
                <a:cubicBezTo>
                  <a:pt x="1945198" y="104303"/>
                  <a:pt x="1943294" y="104031"/>
                  <a:pt x="1942341" y="104915"/>
                </a:cubicBezTo>
                <a:close/>
                <a:moveTo>
                  <a:pt x="255804" y="103392"/>
                </a:moveTo>
                <a:cubicBezTo>
                  <a:pt x="269409" y="103392"/>
                  <a:pt x="277571" y="112643"/>
                  <a:pt x="277571" y="126791"/>
                </a:cubicBezTo>
                <a:cubicBezTo>
                  <a:pt x="277027" y="139852"/>
                  <a:pt x="267776" y="148558"/>
                  <a:pt x="254172" y="148014"/>
                </a:cubicBezTo>
                <a:cubicBezTo>
                  <a:pt x="241112" y="148014"/>
                  <a:pt x="231861" y="138763"/>
                  <a:pt x="232405" y="125159"/>
                </a:cubicBezTo>
                <a:cubicBezTo>
                  <a:pt x="232405" y="112099"/>
                  <a:pt x="242200" y="102848"/>
                  <a:pt x="255804" y="103392"/>
                </a:cubicBezTo>
                <a:close/>
                <a:moveTo>
                  <a:pt x="1773511" y="99405"/>
                </a:moveTo>
                <a:cubicBezTo>
                  <a:pt x="1773511" y="102126"/>
                  <a:pt x="1772966" y="104303"/>
                  <a:pt x="1773511" y="107023"/>
                </a:cubicBezTo>
                <a:cubicBezTo>
                  <a:pt x="1776232" y="114098"/>
                  <a:pt x="1778408" y="121716"/>
                  <a:pt x="1780585" y="130423"/>
                </a:cubicBezTo>
                <a:cubicBezTo>
                  <a:pt x="1778408" y="139130"/>
                  <a:pt x="1775687" y="147293"/>
                  <a:pt x="1773511" y="155999"/>
                </a:cubicBezTo>
                <a:cubicBezTo>
                  <a:pt x="1772966" y="157632"/>
                  <a:pt x="1772966" y="160897"/>
                  <a:pt x="1774055" y="161985"/>
                </a:cubicBezTo>
                <a:cubicBezTo>
                  <a:pt x="1775143" y="163074"/>
                  <a:pt x="1778408" y="163074"/>
                  <a:pt x="1780041" y="162529"/>
                </a:cubicBezTo>
                <a:cubicBezTo>
                  <a:pt x="1789836" y="155455"/>
                  <a:pt x="1800719" y="157632"/>
                  <a:pt x="1811059" y="157632"/>
                </a:cubicBezTo>
                <a:cubicBezTo>
                  <a:pt x="1817589" y="157632"/>
                  <a:pt x="1824119" y="156543"/>
                  <a:pt x="1829561" y="161985"/>
                </a:cubicBezTo>
                <a:cubicBezTo>
                  <a:pt x="1830649" y="163074"/>
                  <a:pt x="1834458" y="161985"/>
                  <a:pt x="1836635" y="161985"/>
                </a:cubicBezTo>
                <a:cubicBezTo>
                  <a:pt x="1835547" y="160353"/>
                  <a:pt x="1835002" y="158720"/>
                  <a:pt x="1833914" y="157088"/>
                </a:cubicBezTo>
                <a:cubicBezTo>
                  <a:pt x="1826840" y="139674"/>
                  <a:pt x="1826296" y="121716"/>
                  <a:pt x="1834458" y="104303"/>
                </a:cubicBezTo>
                <a:cubicBezTo>
                  <a:pt x="1835002" y="102670"/>
                  <a:pt x="1835547" y="101038"/>
                  <a:pt x="1835547" y="99405"/>
                </a:cubicBezTo>
                <a:cubicBezTo>
                  <a:pt x="1833914" y="99949"/>
                  <a:pt x="1832282" y="99949"/>
                  <a:pt x="1831193" y="101038"/>
                </a:cubicBezTo>
                <a:cubicBezTo>
                  <a:pt x="1814324" y="109200"/>
                  <a:pt x="1797454" y="109200"/>
                  <a:pt x="1780041" y="101582"/>
                </a:cubicBezTo>
                <a:cubicBezTo>
                  <a:pt x="1777864" y="100493"/>
                  <a:pt x="1775687" y="100493"/>
                  <a:pt x="1773511" y="99405"/>
                </a:cubicBezTo>
                <a:close/>
                <a:moveTo>
                  <a:pt x="417424" y="97950"/>
                </a:moveTo>
                <a:cubicBezTo>
                  <a:pt x="435382" y="97950"/>
                  <a:pt x="445721" y="108289"/>
                  <a:pt x="445721" y="126247"/>
                </a:cubicBezTo>
                <a:cubicBezTo>
                  <a:pt x="445721" y="143661"/>
                  <a:pt x="435382" y="153456"/>
                  <a:pt x="417424" y="153456"/>
                </a:cubicBezTo>
                <a:cubicBezTo>
                  <a:pt x="402187" y="155088"/>
                  <a:pt x="389127" y="141484"/>
                  <a:pt x="390215" y="125159"/>
                </a:cubicBezTo>
                <a:cubicBezTo>
                  <a:pt x="391304" y="107745"/>
                  <a:pt x="400555" y="97950"/>
                  <a:pt x="417424" y="97950"/>
                </a:cubicBezTo>
                <a:close/>
                <a:moveTo>
                  <a:pt x="580677" y="92508"/>
                </a:moveTo>
                <a:cubicBezTo>
                  <a:pt x="599724" y="92508"/>
                  <a:pt x="613328" y="106112"/>
                  <a:pt x="614960" y="125159"/>
                </a:cubicBezTo>
                <a:cubicBezTo>
                  <a:pt x="616049" y="141484"/>
                  <a:pt x="598091" y="161618"/>
                  <a:pt x="581766" y="158353"/>
                </a:cubicBezTo>
                <a:cubicBezTo>
                  <a:pt x="561631" y="158353"/>
                  <a:pt x="548571" y="145293"/>
                  <a:pt x="548571" y="125703"/>
                </a:cubicBezTo>
                <a:cubicBezTo>
                  <a:pt x="548571" y="106657"/>
                  <a:pt x="562175" y="92508"/>
                  <a:pt x="580677" y="92508"/>
                </a:cubicBezTo>
                <a:close/>
                <a:moveTo>
                  <a:pt x="745019" y="88154"/>
                </a:moveTo>
                <a:cubicBezTo>
                  <a:pt x="763521" y="87610"/>
                  <a:pt x="783111" y="107745"/>
                  <a:pt x="782567" y="126791"/>
                </a:cubicBezTo>
                <a:cubicBezTo>
                  <a:pt x="782023" y="147469"/>
                  <a:pt x="761344" y="164339"/>
                  <a:pt x="743930" y="164339"/>
                </a:cubicBezTo>
                <a:cubicBezTo>
                  <a:pt x="723796" y="163795"/>
                  <a:pt x="705838" y="144204"/>
                  <a:pt x="706382" y="125702"/>
                </a:cubicBezTo>
                <a:cubicBezTo>
                  <a:pt x="706926" y="109377"/>
                  <a:pt x="723252" y="87066"/>
                  <a:pt x="745019" y="88154"/>
                </a:cubicBezTo>
                <a:close/>
                <a:moveTo>
                  <a:pt x="1685898" y="84712"/>
                </a:moveTo>
                <a:lnTo>
                  <a:pt x="1685681" y="85147"/>
                </a:lnTo>
                <a:lnTo>
                  <a:pt x="1685354" y="85256"/>
                </a:lnTo>
                <a:cubicBezTo>
                  <a:pt x="1685354" y="85256"/>
                  <a:pt x="1685898" y="84712"/>
                  <a:pt x="1685898" y="84712"/>
                </a:cubicBezTo>
                <a:close/>
                <a:moveTo>
                  <a:pt x="907183" y="84345"/>
                </a:moveTo>
                <a:cubicBezTo>
                  <a:pt x="916978" y="84345"/>
                  <a:pt x="926773" y="87610"/>
                  <a:pt x="934935" y="95228"/>
                </a:cubicBezTo>
                <a:cubicBezTo>
                  <a:pt x="944187" y="103935"/>
                  <a:pt x="946907" y="114819"/>
                  <a:pt x="949628" y="125158"/>
                </a:cubicBezTo>
                <a:cubicBezTo>
                  <a:pt x="946907" y="150190"/>
                  <a:pt x="932759" y="166515"/>
                  <a:pt x="908271" y="167060"/>
                </a:cubicBezTo>
                <a:cubicBezTo>
                  <a:pt x="884871" y="167604"/>
                  <a:pt x="867458" y="150734"/>
                  <a:pt x="866369" y="125702"/>
                </a:cubicBezTo>
                <a:cubicBezTo>
                  <a:pt x="865825" y="103935"/>
                  <a:pt x="884871" y="83801"/>
                  <a:pt x="907183" y="84345"/>
                </a:cubicBezTo>
                <a:close/>
                <a:moveTo>
                  <a:pt x="1070979" y="82169"/>
                </a:moveTo>
                <a:cubicBezTo>
                  <a:pt x="1095467" y="79448"/>
                  <a:pt x="1115602" y="103936"/>
                  <a:pt x="1115602" y="126247"/>
                </a:cubicBezTo>
                <a:cubicBezTo>
                  <a:pt x="1115602" y="148014"/>
                  <a:pt x="1094923" y="170325"/>
                  <a:pt x="1071524" y="170325"/>
                </a:cubicBezTo>
                <a:cubicBezTo>
                  <a:pt x="1047580" y="170325"/>
                  <a:pt x="1026357" y="148558"/>
                  <a:pt x="1026357" y="125703"/>
                </a:cubicBezTo>
                <a:cubicBezTo>
                  <a:pt x="1026357" y="103936"/>
                  <a:pt x="1047036" y="79448"/>
                  <a:pt x="1070979" y="82169"/>
                </a:cubicBezTo>
                <a:close/>
                <a:moveTo>
                  <a:pt x="1684811" y="82168"/>
                </a:moveTo>
                <a:cubicBezTo>
                  <a:pt x="1684811" y="82168"/>
                  <a:pt x="1684266" y="82713"/>
                  <a:pt x="1684266" y="82713"/>
                </a:cubicBezTo>
                <a:lnTo>
                  <a:pt x="1684469" y="82365"/>
                </a:lnTo>
                <a:close/>
                <a:moveTo>
                  <a:pt x="1234777" y="78360"/>
                </a:moveTo>
                <a:cubicBezTo>
                  <a:pt x="1259809" y="76727"/>
                  <a:pt x="1284297" y="101759"/>
                  <a:pt x="1282664" y="126791"/>
                </a:cubicBezTo>
                <a:cubicBezTo>
                  <a:pt x="1280487" y="152912"/>
                  <a:pt x="1264162" y="171958"/>
                  <a:pt x="1234232" y="174135"/>
                </a:cubicBezTo>
                <a:cubicBezTo>
                  <a:pt x="1205935" y="172502"/>
                  <a:pt x="1186345" y="153456"/>
                  <a:pt x="1186889" y="126791"/>
                </a:cubicBezTo>
                <a:cubicBezTo>
                  <a:pt x="1187433" y="96318"/>
                  <a:pt x="1207024" y="79992"/>
                  <a:pt x="1234777" y="78360"/>
                </a:cubicBezTo>
                <a:close/>
                <a:moveTo>
                  <a:pt x="1398574" y="76182"/>
                </a:moveTo>
                <a:cubicBezTo>
                  <a:pt x="1424150" y="74006"/>
                  <a:pt x="1448638" y="99582"/>
                  <a:pt x="1448094" y="127335"/>
                </a:cubicBezTo>
                <a:cubicBezTo>
                  <a:pt x="1447549" y="151823"/>
                  <a:pt x="1426327" y="176311"/>
                  <a:pt x="1396941" y="175766"/>
                </a:cubicBezTo>
                <a:cubicBezTo>
                  <a:pt x="1367011" y="175222"/>
                  <a:pt x="1347421" y="151278"/>
                  <a:pt x="1347421" y="125702"/>
                </a:cubicBezTo>
                <a:cubicBezTo>
                  <a:pt x="1347421" y="99038"/>
                  <a:pt x="1369732" y="74006"/>
                  <a:pt x="1398574" y="76182"/>
                </a:cubicBezTo>
                <a:close/>
                <a:moveTo>
                  <a:pt x="1561282" y="72373"/>
                </a:moveTo>
                <a:cubicBezTo>
                  <a:pt x="1588491" y="72373"/>
                  <a:pt x="1614611" y="96861"/>
                  <a:pt x="1614611" y="126247"/>
                </a:cubicBezTo>
                <a:cubicBezTo>
                  <a:pt x="1614067" y="155632"/>
                  <a:pt x="1590667" y="180120"/>
                  <a:pt x="1560738" y="179576"/>
                </a:cubicBezTo>
                <a:cubicBezTo>
                  <a:pt x="1530808" y="179576"/>
                  <a:pt x="1507953" y="156176"/>
                  <a:pt x="1507409" y="126247"/>
                </a:cubicBezTo>
                <a:cubicBezTo>
                  <a:pt x="1506864" y="96861"/>
                  <a:pt x="1532441" y="72373"/>
                  <a:pt x="1561282" y="72373"/>
                </a:cubicBezTo>
                <a:close/>
                <a:moveTo>
                  <a:pt x="10381" y="33737"/>
                </a:moveTo>
                <a:cubicBezTo>
                  <a:pt x="15822" y="33737"/>
                  <a:pt x="20720" y="39179"/>
                  <a:pt x="20720" y="45165"/>
                </a:cubicBezTo>
                <a:cubicBezTo>
                  <a:pt x="20176" y="50606"/>
                  <a:pt x="14734" y="55504"/>
                  <a:pt x="9292" y="54960"/>
                </a:cubicBezTo>
                <a:cubicBezTo>
                  <a:pt x="4395" y="54416"/>
                  <a:pt x="41" y="49518"/>
                  <a:pt x="41" y="44621"/>
                </a:cubicBezTo>
                <a:cubicBezTo>
                  <a:pt x="-503" y="38635"/>
                  <a:pt x="4395" y="33737"/>
                  <a:pt x="10381" y="33737"/>
                </a:cubicBezTo>
                <a:close/>
                <a:moveTo>
                  <a:pt x="172546" y="23942"/>
                </a:moveTo>
                <a:cubicBezTo>
                  <a:pt x="181796" y="22854"/>
                  <a:pt x="193224" y="34826"/>
                  <a:pt x="193224" y="44621"/>
                </a:cubicBezTo>
                <a:cubicBezTo>
                  <a:pt x="193224" y="53872"/>
                  <a:pt x="182341" y="64755"/>
                  <a:pt x="173090" y="64755"/>
                </a:cubicBezTo>
                <a:cubicBezTo>
                  <a:pt x="164383" y="64755"/>
                  <a:pt x="152411" y="52784"/>
                  <a:pt x="152411" y="44621"/>
                </a:cubicBezTo>
                <a:cubicBezTo>
                  <a:pt x="152411" y="36458"/>
                  <a:pt x="164927" y="24486"/>
                  <a:pt x="172546" y="23942"/>
                </a:cubicBezTo>
                <a:close/>
                <a:moveTo>
                  <a:pt x="1861123" y="22132"/>
                </a:moveTo>
                <a:cubicBezTo>
                  <a:pt x="1861123" y="26485"/>
                  <a:pt x="1860035" y="31383"/>
                  <a:pt x="1861123" y="35737"/>
                </a:cubicBezTo>
                <a:cubicBezTo>
                  <a:pt x="1863844" y="44443"/>
                  <a:pt x="1864932" y="52606"/>
                  <a:pt x="1861123" y="61313"/>
                </a:cubicBezTo>
                <a:cubicBezTo>
                  <a:pt x="1860035" y="64034"/>
                  <a:pt x="1860035" y="67299"/>
                  <a:pt x="1858946" y="72740"/>
                </a:cubicBezTo>
                <a:cubicBezTo>
                  <a:pt x="1858402" y="76550"/>
                  <a:pt x="1861123" y="77638"/>
                  <a:pt x="1866021" y="76550"/>
                </a:cubicBezTo>
                <a:cubicBezTo>
                  <a:pt x="1868741" y="76006"/>
                  <a:pt x="1871462" y="76006"/>
                  <a:pt x="1873639" y="74917"/>
                </a:cubicBezTo>
                <a:cubicBezTo>
                  <a:pt x="1882346" y="71108"/>
                  <a:pt x="1891053" y="71108"/>
                  <a:pt x="1900304" y="74373"/>
                </a:cubicBezTo>
                <a:cubicBezTo>
                  <a:pt x="1902480" y="75461"/>
                  <a:pt x="1905201" y="76006"/>
                  <a:pt x="1907922" y="76006"/>
                </a:cubicBezTo>
                <a:cubicBezTo>
                  <a:pt x="1912276" y="76550"/>
                  <a:pt x="1914996" y="75461"/>
                  <a:pt x="1912820" y="70020"/>
                </a:cubicBezTo>
                <a:cubicBezTo>
                  <a:pt x="1907378" y="55871"/>
                  <a:pt x="1906834" y="41178"/>
                  <a:pt x="1912820" y="27030"/>
                </a:cubicBezTo>
                <a:cubicBezTo>
                  <a:pt x="1914996" y="22132"/>
                  <a:pt x="1911731" y="21588"/>
                  <a:pt x="1908466" y="22132"/>
                </a:cubicBezTo>
                <a:cubicBezTo>
                  <a:pt x="1906290" y="22676"/>
                  <a:pt x="1904657" y="24309"/>
                  <a:pt x="1902480" y="24309"/>
                </a:cubicBezTo>
                <a:cubicBezTo>
                  <a:pt x="1892685" y="24309"/>
                  <a:pt x="1882890" y="24853"/>
                  <a:pt x="1873095" y="24309"/>
                </a:cubicBezTo>
                <a:cubicBezTo>
                  <a:pt x="1868741" y="24309"/>
                  <a:pt x="1864932" y="22676"/>
                  <a:pt x="1861123" y="22132"/>
                </a:cubicBezTo>
                <a:close/>
                <a:moveTo>
                  <a:pt x="336886" y="17412"/>
                </a:moveTo>
                <a:cubicBezTo>
                  <a:pt x="347770" y="17412"/>
                  <a:pt x="363551" y="31016"/>
                  <a:pt x="363007" y="44077"/>
                </a:cubicBezTo>
                <a:cubicBezTo>
                  <a:pt x="363007" y="57681"/>
                  <a:pt x="350491" y="70741"/>
                  <a:pt x="337431" y="71285"/>
                </a:cubicBezTo>
                <a:cubicBezTo>
                  <a:pt x="324370" y="71830"/>
                  <a:pt x="310766" y="58769"/>
                  <a:pt x="310222" y="45165"/>
                </a:cubicBezTo>
                <a:cubicBezTo>
                  <a:pt x="309678" y="31016"/>
                  <a:pt x="323282" y="17956"/>
                  <a:pt x="336886" y="17412"/>
                </a:cubicBezTo>
                <a:close/>
                <a:moveTo>
                  <a:pt x="498507" y="13059"/>
                </a:moveTo>
                <a:cubicBezTo>
                  <a:pt x="514832" y="11970"/>
                  <a:pt x="531702" y="28296"/>
                  <a:pt x="531702" y="44621"/>
                </a:cubicBezTo>
                <a:cubicBezTo>
                  <a:pt x="531702" y="60402"/>
                  <a:pt x="515376" y="76183"/>
                  <a:pt x="499595" y="76727"/>
                </a:cubicBezTo>
                <a:cubicBezTo>
                  <a:pt x="483270" y="76727"/>
                  <a:pt x="467489" y="61490"/>
                  <a:pt x="467489" y="45165"/>
                </a:cubicBezTo>
                <a:cubicBezTo>
                  <a:pt x="467489" y="28840"/>
                  <a:pt x="482182" y="13059"/>
                  <a:pt x="498507" y="13059"/>
                </a:cubicBezTo>
                <a:close/>
                <a:moveTo>
                  <a:pt x="662303" y="7616"/>
                </a:moveTo>
                <a:cubicBezTo>
                  <a:pt x="680805" y="7072"/>
                  <a:pt x="698763" y="25030"/>
                  <a:pt x="698763" y="44076"/>
                </a:cubicBezTo>
                <a:cubicBezTo>
                  <a:pt x="698763" y="62578"/>
                  <a:pt x="680261" y="81624"/>
                  <a:pt x="662303" y="81080"/>
                </a:cubicBezTo>
                <a:cubicBezTo>
                  <a:pt x="644346" y="80536"/>
                  <a:pt x="626932" y="62578"/>
                  <a:pt x="626932" y="44076"/>
                </a:cubicBezTo>
                <a:cubicBezTo>
                  <a:pt x="626932" y="25574"/>
                  <a:pt x="643257" y="8160"/>
                  <a:pt x="662303" y="7616"/>
                </a:cubicBezTo>
                <a:close/>
                <a:moveTo>
                  <a:pt x="825557" y="5440"/>
                </a:moveTo>
                <a:cubicBezTo>
                  <a:pt x="847868" y="5440"/>
                  <a:pt x="865281" y="23942"/>
                  <a:pt x="865281" y="44621"/>
                </a:cubicBezTo>
                <a:cubicBezTo>
                  <a:pt x="865281" y="63667"/>
                  <a:pt x="847324" y="85978"/>
                  <a:pt x="826101" y="83257"/>
                </a:cubicBezTo>
                <a:cubicBezTo>
                  <a:pt x="805422" y="85978"/>
                  <a:pt x="786920" y="64211"/>
                  <a:pt x="786920" y="44621"/>
                </a:cubicBezTo>
                <a:cubicBezTo>
                  <a:pt x="786920" y="22854"/>
                  <a:pt x="805422" y="5440"/>
                  <a:pt x="825557" y="5440"/>
                </a:cubicBezTo>
                <a:close/>
                <a:moveTo>
                  <a:pt x="989353" y="1086"/>
                </a:moveTo>
                <a:cubicBezTo>
                  <a:pt x="1013297" y="1086"/>
                  <a:pt x="1032343" y="21220"/>
                  <a:pt x="1032343" y="43532"/>
                </a:cubicBezTo>
                <a:cubicBezTo>
                  <a:pt x="1032887" y="66931"/>
                  <a:pt x="1012753" y="88698"/>
                  <a:pt x="989897" y="87610"/>
                </a:cubicBezTo>
                <a:cubicBezTo>
                  <a:pt x="967042" y="88698"/>
                  <a:pt x="945819" y="65843"/>
                  <a:pt x="945819" y="44620"/>
                </a:cubicBezTo>
                <a:cubicBezTo>
                  <a:pt x="945819" y="23941"/>
                  <a:pt x="964321" y="1086"/>
                  <a:pt x="989353" y="1086"/>
                </a:cubicBezTo>
                <a:close/>
                <a:moveTo>
                  <a:pt x="1614056" y="0"/>
                </a:moveTo>
                <a:lnTo>
                  <a:pt x="1675529" y="0"/>
                </a:lnTo>
                <a:lnTo>
                  <a:pt x="1682905" y="4720"/>
                </a:lnTo>
                <a:lnTo>
                  <a:pt x="1933639" y="4720"/>
                </a:lnTo>
                <a:cubicBezTo>
                  <a:pt x="1966059" y="4720"/>
                  <a:pt x="1995409" y="17861"/>
                  <a:pt x="2016655" y="39107"/>
                </a:cubicBezTo>
                <a:lnTo>
                  <a:pt x="2028934" y="57318"/>
                </a:lnTo>
                <a:lnTo>
                  <a:pt x="2026008" y="71108"/>
                </a:lnTo>
                <a:cubicBezTo>
                  <a:pt x="2023832" y="74917"/>
                  <a:pt x="2026552" y="77094"/>
                  <a:pt x="2030906" y="75461"/>
                </a:cubicBezTo>
                <a:lnTo>
                  <a:pt x="2039929" y="73627"/>
                </a:lnTo>
                <a:lnTo>
                  <a:pt x="2041815" y="76424"/>
                </a:lnTo>
                <a:cubicBezTo>
                  <a:pt x="2047756" y="90470"/>
                  <a:pt x="2051041" y="105912"/>
                  <a:pt x="2051041" y="122122"/>
                </a:cubicBezTo>
                <a:lnTo>
                  <a:pt x="2051041" y="186473"/>
                </a:lnTo>
                <a:lnTo>
                  <a:pt x="2029818" y="186473"/>
                </a:lnTo>
                <a:cubicBezTo>
                  <a:pt x="2023832" y="184297"/>
                  <a:pt x="2022743" y="185929"/>
                  <a:pt x="2023287" y="192459"/>
                </a:cubicBezTo>
                <a:cubicBezTo>
                  <a:pt x="2023287" y="193548"/>
                  <a:pt x="2023287" y="195180"/>
                  <a:pt x="2023832" y="196268"/>
                </a:cubicBezTo>
                <a:cubicBezTo>
                  <a:pt x="2028185" y="210961"/>
                  <a:pt x="2026008" y="225110"/>
                  <a:pt x="2019478" y="239258"/>
                </a:cubicBezTo>
                <a:cubicBezTo>
                  <a:pt x="2018934" y="240347"/>
                  <a:pt x="2019478" y="241979"/>
                  <a:pt x="2020022" y="242523"/>
                </a:cubicBezTo>
                <a:cubicBezTo>
                  <a:pt x="2020566" y="243067"/>
                  <a:pt x="2022743" y="243612"/>
                  <a:pt x="2023287" y="243067"/>
                </a:cubicBezTo>
                <a:cubicBezTo>
                  <a:pt x="2032266" y="238986"/>
                  <a:pt x="2041245" y="237082"/>
                  <a:pt x="2050224" y="237150"/>
                </a:cubicBezTo>
                <a:lnTo>
                  <a:pt x="2051041" y="237329"/>
                </a:lnTo>
                <a:lnTo>
                  <a:pt x="2051041" y="348996"/>
                </a:lnTo>
                <a:lnTo>
                  <a:pt x="2036552" y="347754"/>
                </a:lnTo>
                <a:cubicBezTo>
                  <a:pt x="2031178" y="346733"/>
                  <a:pt x="2026009" y="344829"/>
                  <a:pt x="2021111" y="341019"/>
                </a:cubicBezTo>
                <a:cubicBezTo>
                  <a:pt x="2020022" y="339931"/>
                  <a:pt x="2018390" y="339387"/>
                  <a:pt x="2016757" y="338842"/>
                </a:cubicBezTo>
                <a:cubicBezTo>
                  <a:pt x="2016757" y="340475"/>
                  <a:pt x="2016757" y="343196"/>
                  <a:pt x="2017301" y="344284"/>
                </a:cubicBezTo>
                <a:cubicBezTo>
                  <a:pt x="2022743" y="354079"/>
                  <a:pt x="2026008" y="364419"/>
                  <a:pt x="2025464" y="376391"/>
                </a:cubicBezTo>
                <a:cubicBezTo>
                  <a:pt x="2024376" y="398702"/>
                  <a:pt x="2014580" y="413939"/>
                  <a:pt x="1994446" y="424278"/>
                </a:cubicBezTo>
                <a:cubicBezTo>
                  <a:pt x="1972135" y="435706"/>
                  <a:pt x="1950912" y="431352"/>
                  <a:pt x="1933498" y="416115"/>
                </a:cubicBezTo>
                <a:cubicBezTo>
                  <a:pt x="1917173" y="401967"/>
                  <a:pt x="1908466" y="378567"/>
                  <a:pt x="1920438" y="352447"/>
                </a:cubicBezTo>
                <a:cubicBezTo>
                  <a:pt x="1922615" y="348093"/>
                  <a:pt x="1923703" y="343196"/>
                  <a:pt x="1925336" y="338298"/>
                </a:cubicBezTo>
                <a:cubicBezTo>
                  <a:pt x="1920982" y="339931"/>
                  <a:pt x="1916085" y="341563"/>
                  <a:pt x="1911731" y="343196"/>
                </a:cubicBezTo>
                <a:cubicBezTo>
                  <a:pt x="1907378" y="344828"/>
                  <a:pt x="1903024" y="347005"/>
                  <a:pt x="1898671" y="347005"/>
                </a:cubicBezTo>
                <a:cubicBezTo>
                  <a:pt x="1882890" y="348638"/>
                  <a:pt x="1867653" y="348638"/>
                  <a:pt x="1854593" y="336666"/>
                </a:cubicBezTo>
                <a:lnTo>
                  <a:pt x="1847690" y="333480"/>
                </a:lnTo>
                <a:lnTo>
                  <a:pt x="1852961" y="344461"/>
                </a:lnTo>
                <a:cubicBezTo>
                  <a:pt x="1868742" y="372214"/>
                  <a:pt x="1855137" y="408674"/>
                  <a:pt x="1826840" y="420646"/>
                </a:cubicBezTo>
                <a:cubicBezTo>
                  <a:pt x="1803441" y="430985"/>
                  <a:pt x="1777864" y="422278"/>
                  <a:pt x="1765893" y="408130"/>
                </a:cubicBezTo>
                <a:cubicBezTo>
                  <a:pt x="1749567" y="388539"/>
                  <a:pt x="1744126" y="368405"/>
                  <a:pt x="1759362" y="342829"/>
                </a:cubicBezTo>
                <a:cubicBezTo>
                  <a:pt x="1771199" y="322422"/>
                  <a:pt x="1795584" y="313341"/>
                  <a:pt x="1815991" y="317193"/>
                </a:cubicBezTo>
                <a:cubicBezTo>
                  <a:pt x="1822793" y="318477"/>
                  <a:pt x="1829153" y="321198"/>
                  <a:pt x="1834459" y="325415"/>
                </a:cubicBezTo>
                <a:lnTo>
                  <a:pt x="1845023" y="330169"/>
                </a:lnTo>
                <a:lnTo>
                  <a:pt x="1840444" y="321429"/>
                </a:lnTo>
                <a:cubicBezTo>
                  <a:pt x="1831193" y="306736"/>
                  <a:pt x="1832282" y="290955"/>
                  <a:pt x="1834458" y="275174"/>
                </a:cubicBezTo>
                <a:cubicBezTo>
                  <a:pt x="1835002" y="269732"/>
                  <a:pt x="1838812" y="265379"/>
                  <a:pt x="1840988" y="259937"/>
                </a:cubicBezTo>
                <a:cubicBezTo>
                  <a:pt x="1841533" y="258849"/>
                  <a:pt x="1842077" y="257216"/>
                  <a:pt x="1842077" y="255584"/>
                </a:cubicBezTo>
                <a:cubicBezTo>
                  <a:pt x="1840444" y="256128"/>
                  <a:pt x="1838812" y="256672"/>
                  <a:pt x="1837723" y="257216"/>
                </a:cubicBezTo>
                <a:cubicBezTo>
                  <a:pt x="1831193" y="259937"/>
                  <a:pt x="1824663" y="263746"/>
                  <a:pt x="1817589" y="264834"/>
                </a:cubicBezTo>
                <a:cubicBezTo>
                  <a:pt x="1799631" y="268100"/>
                  <a:pt x="1782762" y="264290"/>
                  <a:pt x="1768069" y="251774"/>
                </a:cubicBezTo>
                <a:lnTo>
                  <a:pt x="1764740" y="250110"/>
                </a:lnTo>
                <a:lnTo>
                  <a:pt x="1773510" y="267189"/>
                </a:lnTo>
                <a:cubicBezTo>
                  <a:pt x="1786571" y="292765"/>
                  <a:pt x="1773510" y="323239"/>
                  <a:pt x="1750655" y="336843"/>
                </a:cubicBezTo>
                <a:cubicBezTo>
                  <a:pt x="1721270" y="354257"/>
                  <a:pt x="1685354" y="337388"/>
                  <a:pt x="1673926" y="310723"/>
                </a:cubicBezTo>
                <a:cubicBezTo>
                  <a:pt x="1664675" y="289500"/>
                  <a:pt x="1669029" y="271542"/>
                  <a:pt x="1681545" y="254673"/>
                </a:cubicBezTo>
                <a:cubicBezTo>
                  <a:pt x="1694605" y="237803"/>
                  <a:pt x="1712563" y="231817"/>
                  <a:pt x="1733786" y="235083"/>
                </a:cubicBezTo>
                <a:cubicBezTo>
                  <a:pt x="1739771" y="236171"/>
                  <a:pt x="1745757" y="239980"/>
                  <a:pt x="1751743" y="242157"/>
                </a:cubicBezTo>
                <a:lnTo>
                  <a:pt x="1762506" y="246769"/>
                </a:lnTo>
                <a:lnTo>
                  <a:pt x="1757185" y="236537"/>
                </a:lnTo>
                <a:cubicBezTo>
                  <a:pt x="1747934" y="219668"/>
                  <a:pt x="1747390" y="203343"/>
                  <a:pt x="1756097" y="185929"/>
                </a:cubicBezTo>
                <a:cubicBezTo>
                  <a:pt x="1757185" y="183752"/>
                  <a:pt x="1756641" y="180487"/>
                  <a:pt x="1757185" y="177766"/>
                </a:cubicBezTo>
                <a:cubicBezTo>
                  <a:pt x="1754464" y="177766"/>
                  <a:pt x="1751199" y="177222"/>
                  <a:pt x="1749023" y="178311"/>
                </a:cubicBezTo>
                <a:cubicBezTo>
                  <a:pt x="1722358" y="193003"/>
                  <a:pt x="1688075" y="178855"/>
                  <a:pt x="1676103" y="154911"/>
                </a:cubicBezTo>
                <a:cubicBezTo>
                  <a:pt x="1665220" y="133688"/>
                  <a:pt x="1667396" y="113554"/>
                  <a:pt x="1681001" y="94507"/>
                </a:cubicBezTo>
                <a:lnTo>
                  <a:pt x="1685681" y="85147"/>
                </a:lnTo>
                <a:lnTo>
                  <a:pt x="1693517" y="82536"/>
                </a:lnTo>
                <a:cubicBezTo>
                  <a:pt x="1710930" y="71108"/>
                  <a:pt x="1728888" y="71108"/>
                  <a:pt x="1747934" y="77638"/>
                </a:cubicBezTo>
                <a:cubicBezTo>
                  <a:pt x="1750655" y="78726"/>
                  <a:pt x="1753920" y="78726"/>
                  <a:pt x="1756641" y="79271"/>
                </a:cubicBezTo>
                <a:cubicBezTo>
                  <a:pt x="1756097" y="76550"/>
                  <a:pt x="1755553" y="74373"/>
                  <a:pt x="1754464" y="71652"/>
                </a:cubicBezTo>
                <a:cubicBezTo>
                  <a:pt x="1753920" y="70564"/>
                  <a:pt x="1753376" y="69475"/>
                  <a:pt x="1752832" y="68387"/>
                </a:cubicBezTo>
                <a:cubicBezTo>
                  <a:pt x="1747934" y="52062"/>
                  <a:pt x="1747390" y="35737"/>
                  <a:pt x="1756097" y="20500"/>
                </a:cubicBezTo>
                <a:cubicBezTo>
                  <a:pt x="1756641" y="19411"/>
                  <a:pt x="1757185" y="16690"/>
                  <a:pt x="1756641" y="16146"/>
                </a:cubicBezTo>
                <a:cubicBezTo>
                  <a:pt x="1755553" y="15058"/>
                  <a:pt x="1753376" y="14514"/>
                  <a:pt x="1751744" y="15058"/>
                </a:cubicBezTo>
                <a:cubicBezTo>
                  <a:pt x="1747934" y="16146"/>
                  <a:pt x="1744669" y="19411"/>
                  <a:pt x="1741404" y="19955"/>
                </a:cubicBezTo>
                <a:cubicBezTo>
                  <a:pt x="1724535" y="21588"/>
                  <a:pt x="1707121" y="23765"/>
                  <a:pt x="1691884" y="11249"/>
                </a:cubicBezTo>
                <a:lnTo>
                  <a:pt x="1685645" y="8369"/>
                </a:lnTo>
                <a:lnTo>
                  <a:pt x="1688620" y="14691"/>
                </a:lnTo>
                <a:cubicBezTo>
                  <a:pt x="1700048" y="32648"/>
                  <a:pt x="1700048" y="50606"/>
                  <a:pt x="1691885" y="69652"/>
                </a:cubicBezTo>
                <a:lnTo>
                  <a:pt x="1684469" y="82365"/>
                </a:lnTo>
                <a:lnTo>
                  <a:pt x="1663044" y="94684"/>
                </a:lnTo>
                <a:cubicBezTo>
                  <a:pt x="1651072" y="101759"/>
                  <a:pt x="1638556" y="100126"/>
                  <a:pt x="1626584" y="96861"/>
                </a:cubicBezTo>
                <a:cubicBezTo>
                  <a:pt x="1608082" y="91419"/>
                  <a:pt x="1595566" y="78359"/>
                  <a:pt x="1590124" y="60401"/>
                </a:cubicBezTo>
                <a:cubicBezTo>
                  <a:pt x="1586315" y="48974"/>
                  <a:pt x="1586315" y="37002"/>
                  <a:pt x="1591757" y="25030"/>
                </a:cubicBezTo>
                <a:close/>
                <a:moveTo>
                  <a:pt x="1460066" y="0"/>
                </a:moveTo>
                <a:lnTo>
                  <a:pt x="1498513" y="0"/>
                </a:lnTo>
                <a:lnTo>
                  <a:pt x="1517204" y="8092"/>
                </a:lnTo>
                <a:cubicBezTo>
                  <a:pt x="1526183" y="17411"/>
                  <a:pt x="1531352" y="30199"/>
                  <a:pt x="1531896" y="45164"/>
                </a:cubicBezTo>
                <a:cubicBezTo>
                  <a:pt x="1532985" y="71829"/>
                  <a:pt x="1505776" y="97949"/>
                  <a:pt x="1479111" y="97949"/>
                </a:cubicBezTo>
                <a:cubicBezTo>
                  <a:pt x="1451902" y="97949"/>
                  <a:pt x="1425238" y="71829"/>
                  <a:pt x="1426870" y="45164"/>
                </a:cubicBezTo>
                <a:cubicBezTo>
                  <a:pt x="1427687" y="29655"/>
                  <a:pt x="1432720" y="16867"/>
                  <a:pt x="1441631" y="7684"/>
                </a:cubicBezTo>
                <a:close/>
                <a:moveTo>
                  <a:pt x="1296749" y="0"/>
                </a:moveTo>
                <a:lnTo>
                  <a:pt x="1335755" y="0"/>
                </a:lnTo>
                <a:lnTo>
                  <a:pt x="1350278" y="10270"/>
                </a:lnTo>
                <a:cubicBezTo>
                  <a:pt x="1359937" y="19861"/>
                  <a:pt x="1366467" y="32649"/>
                  <a:pt x="1365923" y="45165"/>
                </a:cubicBezTo>
                <a:cubicBezTo>
                  <a:pt x="1364291" y="71829"/>
                  <a:pt x="1343068" y="93052"/>
                  <a:pt x="1315315" y="93052"/>
                </a:cubicBezTo>
                <a:cubicBezTo>
                  <a:pt x="1290283" y="95229"/>
                  <a:pt x="1266339" y="69109"/>
                  <a:pt x="1266339" y="44076"/>
                </a:cubicBezTo>
                <a:cubicBezTo>
                  <a:pt x="1266339" y="30472"/>
                  <a:pt x="1273141" y="18228"/>
                  <a:pt x="1282732" y="9317"/>
                </a:cubicBezTo>
                <a:close/>
                <a:moveTo>
                  <a:pt x="1148085" y="0"/>
                </a:moveTo>
                <a:lnTo>
                  <a:pt x="1161802" y="0"/>
                </a:lnTo>
                <a:lnTo>
                  <a:pt x="1169637" y="1315"/>
                </a:lnTo>
                <a:cubicBezTo>
                  <a:pt x="1186447" y="8432"/>
                  <a:pt x="1199813" y="26798"/>
                  <a:pt x="1199405" y="45164"/>
                </a:cubicBezTo>
                <a:cubicBezTo>
                  <a:pt x="1198861" y="69652"/>
                  <a:pt x="1175462" y="93596"/>
                  <a:pt x="1151518" y="91419"/>
                </a:cubicBezTo>
                <a:cubicBezTo>
                  <a:pt x="1123765" y="88154"/>
                  <a:pt x="1109072" y="72373"/>
                  <a:pt x="1105807" y="44620"/>
                </a:cubicBezTo>
                <a:cubicBezTo>
                  <a:pt x="1107440" y="30472"/>
                  <a:pt x="1111657" y="19588"/>
                  <a:pt x="1119139" y="11902"/>
                </a:cubicBezTo>
                <a:close/>
              </a:path>
            </a:pathLst>
          </a:custGeom>
          <a:solidFill>
            <a:srgbClr val="9AA8C5">
              <a:alpha val="17000"/>
            </a:srgbClr>
          </a:solidFill>
          <a:ln w="5432" cap="flat">
            <a:noFill/>
            <a:prstDash val="solid"/>
            <a:miter/>
          </a:ln>
        </p:spPr>
        <p:txBody>
          <a:bodyPr rtlCol="0" anchor="ctr"/>
          <a:lstStyle/>
          <a:p>
            <a:endParaRPr lang="en-IN"/>
          </a:p>
        </p:txBody>
      </p:sp>
    </p:spTree>
    <p:extLst>
      <p:ext uri="{BB962C8B-B14F-4D97-AF65-F5344CB8AC3E}">
        <p14:creationId xmlns:p14="http://schemas.microsoft.com/office/powerpoint/2010/main" val="418388964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1_horizontal">
    <p:spTree>
      <p:nvGrpSpPr>
        <p:cNvPr id="1" name=""/>
        <p:cNvGrpSpPr/>
        <p:nvPr/>
      </p:nvGrpSpPr>
      <p:grpSpPr>
        <a:xfrm>
          <a:off x="0" y="0"/>
          <a:ext cx="0" cy="0"/>
          <a:chOff x="0" y="0"/>
          <a:chExt cx="0" cy="0"/>
        </a:xfrm>
      </p:grpSpPr>
      <p:sp>
        <p:nvSpPr>
          <p:cNvPr id="58" name="Rectangle: Rounded Corners 4">
            <a:extLst>
              <a:ext uri="{FF2B5EF4-FFF2-40B4-BE49-F238E27FC236}">
                <a16:creationId xmlns:a16="http://schemas.microsoft.com/office/drawing/2014/main" id="{221EF850-2666-EC40-8F61-E9676002D54B}"/>
              </a:ext>
            </a:extLst>
          </p:cNvPr>
          <p:cNvSpPr/>
          <p:nvPr/>
        </p:nvSpPr>
        <p:spPr>
          <a:xfrm>
            <a:off x="364652" y="5017550"/>
            <a:ext cx="2446160" cy="1296000"/>
          </a:xfrm>
          <a:prstGeom prst="roundRect">
            <a:avLst>
              <a:gd name="adj" fmla="val 11617"/>
            </a:avLst>
          </a:prstGeom>
          <a:solidFill>
            <a:srgbClr val="72A2CE"/>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rIns="91440" rtlCol="0" anchor="ctr"/>
          <a:lstStyle/>
          <a:p>
            <a:pPr algn="ctr"/>
            <a:endParaRPr lang="en-US" b="1">
              <a:solidFill>
                <a:schemeClr val="bg1"/>
              </a:solidFill>
            </a:endParaRPr>
          </a:p>
        </p:txBody>
      </p:sp>
      <p:sp>
        <p:nvSpPr>
          <p:cNvPr id="59" name="Rectangle: Rounded Corners 7">
            <a:extLst>
              <a:ext uri="{FF2B5EF4-FFF2-40B4-BE49-F238E27FC236}">
                <a16:creationId xmlns:a16="http://schemas.microsoft.com/office/drawing/2014/main" id="{5B6D26CF-CFCF-4C43-959F-AB57F37B709E}"/>
              </a:ext>
            </a:extLst>
          </p:cNvPr>
          <p:cNvSpPr/>
          <p:nvPr/>
        </p:nvSpPr>
        <p:spPr>
          <a:xfrm>
            <a:off x="364652" y="3690118"/>
            <a:ext cx="2446160" cy="1260000"/>
          </a:xfrm>
          <a:prstGeom prst="roundRect">
            <a:avLst>
              <a:gd name="adj" fmla="val 10354"/>
            </a:avLst>
          </a:prstGeom>
          <a:solidFill>
            <a:srgbClr val="409BD0"/>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rIns="91440" rtlCol="0" anchor="ctr"/>
          <a:lstStyle/>
          <a:p>
            <a:pPr algn="ctr"/>
            <a:endParaRPr lang="en-US" b="1">
              <a:solidFill>
                <a:schemeClr val="bg1"/>
              </a:solidFill>
            </a:endParaRPr>
          </a:p>
        </p:txBody>
      </p:sp>
      <p:sp>
        <p:nvSpPr>
          <p:cNvPr id="60" name="Rectangle: Rounded Corners 5">
            <a:extLst>
              <a:ext uri="{FF2B5EF4-FFF2-40B4-BE49-F238E27FC236}">
                <a16:creationId xmlns:a16="http://schemas.microsoft.com/office/drawing/2014/main" id="{E5BE2151-96B8-0640-8C16-8B0A8D536689}"/>
              </a:ext>
            </a:extLst>
          </p:cNvPr>
          <p:cNvSpPr/>
          <p:nvPr/>
        </p:nvSpPr>
        <p:spPr>
          <a:xfrm>
            <a:off x="364652" y="2326686"/>
            <a:ext cx="2446160" cy="1296000"/>
          </a:xfrm>
          <a:prstGeom prst="roundRect">
            <a:avLst>
              <a:gd name="adj" fmla="val 10354"/>
            </a:avLst>
          </a:prstGeom>
          <a:solidFill>
            <a:srgbClr val="3CA8C6"/>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endParaRPr lang="en-US">
              <a:solidFill>
                <a:schemeClr val="bg1"/>
              </a:solidFill>
            </a:endParaRPr>
          </a:p>
        </p:txBody>
      </p:sp>
      <p:sp>
        <p:nvSpPr>
          <p:cNvPr id="61" name="Rectangle: Rounded Corners 6">
            <a:extLst>
              <a:ext uri="{FF2B5EF4-FFF2-40B4-BE49-F238E27FC236}">
                <a16:creationId xmlns:a16="http://schemas.microsoft.com/office/drawing/2014/main" id="{880D2BA1-3F35-4541-BE79-C66A76AB8B7B}"/>
              </a:ext>
            </a:extLst>
          </p:cNvPr>
          <p:cNvSpPr/>
          <p:nvPr/>
        </p:nvSpPr>
        <p:spPr>
          <a:xfrm>
            <a:off x="363732" y="947955"/>
            <a:ext cx="2448000" cy="1296000"/>
          </a:xfrm>
          <a:prstGeom prst="roundRect">
            <a:avLst>
              <a:gd name="adj" fmla="val 10354"/>
            </a:avLst>
          </a:prstGeom>
          <a:solidFill>
            <a:srgbClr val="33ADAD"/>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rIns="91440" rtlCol="0" anchor="ctr"/>
          <a:lstStyle/>
          <a:p>
            <a:pPr algn="ctr"/>
            <a:endParaRPr lang="en-US" b="1">
              <a:solidFill>
                <a:schemeClr val="bg1"/>
              </a:solidFill>
            </a:endParaRPr>
          </a:p>
        </p:txBody>
      </p:sp>
      <p:sp>
        <p:nvSpPr>
          <p:cNvPr id="4" name="Title 11">
            <a:extLst>
              <a:ext uri="{FF2B5EF4-FFF2-40B4-BE49-F238E27FC236}">
                <a16:creationId xmlns:a16="http://schemas.microsoft.com/office/drawing/2014/main" id="{61BE9B3A-E24C-7D41-B0F2-99C8C34021EB}"/>
              </a:ext>
            </a:extLst>
          </p:cNvPr>
          <p:cNvSpPr>
            <a:spLocks noGrp="1"/>
          </p:cNvSpPr>
          <p:nvPr>
            <p:ph type="title" hasCustomPrompt="1"/>
          </p:nvPr>
        </p:nvSpPr>
        <p:spPr>
          <a:xfrm>
            <a:off x="374011" y="185817"/>
            <a:ext cx="10515600" cy="608663"/>
          </a:xfrm>
          <a:prstGeom prst="rect">
            <a:avLst/>
          </a:prstGeom>
        </p:spPr>
        <p:txBody>
          <a:bodyPr/>
          <a:lstStyle>
            <a:lvl1pPr>
              <a:defRPr sz="2600" b="1">
                <a:solidFill>
                  <a:srgbClr val="334D8B"/>
                </a:solidFill>
                <a:latin typeface="+mn-lt"/>
              </a:defRPr>
            </a:lvl1pPr>
          </a:lstStyle>
          <a:p>
            <a:r>
              <a:rPr lang="en-US"/>
              <a:t>Write your Heading here</a:t>
            </a:r>
          </a:p>
        </p:txBody>
      </p:sp>
      <p:sp>
        <p:nvSpPr>
          <p:cNvPr id="17" name="Text Placeholder 2">
            <a:extLst>
              <a:ext uri="{FF2B5EF4-FFF2-40B4-BE49-F238E27FC236}">
                <a16:creationId xmlns:a16="http://schemas.microsoft.com/office/drawing/2014/main" id="{26131AE9-8C97-8B4D-A462-FAB5410BEAA1}"/>
              </a:ext>
            </a:extLst>
          </p:cNvPr>
          <p:cNvSpPr>
            <a:spLocks noGrp="1"/>
          </p:cNvSpPr>
          <p:nvPr>
            <p:ph type="body" idx="17"/>
          </p:nvPr>
        </p:nvSpPr>
        <p:spPr>
          <a:xfrm>
            <a:off x="637807" y="1183999"/>
            <a:ext cx="1899851" cy="823912"/>
          </a:xfrm>
          <a:prstGeom prst="rect">
            <a:avLst/>
          </a:prstGeom>
        </p:spPr>
        <p:txBody>
          <a:bodyPr anchor="ctr"/>
          <a:lstStyle>
            <a:lvl1pPr marL="0" indent="0" algn="ctr">
              <a:buNone/>
              <a:defRPr sz="1800" b="1">
                <a:solidFill>
                  <a:schemeClr val="bg1">
                    <a:lumMod val="95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8" name="Text Placeholder 2">
            <a:extLst>
              <a:ext uri="{FF2B5EF4-FFF2-40B4-BE49-F238E27FC236}">
                <a16:creationId xmlns:a16="http://schemas.microsoft.com/office/drawing/2014/main" id="{630CA53A-5B1F-9F4A-A0DA-4C04A81A623D}"/>
              </a:ext>
            </a:extLst>
          </p:cNvPr>
          <p:cNvSpPr>
            <a:spLocks noGrp="1"/>
          </p:cNvSpPr>
          <p:nvPr>
            <p:ph type="body" idx="18"/>
          </p:nvPr>
        </p:nvSpPr>
        <p:spPr>
          <a:xfrm>
            <a:off x="637807" y="2562730"/>
            <a:ext cx="1899851" cy="823912"/>
          </a:xfrm>
          <a:prstGeom prst="rect">
            <a:avLst/>
          </a:prstGeom>
        </p:spPr>
        <p:txBody>
          <a:bodyPr anchor="ctr"/>
          <a:lstStyle>
            <a:lvl1pPr marL="0" indent="0" algn="ctr">
              <a:buNone/>
              <a:defRPr sz="1800" b="1">
                <a:solidFill>
                  <a:schemeClr val="bg1">
                    <a:lumMod val="95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9" name="Text Placeholder 2">
            <a:extLst>
              <a:ext uri="{FF2B5EF4-FFF2-40B4-BE49-F238E27FC236}">
                <a16:creationId xmlns:a16="http://schemas.microsoft.com/office/drawing/2014/main" id="{EC94D826-074E-B947-92F3-9BDB391A4B2C}"/>
              </a:ext>
            </a:extLst>
          </p:cNvPr>
          <p:cNvSpPr>
            <a:spLocks noGrp="1"/>
          </p:cNvSpPr>
          <p:nvPr>
            <p:ph type="body" idx="19"/>
          </p:nvPr>
        </p:nvSpPr>
        <p:spPr>
          <a:xfrm>
            <a:off x="637807" y="3908162"/>
            <a:ext cx="1899851" cy="823912"/>
          </a:xfrm>
          <a:prstGeom prst="rect">
            <a:avLst/>
          </a:prstGeom>
        </p:spPr>
        <p:txBody>
          <a:bodyPr anchor="ctr"/>
          <a:lstStyle>
            <a:lvl1pPr marL="0" indent="0" algn="ctr">
              <a:buNone/>
              <a:defRPr sz="1800" b="1">
                <a:solidFill>
                  <a:schemeClr val="bg1">
                    <a:lumMod val="95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20" name="Text Placeholder 2">
            <a:extLst>
              <a:ext uri="{FF2B5EF4-FFF2-40B4-BE49-F238E27FC236}">
                <a16:creationId xmlns:a16="http://schemas.microsoft.com/office/drawing/2014/main" id="{518D554C-BD92-1843-B042-237F90D798CF}"/>
              </a:ext>
            </a:extLst>
          </p:cNvPr>
          <p:cNvSpPr>
            <a:spLocks noGrp="1"/>
          </p:cNvSpPr>
          <p:nvPr>
            <p:ph type="body" idx="20"/>
          </p:nvPr>
        </p:nvSpPr>
        <p:spPr>
          <a:xfrm>
            <a:off x="637807" y="5253594"/>
            <a:ext cx="1899851" cy="823912"/>
          </a:xfrm>
          <a:prstGeom prst="rect">
            <a:avLst/>
          </a:prstGeom>
        </p:spPr>
        <p:txBody>
          <a:bodyPr anchor="ctr"/>
          <a:lstStyle>
            <a:lvl1pPr marL="0" indent="0" algn="ctr">
              <a:buNone/>
              <a:defRPr sz="1800" b="1">
                <a:solidFill>
                  <a:schemeClr val="bg1">
                    <a:lumMod val="95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22" name="Text Placeholder 3">
            <a:extLst>
              <a:ext uri="{FF2B5EF4-FFF2-40B4-BE49-F238E27FC236}">
                <a16:creationId xmlns:a16="http://schemas.microsoft.com/office/drawing/2014/main" id="{D2521595-DF39-B14B-9FBA-C2B0E56AA8F8}"/>
              </a:ext>
            </a:extLst>
          </p:cNvPr>
          <p:cNvSpPr>
            <a:spLocks noGrp="1"/>
          </p:cNvSpPr>
          <p:nvPr>
            <p:ph type="body" sz="half" idx="21"/>
          </p:nvPr>
        </p:nvSpPr>
        <p:spPr>
          <a:xfrm>
            <a:off x="3326507" y="1055955"/>
            <a:ext cx="7563104" cy="1080000"/>
          </a:xfrm>
          <a:prstGeom prst="rect">
            <a:avLst/>
          </a:prstGeom>
        </p:spPr>
        <p:txBody>
          <a:bodyPr>
            <a:normAutofit/>
          </a:bodyPr>
          <a:lstStyle>
            <a:lvl1pPr marL="285750" indent="-285750" algn="l">
              <a:buClr>
                <a:srgbClr val="46AAC5"/>
              </a:buClr>
              <a:buFont typeface="Wingdings" pitchFamily="2" charset="2"/>
              <a:buChar char="§"/>
              <a:defRPr sz="14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23" name="Text Placeholder 3">
            <a:extLst>
              <a:ext uri="{FF2B5EF4-FFF2-40B4-BE49-F238E27FC236}">
                <a16:creationId xmlns:a16="http://schemas.microsoft.com/office/drawing/2014/main" id="{023BFF9A-9293-E24A-A7AE-8A6D8E20D294}"/>
              </a:ext>
            </a:extLst>
          </p:cNvPr>
          <p:cNvSpPr>
            <a:spLocks noGrp="1"/>
          </p:cNvSpPr>
          <p:nvPr>
            <p:ph type="body" sz="half" idx="22"/>
          </p:nvPr>
        </p:nvSpPr>
        <p:spPr>
          <a:xfrm>
            <a:off x="3326507" y="2434686"/>
            <a:ext cx="7563104" cy="1080000"/>
          </a:xfrm>
          <a:prstGeom prst="rect">
            <a:avLst/>
          </a:prstGeom>
        </p:spPr>
        <p:txBody>
          <a:bodyPr>
            <a:normAutofit/>
          </a:bodyPr>
          <a:lstStyle>
            <a:lvl1pPr marL="285750" indent="-285750" algn="l">
              <a:buClr>
                <a:srgbClr val="46AAC5"/>
              </a:buClr>
              <a:buFont typeface="Wingdings" pitchFamily="2" charset="2"/>
              <a:buChar char="§"/>
              <a:defRPr sz="14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24" name="Text Placeholder 3">
            <a:extLst>
              <a:ext uri="{FF2B5EF4-FFF2-40B4-BE49-F238E27FC236}">
                <a16:creationId xmlns:a16="http://schemas.microsoft.com/office/drawing/2014/main" id="{E342D6D3-6E77-7843-AEE4-EF15382E60A9}"/>
              </a:ext>
            </a:extLst>
          </p:cNvPr>
          <p:cNvSpPr>
            <a:spLocks noGrp="1"/>
          </p:cNvSpPr>
          <p:nvPr>
            <p:ph type="body" sz="half" idx="23"/>
          </p:nvPr>
        </p:nvSpPr>
        <p:spPr>
          <a:xfrm>
            <a:off x="3326507" y="3780118"/>
            <a:ext cx="7563104" cy="1080000"/>
          </a:xfrm>
          <a:prstGeom prst="rect">
            <a:avLst/>
          </a:prstGeom>
        </p:spPr>
        <p:txBody>
          <a:bodyPr>
            <a:normAutofit/>
          </a:bodyPr>
          <a:lstStyle>
            <a:lvl1pPr marL="285750" indent="-285750" algn="l">
              <a:buClr>
                <a:srgbClr val="46AAC5"/>
              </a:buClr>
              <a:buFont typeface="Wingdings" pitchFamily="2" charset="2"/>
              <a:buChar char="§"/>
              <a:defRPr sz="14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25" name="Text Placeholder 3">
            <a:extLst>
              <a:ext uri="{FF2B5EF4-FFF2-40B4-BE49-F238E27FC236}">
                <a16:creationId xmlns:a16="http://schemas.microsoft.com/office/drawing/2014/main" id="{7118A05D-ABE3-3441-9FA2-6AEE0F630999}"/>
              </a:ext>
            </a:extLst>
          </p:cNvPr>
          <p:cNvSpPr>
            <a:spLocks noGrp="1"/>
          </p:cNvSpPr>
          <p:nvPr>
            <p:ph type="body" sz="half" idx="24"/>
          </p:nvPr>
        </p:nvSpPr>
        <p:spPr>
          <a:xfrm>
            <a:off x="3326507" y="5125550"/>
            <a:ext cx="7563104" cy="1080000"/>
          </a:xfrm>
          <a:prstGeom prst="rect">
            <a:avLst/>
          </a:prstGeom>
        </p:spPr>
        <p:txBody>
          <a:bodyPr>
            <a:normAutofit/>
          </a:bodyPr>
          <a:lstStyle>
            <a:lvl1pPr marL="285750" indent="-285750" algn="l">
              <a:buClr>
                <a:srgbClr val="46AAC5"/>
              </a:buClr>
              <a:buFont typeface="Wingdings" pitchFamily="2" charset="2"/>
              <a:buChar char="§"/>
              <a:defRPr sz="14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26" name="Slide Number Placeholder 5">
            <a:extLst>
              <a:ext uri="{FF2B5EF4-FFF2-40B4-BE49-F238E27FC236}">
                <a16:creationId xmlns:a16="http://schemas.microsoft.com/office/drawing/2014/main" id="{E37BB4DC-072F-485B-9923-30F55FCF537B}"/>
              </a:ext>
            </a:extLst>
          </p:cNvPr>
          <p:cNvSpPr txBox="1">
            <a:spLocks/>
          </p:cNvSpPr>
          <p:nvPr userDrawn="1"/>
        </p:nvSpPr>
        <p:spPr>
          <a:xfrm>
            <a:off x="11373135" y="6506785"/>
            <a:ext cx="609600" cy="261610"/>
          </a:xfrm>
          <a:prstGeom prst="rect">
            <a:avLst/>
          </a:prstGeom>
          <a:noFill/>
        </p:spPr>
        <p:txBody>
          <a:bodyPr>
            <a:spAutoFit/>
          </a:bodyPr>
          <a:lstStyle>
            <a:defPPr>
              <a:defRPr lang="en-US"/>
            </a:defPPr>
            <a:lvl1pPr marL="0" algn="ctr" defTabSz="914400" rtl="0" eaLnBrk="1" latinLnBrk="0" hangingPunct="1">
              <a:defRPr lang="en-US" sz="1800" kern="1200" smtClean="0">
                <a:solidFill>
                  <a:schemeClr val="bg1"/>
                </a:solidFill>
                <a:latin typeface="Tahoma" pitchFamily="34" charset="0"/>
                <a:ea typeface="Tahoma" pitchFamily="34" charset="0"/>
                <a:cs typeface="Tahoma"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fld id="{3413C1ED-5599-4BB6-878F-244F2E6B8E4A}" type="slidenum">
              <a:rPr lang="en-IN" sz="1100">
                <a:solidFill>
                  <a:prstClr val="black">
                    <a:lumMod val="50000"/>
                    <a:lumOff val="50000"/>
                  </a:prstClr>
                </a:solidFill>
              </a:rPr>
              <a:pPr fontAlgn="auto">
                <a:spcBef>
                  <a:spcPts val="0"/>
                </a:spcBef>
                <a:spcAft>
                  <a:spcPts val="0"/>
                </a:spcAft>
                <a:defRPr/>
              </a:pPr>
              <a:t>‹#›</a:t>
            </a:fld>
            <a:endParaRPr lang="en-IN" sz="1100">
              <a:solidFill>
                <a:prstClr val="black">
                  <a:lumMod val="50000"/>
                  <a:lumOff val="50000"/>
                </a:prstClr>
              </a:solidFill>
            </a:endParaRPr>
          </a:p>
        </p:txBody>
      </p:sp>
      <p:pic>
        <p:nvPicPr>
          <p:cNvPr id="28" name="Picture 27">
            <a:extLst>
              <a:ext uri="{FF2B5EF4-FFF2-40B4-BE49-F238E27FC236}">
                <a16:creationId xmlns:a16="http://schemas.microsoft.com/office/drawing/2014/main" id="{2B39DE0F-B180-4B5C-8BFF-513EECC105D1}"/>
              </a:ext>
            </a:extLst>
          </p:cNvPr>
          <p:cNvPicPr>
            <a:picLocks noChangeAspect="1"/>
          </p:cNvPicPr>
          <p:nvPr userDrawn="1"/>
        </p:nvPicPr>
        <p:blipFill>
          <a:blip r:embed="rId2"/>
          <a:stretch>
            <a:fillRect/>
          </a:stretch>
        </p:blipFill>
        <p:spPr>
          <a:xfrm>
            <a:off x="464908" y="6506785"/>
            <a:ext cx="1148260" cy="138938"/>
          </a:xfrm>
          <a:prstGeom prst="rect">
            <a:avLst/>
          </a:prstGeom>
        </p:spPr>
      </p:pic>
      <p:sp>
        <p:nvSpPr>
          <p:cNvPr id="30" name="Freeform: Shape 14">
            <a:extLst>
              <a:ext uri="{FF2B5EF4-FFF2-40B4-BE49-F238E27FC236}">
                <a16:creationId xmlns:a16="http://schemas.microsoft.com/office/drawing/2014/main" id="{39E72CB1-EFF8-4841-91E0-CFA90FA8A6AE}"/>
              </a:ext>
            </a:extLst>
          </p:cNvPr>
          <p:cNvSpPr/>
          <p:nvPr userDrawn="1"/>
        </p:nvSpPr>
        <p:spPr>
          <a:xfrm rot="5400000" flipH="1">
            <a:off x="10650813" y="-6388"/>
            <a:ext cx="1528833" cy="1553542"/>
          </a:xfrm>
          <a:custGeom>
            <a:avLst/>
            <a:gdLst>
              <a:gd name="connsiteX0" fmla="*/ 2051041 w 2051041"/>
              <a:gd name="connsiteY0" fmla="*/ 2080382 h 2084191"/>
              <a:gd name="connsiteX1" fmla="*/ 2051041 w 2051041"/>
              <a:gd name="connsiteY1" fmla="*/ 2083967 h 2084191"/>
              <a:gd name="connsiteX2" fmla="*/ 2047231 w 2051041"/>
              <a:gd name="connsiteY2" fmla="*/ 2084191 h 2084191"/>
              <a:gd name="connsiteX3" fmla="*/ 2045599 w 2051041"/>
              <a:gd name="connsiteY3" fmla="*/ 2081470 h 2084191"/>
              <a:gd name="connsiteX4" fmla="*/ 1478568 w 2051041"/>
              <a:gd name="connsiteY4" fmla="*/ 1997668 h 2084191"/>
              <a:gd name="connsiteX5" fmla="*/ 1484554 w 2051041"/>
              <a:gd name="connsiteY5" fmla="*/ 2004743 h 2084191"/>
              <a:gd name="connsiteX6" fmla="*/ 1478568 w 2051041"/>
              <a:gd name="connsiteY6" fmla="*/ 2009096 h 2084191"/>
              <a:gd name="connsiteX7" fmla="*/ 1473126 w 2051041"/>
              <a:gd name="connsiteY7" fmla="*/ 2003654 h 2084191"/>
              <a:gd name="connsiteX8" fmla="*/ 1478568 w 2051041"/>
              <a:gd name="connsiteY8" fmla="*/ 1997668 h 2084191"/>
              <a:gd name="connsiteX9" fmla="*/ 1641820 w 2051041"/>
              <a:gd name="connsiteY9" fmla="*/ 1993859 h 2084191"/>
              <a:gd name="connsiteX10" fmla="*/ 1652160 w 2051041"/>
              <a:gd name="connsiteY10" fmla="*/ 2003654 h 2084191"/>
              <a:gd name="connsiteX11" fmla="*/ 1641820 w 2051041"/>
              <a:gd name="connsiteY11" fmla="*/ 2013449 h 2084191"/>
              <a:gd name="connsiteX12" fmla="*/ 1632025 w 2051041"/>
              <a:gd name="connsiteY12" fmla="*/ 2003654 h 2084191"/>
              <a:gd name="connsiteX13" fmla="*/ 1641820 w 2051041"/>
              <a:gd name="connsiteY13" fmla="*/ 1993859 h 2084191"/>
              <a:gd name="connsiteX14" fmla="*/ 1969414 w 2051041"/>
              <a:gd name="connsiteY14" fmla="*/ 1992226 h 2084191"/>
              <a:gd name="connsiteX15" fmla="*/ 1979753 w 2051041"/>
              <a:gd name="connsiteY15" fmla="*/ 2003654 h 2084191"/>
              <a:gd name="connsiteX16" fmla="*/ 1968325 w 2051041"/>
              <a:gd name="connsiteY16" fmla="*/ 2014537 h 2084191"/>
              <a:gd name="connsiteX17" fmla="*/ 1957986 w 2051041"/>
              <a:gd name="connsiteY17" fmla="*/ 2003110 h 2084191"/>
              <a:gd name="connsiteX18" fmla="*/ 1969414 w 2051041"/>
              <a:gd name="connsiteY18" fmla="*/ 1992226 h 2084191"/>
              <a:gd name="connsiteX19" fmla="*/ 1805073 w 2051041"/>
              <a:gd name="connsiteY19" fmla="*/ 1992226 h 2084191"/>
              <a:gd name="connsiteX20" fmla="*/ 1815956 w 2051041"/>
              <a:gd name="connsiteY20" fmla="*/ 2002565 h 2084191"/>
              <a:gd name="connsiteX21" fmla="*/ 1805073 w 2051041"/>
              <a:gd name="connsiteY21" fmla="*/ 2014537 h 2084191"/>
              <a:gd name="connsiteX22" fmla="*/ 1794189 w 2051041"/>
              <a:gd name="connsiteY22" fmla="*/ 2004198 h 2084191"/>
              <a:gd name="connsiteX23" fmla="*/ 1805073 w 2051041"/>
              <a:gd name="connsiteY23" fmla="*/ 1992226 h 2084191"/>
              <a:gd name="connsiteX24" fmla="*/ 1234233 w 2051041"/>
              <a:gd name="connsiteY24" fmla="*/ 1916042 h 2084191"/>
              <a:gd name="connsiteX25" fmla="*/ 1240219 w 2051041"/>
              <a:gd name="connsiteY25" fmla="*/ 1923660 h 2084191"/>
              <a:gd name="connsiteX26" fmla="*/ 1236953 w 2051041"/>
              <a:gd name="connsiteY26" fmla="*/ 1926381 h 2084191"/>
              <a:gd name="connsiteX27" fmla="*/ 1229335 w 2051041"/>
              <a:gd name="connsiteY27" fmla="*/ 1918762 h 2084191"/>
              <a:gd name="connsiteX28" fmla="*/ 1234233 w 2051041"/>
              <a:gd name="connsiteY28" fmla="*/ 1916042 h 2084191"/>
              <a:gd name="connsiteX29" fmla="*/ 1397486 w 2051041"/>
              <a:gd name="connsiteY29" fmla="*/ 1911144 h 2084191"/>
              <a:gd name="connsiteX30" fmla="*/ 1408369 w 2051041"/>
              <a:gd name="connsiteY30" fmla="*/ 1921483 h 2084191"/>
              <a:gd name="connsiteX31" fmla="*/ 1399118 w 2051041"/>
              <a:gd name="connsiteY31" fmla="*/ 1931823 h 2084191"/>
              <a:gd name="connsiteX32" fmla="*/ 1387146 w 2051041"/>
              <a:gd name="connsiteY32" fmla="*/ 1922028 h 2084191"/>
              <a:gd name="connsiteX33" fmla="*/ 1397486 w 2051041"/>
              <a:gd name="connsiteY33" fmla="*/ 1911144 h 2084191"/>
              <a:gd name="connsiteX34" fmla="*/ 1560194 w 2051041"/>
              <a:gd name="connsiteY34" fmla="*/ 1906790 h 2084191"/>
              <a:gd name="connsiteX35" fmla="*/ 1574342 w 2051041"/>
              <a:gd name="connsiteY35" fmla="*/ 1921482 h 2084191"/>
              <a:gd name="connsiteX36" fmla="*/ 1560738 w 2051041"/>
              <a:gd name="connsiteY36" fmla="*/ 1935631 h 2084191"/>
              <a:gd name="connsiteX37" fmla="*/ 1547134 w 2051041"/>
              <a:gd name="connsiteY37" fmla="*/ 1922027 h 2084191"/>
              <a:gd name="connsiteX38" fmla="*/ 1560194 w 2051041"/>
              <a:gd name="connsiteY38" fmla="*/ 1906790 h 2084191"/>
              <a:gd name="connsiteX39" fmla="*/ 2049952 w 2051041"/>
              <a:gd name="connsiteY39" fmla="*/ 1905702 h 2084191"/>
              <a:gd name="connsiteX40" fmla="*/ 2051041 w 2051041"/>
              <a:gd name="connsiteY40" fmla="*/ 1906027 h 2084191"/>
              <a:gd name="connsiteX41" fmla="*/ 2051041 w 2051041"/>
              <a:gd name="connsiteY41" fmla="*/ 1938133 h 2084191"/>
              <a:gd name="connsiteX42" fmla="*/ 2050496 w 2051041"/>
              <a:gd name="connsiteY42" fmla="*/ 1938353 h 2084191"/>
              <a:gd name="connsiteX43" fmla="*/ 2034171 w 2051041"/>
              <a:gd name="connsiteY43" fmla="*/ 1922572 h 2084191"/>
              <a:gd name="connsiteX44" fmla="*/ 2049952 w 2051041"/>
              <a:gd name="connsiteY44" fmla="*/ 1905702 h 2084191"/>
              <a:gd name="connsiteX45" fmla="*/ 1723447 w 2051041"/>
              <a:gd name="connsiteY45" fmla="*/ 1905702 h 2084191"/>
              <a:gd name="connsiteX46" fmla="*/ 1739772 w 2051041"/>
              <a:gd name="connsiteY46" fmla="*/ 1920939 h 2084191"/>
              <a:gd name="connsiteX47" fmla="*/ 1724535 w 2051041"/>
              <a:gd name="connsiteY47" fmla="*/ 1937264 h 2084191"/>
              <a:gd name="connsiteX48" fmla="*/ 1708210 w 2051041"/>
              <a:gd name="connsiteY48" fmla="*/ 1922027 h 2084191"/>
              <a:gd name="connsiteX49" fmla="*/ 1723447 w 2051041"/>
              <a:gd name="connsiteY49" fmla="*/ 1905702 h 2084191"/>
              <a:gd name="connsiteX50" fmla="*/ 1887787 w 2051041"/>
              <a:gd name="connsiteY50" fmla="*/ 1905158 h 2084191"/>
              <a:gd name="connsiteX51" fmla="*/ 1904113 w 2051041"/>
              <a:gd name="connsiteY51" fmla="*/ 1922028 h 2084191"/>
              <a:gd name="connsiteX52" fmla="*/ 1886699 w 2051041"/>
              <a:gd name="connsiteY52" fmla="*/ 1937809 h 2084191"/>
              <a:gd name="connsiteX53" fmla="*/ 1870918 w 2051041"/>
              <a:gd name="connsiteY53" fmla="*/ 1921483 h 2084191"/>
              <a:gd name="connsiteX54" fmla="*/ 1887787 w 2051041"/>
              <a:gd name="connsiteY54" fmla="*/ 1905158 h 2084191"/>
              <a:gd name="connsiteX55" fmla="*/ 1152606 w 2051041"/>
              <a:gd name="connsiteY55" fmla="*/ 1831693 h 2084191"/>
              <a:gd name="connsiteX56" fmla="*/ 1161313 w 2051041"/>
              <a:gd name="connsiteY56" fmla="*/ 1839312 h 2084191"/>
              <a:gd name="connsiteX57" fmla="*/ 1153694 w 2051041"/>
              <a:gd name="connsiteY57" fmla="*/ 1852916 h 2084191"/>
              <a:gd name="connsiteX58" fmla="*/ 1144988 w 2051041"/>
              <a:gd name="connsiteY58" fmla="*/ 1841489 h 2084191"/>
              <a:gd name="connsiteX59" fmla="*/ 1152606 w 2051041"/>
              <a:gd name="connsiteY59" fmla="*/ 1831693 h 2084191"/>
              <a:gd name="connsiteX60" fmla="*/ 1315315 w 2051041"/>
              <a:gd name="connsiteY60" fmla="*/ 1825708 h 2084191"/>
              <a:gd name="connsiteX61" fmla="*/ 1330552 w 2051041"/>
              <a:gd name="connsiteY61" fmla="*/ 1840401 h 2084191"/>
              <a:gd name="connsiteX62" fmla="*/ 1316404 w 2051041"/>
              <a:gd name="connsiteY62" fmla="*/ 1854549 h 2084191"/>
              <a:gd name="connsiteX63" fmla="*/ 1301711 w 2051041"/>
              <a:gd name="connsiteY63" fmla="*/ 1840945 h 2084191"/>
              <a:gd name="connsiteX64" fmla="*/ 1315315 w 2051041"/>
              <a:gd name="connsiteY64" fmla="*/ 1825708 h 2084191"/>
              <a:gd name="connsiteX65" fmla="*/ 1479656 w 2051041"/>
              <a:gd name="connsiteY65" fmla="*/ 1822987 h 2084191"/>
              <a:gd name="connsiteX66" fmla="*/ 1495981 w 2051041"/>
              <a:gd name="connsiteY66" fmla="*/ 1840401 h 2084191"/>
              <a:gd name="connsiteX67" fmla="*/ 1478567 w 2051041"/>
              <a:gd name="connsiteY67" fmla="*/ 1856182 h 2084191"/>
              <a:gd name="connsiteX68" fmla="*/ 1462242 w 2051041"/>
              <a:gd name="connsiteY68" fmla="*/ 1839312 h 2084191"/>
              <a:gd name="connsiteX69" fmla="*/ 1479656 w 2051041"/>
              <a:gd name="connsiteY69" fmla="*/ 1822987 h 2084191"/>
              <a:gd name="connsiteX70" fmla="*/ 1642365 w 2051041"/>
              <a:gd name="connsiteY70" fmla="*/ 1821355 h 2084191"/>
              <a:gd name="connsiteX71" fmla="*/ 1660867 w 2051041"/>
              <a:gd name="connsiteY71" fmla="*/ 1840401 h 2084191"/>
              <a:gd name="connsiteX72" fmla="*/ 1642365 w 2051041"/>
              <a:gd name="connsiteY72" fmla="*/ 1857270 h 2084191"/>
              <a:gd name="connsiteX73" fmla="*/ 1624407 w 2051041"/>
              <a:gd name="connsiteY73" fmla="*/ 1839857 h 2084191"/>
              <a:gd name="connsiteX74" fmla="*/ 1642365 w 2051041"/>
              <a:gd name="connsiteY74" fmla="*/ 1821355 h 2084191"/>
              <a:gd name="connsiteX75" fmla="*/ 1806162 w 2051041"/>
              <a:gd name="connsiteY75" fmla="*/ 1819723 h 2084191"/>
              <a:gd name="connsiteX76" fmla="*/ 1826840 w 2051041"/>
              <a:gd name="connsiteY76" fmla="*/ 1840945 h 2084191"/>
              <a:gd name="connsiteX77" fmla="*/ 1804529 w 2051041"/>
              <a:gd name="connsiteY77" fmla="*/ 1861080 h 2084191"/>
              <a:gd name="connsiteX78" fmla="*/ 1784395 w 2051041"/>
              <a:gd name="connsiteY78" fmla="*/ 1839313 h 2084191"/>
              <a:gd name="connsiteX79" fmla="*/ 1806162 w 2051041"/>
              <a:gd name="connsiteY79" fmla="*/ 1819723 h 2084191"/>
              <a:gd name="connsiteX80" fmla="*/ 1968870 w 2051041"/>
              <a:gd name="connsiteY80" fmla="*/ 1819178 h 2084191"/>
              <a:gd name="connsiteX81" fmla="*/ 1990093 w 2051041"/>
              <a:gd name="connsiteY81" fmla="*/ 1840401 h 2084191"/>
              <a:gd name="connsiteX82" fmla="*/ 1968870 w 2051041"/>
              <a:gd name="connsiteY82" fmla="*/ 1861624 h 2084191"/>
              <a:gd name="connsiteX83" fmla="*/ 1947647 w 2051041"/>
              <a:gd name="connsiteY83" fmla="*/ 1840401 h 2084191"/>
              <a:gd name="connsiteX84" fmla="*/ 1968870 w 2051041"/>
              <a:gd name="connsiteY84" fmla="*/ 1819178 h 2084191"/>
              <a:gd name="connsiteX85" fmla="*/ 1070436 w 2051041"/>
              <a:gd name="connsiteY85" fmla="*/ 1747347 h 2084191"/>
              <a:gd name="connsiteX86" fmla="*/ 1081863 w 2051041"/>
              <a:gd name="connsiteY86" fmla="*/ 1758231 h 2084191"/>
              <a:gd name="connsiteX87" fmla="*/ 1070980 w 2051041"/>
              <a:gd name="connsiteY87" fmla="*/ 1769658 h 2084191"/>
              <a:gd name="connsiteX88" fmla="*/ 1059552 w 2051041"/>
              <a:gd name="connsiteY88" fmla="*/ 1758775 h 2084191"/>
              <a:gd name="connsiteX89" fmla="*/ 1070436 w 2051041"/>
              <a:gd name="connsiteY89" fmla="*/ 1747347 h 2084191"/>
              <a:gd name="connsiteX90" fmla="*/ 1233688 w 2051041"/>
              <a:gd name="connsiteY90" fmla="*/ 1742449 h 2084191"/>
              <a:gd name="connsiteX91" fmla="*/ 1250558 w 2051041"/>
              <a:gd name="connsiteY91" fmla="*/ 1758774 h 2084191"/>
              <a:gd name="connsiteX92" fmla="*/ 1233688 w 2051041"/>
              <a:gd name="connsiteY92" fmla="*/ 1775099 h 2084191"/>
              <a:gd name="connsiteX93" fmla="*/ 1217907 w 2051041"/>
              <a:gd name="connsiteY93" fmla="*/ 1759318 h 2084191"/>
              <a:gd name="connsiteX94" fmla="*/ 1233688 w 2051041"/>
              <a:gd name="connsiteY94" fmla="*/ 1742449 h 2084191"/>
              <a:gd name="connsiteX95" fmla="*/ 1399662 w 2051041"/>
              <a:gd name="connsiteY95" fmla="*/ 1739728 h 2084191"/>
              <a:gd name="connsiteX96" fmla="*/ 1417076 w 2051041"/>
              <a:gd name="connsiteY96" fmla="*/ 1760407 h 2084191"/>
              <a:gd name="connsiteX97" fmla="*/ 1396941 w 2051041"/>
              <a:gd name="connsiteY97" fmla="*/ 1779453 h 2084191"/>
              <a:gd name="connsiteX98" fmla="*/ 1377895 w 2051041"/>
              <a:gd name="connsiteY98" fmla="*/ 1757686 h 2084191"/>
              <a:gd name="connsiteX99" fmla="*/ 1399662 w 2051041"/>
              <a:gd name="connsiteY99" fmla="*/ 1739728 h 2084191"/>
              <a:gd name="connsiteX100" fmla="*/ 1723991 w 2051041"/>
              <a:gd name="connsiteY100" fmla="*/ 1735919 h 2084191"/>
              <a:gd name="connsiteX101" fmla="*/ 1746847 w 2051041"/>
              <a:gd name="connsiteY101" fmla="*/ 1758774 h 2084191"/>
              <a:gd name="connsiteX102" fmla="*/ 1723991 w 2051041"/>
              <a:gd name="connsiteY102" fmla="*/ 1781086 h 2084191"/>
              <a:gd name="connsiteX103" fmla="*/ 1701680 w 2051041"/>
              <a:gd name="connsiteY103" fmla="*/ 1758774 h 2084191"/>
              <a:gd name="connsiteX104" fmla="*/ 1723991 w 2051041"/>
              <a:gd name="connsiteY104" fmla="*/ 1735919 h 2084191"/>
              <a:gd name="connsiteX105" fmla="*/ 1560194 w 2051041"/>
              <a:gd name="connsiteY105" fmla="*/ 1735919 h 2084191"/>
              <a:gd name="connsiteX106" fmla="*/ 1582505 w 2051041"/>
              <a:gd name="connsiteY106" fmla="*/ 1758230 h 2084191"/>
              <a:gd name="connsiteX107" fmla="*/ 1560738 w 2051041"/>
              <a:gd name="connsiteY107" fmla="*/ 1779997 h 2084191"/>
              <a:gd name="connsiteX108" fmla="*/ 1538427 w 2051041"/>
              <a:gd name="connsiteY108" fmla="*/ 1758230 h 2084191"/>
              <a:gd name="connsiteX109" fmla="*/ 1560194 w 2051041"/>
              <a:gd name="connsiteY109" fmla="*/ 1735919 h 2084191"/>
              <a:gd name="connsiteX110" fmla="*/ 2051041 w 2051041"/>
              <a:gd name="connsiteY110" fmla="*/ 1734831 h 2084191"/>
              <a:gd name="connsiteX111" fmla="*/ 2051041 w 2051041"/>
              <a:gd name="connsiteY111" fmla="*/ 1781438 h 2084191"/>
              <a:gd name="connsiteX112" fmla="*/ 2050496 w 2051041"/>
              <a:gd name="connsiteY112" fmla="*/ 1781630 h 2084191"/>
              <a:gd name="connsiteX113" fmla="*/ 2027097 w 2051041"/>
              <a:gd name="connsiteY113" fmla="*/ 1758775 h 2084191"/>
              <a:gd name="connsiteX114" fmla="*/ 2051041 w 2051041"/>
              <a:gd name="connsiteY114" fmla="*/ 1734831 h 2084191"/>
              <a:gd name="connsiteX115" fmla="*/ 1887788 w 2051041"/>
              <a:gd name="connsiteY115" fmla="*/ 1734831 h 2084191"/>
              <a:gd name="connsiteX116" fmla="*/ 1910099 w 2051041"/>
              <a:gd name="connsiteY116" fmla="*/ 1758775 h 2084191"/>
              <a:gd name="connsiteX117" fmla="*/ 1886699 w 2051041"/>
              <a:gd name="connsiteY117" fmla="*/ 1781086 h 2084191"/>
              <a:gd name="connsiteX118" fmla="*/ 1863844 w 2051041"/>
              <a:gd name="connsiteY118" fmla="*/ 1757687 h 2084191"/>
              <a:gd name="connsiteX119" fmla="*/ 1887788 w 2051041"/>
              <a:gd name="connsiteY119" fmla="*/ 1734831 h 2084191"/>
              <a:gd name="connsiteX120" fmla="*/ 826100 w 2051041"/>
              <a:gd name="connsiteY120" fmla="*/ 1671706 h 2084191"/>
              <a:gd name="connsiteX121" fmla="*/ 832086 w 2051041"/>
              <a:gd name="connsiteY121" fmla="*/ 1677692 h 2084191"/>
              <a:gd name="connsiteX122" fmla="*/ 825556 w 2051041"/>
              <a:gd name="connsiteY122" fmla="*/ 1683134 h 2084191"/>
              <a:gd name="connsiteX123" fmla="*/ 820658 w 2051041"/>
              <a:gd name="connsiteY123" fmla="*/ 1676603 h 2084191"/>
              <a:gd name="connsiteX124" fmla="*/ 826100 w 2051041"/>
              <a:gd name="connsiteY124" fmla="*/ 1671706 h 2084191"/>
              <a:gd name="connsiteX125" fmla="*/ 989354 w 2051041"/>
              <a:gd name="connsiteY125" fmla="*/ 1661912 h 2084191"/>
              <a:gd name="connsiteX126" fmla="*/ 1004046 w 2051041"/>
              <a:gd name="connsiteY126" fmla="*/ 1676604 h 2084191"/>
              <a:gd name="connsiteX127" fmla="*/ 989354 w 2051041"/>
              <a:gd name="connsiteY127" fmla="*/ 1690209 h 2084191"/>
              <a:gd name="connsiteX128" fmla="*/ 975205 w 2051041"/>
              <a:gd name="connsiteY128" fmla="*/ 1677693 h 2084191"/>
              <a:gd name="connsiteX129" fmla="*/ 989354 w 2051041"/>
              <a:gd name="connsiteY129" fmla="*/ 1661912 h 2084191"/>
              <a:gd name="connsiteX130" fmla="*/ 1153151 w 2051041"/>
              <a:gd name="connsiteY130" fmla="*/ 1659734 h 2084191"/>
              <a:gd name="connsiteX131" fmla="*/ 1170564 w 2051041"/>
              <a:gd name="connsiteY131" fmla="*/ 1677692 h 2084191"/>
              <a:gd name="connsiteX132" fmla="*/ 1152062 w 2051041"/>
              <a:gd name="connsiteY132" fmla="*/ 1694562 h 2084191"/>
              <a:gd name="connsiteX133" fmla="*/ 1135737 w 2051041"/>
              <a:gd name="connsiteY133" fmla="*/ 1677148 h 2084191"/>
              <a:gd name="connsiteX134" fmla="*/ 1153151 w 2051041"/>
              <a:gd name="connsiteY134" fmla="*/ 1659734 h 2084191"/>
              <a:gd name="connsiteX135" fmla="*/ 1315315 w 2051041"/>
              <a:gd name="connsiteY135" fmla="*/ 1655381 h 2084191"/>
              <a:gd name="connsiteX136" fmla="*/ 1337082 w 2051041"/>
              <a:gd name="connsiteY136" fmla="*/ 1676603 h 2084191"/>
              <a:gd name="connsiteX137" fmla="*/ 1315315 w 2051041"/>
              <a:gd name="connsiteY137" fmla="*/ 1698915 h 2084191"/>
              <a:gd name="connsiteX138" fmla="*/ 1294092 w 2051041"/>
              <a:gd name="connsiteY138" fmla="*/ 1677148 h 2084191"/>
              <a:gd name="connsiteX139" fmla="*/ 1315315 w 2051041"/>
              <a:gd name="connsiteY139" fmla="*/ 1655381 h 2084191"/>
              <a:gd name="connsiteX140" fmla="*/ 1479111 w 2051041"/>
              <a:gd name="connsiteY140" fmla="*/ 1654293 h 2084191"/>
              <a:gd name="connsiteX141" fmla="*/ 1501967 w 2051041"/>
              <a:gd name="connsiteY141" fmla="*/ 1677692 h 2084191"/>
              <a:gd name="connsiteX142" fmla="*/ 1479111 w 2051041"/>
              <a:gd name="connsiteY142" fmla="*/ 1700548 h 2084191"/>
              <a:gd name="connsiteX143" fmla="*/ 1455712 w 2051041"/>
              <a:gd name="connsiteY143" fmla="*/ 1676604 h 2084191"/>
              <a:gd name="connsiteX144" fmla="*/ 1479111 w 2051041"/>
              <a:gd name="connsiteY144" fmla="*/ 1654293 h 2084191"/>
              <a:gd name="connsiteX145" fmla="*/ 1643452 w 2051041"/>
              <a:gd name="connsiteY145" fmla="*/ 1650483 h 2084191"/>
              <a:gd name="connsiteX146" fmla="*/ 1668484 w 2051041"/>
              <a:gd name="connsiteY146" fmla="*/ 1676603 h 2084191"/>
              <a:gd name="connsiteX147" fmla="*/ 1643452 w 2051041"/>
              <a:gd name="connsiteY147" fmla="*/ 1703268 h 2084191"/>
              <a:gd name="connsiteX148" fmla="*/ 1617332 w 2051041"/>
              <a:gd name="connsiteY148" fmla="*/ 1677692 h 2084191"/>
              <a:gd name="connsiteX149" fmla="*/ 1643452 w 2051041"/>
              <a:gd name="connsiteY149" fmla="*/ 1650483 h 2084191"/>
              <a:gd name="connsiteX150" fmla="*/ 1968326 w 2051041"/>
              <a:gd name="connsiteY150" fmla="*/ 1649940 h 2084191"/>
              <a:gd name="connsiteX151" fmla="*/ 1995535 w 2051041"/>
              <a:gd name="connsiteY151" fmla="*/ 1676604 h 2084191"/>
              <a:gd name="connsiteX152" fmla="*/ 1968870 w 2051041"/>
              <a:gd name="connsiteY152" fmla="*/ 1704357 h 2084191"/>
              <a:gd name="connsiteX153" fmla="*/ 1941661 w 2051041"/>
              <a:gd name="connsiteY153" fmla="*/ 1677148 h 2084191"/>
              <a:gd name="connsiteX154" fmla="*/ 1968326 w 2051041"/>
              <a:gd name="connsiteY154" fmla="*/ 1649940 h 2084191"/>
              <a:gd name="connsiteX155" fmla="*/ 1805617 w 2051041"/>
              <a:gd name="connsiteY155" fmla="*/ 1649939 h 2084191"/>
              <a:gd name="connsiteX156" fmla="*/ 1832826 w 2051041"/>
              <a:gd name="connsiteY156" fmla="*/ 1677148 h 2084191"/>
              <a:gd name="connsiteX157" fmla="*/ 1805073 w 2051041"/>
              <a:gd name="connsiteY157" fmla="*/ 1704357 h 2084191"/>
              <a:gd name="connsiteX158" fmla="*/ 1778409 w 2051041"/>
              <a:gd name="connsiteY158" fmla="*/ 1677148 h 2084191"/>
              <a:gd name="connsiteX159" fmla="*/ 1805617 w 2051041"/>
              <a:gd name="connsiteY159" fmla="*/ 1649939 h 2084191"/>
              <a:gd name="connsiteX160" fmla="*/ 744474 w 2051041"/>
              <a:gd name="connsiteY160" fmla="*/ 1588992 h 2084191"/>
              <a:gd name="connsiteX161" fmla="*/ 751004 w 2051041"/>
              <a:gd name="connsiteY161" fmla="*/ 1594978 h 2084191"/>
              <a:gd name="connsiteX162" fmla="*/ 745562 w 2051041"/>
              <a:gd name="connsiteY162" fmla="*/ 1602052 h 2084191"/>
              <a:gd name="connsiteX163" fmla="*/ 738488 w 2051041"/>
              <a:gd name="connsiteY163" fmla="*/ 1594978 h 2084191"/>
              <a:gd name="connsiteX164" fmla="*/ 744474 w 2051041"/>
              <a:gd name="connsiteY164" fmla="*/ 1588992 h 2084191"/>
              <a:gd name="connsiteX165" fmla="*/ 907183 w 2051041"/>
              <a:gd name="connsiteY165" fmla="*/ 1579741 h 2084191"/>
              <a:gd name="connsiteX166" fmla="*/ 923508 w 2051041"/>
              <a:gd name="connsiteY166" fmla="*/ 1594978 h 2084191"/>
              <a:gd name="connsiteX167" fmla="*/ 908815 w 2051041"/>
              <a:gd name="connsiteY167" fmla="*/ 1610759 h 2084191"/>
              <a:gd name="connsiteX168" fmla="*/ 892490 w 2051041"/>
              <a:gd name="connsiteY168" fmla="*/ 1595522 h 2084191"/>
              <a:gd name="connsiteX169" fmla="*/ 907183 w 2051041"/>
              <a:gd name="connsiteY169" fmla="*/ 1579741 h 2084191"/>
              <a:gd name="connsiteX170" fmla="*/ 1071524 w 2051041"/>
              <a:gd name="connsiteY170" fmla="*/ 1574843 h 2084191"/>
              <a:gd name="connsiteX171" fmla="*/ 1091114 w 2051041"/>
              <a:gd name="connsiteY171" fmla="*/ 1595522 h 2084191"/>
              <a:gd name="connsiteX172" fmla="*/ 1070980 w 2051041"/>
              <a:gd name="connsiteY172" fmla="*/ 1615656 h 2084191"/>
              <a:gd name="connsiteX173" fmla="*/ 1050301 w 2051041"/>
              <a:gd name="connsiteY173" fmla="*/ 1595522 h 2084191"/>
              <a:gd name="connsiteX174" fmla="*/ 1071524 w 2051041"/>
              <a:gd name="connsiteY174" fmla="*/ 1574843 h 2084191"/>
              <a:gd name="connsiteX175" fmla="*/ 1233688 w 2051041"/>
              <a:gd name="connsiteY175" fmla="*/ 1573210 h 2084191"/>
              <a:gd name="connsiteX176" fmla="*/ 1256544 w 2051041"/>
              <a:gd name="connsiteY176" fmla="*/ 1595522 h 2084191"/>
              <a:gd name="connsiteX177" fmla="*/ 1233688 w 2051041"/>
              <a:gd name="connsiteY177" fmla="*/ 1618377 h 2084191"/>
              <a:gd name="connsiteX178" fmla="*/ 1211377 w 2051041"/>
              <a:gd name="connsiteY178" fmla="*/ 1596610 h 2084191"/>
              <a:gd name="connsiteX179" fmla="*/ 1233688 w 2051041"/>
              <a:gd name="connsiteY179" fmla="*/ 1573210 h 2084191"/>
              <a:gd name="connsiteX180" fmla="*/ 1398030 w 2051041"/>
              <a:gd name="connsiteY180" fmla="*/ 1569402 h 2084191"/>
              <a:gd name="connsiteX181" fmla="*/ 1423062 w 2051041"/>
              <a:gd name="connsiteY181" fmla="*/ 1595522 h 2084191"/>
              <a:gd name="connsiteX182" fmla="*/ 1397485 w 2051041"/>
              <a:gd name="connsiteY182" fmla="*/ 1621099 h 2084191"/>
              <a:gd name="connsiteX183" fmla="*/ 1371365 w 2051041"/>
              <a:gd name="connsiteY183" fmla="*/ 1595522 h 2084191"/>
              <a:gd name="connsiteX184" fmla="*/ 1398030 w 2051041"/>
              <a:gd name="connsiteY184" fmla="*/ 1569402 h 2084191"/>
              <a:gd name="connsiteX185" fmla="*/ 1560194 w 2051041"/>
              <a:gd name="connsiteY185" fmla="*/ 1568313 h 2084191"/>
              <a:gd name="connsiteX186" fmla="*/ 1587947 w 2051041"/>
              <a:gd name="connsiteY186" fmla="*/ 1594433 h 2084191"/>
              <a:gd name="connsiteX187" fmla="*/ 1560194 w 2051041"/>
              <a:gd name="connsiteY187" fmla="*/ 1622730 h 2084191"/>
              <a:gd name="connsiteX188" fmla="*/ 1532985 w 2051041"/>
              <a:gd name="connsiteY188" fmla="*/ 1594977 h 2084191"/>
              <a:gd name="connsiteX189" fmla="*/ 1560194 w 2051041"/>
              <a:gd name="connsiteY189" fmla="*/ 1568313 h 2084191"/>
              <a:gd name="connsiteX190" fmla="*/ 1887244 w 2051041"/>
              <a:gd name="connsiteY190" fmla="*/ 1567225 h 2084191"/>
              <a:gd name="connsiteX191" fmla="*/ 1915541 w 2051041"/>
              <a:gd name="connsiteY191" fmla="*/ 1594978 h 2084191"/>
              <a:gd name="connsiteX192" fmla="*/ 1886699 w 2051041"/>
              <a:gd name="connsiteY192" fmla="*/ 1623819 h 2084191"/>
              <a:gd name="connsiteX193" fmla="*/ 1858947 w 2051041"/>
              <a:gd name="connsiteY193" fmla="*/ 1594978 h 2084191"/>
              <a:gd name="connsiteX194" fmla="*/ 1887244 w 2051041"/>
              <a:gd name="connsiteY194" fmla="*/ 1567225 h 2084191"/>
              <a:gd name="connsiteX195" fmla="*/ 1724535 w 2051041"/>
              <a:gd name="connsiteY195" fmla="*/ 1567225 h 2084191"/>
              <a:gd name="connsiteX196" fmla="*/ 1752288 w 2051041"/>
              <a:gd name="connsiteY196" fmla="*/ 1594978 h 2084191"/>
              <a:gd name="connsiteX197" fmla="*/ 1724535 w 2051041"/>
              <a:gd name="connsiteY197" fmla="*/ 1623275 h 2084191"/>
              <a:gd name="connsiteX198" fmla="*/ 1696238 w 2051041"/>
              <a:gd name="connsiteY198" fmla="*/ 1594978 h 2084191"/>
              <a:gd name="connsiteX199" fmla="*/ 1724535 w 2051041"/>
              <a:gd name="connsiteY199" fmla="*/ 1567225 h 2084191"/>
              <a:gd name="connsiteX200" fmla="*/ 2050496 w 2051041"/>
              <a:gd name="connsiteY200" fmla="*/ 1566680 h 2084191"/>
              <a:gd name="connsiteX201" fmla="*/ 2051041 w 2051041"/>
              <a:gd name="connsiteY201" fmla="*/ 1566888 h 2084191"/>
              <a:gd name="connsiteX202" fmla="*/ 2051041 w 2051041"/>
              <a:gd name="connsiteY202" fmla="*/ 1623794 h 2084191"/>
              <a:gd name="connsiteX203" fmla="*/ 2049408 w 2051041"/>
              <a:gd name="connsiteY203" fmla="*/ 1624363 h 2084191"/>
              <a:gd name="connsiteX204" fmla="*/ 2021655 w 2051041"/>
              <a:gd name="connsiteY204" fmla="*/ 1594977 h 2084191"/>
              <a:gd name="connsiteX205" fmla="*/ 2050496 w 2051041"/>
              <a:gd name="connsiteY205" fmla="*/ 1566680 h 2084191"/>
              <a:gd name="connsiteX206" fmla="*/ 663392 w 2051041"/>
              <a:gd name="connsiteY206" fmla="*/ 1505188 h 2084191"/>
              <a:gd name="connsiteX207" fmla="*/ 674819 w 2051041"/>
              <a:gd name="connsiteY207" fmla="*/ 1513895 h 2084191"/>
              <a:gd name="connsiteX208" fmla="*/ 662848 w 2051041"/>
              <a:gd name="connsiteY208" fmla="*/ 1522058 h 2084191"/>
              <a:gd name="connsiteX209" fmla="*/ 654685 w 2051041"/>
              <a:gd name="connsiteY209" fmla="*/ 1513351 h 2084191"/>
              <a:gd name="connsiteX210" fmla="*/ 663392 w 2051041"/>
              <a:gd name="connsiteY210" fmla="*/ 1505188 h 2084191"/>
              <a:gd name="connsiteX211" fmla="*/ 826101 w 2051041"/>
              <a:gd name="connsiteY211" fmla="*/ 1497570 h 2084191"/>
              <a:gd name="connsiteX212" fmla="*/ 842970 w 2051041"/>
              <a:gd name="connsiteY212" fmla="*/ 1513351 h 2084191"/>
              <a:gd name="connsiteX213" fmla="*/ 826645 w 2051041"/>
              <a:gd name="connsiteY213" fmla="*/ 1529676 h 2084191"/>
              <a:gd name="connsiteX214" fmla="*/ 810319 w 2051041"/>
              <a:gd name="connsiteY214" fmla="*/ 1514983 h 2084191"/>
              <a:gd name="connsiteX215" fmla="*/ 826101 w 2051041"/>
              <a:gd name="connsiteY215" fmla="*/ 1497570 h 2084191"/>
              <a:gd name="connsiteX216" fmla="*/ 988265 w 2051041"/>
              <a:gd name="connsiteY216" fmla="*/ 1492128 h 2084191"/>
              <a:gd name="connsiteX217" fmla="*/ 1010577 w 2051041"/>
              <a:gd name="connsiteY217" fmla="*/ 1513351 h 2084191"/>
              <a:gd name="connsiteX218" fmla="*/ 989354 w 2051041"/>
              <a:gd name="connsiteY218" fmla="*/ 1534574 h 2084191"/>
              <a:gd name="connsiteX219" fmla="*/ 968131 w 2051041"/>
              <a:gd name="connsiteY219" fmla="*/ 1513895 h 2084191"/>
              <a:gd name="connsiteX220" fmla="*/ 988265 w 2051041"/>
              <a:gd name="connsiteY220" fmla="*/ 1492128 h 2084191"/>
              <a:gd name="connsiteX221" fmla="*/ 1152606 w 2051041"/>
              <a:gd name="connsiteY221" fmla="*/ 1490496 h 2084191"/>
              <a:gd name="connsiteX222" fmla="*/ 1176006 w 2051041"/>
              <a:gd name="connsiteY222" fmla="*/ 1513351 h 2084191"/>
              <a:gd name="connsiteX223" fmla="*/ 1152606 w 2051041"/>
              <a:gd name="connsiteY223" fmla="*/ 1537839 h 2084191"/>
              <a:gd name="connsiteX224" fmla="*/ 1129207 w 2051041"/>
              <a:gd name="connsiteY224" fmla="*/ 1514984 h 2084191"/>
              <a:gd name="connsiteX225" fmla="*/ 1152606 w 2051041"/>
              <a:gd name="connsiteY225" fmla="*/ 1490496 h 2084191"/>
              <a:gd name="connsiteX226" fmla="*/ 1316403 w 2051041"/>
              <a:gd name="connsiteY226" fmla="*/ 1487231 h 2084191"/>
              <a:gd name="connsiteX227" fmla="*/ 1342523 w 2051041"/>
              <a:gd name="connsiteY227" fmla="*/ 1513896 h 2084191"/>
              <a:gd name="connsiteX228" fmla="*/ 1315314 w 2051041"/>
              <a:gd name="connsiteY228" fmla="*/ 1540560 h 2084191"/>
              <a:gd name="connsiteX229" fmla="*/ 1288650 w 2051041"/>
              <a:gd name="connsiteY229" fmla="*/ 1513896 h 2084191"/>
              <a:gd name="connsiteX230" fmla="*/ 1316403 w 2051041"/>
              <a:gd name="connsiteY230" fmla="*/ 1487231 h 2084191"/>
              <a:gd name="connsiteX231" fmla="*/ 1479656 w 2051041"/>
              <a:gd name="connsiteY231" fmla="*/ 1485054 h 2084191"/>
              <a:gd name="connsiteX232" fmla="*/ 1507409 w 2051041"/>
              <a:gd name="connsiteY232" fmla="*/ 1513895 h 2084191"/>
              <a:gd name="connsiteX233" fmla="*/ 1479112 w 2051041"/>
              <a:gd name="connsiteY233" fmla="*/ 1541648 h 2084191"/>
              <a:gd name="connsiteX234" fmla="*/ 1451359 w 2051041"/>
              <a:gd name="connsiteY234" fmla="*/ 1513351 h 2084191"/>
              <a:gd name="connsiteX235" fmla="*/ 1479656 w 2051041"/>
              <a:gd name="connsiteY235" fmla="*/ 1485054 h 2084191"/>
              <a:gd name="connsiteX236" fmla="*/ 1641820 w 2051041"/>
              <a:gd name="connsiteY236" fmla="*/ 1482334 h 2084191"/>
              <a:gd name="connsiteX237" fmla="*/ 1673382 w 2051041"/>
              <a:gd name="connsiteY237" fmla="*/ 1512807 h 2084191"/>
              <a:gd name="connsiteX238" fmla="*/ 1642909 w 2051041"/>
              <a:gd name="connsiteY238" fmla="*/ 1544370 h 2084191"/>
              <a:gd name="connsiteX239" fmla="*/ 1612435 w 2051041"/>
              <a:gd name="connsiteY239" fmla="*/ 1513351 h 2084191"/>
              <a:gd name="connsiteX240" fmla="*/ 1641820 w 2051041"/>
              <a:gd name="connsiteY240" fmla="*/ 1482334 h 2084191"/>
              <a:gd name="connsiteX241" fmla="*/ 1804529 w 2051041"/>
              <a:gd name="connsiteY241" fmla="*/ 1481788 h 2084191"/>
              <a:gd name="connsiteX242" fmla="*/ 1837180 w 2051041"/>
              <a:gd name="connsiteY242" fmla="*/ 1513351 h 2084191"/>
              <a:gd name="connsiteX243" fmla="*/ 1805617 w 2051041"/>
              <a:gd name="connsiteY243" fmla="*/ 1545457 h 2084191"/>
              <a:gd name="connsiteX244" fmla="*/ 1773511 w 2051041"/>
              <a:gd name="connsiteY244" fmla="*/ 1514983 h 2084191"/>
              <a:gd name="connsiteX245" fmla="*/ 1804529 w 2051041"/>
              <a:gd name="connsiteY245" fmla="*/ 1481788 h 2084191"/>
              <a:gd name="connsiteX246" fmla="*/ 1968870 w 2051041"/>
              <a:gd name="connsiteY246" fmla="*/ 1480700 h 2084191"/>
              <a:gd name="connsiteX247" fmla="*/ 2000977 w 2051041"/>
              <a:gd name="connsiteY247" fmla="*/ 1513351 h 2084191"/>
              <a:gd name="connsiteX248" fmla="*/ 1968870 w 2051041"/>
              <a:gd name="connsiteY248" fmla="*/ 1545457 h 2084191"/>
              <a:gd name="connsiteX249" fmla="*/ 1936764 w 2051041"/>
              <a:gd name="connsiteY249" fmla="*/ 1513351 h 2084191"/>
              <a:gd name="connsiteX250" fmla="*/ 1968870 w 2051041"/>
              <a:gd name="connsiteY250" fmla="*/ 1480700 h 2084191"/>
              <a:gd name="connsiteX251" fmla="*/ 581221 w 2051041"/>
              <a:gd name="connsiteY251" fmla="*/ 1423562 h 2084191"/>
              <a:gd name="connsiteX252" fmla="*/ 588840 w 2051041"/>
              <a:gd name="connsiteY252" fmla="*/ 1431725 h 2084191"/>
              <a:gd name="connsiteX253" fmla="*/ 581765 w 2051041"/>
              <a:gd name="connsiteY253" fmla="*/ 1443153 h 2084191"/>
              <a:gd name="connsiteX254" fmla="*/ 573059 w 2051041"/>
              <a:gd name="connsiteY254" fmla="*/ 1432813 h 2084191"/>
              <a:gd name="connsiteX255" fmla="*/ 581221 w 2051041"/>
              <a:gd name="connsiteY255" fmla="*/ 1423562 h 2084191"/>
              <a:gd name="connsiteX256" fmla="*/ 745562 w 2051041"/>
              <a:gd name="connsiteY256" fmla="*/ 1414855 h 2084191"/>
              <a:gd name="connsiteX257" fmla="*/ 761344 w 2051041"/>
              <a:gd name="connsiteY257" fmla="*/ 1432269 h 2084191"/>
              <a:gd name="connsiteX258" fmla="*/ 745018 w 2051041"/>
              <a:gd name="connsiteY258" fmla="*/ 1448050 h 2084191"/>
              <a:gd name="connsiteX259" fmla="*/ 728693 w 2051041"/>
              <a:gd name="connsiteY259" fmla="*/ 1431725 h 2084191"/>
              <a:gd name="connsiteX260" fmla="*/ 745562 w 2051041"/>
              <a:gd name="connsiteY260" fmla="*/ 1414855 h 2084191"/>
              <a:gd name="connsiteX261" fmla="*/ 908815 w 2051041"/>
              <a:gd name="connsiteY261" fmla="*/ 1409958 h 2084191"/>
              <a:gd name="connsiteX262" fmla="*/ 930038 w 2051041"/>
              <a:gd name="connsiteY262" fmla="*/ 1431725 h 2084191"/>
              <a:gd name="connsiteX263" fmla="*/ 907183 w 2051041"/>
              <a:gd name="connsiteY263" fmla="*/ 1453492 h 2084191"/>
              <a:gd name="connsiteX264" fmla="*/ 885960 w 2051041"/>
              <a:gd name="connsiteY264" fmla="*/ 1431725 h 2084191"/>
              <a:gd name="connsiteX265" fmla="*/ 908815 w 2051041"/>
              <a:gd name="connsiteY265" fmla="*/ 1409958 h 2084191"/>
              <a:gd name="connsiteX266" fmla="*/ 1070436 w 2051041"/>
              <a:gd name="connsiteY266" fmla="*/ 1406693 h 2084191"/>
              <a:gd name="connsiteX267" fmla="*/ 1096012 w 2051041"/>
              <a:gd name="connsiteY267" fmla="*/ 1432269 h 2084191"/>
              <a:gd name="connsiteX268" fmla="*/ 1070436 w 2051041"/>
              <a:gd name="connsiteY268" fmla="*/ 1457846 h 2084191"/>
              <a:gd name="connsiteX269" fmla="*/ 1045404 w 2051041"/>
              <a:gd name="connsiteY269" fmla="*/ 1431181 h 2084191"/>
              <a:gd name="connsiteX270" fmla="*/ 1070436 w 2051041"/>
              <a:gd name="connsiteY270" fmla="*/ 1406693 h 2084191"/>
              <a:gd name="connsiteX271" fmla="*/ 1235865 w 2051041"/>
              <a:gd name="connsiteY271" fmla="*/ 1404516 h 2084191"/>
              <a:gd name="connsiteX272" fmla="*/ 1261986 w 2051041"/>
              <a:gd name="connsiteY272" fmla="*/ 1433358 h 2084191"/>
              <a:gd name="connsiteX273" fmla="*/ 1233689 w 2051041"/>
              <a:gd name="connsiteY273" fmla="*/ 1459478 h 2084191"/>
              <a:gd name="connsiteX274" fmla="*/ 1206480 w 2051041"/>
              <a:gd name="connsiteY274" fmla="*/ 1432269 h 2084191"/>
              <a:gd name="connsiteX275" fmla="*/ 1235865 w 2051041"/>
              <a:gd name="connsiteY275" fmla="*/ 1404516 h 2084191"/>
              <a:gd name="connsiteX276" fmla="*/ 1397485 w 2051041"/>
              <a:gd name="connsiteY276" fmla="*/ 1400162 h 2084191"/>
              <a:gd name="connsiteX277" fmla="*/ 1427959 w 2051041"/>
              <a:gd name="connsiteY277" fmla="*/ 1431724 h 2084191"/>
              <a:gd name="connsiteX278" fmla="*/ 1398029 w 2051041"/>
              <a:gd name="connsiteY278" fmla="*/ 1463287 h 2084191"/>
              <a:gd name="connsiteX279" fmla="*/ 1366467 w 2051041"/>
              <a:gd name="connsiteY279" fmla="*/ 1432813 h 2084191"/>
              <a:gd name="connsiteX280" fmla="*/ 1397485 w 2051041"/>
              <a:gd name="connsiteY280" fmla="*/ 1400162 h 2084191"/>
              <a:gd name="connsiteX281" fmla="*/ 1561282 w 2051041"/>
              <a:gd name="connsiteY281" fmla="*/ 1399618 h 2084191"/>
              <a:gd name="connsiteX282" fmla="*/ 1593388 w 2051041"/>
              <a:gd name="connsiteY282" fmla="*/ 1432269 h 2084191"/>
              <a:gd name="connsiteX283" fmla="*/ 1560738 w 2051041"/>
              <a:gd name="connsiteY283" fmla="*/ 1464375 h 2084191"/>
              <a:gd name="connsiteX284" fmla="*/ 1528631 w 2051041"/>
              <a:gd name="connsiteY284" fmla="*/ 1432813 h 2084191"/>
              <a:gd name="connsiteX285" fmla="*/ 1561282 w 2051041"/>
              <a:gd name="connsiteY285" fmla="*/ 1399618 h 2084191"/>
              <a:gd name="connsiteX286" fmla="*/ 1723446 w 2051041"/>
              <a:gd name="connsiteY286" fmla="*/ 1399074 h 2084191"/>
              <a:gd name="connsiteX287" fmla="*/ 1757185 w 2051041"/>
              <a:gd name="connsiteY287" fmla="*/ 1432269 h 2084191"/>
              <a:gd name="connsiteX288" fmla="*/ 1723991 w 2051041"/>
              <a:gd name="connsiteY288" fmla="*/ 1465464 h 2084191"/>
              <a:gd name="connsiteX289" fmla="*/ 1691340 w 2051041"/>
              <a:gd name="connsiteY289" fmla="*/ 1433357 h 2084191"/>
              <a:gd name="connsiteX290" fmla="*/ 1723446 w 2051041"/>
              <a:gd name="connsiteY290" fmla="*/ 1399074 h 2084191"/>
              <a:gd name="connsiteX291" fmla="*/ 1886700 w 2051041"/>
              <a:gd name="connsiteY291" fmla="*/ 1398530 h 2084191"/>
              <a:gd name="connsiteX292" fmla="*/ 1920439 w 2051041"/>
              <a:gd name="connsiteY292" fmla="*/ 1432269 h 2084191"/>
              <a:gd name="connsiteX293" fmla="*/ 1887788 w 2051041"/>
              <a:gd name="connsiteY293" fmla="*/ 1464920 h 2084191"/>
              <a:gd name="connsiteX294" fmla="*/ 1854049 w 2051041"/>
              <a:gd name="connsiteY294" fmla="*/ 1433358 h 2084191"/>
              <a:gd name="connsiteX295" fmla="*/ 1886700 w 2051041"/>
              <a:gd name="connsiteY295" fmla="*/ 1398530 h 2084191"/>
              <a:gd name="connsiteX296" fmla="*/ 2051041 w 2051041"/>
              <a:gd name="connsiteY296" fmla="*/ 1398217 h 2084191"/>
              <a:gd name="connsiteX297" fmla="*/ 2051041 w 2051041"/>
              <a:gd name="connsiteY297" fmla="*/ 1464535 h 2084191"/>
              <a:gd name="connsiteX298" fmla="*/ 2049953 w 2051041"/>
              <a:gd name="connsiteY298" fmla="*/ 1464920 h 2084191"/>
              <a:gd name="connsiteX299" fmla="*/ 2017302 w 2051041"/>
              <a:gd name="connsiteY299" fmla="*/ 1431725 h 2084191"/>
              <a:gd name="connsiteX300" fmla="*/ 2027709 w 2051041"/>
              <a:gd name="connsiteY300" fmla="*/ 1408121 h 2084191"/>
              <a:gd name="connsiteX301" fmla="*/ 500139 w 2051041"/>
              <a:gd name="connsiteY301" fmla="*/ 1341936 h 2084191"/>
              <a:gd name="connsiteX302" fmla="*/ 511023 w 2051041"/>
              <a:gd name="connsiteY302" fmla="*/ 1350643 h 2084191"/>
              <a:gd name="connsiteX303" fmla="*/ 499595 w 2051041"/>
              <a:gd name="connsiteY303" fmla="*/ 1358261 h 2084191"/>
              <a:gd name="connsiteX304" fmla="*/ 491432 w 2051041"/>
              <a:gd name="connsiteY304" fmla="*/ 1349010 h 2084191"/>
              <a:gd name="connsiteX305" fmla="*/ 500139 w 2051041"/>
              <a:gd name="connsiteY305" fmla="*/ 1341936 h 2084191"/>
              <a:gd name="connsiteX306" fmla="*/ 662848 w 2051041"/>
              <a:gd name="connsiteY306" fmla="*/ 1333773 h 2084191"/>
              <a:gd name="connsiteX307" fmla="*/ 679173 w 2051041"/>
              <a:gd name="connsiteY307" fmla="*/ 1350643 h 2084191"/>
              <a:gd name="connsiteX308" fmla="*/ 662848 w 2051041"/>
              <a:gd name="connsiteY308" fmla="*/ 1366424 h 2084191"/>
              <a:gd name="connsiteX309" fmla="*/ 647067 w 2051041"/>
              <a:gd name="connsiteY309" fmla="*/ 1350098 h 2084191"/>
              <a:gd name="connsiteX310" fmla="*/ 662848 w 2051041"/>
              <a:gd name="connsiteY310" fmla="*/ 1333773 h 2084191"/>
              <a:gd name="connsiteX311" fmla="*/ 826645 w 2051041"/>
              <a:gd name="connsiteY311" fmla="*/ 1328331 h 2084191"/>
              <a:gd name="connsiteX312" fmla="*/ 847868 w 2051041"/>
              <a:gd name="connsiteY312" fmla="*/ 1350642 h 2084191"/>
              <a:gd name="connsiteX313" fmla="*/ 825556 w 2051041"/>
              <a:gd name="connsiteY313" fmla="*/ 1372409 h 2084191"/>
              <a:gd name="connsiteX314" fmla="*/ 804334 w 2051041"/>
              <a:gd name="connsiteY314" fmla="*/ 1349554 h 2084191"/>
              <a:gd name="connsiteX315" fmla="*/ 826645 w 2051041"/>
              <a:gd name="connsiteY315" fmla="*/ 1328331 h 2084191"/>
              <a:gd name="connsiteX316" fmla="*/ 989353 w 2051041"/>
              <a:gd name="connsiteY316" fmla="*/ 1323978 h 2084191"/>
              <a:gd name="connsiteX317" fmla="*/ 1015473 w 2051041"/>
              <a:gd name="connsiteY317" fmla="*/ 1350098 h 2084191"/>
              <a:gd name="connsiteX318" fmla="*/ 989353 w 2051041"/>
              <a:gd name="connsiteY318" fmla="*/ 1376763 h 2084191"/>
              <a:gd name="connsiteX319" fmla="*/ 963777 w 2051041"/>
              <a:gd name="connsiteY319" fmla="*/ 1350642 h 2084191"/>
              <a:gd name="connsiteX320" fmla="*/ 989353 w 2051041"/>
              <a:gd name="connsiteY320" fmla="*/ 1323978 h 2084191"/>
              <a:gd name="connsiteX321" fmla="*/ 1152606 w 2051041"/>
              <a:gd name="connsiteY321" fmla="*/ 1322889 h 2084191"/>
              <a:gd name="connsiteX322" fmla="*/ 1181447 w 2051041"/>
              <a:gd name="connsiteY322" fmla="*/ 1350098 h 2084191"/>
              <a:gd name="connsiteX323" fmla="*/ 1152606 w 2051041"/>
              <a:gd name="connsiteY323" fmla="*/ 1379483 h 2084191"/>
              <a:gd name="connsiteX324" fmla="*/ 1124853 w 2051041"/>
              <a:gd name="connsiteY324" fmla="*/ 1350642 h 2084191"/>
              <a:gd name="connsiteX325" fmla="*/ 1152606 w 2051041"/>
              <a:gd name="connsiteY325" fmla="*/ 1322889 h 2084191"/>
              <a:gd name="connsiteX326" fmla="*/ 1315315 w 2051041"/>
              <a:gd name="connsiteY326" fmla="*/ 1318536 h 2084191"/>
              <a:gd name="connsiteX327" fmla="*/ 1347966 w 2051041"/>
              <a:gd name="connsiteY327" fmla="*/ 1350098 h 2084191"/>
              <a:gd name="connsiteX328" fmla="*/ 1315315 w 2051041"/>
              <a:gd name="connsiteY328" fmla="*/ 1381661 h 2084191"/>
              <a:gd name="connsiteX329" fmla="*/ 1284297 w 2051041"/>
              <a:gd name="connsiteY329" fmla="*/ 1350098 h 2084191"/>
              <a:gd name="connsiteX330" fmla="*/ 1315315 w 2051041"/>
              <a:gd name="connsiteY330" fmla="*/ 1318536 h 2084191"/>
              <a:gd name="connsiteX331" fmla="*/ 1480744 w 2051041"/>
              <a:gd name="connsiteY331" fmla="*/ 1317448 h 2084191"/>
              <a:gd name="connsiteX332" fmla="*/ 1512306 w 2051041"/>
              <a:gd name="connsiteY332" fmla="*/ 1351731 h 2084191"/>
              <a:gd name="connsiteX333" fmla="*/ 1477479 w 2051041"/>
              <a:gd name="connsiteY333" fmla="*/ 1383293 h 2084191"/>
              <a:gd name="connsiteX334" fmla="*/ 1446461 w 2051041"/>
              <a:gd name="connsiteY334" fmla="*/ 1349554 h 2084191"/>
              <a:gd name="connsiteX335" fmla="*/ 1480744 w 2051041"/>
              <a:gd name="connsiteY335" fmla="*/ 1317448 h 2084191"/>
              <a:gd name="connsiteX336" fmla="*/ 1642908 w 2051041"/>
              <a:gd name="connsiteY336" fmla="*/ 1315815 h 2084191"/>
              <a:gd name="connsiteX337" fmla="*/ 1676647 w 2051041"/>
              <a:gd name="connsiteY337" fmla="*/ 1351731 h 2084191"/>
              <a:gd name="connsiteX338" fmla="*/ 1640732 w 2051041"/>
              <a:gd name="connsiteY338" fmla="*/ 1383837 h 2084191"/>
              <a:gd name="connsiteX339" fmla="*/ 1608081 w 2051041"/>
              <a:gd name="connsiteY339" fmla="*/ 1349554 h 2084191"/>
              <a:gd name="connsiteX340" fmla="*/ 1642908 w 2051041"/>
              <a:gd name="connsiteY340" fmla="*/ 1315815 h 2084191"/>
              <a:gd name="connsiteX341" fmla="*/ 1968870 w 2051041"/>
              <a:gd name="connsiteY341" fmla="*/ 1314183 h 2084191"/>
              <a:gd name="connsiteX342" fmla="*/ 2005329 w 2051041"/>
              <a:gd name="connsiteY342" fmla="*/ 1351187 h 2084191"/>
              <a:gd name="connsiteX343" fmla="*/ 1967781 w 2051041"/>
              <a:gd name="connsiteY343" fmla="*/ 1388191 h 2084191"/>
              <a:gd name="connsiteX344" fmla="*/ 1931866 w 2051041"/>
              <a:gd name="connsiteY344" fmla="*/ 1350098 h 2084191"/>
              <a:gd name="connsiteX345" fmla="*/ 1968870 w 2051041"/>
              <a:gd name="connsiteY345" fmla="*/ 1314183 h 2084191"/>
              <a:gd name="connsiteX346" fmla="*/ 1806161 w 2051041"/>
              <a:gd name="connsiteY346" fmla="*/ 1313639 h 2084191"/>
              <a:gd name="connsiteX347" fmla="*/ 1841533 w 2051041"/>
              <a:gd name="connsiteY347" fmla="*/ 1351187 h 2084191"/>
              <a:gd name="connsiteX348" fmla="*/ 1830105 w 2051041"/>
              <a:gd name="connsiteY348" fmla="*/ 1376763 h 2084191"/>
              <a:gd name="connsiteX349" fmla="*/ 1803984 w 2051041"/>
              <a:gd name="connsiteY349" fmla="*/ 1387102 h 2084191"/>
              <a:gd name="connsiteX350" fmla="*/ 1768613 w 2051041"/>
              <a:gd name="connsiteY350" fmla="*/ 1350098 h 2084191"/>
              <a:gd name="connsiteX351" fmla="*/ 1806161 w 2051041"/>
              <a:gd name="connsiteY351" fmla="*/ 1313639 h 2084191"/>
              <a:gd name="connsiteX352" fmla="*/ 419057 w 2051041"/>
              <a:gd name="connsiteY352" fmla="*/ 1262486 h 2084191"/>
              <a:gd name="connsiteX353" fmla="*/ 424499 w 2051041"/>
              <a:gd name="connsiteY353" fmla="*/ 1269016 h 2084191"/>
              <a:gd name="connsiteX354" fmla="*/ 417969 w 2051041"/>
              <a:gd name="connsiteY354" fmla="*/ 1278811 h 2084191"/>
              <a:gd name="connsiteX355" fmla="*/ 411983 w 2051041"/>
              <a:gd name="connsiteY355" fmla="*/ 1269016 h 2084191"/>
              <a:gd name="connsiteX356" fmla="*/ 419057 w 2051041"/>
              <a:gd name="connsiteY356" fmla="*/ 1262486 h 2084191"/>
              <a:gd name="connsiteX357" fmla="*/ 581221 w 2051041"/>
              <a:gd name="connsiteY357" fmla="*/ 1252147 h 2084191"/>
              <a:gd name="connsiteX358" fmla="*/ 597547 w 2051041"/>
              <a:gd name="connsiteY358" fmla="*/ 1269017 h 2084191"/>
              <a:gd name="connsiteX359" fmla="*/ 580133 w 2051041"/>
              <a:gd name="connsiteY359" fmla="*/ 1284254 h 2084191"/>
              <a:gd name="connsiteX360" fmla="*/ 564896 w 2051041"/>
              <a:gd name="connsiteY360" fmla="*/ 1268472 h 2084191"/>
              <a:gd name="connsiteX361" fmla="*/ 581221 w 2051041"/>
              <a:gd name="connsiteY361" fmla="*/ 1252147 h 2084191"/>
              <a:gd name="connsiteX362" fmla="*/ 745018 w 2051041"/>
              <a:gd name="connsiteY362" fmla="*/ 1246705 h 2084191"/>
              <a:gd name="connsiteX363" fmla="*/ 766241 w 2051041"/>
              <a:gd name="connsiteY363" fmla="*/ 1269560 h 2084191"/>
              <a:gd name="connsiteX364" fmla="*/ 744474 w 2051041"/>
              <a:gd name="connsiteY364" fmla="*/ 1290783 h 2084191"/>
              <a:gd name="connsiteX365" fmla="*/ 722707 w 2051041"/>
              <a:gd name="connsiteY365" fmla="*/ 1267928 h 2084191"/>
              <a:gd name="connsiteX366" fmla="*/ 745018 w 2051041"/>
              <a:gd name="connsiteY366" fmla="*/ 1246705 h 2084191"/>
              <a:gd name="connsiteX367" fmla="*/ 907727 w 2051041"/>
              <a:gd name="connsiteY367" fmla="*/ 1241807 h 2084191"/>
              <a:gd name="connsiteX368" fmla="*/ 933847 w 2051041"/>
              <a:gd name="connsiteY368" fmla="*/ 1269016 h 2084191"/>
              <a:gd name="connsiteX369" fmla="*/ 907183 w 2051041"/>
              <a:gd name="connsiteY369" fmla="*/ 1295136 h 2084191"/>
              <a:gd name="connsiteX370" fmla="*/ 880518 w 2051041"/>
              <a:gd name="connsiteY370" fmla="*/ 1267927 h 2084191"/>
              <a:gd name="connsiteX371" fmla="*/ 907727 w 2051041"/>
              <a:gd name="connsiteY371" fmla="*/ 1241807 h 2084191"/>
              <a:gd name="connsiteX372" fmla="*/ 1070979 w 2051041"/>
              <a:gd name="connsiteY372" fmla="*/ 1240719 h 2084191"/>
              <a:gd name="connsiteX373" fmla="*/ 1099821 w 2051041"/>
              <a:gd name="connsiteY373" fmla="*/ 1268472 h 2084191"/>
              <a:gd name="connsiteX374" fmla="*/ 1070435 w 2051041"/>
              <a:gd name="connsiteY374" fmla="*/ 1297858 h 2084191"/>
              <a:gd name="connsiteX375" fmla="*/ 1042138 w 2051041"/>
              <a:gd name="connsiteY375" fmla="*/ 1269560 h 2084191"/>
              <a:gd name="connsiteX376" fmla="*/ 1070979 w 2051041"/>
              <a:gd name="connsiteY376" fmla="*/ 1240719 h 2084191"/>
              <a:gd name="connsiteX377" fmla="*/ 1234233 w 2051041"/>
              <a:gd name="connsiteY377" fmla="*/ 1235821 h 2084191"/>
              <a:gd name="connsiteX378" fmla="*/ 1266883 w 2051041"/>
              <a:gd name="connsiteY378" fmla="*/ 1269016 h 2084191"/>
              <a:gd name="connsiteX379" fmla="*/ 1234233 w 2051041"/>
              <a:gd name="connsiteY379" fmla="*/ 1300578 h 2084191"/>
              <a:gd name="connsiteX380" fmla="*/ 1201582 w 2051041"/>
              <a:gd name="connsiteY380" fmla="*/ 1267383 h 2084191"/>
              <a:gd name="connsiteX381" fmla="*/ 1234233 w 2051041"/>
              <a:gd name="connsiteY381" fmla="*/ 1235821 h 2084191"/>
              <a:gd name="connsiteX382" fmla="*/ 1396397 w 2051041"/>
              <a:gd name="connsiteY382" fmla="*/ 1234733 h 2084191"/>
              <a:gd name="connsiteX383" fmla="*/ 1431224 w 2051041"/>
              <a:gd name="connsiteY383" fmla="*/ 1268472 h 2084191"/>
              <a:gd name="connsiteX384" fmla="*/ 1396941 w 2051041"/>
              <a:gd name="connsiteY384" fmla="*/ 1302755 h 2084191"/>
              <a:gd name="connsiteX385" fmla="*/ 1363746 w 2051041"/>
              <a:gd name="connsiteY385" fmla="*/ 1269016 h 2084191"/>
              <a:gd name="connsiteX386" fmla="*/ 1396397 w 2051041"/>
              <a:gd name="connsiteY386" fmla="*/ 1234733 h 2084191"/>
              <a:gd name="connsiteX387" fmla="*/ 1559649 w 2051041"/>
              <a:gd name="connsiteY387" fmla="*/ 1232557 h 2084191"/>
              <a:gd name="connsiteX388" fmla="*/ 1597742 w 2051041"/>
              <a:gd name="connsiteY388" fmla="*/ 1268472 h 2084191"/>
              <a:gd name="connsiteX389" fmla="*/ 1561826 w 2051041"/>
              <a:gd name="connsiteY389" fmla="*/ 1305476 h 2084191"/>
              <a:gd name="connsiteX390" fmla="*/ 1523734 w 2051041"/>
              <a:gd name="connsiteY390" fmla="*/ 1269561 h 2084191"/>
              <a:gd name="connsiteX391" fmla="*/ 1559649 w 2051041"/>
              <a:gd name="connsiteY391" fmla="*/ 1232557 h 2084191"/>
              <a:gd name="connsiteX392" fmla="*/ 1723990 w 2051041"/>
              <a:gd name="connsiteY392" fmla="*/ 1231468 h 2084191"/>
              <a:gd name="connsiteX393" fmla="*/ 1762083 w 2051041"/>
              <a:gd name="connsiteY393" fmla="*/ 1268472 h 2084191"/>
              <a:gd name="connsiteX394" fmla="*/ 1724535 w 2051041"/>
              <a:gd name="connsiteY394" fmla="*/ 1307109 h 2084191"/>
              <a:gd name="connsiteX395" fmla="*/ 1686442 w 2051041"/>
              <a:gd name="connsiteY395" fmla="*/ 1270105 h 2084191"/>
              <a:gd name="connsiteX396" fmla="*/ 1723990 w 2051041"/>
              <a:gd name="connsiteY396" fmla="*/ 1231468 h 2084191"/>
              <a:gd name="connsiteX397" fmla="*/ 1888332 w 2051041"/>
              <a:gd name="connsiteY397" fmla="*/ 1230924 h 2084191"/>
              <a:gd name="connsiteX398" fmla="*/ 1925336 w 2051041"/>
              <a:gd name="connsiteY398" fmla="*/ 1269561 h 2084191"/>
              <a:gd name="connsiteX399" fmla="*/ 1887243 w 2051041"/>
              <a:gd name="connsiteY399" fmla="*/ 1307653 h 2084191"/>
              <a:gd name="connsiteX400" fmla="*/ 1849151 w 2051041"/>
              <a:gd name="connsiteY400" fmla="*/ 1267928 h 2084191"/>
              <a:gd name="connsiteX401" fmla="*/ 1888332 w 2051041"/>
              <a:gd name="connsiteY401" fmla="*/ 1230924 h 2084191"/>
              <a:gd name="connsiteX402" fmla="*/ 2049952 w 2051041"/>
              <a:gd name="connsiteY402" fmla="*/ 1230380 h 2084191"/>
              <a:gd name="connsiteX403" fmla="*/ 2051041 w 2051041"/>
              <a:gd name="connsiteY403" fmla="*/ 1230805 h 2084191"/>
              <a:gd name="connsiteX404" fmla="*/ 2051041 w 2051041"/>
              <a:gd name="connsiteY404" fmla="*/ 1307109 h 2084191"/>
              <a:gd name="connsiteX405" fmla="*/ 2012404 w 2051041"/>
              <a:gd name="connsiteY405" fmla="*/ 1268472 h 2084191"/>
              <a:gd name="connsiteX406" fmla="*/ 2049952 w 2051041"/>
              <a:gd name="connsiteY406" fmla="*/ 1230380 h 2084191"/>
              <a:gd name="connsiteX407" fmla="*/ 337431 w 2051041"/>
              <a:gd name="connsiteY407" fmla="*/ 1181404 h 2084191"/>
              <a:gd name="connsiteX408" fmla="*/ 345050 w 2051041"/>
              <a:gd name="connsiteY408" fmla="*/ 1187934 h 2084191"/>
              <a:gd name="connsiteX409" fmla="*/ 336343 w 2051041"/>
              <a:gd name="connsiteY409" fmla="*/ 1192288 h 2084191"/>
              <a:gd name="connsiteX410" fmla="*/ 330901 w 2051041"/>
              <a:gd name="connsiteY410" fmla="*/ 1185758 h 2084191"/>
              <a:gd name="connsiteX411" fmla="*/ 337431 w 2051041"/>
              <a:gd name="connsiteY411" fmla="*/ 1181404 h 2084191"/>
              <a:gd name="connsiteX412" fmla="*/ 499051 w 2051041"/>
              <a:gd name="connsiteY412" fmla="*/ 1171065 h 2084191"/>
              <a:gd name="connsiteX413" fmla="*/ 516465 w 2051041"/>
              <a:gd name="connsiteY413" fmla="*/ 1187390 h 2084191"/>
              <a:gd name="connsiteX414" fmla="*/ 500140 w 2051041"/>
              <a:gd name="connsiteY414" fmla="*/ 1202627 h 2084191"/>
              <a:gd name="connsiteX415" fmla="*/ 483814 w 2051041"/>
              <a:gd name="connsiteY415" fmla="*/ 1187390 h 2084191"/>
              <a:gd name="connsiteX416" fmla="*/ 499051 w 2051041"/>
              <a:gd name="connsiteY416" fmla="*/ 1171065 h 2084191"/>
              <a:gd name="connsiteX417" fmla="*/ 662848 w 2051041"/>
              <a:gd name="connsiteY417" fmla="*/ 1165623 h 2084191"/>
              <a:gd name="connsiteX418" fmla="*/ 684615 w 2051041"/>
              <a:gd name="connsiteY418" fmla="*/ 1187390 h 2084191"/>
              <a:gd name="connsiteX419" fmla="*/ 662848 w 2051041"/>
              <a:gd name="connsiteY419" fmla="*/ 1209157 h 2084191"/>
              <a:gd name="connsiteX420" fmla="*/ 641081 w 2051041"/>
              <a:gd name="connsiteY420" fmla="*/ 1186846 h 2084191"/>
              <a:gd name="connsiteX421" fmla="*/ 662848 w 2051041"/>
              <a:gd name="connsiteY421" fmla="*/ 1165623 h 2084191"/>
              <a:gd name="connsiteX422" fmla="*/ 825556 w 2051041"/>
              <a:gd name="connsiteY422" fmla="*/ 1160725 h 2084191"/>
              <a:gd name="connsiteX423" fmla="*/ 852765 w 2051041"/>
              <a:gd name="connsiteY423" fmla="*/ 1186846 h 2084191"/>
              <a:gd name="connsiteX424" fmla="*/ 826645 w 2051041"/>
              <a:gd name="connsiteY424" fmla="*/ 1213511 h 2084191"/>
              <a:gd name="connsiteX425" fmla="*/ 798892 w 2051041"/>
              <a:gd name="connsiteY425" fmla="*/ 1188479 h 2084191"/>
              <a:gd name="connsiteX426" fmla="*/ 825556 w 2051041"/>
              <a:gd name="connsiteY426" fmla="*/ 1160725 h 2084191"/>
              <a:gd name="connsiteX427" fmla="*/ 989353 w 2051041"/>
              <a:gd name="connsiteY427" fmla="*/ 1158004 h 2084191"/>
              <a:gd name="connsiteX428" fmla="*/ 1018195 w 2051041"/>
              <a:gd name="connsiteY428" fmla="*/ 1187934 h 2084191"/>
              <a:gd name="connsiteX429" fmla="*/ 988809 w 2051041"/>
              <a:gd name="connsiteY429" fmla="*/ 1216775 h 2084191"/>
              <a:gd name="connsiteX430" fmla="*/ 959968 w 2051041"/>
              <a:gd name="connsiteY430" fmla="*/ 1187934 h 2084191"/>
              <a:gd name="connsiteX431" fmla="*/ 989353 w 2051041"/>
              <a:gd name="connsiteY431" fmla="*/ 1158004 h 2084191"/>
              <a:gd name="connsiteX432" fmla="*/ 1152062 w 2051041"/>
              <a:gd name="connsiteY432" fmla="*/ 1153651 h 2084191"/>
              <a:gd name="connsiteX433" fmla="*/ 1185801 w 2051041"/>
              <a:gd name="connsiteY433" fmla="*/ 1186301 h 2084191"/>
              <a:gd name="connsiteX434" fmla="*/ 1153150 w 2051041"/>
              <a:gd name="connsiteY434" fmla="*/ 1219496 h 2084191"/>
              <a:gd name="connsiteX435" fmla="*/ 1119956 w 2051041"/>
              <a:gd name="connsiteY435" fmla="*/ 1187390 h 2084191"/>
              <a:gd name="connsiteX436" fmla="*/ 1152062 w 2051041"/>
              <a:gd name="connsiteY436" fmla="*/ 1153651 h 2084191"/>
              <a:gd name="connsiteX437" fmla="*/ 1315315 w 2051041"/>
              <a:gd name="connsiteY437" fmla="*/ 1152018 h 2084191"/>
              <a:gd name="connsiteX438" fmla="*/ 1351230 w 2051041"/>
              <a:gd name="connsiteY438" fmla="*/ 1186845 h 2084191"/>
              <a:gd name="connsiteX439" fmla="*/ 1315859 w 2051041"/>
              <a:gd name="connsiteY439" fmla="*/ 1221673 h 2084191"/>
              <a:gd name="connsiteX440" fmla="*/ 1281576 w 2051041"/>
              <a:gd name="connsiteY440" fmla="*/ 1187390 h 2084191"/>
              <a:gd name="connsiteX441" fmla="*/ 1315315 w 2051041"/>
              <a:gd name="connsiteY441" fmla="*/ 1152018 h 2084191"/>
              <a:gd name="connsiteX442" fmla="*/ 1479656 w 2051041"/>
              <a:gd name="connsiteY442" fmla="*/ 1149298 h 2084191"/>
              <a:gd name="connsiteX443" fmla="*/ 1516660 w 2051041"/>
              <a:gd name="connsiteY443" fmla="*/ 1188479 h 2084191"/>
              <a:gd name="connsiteX444" fmla="*/ 1478023 w 2051041"/>
              <a:gd name="connsiteY444" fmla="*/ 1224394 h 2084191"/>
              <a:gd name="connsiteX445" fmla="*/ 1441563 w 2051041"/>
              <a:gd name="connsiteY445" fmla="*/ 1185758 h 2084191"/>
              <a:gd name="connsiteX446" fmla="*/ 1479656 w 2051041"/>
              <a:gd name="connsiteY446" fmla="*/ 1149298 h 2084191"/>
              <a:gd name="connsiteX447" fmla="*/ 1642365 w 2051041"/>
              <a:gd name="connsiteY447" fmla="*/ 1148209 h 2084191"/>
              <a:gd name="connsiteX448" fmla="*/ 1681001 w 2051041"/>
              <a:gd name="connsiteY448" fmla="*/ 1187390 h 2084191"/>
              <a:gd name="connsiteX449" fmla="*/ 1641821 w 2051041"/>
              <a:gd name="connsiteY449" fmla="*/ 1226026 h 2084191"/>
              <a:gd name="connsiteX450" fmla="*/ 1603728 w 2051041"/>
              <a:gd name="connsiteY450" fmla="*/ 1186846 h 2084191"/>
              <a:gd name="connsiteX451" fmla="*/ 1642365 w 2051041"/>
              <a:gd name="connsiteY451" fmla="*/ 1148209 h 2084191"/>
              <a:gd name="connsiteX452" fmla="*/ 1969414 w 2051041"/>
              <a:gd name="connsiteY452" fmla="*/ 1147665 h 2084191"/>
              <a:gd name="connsiteX453" fmla="*/ 2009139 w 2051041"/>
              <a:gd name="connsiteY453" fmla="*/ 1187934 h 2084191"/>
              <a:gd name="connsiteX454" fmla="*/ 1968870 w 2051041"/>
              <a:gd name="connsiteY454" fmla="*/ 1227114 h 2084191"/>
              <a:gd name="connsiteX455" fmla="*/ 1929145 w 2051041"/>
              <a:gd name="connsiteY455" fmla="*/ 1186301 h 2084191"/>
              <a:gd name="connsiteX456" fmla="*/ 1969414 w 2051041"/>
              <a:gd name="connsiteY456" fmla="*/ 1147665 h 2084191"/>
              <a:gd name="connsiteX457" fmla="*/ 1805617 w 2051041"/>
              <a:gd name="connsiteY457" fmla="*/ 1147665 h 2084191"/>
              <a:gd name="connsiteX458" fmla="*/ 1844798 w 2051041"/>
              <a:gd name="connsiteY458" fmla="*/ 1187934 h 2084191"/>
              <a:gd name="connsiteX459" fmla="*/ 1805073 w 2051041"/>
              <a:gd name="connsiteY459" fmla="*/ 1226571 h 2084191"/>
              <a:gd name="connsiteX460" fmla="*/ 1766981 w 2051041"/>
              <a:gd name="connsiteY460" fmla="*/ 1186845 h 2084191"/>
              <a:gd name="connsiteX461" fmla="*/ 1805617 w 2051041"/>
              <a:gd name="connsiteY461" fmla="*/ 1147665 h 2084191"/>
              <a:gd name="connsiteX462" fmla="*/ 417425 w 2051041"/>
              <a:gd name="connsiteY462" fmla="*/ 1090527 h 2084191"/>
              <a:gd name="connsiteX463" fmla="*/ 432662 w 2051041"/>
              <a:gd name="connsiteY463" fmla="*/ 1105764 h 2084191"/>
              <a:gd name="connsiteX464" fmla="*/ 417969 w 2051041"/>
              <a:gd name="connsiteY464" fmla="*/ 1120457 h 2084191"/>
              <a:gd name="connsiteX465" fmla="*/ 402732 w 2051041"/>
              <a:gd name="connsiteY465" fmla="*/ 1105219 h 2084191"/>
              <a:gd name="connsiteX466" fmla="*/ 417425 w 2051041"/>
              <a:gd name="connsiteY466" fmla="*/ 1090527 h 2084191"/>
              <a:gd name="connsiteX467" fmla="*/ 580677 w 2051041"/>
              <a:gd name="connsiteY467" fmla="*/ 1083996 h 2084191"/>
              <a:gd name="connsiteX468" fmla="*/ 602444 w 2051041"/>
              <a:gd name="connsiteY468" fmla="*/ 1105219 h 2084191"/>
              <a:gd name="connsiteX469" fmla="*/ 581221 w 2051041"/>
              <a:gd name="connsiteY469" fmla="*/ 1127530 h 2084191"/>
              <a:gd name="connsiteX470" fmla="*/ 558910 w 2051041"/>
              <a:gd name="connsiteY470" fmla="*/ 1105219 h 2084191"/>
              <a:gd name="connsiteX471" fmla="*/ 580677 w 2051041"/>
              <a:gd name="connsiteY471" fmla="*/ 1083996 h 2084191"/>
              <a:gd name="connsiteX472" fmla="*/ 743386 w 2051041"/>
              <a:gd name="connsiteY472" fmla="*/ 1079099 h 2084191"/>
              <a:gd name="connsiteX473" fmla="*/ 770595 w 2051041"/>
              <a:gd name="connsiteY473" fmla="*/ 1105219 h 2084191"/>
              <a:gd name="connsiteX474" fmla="*/ 745019 w 2051041"/>
              <a:gd name="connsiteY474" fmla="*/ 1132428 h 2084191"/>
              <a:gd name="connsiteX475" fmla="*/ 717810 w 2051041"/>
              <a:gd name="connsiteY475" fmla="*/ 1106308 h 2084191"/>
              <a:gd name="connsiteX476" fmla="*/ 743386 w 2051041"/>
              <a:gd name="connsiteY476" fmla="*/ 1079099 h 2084191"/>
              <a:gd name="connsiteX477" fmla="*/ 907727 w 2051041"/>
              <a:gd name="connsiteY477" fmla="*/ 1076378 h 2084191"/>
              <a:gd name="connsiteX478" fmla="*/ 937112 w 2051041"/>
              <a:gd name="connsiteY478" fmla="*/ 1105219 h 2084191"/>
              <a:gd name="connsiteX479" fmla="*/ 908271 w 2051041"/>
              <a:gd name="connsiteY479" fmla="*/ 1134061 h 2084191"/>
              <a:gd name="connsiteX480" fmla="*/ 878885 w 2051041"/>
              <a:gd name="connsiteY480" fmla="*/ 1105764 h 2084191"/>
              <a:gd name="connsiteX481" fmla="*/ 907727 w 2051041"/>
              <a:gd name="connsiteY481" fmla="*/ 1076378 h 2084191"/>
              <a:gd name="connsiteX482" fmla="*/ 1071524 w 2051041"/>
              <a:gd name="connsiteY482" fmla="*/ 1072569 h 2084191"/>
              <a:gd name="connsiteX483" fmla="*/ 1104174 w 2051041"/>
              <a:gd name="connsiteY483" fmla="*/ 1105220 h 2084191"/>
              <a:gd name="connsiteX484" fmla="*/ 1070435 w 2051041"/>
              <a:gd name="connsiteY484" fmla="*/ 1137870 h 2084191"/>
              <a:gd name="connsiteX485" fmla="*/ 1038329 w 2051041"/>
              <a:gd name="connsiteY485" fmla="*/ 1105764 h 2084191"/>
              <a:gd name="connsiteX486" fmla="*/ 1071524 w 2051041"/>
              <a:gd name="connsiteY486" fmla="*/ 1072569 h 2084191"/>
              <a:gd name="connsiteX487" fmla="*/ 1235865 w 2051041"/>
              <a:gd name="connsiteY487" fmla="*/ 1068760 h 2084191"/>
              <a:gd name="connsiteX488" fmla="*/ 1271237 w 2051041"/>
              <a:gd name="connsiteY488" fmla="*/ 1106852 h 2084191"/>
              <a:gd name="connsiteX489" fmla="*/ 1234777 w 2051041"/>
              <a:gd name="connsiteY489" fmla="*/ 1142223 h 2084191"/>
              <a:gd name="connsiteX490" fmla="*/ 1198861 w 2051041"/>
              <a:gd name="connsiteY490" fmla="*/ 1105219 h 2084191"/>
              <a:gd name="connsiteX491" fmla="*/ 1235865 w 2051041"/>
              <a:gd name="connsiteY491" fmla="*/ 1068760 h 2084191"/>
              <a:gd name="connsiteX492" fmla="*/ 1396397 w 2051041"/>
              <a:gd name="connsiteY492" fmla="*/ 1067127 h 2084191"/>
              <a:gd name="connsiteX493" fmla="*/ 1435578 w 2051041"/>
              <a:gd name="connsiteY493" fmla="*/ 1105219 h 2084191"/>
              <a:gd name="connsiteX494" fmla="*/ 1396941 w 2051041"/>
              <a:gd name="connsiteY494" fmla="*/ 1143856 h 2084191"/>
              <a:gd name="connsiteX495" fmla="*/ 1358849 w 2051041"/>
              <a:gd name="connsiteY495" fmla="*/ 1105763 h 2084191"/>
              <a:gd name="connsiteX496" fmla="*/ 1396397 w 2051041"/>
              <a:gd name="connsiteY496" fmla="*/ 1067127 h 2084191"/>
              <a:gd name="connsiteX497" fmla="*/ 1560738 w 2051041"/>
              <a:gd name="connsiteY497" fmla="*/ 1066582 h 2084191"/>
              <a:gd name="connsiteX498" fmla="*/ 1599919 w 2051041"/>
              <a:gd name="connsiteY498" fmla="*/ 1105763 h 2084191"/>
              <a:gd name="connsiteX499" fmla="*/ 1560738 w 2051041"/>
              <a:gd name="connsiteY499" fmla="*/ 1144400 h 2084191"/>
              <a:gd name="connsiteX500" fmla="*/ 1521013 w 2051041"/>
              <a:gd name="connsiteY500" fmla="*/ 1105763 h 2084191"/>
              <a:gd name="connsiteX501" fmla="*/ 1560738 w 2051041"/>
              <a:gd name="connsiteY501" fmla="*/ 1066582 h 2084191"/>
              <a:gd name="connsiteX502" fmla="*/ 1723447 w 2051041"/>
              <a:gd name="connsiteY502" fmla="*/ 1064406 h 2084191"/>
              <a:gd name="connsiteX503" fmla="*/ 1764260 w 2051041"/>
              <a:gd name="connsiteY503" fmla="*/ 1104675 h 2084191"/>
              <a:gd name="connsiteX504" fmla="*/ 1724535 w 2051041"/>
              <a:gd name="connsiteY504" fmla="*/ 1146032 h 2084191"/>
              <a:gd name="connsiteX505" fmla="*/ 1683178 w 2051041"/>
              <a:gd name="connsiteY505" fmla="*/ 1105764 h 2084191"/>
              <a:gd name="connsiteX506" fmla="*/ 1723447 w 2051041"/>
              <a:gd name="connsiteY506" fmla="*/ 1064406 h 2084191"/>
              <a:gd name="connsiteX507" fmla="*/ 2051041 w 2051041"/>
              <a:gd name="connsiteY507" fmla="*/ 1063318 h 2084191"/>
              <a:gd name="connsiteX508" fmla="*/ 2051041 w 2051041"/>
              <a:gd name="connsiteY508" fmla="*/ 1147740 h 2084191"/>
              <a:gd name="connsiteX509" fmla="*/ 2049952 w 2051041"/>
              <a:gd name="connsiteY509" fmla="*/ 1148210 h 2084191"/>
              <a:gd name="connsiteX510" fmla="*/ 2008051 w 2051041"/>
              <a:gd name="connsiteY510" fmla="*/ 1105764 h 2084191"/>
              <a:gd name="connsiteX511" fmla="*/ 2051041 w 2051041"/>
              <a:gd name="connsiteY511" fmla="*/ 1063318 h 2084191"/>
              <a:gd name="connsiteX512" fmla="*/ 1887787 w 2051041"/>
              <a:gd name="connsiteY512" fmla="*/ 1062773 h 2084191"/>
              <a:gd name="connsiteX513" fmla="*/ 1929145 w 2051041"/>
              <a:gd name="connsiteY513" fmla="*/ 1105763 h 2084191"/>
              <a:gd name="connsiteX514" fmla="*/ 1886699 w 2051041"/>
              <a:gd name="connsiteY514" fmla="*/ 1147665 h 2084191"/>
              <a:gd name="connsiteX515" fmla="*/ 1844798 w 2051041"/>
              <a:gd name="connsiteY515" fmla="*/ 1105219 h 2084191"/>
              <a:gd name="connsiteX516" fmla="*/ 1887787 w 2051041"/>
              <a:gd name="connsiteY516" fmla="*/ 1062773 h 2084191"/>
              <a:gd name="connsiteX517" fmla="*/ 335798 w 2051041"/>
              <a:gd name="connsiteY517" fmla="*/ 1011621 h 2084191"/>
              <a:gd name="connsiteX518" fmla="*/ 348314 w 2051041"/>
              <a:gd name="connsiteY518" fmla="*/ 1023049 h 2084191"/>
              <a:gd name="connsiteX519" fmla="*/ 336886 w 2051041"/>
              <a:gd name="connsiteY519" fmla="*/ 1036109 h 2084191"/>
              <a:gd name="connsiteX520" fmla="*/ 324370 w 2051041"/>
              <a:gd name="connsiteY520" fmla="*/ 1024681 h 2084191"/>
              <a:gd name="connsiteX521" fmla="*/ 335798 w 2051041"/>
              <a:gd name="connsiteY521" fmla="*/ 1011621 h 2084191"/>
              <a:gd name="connsiteX522" fmla="*/ 499051 w 2051041"/>
              <a:gd name="connsiteY522" fmla="*/ 1002914 h 2084191"/>
              <a:gd name="connsiteX523" fmla="*/ 520818 w 2051041"/>
              <a:gd name="connsiteY523" fmla="*/ 1024137 h 2084191"/>
              <a:gd name="connsiteX524" fmla="*/ 499595 w 2051041"/>
              <a:gd name="connsiteY524" fmla="*/ 1045360 h 2084191"/>
              <a:gd name="connsiteX525" fmla="*/ 478372 w 2051041"/>
              <a:gd name="connsiteY525" fmla="*/ 1024137 h 2084191"/>
              <a:gd name="connsiteX526" fmla="*/ 499051 w 2051041"/>
              <a:gd name="connsiteY526" fmla="*/ 1002914 h 2084191"/>
              <a:gd name="connsiteX527" fmla="*/ 663392 w 2051041"/>
              <a:gd name="connsiteY527" fmla="*/ 997473 h 2084191"/>
              <a:gd name="connsiteX528" fmla="*/ 688424 w 2051041"/>
              <a:gd name="connsiteY528" fmla="*/ 1024138 h 2084191"/>
              <a:gd name="connsiteX529" fmla="*/ 661759 w 2051041"/>
              <a:gd name="connsiteY529" fmla="*/ 1050258 h 2084191"/>
              <a:gd name="connsiteX530" fmla="*/ 636727 w 2051041"/>
              <a:gd name="connsiteY530" fmla="*/ 1023593 h 2084191"/>
              <a:gd name="connsiteX531" fmla="*/ 663392 w 2051041"/>
              <a:gd name="connsiteY531" fmla="*/ 997473 h 2084191"/>
              <a:gd name="connsiteX532" fmla="*/ 826645 w 2051041"/>
              <a:gd name="connsiteY532" fmla="*/ 995840 h 2084191"/>
              <a:gd name="connsiteX533" fmla="*/ 854942 w 2051041"/>
              <a:gd name="connsiteY533" fmla="*/ 1024137 h 2084191"/>
              <a:gd name="connsiteX534" fmla="*/ 825557 w 2051041"/>
              <a:gd name="connsiteY534" fmla="*/ 1052978 h 2084191"/>
              <a:gd name="connsiteX535" fmla="*/ 797260 w 2051041"/>
              <a:gd name="connsiteY535" fmla="*/ 1023593 h 2084191"/>
              <a:gd name="connsiteX536" fmla="*/ 826645 w 2051041"/>
              <a:gd name="connsiteY536" fmla="*/ 995840 h 2084191"/>
              <a:gd name="connsiteX537" fmla="*/ 990441 w 2051041"/>
              <a:gd name="connsiteY537" fmla="*/ 990942 h 2084191"/>
              <a:gd name="connsiteX538" fmla="*/ 1022548 w 2051041"/>
              <a:gd name="connsiteY538" fmla="*/ 1025225 h 2084191"/>
              <a:gd name="connsiteX539" fmla="*/ 988809 w 2051041"/>
              <a:gd name="connsiteY539" fmla="*/ 1056787 h 2084191"/>
              <a:gd name="connsiteX540" fmla="*/ 956702 w 2051041"/>
              <a:gd name="connsiteY540" fmla="*/ 1023593 h 2084191"/>
              <a:gd name="connsiteX541" fmla="*/ 990441 w 2051041"/>
              <a:gd name="connsiteY541" fmla="*/ 990942 h 2084191"/>
              <a:gd name="connsiteX542" fmla="*/ 1150974 w 2051041"/>
              <a:gd name="connsiteY542" fmla="*/ 987678 h 2084191"/>
              <a:gd name="connsiteX543" fmla="*/ 1189610 w 2051041"/>
              <a:gd name="connsiteY543" fmla="*/ 1023593 h 2084191"/>
              <a:gd name="connsiteX544" fmla="*/ 1152062 w 2051041"/>
              <a:gd name="connsiteY544" fmla="*/ 1061685 h 2084191"/>
              <a:gd name="connsiteX545" fmla="*/ 1115058 w 2051041"/>
              <a:gd name="connsiteY545" fmla="*/ 1024682 h 2084191"/>
              <a:gd name="connsiteX546" fmla="*/ 1150974 w 2051041"/>
              <a:gd name="connsiteY546" fmla="*/ 987678 h 2084191"/>
              <a:gd name="connsiteX547" fmla="*/ 1315314 w 2051041"/>
              <a:gd name="connsiteY547" fmla="*/ 985501 h 2084191"/>
              <a:gd name="connsiteX548" fmla="*/ 1354495 w 2051041"/>
              <a:gd name="connsiteY548" fmla="*/ 1023593 h 2084191"/>
              <a:gd name="connsiteX549" fmla="*/ 1315858 w 2051041"/>
              <a:gd name="connsiteY549" fmla="*/ 1062230 h 2084191"/>
              <a:gd name="connsiteX550" fmla="*/ 1277222 w 2051041"/>
              <a:gd name="connsiteY550" fmla="*/ 1024137 h 2084191"/>
              <a:gd name="connsiteX551" fmla="*/ 1315314 w 2051041"/>
              <a:gd name="connsiteY551" fmla="*/ 985501 h 2084191"/>
              <a:gd name="connsiteX552" fmla="*/ 1479656 w 2051041"/>
              <a:gd name="connsiteY552" fmla="*/ 984412 h 2084191"/>
              <a:gd name="connsiteX553" fmla="*/ 1519380 w 2051041"/>
              <a:gd name="connsiteY553" fmla="*/ 1025225 h 2084191"/>
              <a:gd name="connsiteX554" fmla="*/ 1478567 w 2051041"/>
              <a:gd name="connsiteY554" fmla="*/ 1063318 h 2084191"/>
              <a:gd name="connsiteX555" fmla="*/ 1439387 w 2051041"/>
              <a:gd name="connsiteY555" fmla="*/ 1023593 h 2084191"/>
              <a:gd name="connsiteX556" fmla="*/ 1479656 w 2051041"/>
              <a:gd name="connsiteY556" fmla="*/ 984412 h 2084191"/>
              <a:gd name="connsiteX557" fmla="*/ 1641820 w 2051041"/>
              <a:gd name="connsiteY557" fmla="*/ 981691 h 2084191"/>
              <a:gd name="connsiteX558" fmla="*/ 1684810 w 2051041"/>
              <a:gd name="connsiteY558" fmla="*/ 1023592 h 2084191"/>
              <a:gd name="connsiteX559" fmla="*/ 1642909 w 2051041"/>
              <a:gd name="connsiteY559" fmla="*/ 1066038 h 2084191"/>
              <a:gd name="connsiteX560" fmla="*/ 1599919 w 2051041"/>
              <a:gd name="connsiteY560" fmla="*/ 1023592 h 2084191"/>
              <a:gd name="connsiteX561" fmla="*/ 1641820 w 2051041"/>
              <a:gd name="connsiteY561" fmla="*/ 981691 h 2084191"/>
              <a:gd name="connsiteX562" fmla="*/ 1806161 w 2051041"/>
              <a:gd name="connsiteY562" fmla="*/ 980603 h 2084191"/>
              <a:gd name="connsiteX563" fmla="*/ 1849151 w 2051041"/>
              <a:gd name="connsiteY563" fmla="*/ 1023592 h 2084191"/>
              <a:gd name="connsiteX564" fmla="*/ 1805617 w 2051041"/>
              <a:gd name="connsiteY564" fmla="*/ 1067127 h 2084191"/>
              <a:gd name="connsiteX565" fmla="*/ 1762083 w 2051041"/>
              <a:gd name="connsiteY565" fmla="*/ 1023592 h 2084191"/>
              <a:gd name="connsiteX566" fmla="*/ 1806161 w 2051041"/>
              <a:gd name="connsiteY566" fmla="*/ 980603 h 2084191"/>
              <a:gd name="connsiteX567" fmla="*/ 1969414 w 2051041"/>
              <a:gd name="connsiteY567" fmla="*/ 980059 h 2084191"/>
              <a:gd name="connsiteX568" fmla="*/ 2012404 w 2051041"/>
              <a:gd name="connsiteY568" fmla="*/ 1024137 h 2084191"/>
              <a:gd name="connsiteX569" fmla="*/ 1968870 w 2051041"/>
              <a:gd name="connsiteY569" fmla="*/ 1067127 h 2084191"/>
              <a:gd name="connsiteX570" fmla="*/ 1924792 w 2051041"/>
              <a:gd name="connsiteY570" fmla="*/ 1024137 h 2084191"/>
              <a:gd name="connsiteX571" fmla="*/ 1969414 w 2051041"/>
              <a:gd name="connsiteY571" fmla="*/ 980059 h 2084191"/>
              <a:gd name="connsiteX572" fmla="*/ 254171 w 2051041"/>
              <a:gd name="connsiteY572" fmla="*/ 931083 h 2084191"/>
              <a:gd name="connsiteX573" fmla="*/ 265599 w 2051041"/>
              <a:gd name="connsiteY573" fmla="*/ 941967 h 2084191"/>
              <a:gd name="connsiteX574" fmla="*/ 254171 w 2051041"/>
              <a:gd name="connsiteY574" fmla="*/ 952850 h 2084191"/>
              <a:gd name="connsiteX575" fmla="*/ 243832 w 2051041"/>
              <a:gd name="connsiteY575" fmla="*/ 941967 h 2084191"/>
              <a:gd name="connsiteX576" fmla="*/ 254171 w 2051041"/>
              <a:gd name="connsiteY576" fmla="*/ 931083 h 2084191"/>
              <a:gd name="connsiteX577" fmla="*/ 417968 w 2051041"/>
              <a:gd name="connsiteY577" fmla="*/ 922377 h 2084191"/>
              <a:gd name="connsiteX578" fmla="*/ 437559 w 2051041"/>
              <a:gd name="connsiteY578" fmla="*/ 942511 h 2084191"/>
              <a:gd name="connsiteX579" fmla="*/ 417968 w 2051041"/>
              <a:gd name="connsiteY579" fmla="*/ 961557 h 2084191"/>
              <a:gd name="connsiteX580" fmla="*/ 397834 w 2051041"/>
              <a:gd name="connsiteY580" fmla="*/ 941423 h 2084191"/>
              <a:gd name="connsiteX581" fmla="*/ 417968 w 2051041"/>
              <a:gd name="connsiteY581" fmla="*/ 922377 h 2084191"/>
              <a:gd name="connsiteX582" fmla="*/ 581222 w 2051041"/>
              <a:gd name="connsiteY582" fmla="*/ 916934 h 2084191"/>
              <a:gd name="connsiteX583" fmla="*/ 606798 w 2051041"/>
              <a:gd name="connsiteY583" fmla="*/ 943054 h 2084191"/>
              <a:gd name="connsiteX584" fmla="*/ 581222 w 2051041"/>
              <a:gd name="connsiteY584" fmla="*/ 967542 h 2084191"/>
              <a:gd name="connsiteX585" fmla="*/ 556190 w 2051041"/>
              <a:gd name="connsiteY585" fmla="*/ 943054 h 2084191"/>
              <a:gd name="connsiteX586" fmla="*/ 581222 w 2051041"/>
              <a:gd name="connsiteY586" fmla="*/ 916934 h 2084191"/>
              <a:gd name="connsiteX587" fmla="*/ 744474 w 2051041"/>
              <a:gd name="connsiteY587" fmla="*/ 913669 h 2084191"/>
              <a:gd name="connsiteX588" fmla="*/ 773315 w 2051041"/>
              <a:gd name="connsiteY588" fmla="*/ 942510 h 2084191"/>
              <a:gd name="connsiteX589" fmla="*/ 743930 w 2051041"/>
              <a:gd name="connsiteY589" fmla="*/ 970807 h 2084191"/>
              <a:gd name="connsiteX590" fmla="*/ 716177 w 2051041"/>
              <a:gd name="connsiteY590" fmla="*/ 941966 h 2084191"/>
              <a:gd name="connsiteX591" fmla="*/ 744474 w 2051041"/>
              <a:gd name="connsiteY591" fmla="*/ 913669 h 2084191"/>
              <a:gd name="connsiteX592" fmla="*/ 908271 w 2051041"/>
              <a:gd name="connsiteY592" fmla="*/ 908772 h 2084191"/>
              <a:gd name="connsiteX593" fmla="*/ 940377 w 2051041"/>
              <a:gd name="connsiteY593" fmla="*/ 944144 h 2084191"/>
              <a:gd name="connsiteX594" fmla="*/ 906094 w 2051041"/>
              <a:gd name="connsiteY594" fmla="*/ 975162 h 2084191"/>
              <a:gd name="connsiteX595" fmla="*/ 874532 w 2051041"/>
              <a:gd name="connsiteY595" fmla="*/ 940879 h 2084191"/>
              <a:gd name="connsiteX596" fmla="*/ 908271 w 2051041"/>
              <a:gd name="connsiteY596" fmla="*/ 908772 h 2084191"/>
              <a:gd name="connsiteX597" fmla="*/ 1072068 w 2051041"/>
              <a:gd name="connsiteY597" fmla="*/ 906051 h 2084191"/>
              <a:gd name="connsiteX598" fmla="*/ 1107984 w 2051041"/>
              <a:gd name="connsiteY598" fmla="*/ 942511 h 2084191"/>
              <a:gd name="connsiteX599" fmla="*/ 1070980 w 2051041"/>
              <a:gd name="connsiteY599" fmla="*/ 979515 h 2084191"/>
              <a:gd name="connsiteX600" fmla="*/ 1034520 w 2051041"/>
              <a:gd name="connsiteY600" fmla="*/ 942511 h 2084191"/>
              <a:gd name="connsiteX601" fmla="*/ 1072068 w 2051041"/>
              <a:gd name="connsiteY601" fmla="*/ 906051 h 2084191"/>
              <a:gd name="connsiteX602" fmla="*/ 1235321 w 2051041"/>
              <a:gd name="connsiteY602" fmla="*/ 903874 h 2084191"/>
              <a:gd name="connsiteX603" fmla="*/ 1272325 w 2051041"/>
              <a:gd name="connsiteY603" fmla="*/ 943054 h 2084191"/>
              <a:gd name="connsiteX604" fmla="*/ 1233688 w 2051041"/>
              <a:gd name="connsiteY604" fmla="*/ 981147 h 2084191"/>
              <a:gd name="connsiteX605" fmla="*/ 1195596 w 2051041"/>
              <a:gd name="connsiteY605" fmla="*/ 940878 h 2084191"/>
              <a:gd name="connsiteX606" fmla="*/ 1235321 w 2051041"/>
              <a:gd name="connsiteY606" fmla="*/ 903874 h 2084191"/>
              <a:gd name="connsiteX607" fmla="*/ 1397486 w 2051041"/>
              <a:gd name="connsiteY607" fmla="*/ 901153 h 2084191"/>
              <a:gd name="connsiteX608" fmla="*/ 1438299 w 2051041"/>
              <a:gd name="connsiteY608" fmla="*/ 942511 h 2084191"/>
              <a:gd name="connsiteX609" fmla="*/ 1396941 w 2051041"/>
              <a:gd name="connsiteY609" fmla="*/ 983324 h 2084191"/>
              <a:gd name="connsiteX610" fmla="*/ 1356128 w 2051041"/>
              <a:gd name="connsiteY610" fmla="*/ 941967 h 2084191"/>
              <a:gd name="connsiteX611" fmla="*/ 1397486 w 2051041"/>
              <a:gd name="connsiteY611" fmla="*/ 901153 h 2084191"/>
              <a:gd name="connsiteX612" fmla="*/ 1560738 w 2051041"/>
              <a:gd name="connsiteY612" fmla="*/ 898977 h 2084191"/>
              <a:gd name="connsiteX613" fmla="*/ 1603728 w 2051041"/>
              <a:gd name="connsiteY613" fmla="*/ 942511 h 2084191"/>
              <a:gd name="connsiteX614" fmla="*/ 1560738 w 2051041"/>
              <a:gd name="connsiteY614" fmla="*/ 985501 h 2084191"/>
              <a:gd name="connsiteX615" fmla="*/ 1517204 w 2051041"/>
              <a:gd name="connsiteY615" fmla="*/ 941423 h 2084191"/>
              <a:gd name="connsiteX616" fmla="*/ 1560738 w 2051041"/>
              <a:gd name="connsiteY616" fmla="*/ 898977 h 2084191"/>
              <a:gd name="connsiteX617" fmla="*/ 1723990 w 2051041"/>
              <a:gd name="connsiteY617" fmla="*/ 897888 h 2084191"/>
              <a:gd name="connsiteX618" fmla="*/ 1768069 w 2051041"/>
              <a:gd name="connsiteY618" fmla="*/ 942510 h 2084191"/>
              <a:gd name="connsiteX619" fmla="*/ 1723990 w 2051041"/>
              <a:gd name="connsiteY619" fmla="*/ 986589 h 2084191"/>
              <a:gd name="connsiteX620" fmla="*/ 1679912 w 2051041"/>
              <a:gd name="connsiteY620" fmla="*/ 941422 h 2084191"/>
              <a:gd name="connsiteX621" fmla="*/ 1723990 w 2051041"/>
              <a:gd name="connsiteY621" fmla="*/ 897888 h 2084191"/>
              <a:gd name="connsiteX622" fmla="*/ 2050497 w 2051041"/>
              <a:gd name="connsiteY622" fmla="*/ 897344 h 2084191"/>
              <a:gd name="connsiteX623" fmla="*/ 2051041 w 2051041"/>
              <a:gd name="connsiteY623" fmla="*/ 897453 h 2084191"/>
              <a:gd name="connsiteX624" fmla="*/ 2051041 w 2051041"/>
              <a:gd name="connsiteY624" fmla="*/ 986917 h 2084191"/>
              <a:gd name="connsiteX625" fmla="*/ 2049952 w 2051041"/>
              <a:gd name="connsiteY625" fmla="*/ 987133 h 2084191"/>
              <a:gd name="connsiteX626" fmla="*/ 2005330 w 2051041"/>
              <a:gd name="connsiteY626" fmla="*/ 941422 h 2084191"/>
              <a:gd name="connsiteX627" fmla="*/ 2050497 w 2051041"/>
              <a:gd name="connsiteY627" fmla="*/ 897344 h 2084191"/>
              <a:gd name="connsiteX628" fmla="*/ 1887243 w 2051041"/>
              <a:gd name="connsiteY628" fmla="*/ 897344 h 2084191"/>
              <a:gd name="connsiteX629" fmla="*/ 1931866 w 2051041"/>
              <a:gd name="connsiteY629" fmla="*/ 942511 h 2084191"/>
              <a:gd name="connsiteX630" fmla="*/ 1887243 w 2051041"/>
              <a:gd name="connsiteY630" fmla="*/ 986589 h 2084191"/>
              <a:gd name="connsiteX631" fmla="*/ 1843165 w 2051041"/>
              <a:gd name="connsiteY631" fmla="*/ 941422 h 2084191"/>
              <a:gd name="connsiteX632" fmla="*/ 1887243 w 2051041"/>
              <a:gd name="connsiteY632" fmla="*/ 897344 h 2084191"/>
              <a:gd name="connsiteX633" fmla="*/ 172545 w 2051041"/>
              <a:gd name="connsiteY633" fmla="*/ 854354 h 2084191"/>
              <a:gd name="connsiteX634" fmla="*/ 179619 w 2051041"/>
              <a:gd name="connsiteY634" fmla="*/ 860884 h 2084191"/>
              <a:gd name="connsiteX635" fmla="*/ 173634 w 2051041"/>
              <a:gd name="connsiteY635" fmla="*/ 866870 h 2084191"/>
              <a:gd name="connsiteX636" fmla="*/ 166015 w 2051041"/>
              <a:gd name="connsiteY636" fmla="*/ 861973 h 2084191"/>
              <a:gd name="connsiteX637" fmla="*/ 172545 w 2051041"/>
              <a:gd name="connsiteY637" fmla="*/ 854354 h 2084191"/>
              <a:gd name="connsiteX638" fmla="*/ 336342 w 2051041"/>
              <a:gd name="connsiteY638" fmla="*/ 843471 h 2084191"/>
              <a:gd name="connsiteX639" fmla="*/ 353211 w 2051041"/>
              <a:gd name="connsiteY639" fmla="*/ 860340 h 2084191"/>
              <a:gd name="connsiteX640" fmla="*/ 336886 w 2051041"/>
              <a:gd name="connsiteY640" fmla="*/ 877210 h 2084191"/>
              <a:gd name="connsiteX641" fmla="*/ 320017 w 2051041"/>
              <a:gd name="connsiteY641" fmla="*/ 860884 h 2084191"/>
              <a:gd name="connsiteX642" fmla="*/ 336342 w 2051041"/>
              <a:gd name="connsiteY642" fmla="*/ 843471 h 2084191"/>
              <a:gd name="connsiteX643" fmla="*/ 500139 w 2051041"/>
              <a:gd name="connsiteY643" fmla="*/ 837485 h 2084191"/>
              <a:gd name="connsiteX644" fmla="*/ 522994 w 2051041"/>
              <a:gd name="connsiteY644" fmla="*/ 861428 h 2084191"/>
              <a:gd name="connsiteX645" fmla="*/ 499595 w 2051041"/>
              <a:gd name="connsiteY645" fmla="*/ 884284 h 2084191"/>
              <a:gd name="connsiteX646" fmla="*/ 476739 w 2051041"/>
              <a:gd name="connsiteY646" fmla="*/ 860340 h 2084191"/>
              <a:gd name="connsiteX647" fmla="*/ 500139 w 2051041"/>
              <a:gd name="connsiteY647" fmla="*/ 837485 h 2084191"/>
              <a:gd name="connsiteX648" fmla="*/ 662848 w 2051041"/>
              <a:gd name="connsiteY648" fmla="*/ 832587 h 2084191"/>
              <a:gd name="connsiteX649" fmla="*/ 690057 w 2051041"/>
              <a:gd name="connsiteY649" fmla="*/ 860340 h 2084191"/>
              <a:gd name="connsiteX650" fmla="*/ 662848 w 2051041"/>
              <a:gd name="connsiteY650" fmla="*/ 888637 h 2084191"/>
              <a:gd name="connsiteX651" fmla="*/ 634551 w 2051041"/>
              <a:gd name="connsiteY651" fmla="*/ 861428 h 2084191"/>
              <a:gd name="connsiteX652" fmla="*/ 662848 w 2051041"/>
              <a:gd name="connsiteY652" fmla="*/ 832587 h 2084191"/>
              <a:gd name="connsiteX653" fmla="*/ 826101 w 2051041"/>
              <a:gd name="connsiteY653" fmla="*/ 827146 h 2084191"/>
              <a:gd name="connsiteX654" fmla="*/ 859295 w 2051041"/>
              <a:gd name="connsiteY654" fmla="*/ 860885 h 2084191"/>
              <a:gd name="connsiteX655" fmla="*/ 825556 w 2051041"/>
              <a:gd name="connsiteY655" fmla="*/ 892991 h 2084191"/>
              <a:gd name="connsiteX656" fmla="*/ 793450 w 2051041"/>
              <a:gd name="connsiteY656" fmla="*/ 860885 h 2084191"/>
              <a:gd name="connsiteX657" fmla="*/ 826101 w 2051041"/>
              <a:gd name="connsiteY657" fmla="*/ 827146 h 2084191"/>
              <a:gd name="connsiteX658" fmla="*/ 988809 w 2051041"/>
              <a:gd name="connsiteY658" fmla="*/ 824424 h 2084191"/>
              <a:gd name="connsiteX659" fmla="*/ 1025813 w 2051041"/>
              <a:gd name="connsiteY659" fmla="*/ 860339 h 2084191"/>
              <a:gd name="connsiteX660" fmla="*/ 989897 w 2051041"/>
              <a:gd name="connsiteY660" fmla="*/ 897344 h 2084191"/>
              <a:gd name="connsiteX661" fmla="*/ 953437 w 2051041"/>
              <a:gd name="connsiteY661" fmla="*/ 861972 h 2084191"/>
              <a:gd name="connsiteX662" fmla="*/ 988809 w 2051041"/>
              <a:gd name="connsiteY662" fmla="*/ 824424 h 2084191"/>
              <a:gd name="connsiteX663" fmla="*/ 1153695 w 2051041"/>
              <a:gd name="connsiteY663" fmla="*/ 821704 h 2084191"/>
              <a:gd name="connsiteX664" fmla="*/ 1191243 w 2051041"/>
              <a:gd name="connsiteY664" fmla="*/ 861429 h 2084191"/>
              <a:gd name="connsiteX665" fmla="*/ 1152606 w 2051041"/>
              <a:gd name="connsiteY665" fmla="*/ 899521 h 2084191"/>
              <a:gd name="connsiteX666" fmla="*/ 1114514 w 2051041"/>
              <a:gd name="connsiteY666" fmla="*/ 859252 h 2084191"/>
              <a:gd name="connsiteX667" fmla="*/ 1153695 w 2051041"/>
              <a:gd name="connsiteY667" fmla="*/ 821704 h 2084191"/>
              <a:gd name="connsiteX668" fmla="*/ 1316403 w 2051041"/>
              <a:gd name="connsiteY668" fmla="*/ 818982 h 2084191"/>
              <a:gd name="connsiteX669" fmla="*/ 1357216 w 2051041"/>
              <a:gd name="connsiteY669" fmla="*/ 860884 h 2084191"/>
              <a:gd name="connsiteX670" fmla="*/ 1315315 w 2051041"/>
              <a:gd name="connsiteY670" fmla="*/ 901697 h 2084191"/>
              <a:gd name="connsiteX671" fmla="*/ 1274501 w 2051041"/>
              <a:gd name="connsiteY671" fmla="*/ 860340 h 2084191"/>
              <a:gd name="connsiteX672" fmla="*/ 1316403 w 2051041"/>
              <a:gd name="connsiteY672" fmla="*/ 818982 h 2084191"/>
              <a:gd name="connsiteX673" fmla="*/ 1479112 w 2051041"/>
              <a:gd name="connsiteY673" fmla="*/ 816806 h 2084191"/>
              <a:gd name="connsiteX674" fmla="*/ 1522646 w 2051041"/>
              <a:gd name="connsiteY674" fmla="*/ 860340 h 2084191"/>
              <a:gd name="connsiteX675" fmla="*/ 1479656 w 2051041"/>
              <a:gd name="connsiteY675" fmla="*/ 904419 h 2084191"/>
              <a:gd name="connsiteX676" fmla="*/ 1435578 w 2051041"/>
              <a:gd name="connsiteY676" fmla="*/ 860884 h 2084191"/>
              <a:gd name="connsiteX677" fmla="*/ 1479112 w 2051041"/>
              <a:gd name="connsiteY677" fmla="*/ 816806 h 2084191"/>
              <a:gd name="connsiteX678" fmla="*/ 1642909 w 2051041"/>
              <a:gd name="connsiteY678" fmla="*/ 815718 h 2084191"/>
              <a:gd name="connsiteX679" fmla="*/ 1686987 w 2051041"/>
              <a:gd name="connsiteY679" fmla="*/ 860885 h 2084191"/>
              <a:gd name="connsiteX680" fmla="*/ 1641276 w 2051041"/>
              <a:gd name="connsiteY680" fmla="*/ 905507 h 2084191"/>
              <a:gd name="connsiteX681" fmla="*/ 1597742 w 2051041"/>
              <a:gd name="connsiteY681" fmla="*/ 860340 h 2084191"/>
              <a:gd name="connsiteX682" fmla="*/ 1642909 w 2051041"/>
              <a:gd name="connsiteY682" fmla="*/ 815718 h 2084191"/>
              <a:gd name="connsiteX683" fmla="*/ 1806161 w 2051041"/>
              <a:gd name="connsiteY683" fmla="*/ 815173 h 2084191"/>
              <a:gd name="connsiteX684" fmla="*/ 1852416 w 2051041"/>
              <a:gd name="connsiteY684" fmla="*/ 860884 h 2084191"/>
              <a:gd name="connsiteX685" fmla="*/ 1805617 w 2051041"/>
              <a:gd name="connsiteY685" fmla="*/ 906594 h 2084191"/>
              <a:gd name="connsiteX686" fmla="*/ 1759906 w 2051041"/>
              <a:gd name="connsiteY686" fmla="*/ 860884 h 2084191"/>
              <a:gd name="connsiteX687" fmla="*/ 1806161 w 2051041"/>
              <a:gd name="connsiteY687" fmla="*/ 815173 h 2084191"/>
              <a:gd name="connsiteX688" fmla="*/ 1968326 w 2051041"/>
              <a:gd name="connsiteY688" fmla="*/ 812453 h 2084191"/>
              <a:gd name="connsiteX689" fmla="*/ 2000977 w 2051041"/>
              <a:gd name="connsiteY689" fmla="*/ 826057 h 2084191"/>
              <a:gd name="connsiteX690" fmla="*/ 2015670 w 2051041"/>
              <a:gd name="connsiteY690" fmla="*/ 859796 h 2084191"/>
              <a:gd name="connsiteX691" fmla="*/ 1969415 w 2051041"/>
              <a:gd name="connsiteY691" fmla="*/ 907684 h 2084191"/>
              <a:gd name="connsiteX692" fmla="*/ 1922071 w 2051041"/>
              <a:gd name="connsiteY692" fmla="*/ 860885 h 2084191"/>
              <a:gd name="connsiteX693" fmla="*/ 1968326 w 2051041"/>
              <a:gd name="connsiteY693" fmla="*/ 812453 h 2084191"/>
              <a:gd name="connsiteX694" fmla="*/ 255260 w 2051041"/>
              <a:gd name="connsiteY694" fmla="*/ 762932 h 2084191"/>
              <a:gd name="connsiteX695" fmla="*/ 270497 w 2051041"/>
              <a:gd name="connsiteY695" fmla="*/ 779802 h 2084191"/>
              <a:gd name="connsiteX696" fmla="*/ 254172 w 2051041"/>
              <a:gd name="connsiteY696" fmla="*/ 795038 h 2084191"/>
              <a:gd name="connsiteX697" fmla="*/ 238935 w 2051041"/>
              <a:gd name="connsiteY697" fmla="*/ 778713 h 2084191"/>
              <a:gd name="connsiteX698" fmla="*/ 255260 w 2051041"/>
              <a:gd name="connsiteY698" fmla="*/ 762932 h 2084191"/>
              <a:gd name="connsiteX699" fmla="*/ 416881 w 2051041"/>
              <a:gd name="connsiteY699" fmla="*/ 756402 h 2084191"/>
              <a:gd name="connsiteX700" fmla="*/ 440280 w 2051041"/>
              <a:gd name="connsiteY700" fmla="*/ 778713 h 2084191"/>
              <a:gd name="connsiteX701" fmla="*/ 419057 w 2051041"/>
              <a:gd name="connsiteY701" fmla="*/ 801024 h 2084191"/>
              <a:gd name="connsiteX702" fmla="*/ 396202 w 2051041"/>
              <a:gd name="connsiteY702" fmla="*/ 779257 h 2084191"/>
              <a:gd name="connsiteX703" fmla="*/ 416881 w 2051041"/>
              <a:gd name="connsiteY703" fmla="*/ 756402 h 2084191"/>
              <a:gd name="connsiteX704" fmla="*/ 581766 w 2051041"/>
              <a:gd name="connsiteY704" fmla="*/ 751505 h 2084191"/>
              <a:gd name="connsiteX705" fmla="*/ 608975 w 2051041"/>
              <a:gd name="connsiteY705" fmla="*/ 779802 h 2084191"/>
              <a:gd name="connsiteX706" fmla="*/ 580678 w 2051041"/>
              <a:gd name="connsiteY706" fmla="*/ 806467 h 2084191"/>
              <a:gd name="connsiteX707" fmla="*/ 553469 w 2051041"/>
              <a:gd name="connsiteY707" fmla="*/ 778714 h 2084191"/>
              <a:gd name="connsiteX708" fmla="*/ 581766 w 2051041"/>
              <a:gd name="connsiteY708" fmla="*/ 751505 h 2084191"/>
              <a:gd name="connsiteX709" fmla="*/ 746107 w 2051041"/>
              <a:gd name="connsiteY709" fmla="*/ 746607 h 2084191"/>
              <a:gd name="connsiteX710" fmla="*/ 777125 w 2051041"/>
              <a:gd name="connsiteY710" fmla="*/ 780346 h 2084191"/>
              <a:gd name="connsiteX711" fmla="*/ 742842 w 2051041"/>
              <a:gd name="connsiteY711" fmla="*/ 811364 h 2084191"/>
              <a:gd name="connsiteX712" fmla="*/ 712368 w 2051041"/>
              <a:gd name="connsiteY712" fmla="*/ 778713 h 2084191"/>
              <a:gd name="connsiteX713" fmla="*/ 746107 w 2051041"/>
              <a:gd name="connsiteY713" fmla="*/ 746607 h 2084191"/>
              <a:gd name="connsiteX714" fmla="*/ 907727 w 2051041"/>
              <a:gd name="connsiteY714" fmla="*/ 741710 h 2084191"/>
              <a:gd name="connsiteX715" fmla="*/ 944187 w 2051041"/>
              <a:gd name="connsiteY715" fmla="*/ 778714 h 2084191"/>
              <a:gd name="connsiteX716" fmla="*/ 907727 w 2051041"/>
              <a:gd name="connsiteY716" fmla="*/ 815174 h 2084191"/>
              <a:gd name="connsiteX717" fmla="*/ 872355 w 2051041"/>
              <a:gd name="connsiteY717" fmla="*/ 779258 h 2084191"/>
              <a:gd name="connsiteX718" fmla="*/ 907727 w 2051041"/>
              <a:gd name="connsiteY718" fmla="*/ 741710 h 2084191"/>
              <a:gd name="connsiteX719" fmla="*/ 1070979 w 2051041"/>
              <a:gd name="connsiteY719" fmla="*/ 740621 h 2084191"/>
              <a:gd name="connsiteX720" fmla="*/ 1110160 w 2051041"/>
              <a:gd name="connsiteY720" fmla="*/ 779258 h 2084191"/>
              <a:gd name="connsiteX721" fmla="*/ 1070979 w 2051041"/>
              <a:gd name="connsiteY721" fmla="*/ 817894 h 2084191"/>
              <a:gd name="connsiteX722" fmla="*/ 1031799 w 2051041"/>
              <a:gd name="connsiteY722" fmla="*/ 778714 h 2084191"/>
              <a:gd name="connsiteX723" fmla="*/ 1070979 w 2051041"/>
              <a:gd name="connsiteY723" fmla="*/ 740621 h 2084191"/>
              <a:gd name="connsiteX724" fmla="*/ 1233688 w 2051041"/>
              <a:gd name="connsiteY724" fmla="*/ 736268 h 2084191"/>
              <a:gd name="connsiteX725" fmla="*/ 1276134 w 2051041"/>
              <a:gd name="connsiteY725" fmla="*/ 777625 h 2084191"/>
              <a:gd name="connsiteX726" fmla="*/ 1235320 w 2051041"/>
              <a:gd name="connsiteY726" fmla="*/ 820615 h 2084191"/>
              <a:gd name="connsiteX727" fmla="*/ 1192331 w 2051041"/>
              <a:gd name="connsiteY727" fmla="*/ 779258 h 2084191"/>
              <a:gd name="connsiteX728" fmla="*/ 1233688 w 2051041"/>
              <a:gd name="connsiteY728" fmla="*/ 736268 h 2084191"/>
              <a:gd name="connsiteX729" fmla="*/ 1397485 w 2051041"/>
              <a:gd name="connsiteY729" fmla="*/ 735724 h 2084191"/>
              <a:gd name="connsiteX730" fmla="*/ 1441019 w 2051041"/>
              <a:gd name="connsiteY730" fmla="*/ 779802 h 2084191"/>
              <a:gd name="connsiteX731" fmla="*/ 1396397 w 2051041"/>
              <a:gd name="connsiteY731" fmla="*/ 823336 h 2084191"/>
              <a:gd name="connsiteX732" fmla="*/ 1352863 w 2051041"/>
              <a:gd name="connsiteY732" fmla="*/ 779258 h 2084191"/>
              <a:gd name="connsiteX733" fmla="*/ 1397485 w 2051041"/>
              <a:gd name="connsiteY733" fmla="*/ 735724 h 2084191"/>
              <a:gd name="connsiteX734" fmla="*/ 1562371 w 2051041"/>
              <a:gd name="connsiteY734" fmla="*/ 734636 h 2084191"/>
              <a:gd name="connsiteX735" fmla="*/ 1605905 w 2051041"/>
              <a:gd name="connsiteY735" fmla="*/ 779802 h 2084191"/>
              <a:gd name="connsiteX736" fmla="*/ 1560194 w 2051041"/>
              <a:gd name="connsiteY736" fmla="*/ 823881 h 2084191"/>
              <a:gd name="connsiteX737" fmla="*/ 1515572 w 2051041"/>
              <a:gd name="connsiteY737" fmla="*/ 777626 h 2084191"/>
              <a:gd name="connsiteX738" fmla="*/ 1562371 w 2051041"/>
              <a:gd name="connsiteY738" fmla="*/ 734636 h 2084191"/>
              <a:gd name="connsiteX739" fmla="*/ 1724535 w 2051041"/>
              <a:gd name="connsiteY739" fmla="*/ 730827 h 2084191"/>
              <a:gd name="connsiteX740" fmla="*/ 1772422 w 2051041"/>
              <a:gd name="connsiteY740" fmla="*/ 779258 h 2084191"/>
              <a:gd name="connsiteX741" fmla="*/ 1723446 w 2051041"/>
              <a:gd name="connsiteY741" fmla="*/ 826602 h 2084191"/>
              <a:gd name="connsiteX742" fmla="*/ 1676647 w 2051041"/>
              <a:gd name="connsiteY742" fmla="*/ 778714 h 2084191"/>
              <a:gd name="connsiteX743" fmla="*/ 1724535 w 2051041"/>
              <a:gd name="connsiteY743" fmla="*/ 730827 h 2084191"/>
              <a:gd name="connsiteX744" fmla="*/ 1886699 w 2051041"/>
              <a:gd name="connsiteY744" fmla="*/ 730826 h 2084191"/>
              <a:gd name="connsiteX745" fmla="*/ 1935131 w 2051041"/>
              <a:gd name="connsiteY745" fmla="*/ 778713 h 2084191"/>
              <a:gd name="connsiteX746" fmla="*/ 1887244 w 2051041"/>
              <a:gd name="connsiteY746" fmla="*/ 827145 h 2084191"/>
              <a:gd name="connsiteX747" fmla="*/ 1838812 w 2051041"/>
              <a:gd name="connsiteY747" fmla="*/ 778713 h 2084191"/>
              <a:gd name="connsiteX748" fmla="*/ 1886699 w 2051041"/>
              <a:gd name="connsiteY748" fmla="*/ 730826 h 2084191"/>
              <a:gd name="connsiteX749" fmla="*/ 2050496 w 2051041"/>
              <a:gd name="connsiteY749" fmla="*/ 730282 h 2084191"/>
              <a:gd name="connsiteX750" fmla="*/ 2051041 w 2051041"/>
              <a:gd name="connsiteY750" fmla="*/ 730396 h 2084191"/>
              <a:gd name="connsiteX751" fmla="*/ 2051041 w 2051041"/>
              <a:gd name="connsiteY751" fmla="*/ 826942 h 2084191"/>
              <a:gd name="connsiteX752" fmla="*/ 2049952 w 2051041"/>
              <a:gd name="connsiteY752" fmla="*/ 827145 h 2084191"/>
              <a:gd name="connsiteX753" fmla="*/ 2002065 w 2051041"/>
              <a:gd name="connsiteY753" fmla="*/ 778169 h 2084191"/>
              <a:gd name="connsiteX754" fmla="*/ 2050496 w 2051041"/>
              <a:gd name="connsiteY754" fmla="*/ 730282 h 2084191"/>
              <a:gd name="connsiteX755" fmla="*/ 173634 w 2051041"/>
              <a:gd name="connsiteY755" fmla="*/ 685660 h 2084191"/>
              <a:gd name="connsiteX756" fmla="*/ 184518 w 2051041"/>
              <a:gd name="connsiteY756" fmla="*/ 698176 h 2084191"/>
              <a:gd name="connsiteX757" fmla="*/ 172546 w 2051041"/>
              <a:gd name="connsiteY757" fmla="*/ 709059 h 2084191"/>
              <a:gd name="connsiteX758" fmla="*/ 161118 w 2051041"/>
              <a:gd name="connsiteY758" fmla="*/ 697088 h 2084191"/>
              <a:gd name="connsiteX759" fmla="*/ 173634 w 2051041"/>
              <a:gd name="connsiteY759" fmla="*/ 685660 h 2084191"/>
              <a:gd name="connsiteX760" fmla="*/ 335798 w 2051041"/>
              <a:gd name="connsiteY760" fmla="*/ 675320 h 2084191"/>
              <a:gd name="connsiteX761" fmla="*/ 357565 w 2051041"/>
              <a:gd name="connsiteY761" fmla="*/ 696543 h 2084191"/>
              <a:gd name="connsiteX762" fmla="*/ 336342 w 2051041"/>
              <a:gd name="connsiteY762" fmla="*/ 718854 h 2084191"/>
              <a:gd name="connsiteX763" fmla="*/ 315120 w 2051041"/>
              <a:gd name="connsiteY763" fmla="*/ 697631 h 2084191"/>
              <a:gd name="connsiteX764" fmla="*/ 335798 w 2051041"/>
              <a:gd name="connsiteY764" fmla="*/ 675320 h 2084191"/>
              <a:gd name="connsiteX765" fmla="*/ 499051 w 2051041"/>
              <a:gd name="connsiteY765" fmla="*/ 670423 h 2084191"/>
              <a:gd name="connsiteX766" fmla="*/ 526804 w 2051041"/>
              <a:gd name="connsiteY766" fmla="*/ 697088 h 2084191"/>
              <a:gd name="connsiteX767" fmla="*/ 499595 w 2051041"/>
              <a:gd name="connsiteY767" fmla="*/ 724296 h 2084191"/>
              <a:gd name="connsiteX768" fmla="*/ 472930 w 2051041"/>
              <a:gd name="connsiteY768" fmla="*/ 697632 h 2084191"/>
              <a:gd name="connsiteX769" fmla="*/ 499051 w 2051041"/>
              <a:gd name="connsiteY769" fmla="*/ 670423 h 2084191"/>
              <a:gd name="connsiteX770" fmla="*/ 662848 w 2051041"/>
              <a:gd name="connsiteY770" fmla="*/ 665525 h 2084191"/>
              <a:gd name="connsiteX771" fmla="*/ 694954 w 2051041"/>
              <a:gd name="connsiteY771" fmla="*/ 697087 h 2084191"/>
              <a:gd name="connsiteX772" fmla="*/ 663392 w 2051041"/>
              <a:gd name="connsiteY772" fmla="*/ 729194 h 2084191"/>
              <a:gd name="connsiteX773" fmla="*/ 632374 w 2051041"/>
              <a:gd name="connsiteY773" fmla="*/ 698176 h 2084191"/>
              <a:gd name="connsiteX774" fmla="*/ 662848 w 2051041"/>
              <a:gd name="connsiteY774" fmla="*/ 665525 h 2084191"/>
              <a:gd name="connsiteX775" fmla="*/ 825013 w 2051041"/>
              <a:gd name="connsiteY775" fmla="*/ 663349 h 2084191"/>
              <a:gd name="connsiteX776" fmla="*/ 860384 w 2051041"/>
              <a:gd name="connsiteY776" fmla="*/ 697632 h 2084191"/>
              <a:gd name="connsiteX777" fmla="*/ 826101 w 2051041"/>
              <a:gd name="connsiteY777" fmla="*/ 731915 h 2084191"/>
              <a:gd name="connsiteX778" fmla="*/ 791818 w 2051041"/>
              <a:gd name="connsiteY778" fmla="*/ 698176 h 2084191"/>
              <a:gd name="connsiteX779" fmla="*/ 825013 w 2051041"/>
              <a:gd name="connsiteY779" fmla="*/ 663349 h 2084191"/>
              <a:gd name="connsiteX780" fmla="*/ 988809 w 2051041"/>
              <a:gd name="connsiteY780" fmla="*/ 658995 h 2084191"/>
              <a:gd name="connsiteX781" fmla="*/ 1027446 w 2051041"/>
              <a:gd name="connsiteY781" fmla="*/ 697087 h 2084191"/>
              <a:gd name="connsiteX782" fmla="*/ 989353 w 2051041"/>
              <a:gd name="connsiteY782" fmla="*/ 735723 h 2084191"/>
              <a:gd name="connsiteX783" fmla="*/ 950717 w 2051041"/>
              <a:gd name="connsiteY783" fmla="*/ 697631 h 2084191"/>
              <a:gd name="connsiteX784" fmla="*/ 988809 w 2051041"/>
              <a:gd name="connsiteY784" fmla="*/ 658995 h 2084191"/>
              <a:gd name="connsiteX785" fmla="*/ 1152607 w 2051041"/>
              <a:gd name="connsiteY785" fmla="*/ 655729 h 2084191"/>
              <a:gd name="connsiteX786" fmla="*/ 1195052 w 2051041"/>
              <a:gd name="connsiteY786" fmla="*/ 697087 h 2084191"/>
              <a:gd name="connsiteX787" fmla="*/ 1153151 w 2051041"/>
              <a:gd name="connsiteY787" fmla="*/ 739533 h 2084191"/>
              <a:gd name="connsiteX788" fmla="*/ 1110705 w 2051041"/>
              <a:gd name="connsiteY788" fmla="*/ 697631 h 2084191"/>
              <a:gd name="connsiteX789" fmla="*/ 1152607 w 2051041"/>
              <a:gd name="connsiteY789" fmla="*/ 655729 h 2084191"/>
              <a:gd name="connsiteX790" fmla="*/ 1316948 w 2051041"/>
              <a:gd name="connsiteY790" fmla="*/ 653554 h 2084191"/>
              <a:gd name="connsiteX791" fmla="*/ 1359937 w 2051041"/>
              <a:gd name="connsiteY791" fmla="*/ 697632 h 2084191"/>
              <a:gd name="connsiteX792" fmla="*/ 1315315 w 2051041"/>
              <a:gd name="connsiteY792" fmla="*/ 740622 h 2084191"/>
              <a:gd name="connsiteX793" fmla="*/ 1271781 w 2051041"/>
              <a:gd name="connsiteY793" fmla="*/ 696544 h 2084191"/>
              <a:gd name="connsiteX794" fmla="*/ 1316948 w 2051041"/>
              <a:gd name="connsiteY794" fmla="*/ 653554 h 2084191"/>
              <a:gd name="connsiteX795" fmla="*/ 1479112 w 2051041"/>
              <a:gd name="connsiteY795" fmla="*/ 651921 h 2084191"/>
              <a:gd name="connsiteX796" fmla="*/ 1524823 w 2051041"/>
              <a:gd name="connsiteY796" fmla="*/ 697088 h 2084191"/>
              <a:gd name="connsiteX797" fmla="*/ 1479112 w 2051041"/>
              <a:gd name="connsiteY797" fmla="*/ 742254 h 2084191"/>
              <a:gd name="connsiteX798" fmla="*/ 1433945 w 2051041"/>
              <a:gd name="connsiteY798" fmla="*/ 697088 h 2084191"/>
              <a:gd name="connsiteX799" fmla="*/ 1479112 w 2051041"/>
              <a:gd name="connsiteY799" fmla="*/ 651921 h 2084191"/>
              <a:gd name="connsiteX800" fmla="*/ 1642909 w 2051041"/>
              <a:gd name="connsiteY800" fmla="*/ 649744 h 2084191"/>
              <a:gd name="connsiteX801" fmla="*/ 1690796 w 2051041"/>
              <a:gd name="connsiteY801" fmla="*/ 697087 h 2084191"/>
              <a:gd name="connsiteX802" fmla="*/ 1642909 w 2051041"/>
              <a:gd name="connsiteY802" fmla="*/ 745519 h 2084191"/>
              <a:gd name="connsiteX803" fmla="*/ 1594477 w 2051041"/>
              <a:gd name="connsiteY803" fmla="*/ 697632 h 2084191"/>
              <a:gd name="connsiteX804" fmla="*/ 1642909 w 2051041"/>
              <a:gd name="connsiteY804" fmla="*/ 649744 h 2084191"/>
              <a:gd name="connsiteX805" fmla="*/ 1805617 w 2051041"/>
              <a:gd name="connsiteY805" fmla="*/ 648112 h 2084191"/>
              <a:gd name="connsiteX806" fmla="*/ 1854593 w 2051041"/>
              <a:gd name="connsiteY806" fmla="*/ 698176 h 2084191"/>
              <a:gd name="connsiteX807" fmla="*/ 1805073 w 2051041"/>
              <a:gd name="connsiteY807" fmla="*/ 746607 h 2084191"/>
              <a:gd name="connsiteX808" fmla="*/ 1756097 w 2051041"/>
              <a:gd name="connsiteY808" fmla="*/ 697087 h 2084191"/>
              <a:gd name="connsiteX809" fmla="*/ 1805617 w 2051041"/>
              <a:gd name="connsiteY809" fmla="*/ 648112 h 2084191"/>
              <a:gd name="connsiteX810" fmla="*/ 1969414 w 2051041"/>
              <a:gd name="connsiteY810" fmla="*/ 647023 h 2084191"/>
              <a:gd name="connsiteX811" fmla="*/ 2018934 w 2051041"/>
              <a:gd name="connsiteY811" fmla="*/ 698176 h 2084191"/>
              <a:gd name="connsiteX812" fmla="*/ 1968326 w 2051041"/>
              <a:gd name="connsiteY812" fmla="*/ 746063 h 2084191"/>
              <a:gd name="connsiteX813" fmla="*/ 1918806 w 2051041"/>
              <a:gd name="connsiteY813" fmla="*/ 697087 h 2084191"/>
              <a:gd name="connsiteX814" fmla="*/ 1969414 w 2051041"/>
              <a:gd name="connsiteY814" fmla="*/ 647023 h 2084191"/>
              <a:gd name="connsiteX815" fmla="*/ 90919 w 2051041"/>
              <a:gd name="connsiteY815" fmla="*/ 606754 h 2084191"/>
              <a:gd name="connsiteX816" fmla="*/ 99626 w 2051041"/>
              <a:gd name="connsiteY816" fmla="*/ 615460 h 2084191"/>
              <a:gd name="connsiteX817" fmla="*/ 92007 w 2051041"/>
              <a:gd name="connsiteY817" fmla="*/ 627976 h 2084191"/>
              <a:gd name="connsiteX818" fmla="*/ 82756 w 2051041"/>
              <a:gd name="connsiteY818" fmla="*/ 616005 h 2084191"/>
              <a:gd name="connsiteX819" fmla="*/ 90919 w 2051041"/>
              <a:gd name="connsiteY819" fmla="*/ 606754 h 2084191"/>
              <a:gd name="connsiteX820" fmla="*/ 254172 w 2051041"/>
              <a:gd name="connsiteY820" fmla="*/ 598047 h 2084191"/>
              <a:gd name="connsiteX821" fmla="*/ 272674 w 2051041"/>
              <a:gd name="connsiteY821" fmla="*/ 614917 h 2084191"/>
              <a:gd name="connsiteX822" fmla="*/ 255260 w 2051041"/>
              <a:gd name="connsiteY822" fmla="*/ 633419 h 2084191"/>
              <a:gd name="connsiteX823" fmla="*/ 236758 w 2051041"/>
              <a:gd name="connsiteY823" fmla="*/ 616005 h 2084191"/>
              <a:gd name="connsiteX824" fmla="*/ 254172 w 2051041"/>
              <a:gd name="connsiteY824" fmla="*/ 598047 h 2084191"/>
              <a:gd name="connsiteX825" fmla="*/ 418513 w 2051041"/>
              <a:gd name="connsiteY825" fmla="*/ 590429 h 2084191"/>
              <a:gd name="connsiteX826" fmla="*/ 443001 w 2051041"/>
              <a:gd name="connsiteY826" fmla="*/ 614917 h 2084191"/>
              <a:gd name="connsiteX827" fmla="*/ 419058 w 2051041"/>
              <a:gd name="connsiteY827" fmla="*/ 640493 h 2084191"/>
              <a:gd name="connsiteX828" fmla="*/ 392937 w 2051041"/>
              <a:gd name="connsiteY828" fmla="*/ 616005 h 2084191"/>
              <a:gd name="connsiteX829" fmla="*/ 418513 w 2051041"/>
              <a:gd name="connsiteY829" fmla="*/ 590429 h 2084191"/>
              <a:gd name="connsiteX830" fmla="*/ 581222 w 2051041"/>
              <a:gd name="connsiteY830" fmla="*/ 587163 h 2084191"/>
              <a:gd name="connsiteX831" fmla="*/ 610063 w 2051041"/>
              <a:gd name="connsiteY831" fmla="*/ 616549 h 2084191"/>
              <a:gd name="connsiteX832" fmla="*/ 580677 w 2051041"/>
              <a:gd name="connsiteY832" fmla="*/ 645390 h 2084191"/>
              <a:gd name="connsiteX833" fmla="*/ 551836 w 2051041"/>
              <a:gd name="connsiteY833" fmla="*/ 615461 h 2084191"/>
              <a:gd name="connsiteX834" fmla="*/ 581222 w 2051041"/>
              <a:gd name="connsiteY834" fmla="*/ 587163 h 2084191"/>
              <a:gd name="connsiteX835" fmla="*/ 743930 w 2051041"/>
              <a:gd name="connsiteY835" fmla="*/ 582266 h 2084191"/>
              <a:gd name="connsiteX836" fmla="*/ 779301 w 2051041"/>
              <a:gd name="connsiteY836" fmla="*/ 616005 h 2084191"/>
              <a:gd name="connsiteX837" fmla="*/ 745563 w 2051041"/>
              <a:gd name="connsiteY837" fmla="*/ 649744 h 2084191"/>
              <a:gd name="connsiteX838" fmla="*/ 711824 w 2051041"/>
              <a:gd name="connsiteY838" fmla="*/ 616549 h 2084191"/>
              <a:gd name="connsiteX839" fmla="*/ 743930 w 2051041"/>
              <a:gd name="connsiteY839" fmla="*/ 582266 h 2084191"/>
              <a:gd name="connsiteX840" fmla="*/ 907183 w 2051041"/>
              <a:gd name="connsiteY840" fmla="*/ 577913 h 2084191"/>
              <a:gd name="connsiteX841" fmla="*/ 945276 w 2051041"/>
              <a:gd name="connsiteY841" fmla="*/ 615461 h 2084191"/>
              <a:gd name="connsiteX842" fmla="*/ 907727 w 2051041"/>
              <a:gd name="connsiteY842" fmla="*/ 654098 h 2084191"/>
              <a:gd name="connsiteX843" fmla="*/ 869091 w 2051041"/>
              <a:gd name="connsiteY843" fmla="*/ 616006 h 2084191"/>
              <a:gd name="connsiteX844" fmla="*/ 907183 w 2051041"/>
              <a:gd name="connsiteY844" fmla="*/ 577913 h 2084191"/>
              <a:gd name="connsiteX845" fmla="*/ 1069891 w 2051041"/>
              <a:gd name="connsiteY845" fmla="*/ 574648 h 2084191"/>
              <a:gd name="connsiteX846" fmla="*/ 1111248 w 2051041"/>
              <a:gd name="connsiteY846" fmla="*/ 615461 h 2084191"/>
              <a:gd name="connsiteX847" fmla="*/ 1070435 w 2051041"/>
              <a:gd name="connsiteY847" fmla="*/ 656274 h 2084191"/>
              <a:gd name="connsiteX848" fmla="*/ 1029622 w 2051041"/>
              <a:gd name="connsiteY848" fmla="*/ 614917 h 2084191"/>
              <a:gd name="connsiteX849" fmla="*/ 1069891 w 2051041"/>
              <a:gd name="connsiteY849" fmla="*/ 574648 h 2084191"/>
              <a:gd name="connsiteX850" fmla="*/ 1235321 w 2051041"/>
              <a:gd name="connsiteY850" fmla="*/ 572472 h 2084191"/>
              <a:gd name="connsiteX851" fmla="*/ 1277222 w 2051041"/>
              <a:gd name="connsiteY851" fmla="*/ 616550 h 2084191"/>
              <a:gd name="connsiteX852" fmla="*/ 1233688 w 2051041"/>
              <a:gd name="connsiteY852" fmla="*/ 660084 h 2084191"/>
              <a:gd name="connsiteX853" fmla="*/ 1190154 w 2051041"/>
              <a:gd name="connsiteY853" fmla="*/ 614917 h 2084191"/>
              <a:gd name="connsiteX854" fmla="*/ 1235321 w 2051041"/>
              <a:gd name="connsiteY854" fmla="*/ 572472 h 2084191"/>
              <a:gd name="connsiteX855" fmla="*/ 1397485 w 2051041"/>
              <a:gd name="connsiteY855" fmla="*/ 569206 h 2084191"/>
              <a:gd name="connsiteX856" fmla="*/ 1443196 w 2051041"/>
              <a:gd name="connsiteY856" fmla="*/ 616005 h 2084191"/>
              <a:gd name="connsiteX857" fmla="*/ 1396941 w 2051041"/>
              <a:gd name="connsiteY857" fmla="*/ 661172 h 2084191"/>
              <a:gd name="connsiteX858" fmla="*/ 1351775 w 2051041"/>
              <a:gd name="connsiteY858" fmla="*/ 614373 h 2084191"/>
              <a:gd name="connsiteX859" fmla="*/ 1397485 w 2051041"/>
              <a:gd name="connsiteY859" fmla="*/ 569206 h 2084191"/>
              <a:gd name="connsiteX860" fmla="*/ 1560738 w 2051041"/>
              <a:gd name="connsiteY860" fmla="*/ 567029 h 2084191"/>
              <a:gd name="connsiteX861" fmla="*/ 1609714 w 2051041"/>
              <a:gd name="connsiteY861" fmla="*/ 615461 h 2084191"/>
              <a:gd name="connsiteX862" fmla="*/ 1561283 w 2051041"/>
              <a:gd name="connsiteY862" fmla="*/ 663892 h 2084191"/>
              <a:gd name="connsiteX863" fmla="*/ 1512851 w 2051041"/>
              <a:gd name="connsiteY863" fmla="*/ 616005 h 2084191"/>
              <a:gd name="connsiteX864" fmla="*/ 1560738 w 2051041"/>
              <a:gd name="connsiteY864" fmla="*/ 567029 h 2084191"/>
              <a:gd name="connsiteX865" fmla="*/ 1725624 w 2051041"/>
              <a:gd name="connsiteY865" fmla="*/ 565397 h 2084191"/>
              <a:gd name="connsiteX866" fmla="*/ 1774599 w 2051041"/>
              <a:gd name="connsiteY866" fmla="*/ 616005 h 2084191"/>
              <a:gd name="connsiteX867" fmla="*/ 1723447 w 2051041"/>
              <a:gd name="connsiteY867" fmla="*/ 664981 h 2084191"/>
              <a:gd name="connsiteX868" fmla="*/ 1674471 w 2051041"/>
              <a:gd name="connsiteY868" fmla="*/ 615461 h 2084191"/>
              <a:gd name="connsiteX869" fmla="*/ 1725624 w 2051041"/>
              <a:gd name="connsiteY869" fmla="*/ 565397 h 2084191"/>
              <a:gd name="connsiteX870" fmla="*/ 1886699 w 2051041"/>
              <a:gd name="connsiteY870" fmla="*/ 564853 h 2084191"/>
              <a:gd name="connsiteX871" fmla="*/ 1938396 w 2051041"/>
              <a:gd name="connsiteY871" fmla="*/ 614917 h 2084191"/>
              <a:gd name="connsiteX872" fmla="*/ 1887787 w 2051041"/>
              <a:gd name="connsiteY872" fmla="*/ 665525 h 2084191"/>
              <a:gd name="connsiteX873" fmla="*/ 1837179 w 2051041"/>
              <a:gd name="connsiteY873" fmla="*/ 615461 h 2084191"/>
              <a:gd name="connsiteX874" fmla="*/ 1886699 w 2051041"/>
              <a:gd name="connsiteY874" fmla="*/ 564853 h 2084191"/>
              <a:gd name="connsiteX875" fmla="*/ 2050496 w 2051041"/>
              <a:gd name="connsiteY875" fmla="*/ 564852 h 2084191"/>
              <a:gd name="connsiteX876" fmla="*/ 2051041 w 2051041"/>
              <a:gd name="connsiteY876" fmla="*/ 564962 h 2084191"/>
              <a:gd name="connsiteX877" fmla="*/ 2051041 w 2051041"/>
              <a:gd name="connsiteY877" fmla="*/ 665899 h 2084191"/>
              <a:gd name="connsiteX878" fmla="*/ 2049952 w 2051041"/>
              <a:gd name="connsiteY878" fmla="*/ 666069 h 2084191"/>
              <a:gd name="connsiteX879" fmla="*/ 1999344 w 2051041"/>
              <a:gd name="connsiteY879" fmla="*/ 615460 h 2084191"/>
              <a:gd name="connsiteX880" fmla="*/ 2050496 w 2051041"/>
              <a:gd name="connsiteY880" fmla="*/ 564852 h 2084191"/>
              <a:gd name="connsiteX881" fmla="*/ 173090 w 2051041"/>
              <a:gd name="connsiteY881" fmla="*/ 517509 h 2084191"/>
              <a:gd name="connsiteX882" fmla="*/ 189959 w 2051041"/>
              <a:gd name="connsiteY882" fmla="*/ 533834 h 2084191"/>
              <a:gd name="connsiteX883" fmla="*/ 173634 w 2051041"/>
              <a:gd name="connsiteY883" fmla="*/ 550160 h 2084191"/>
              <a:gd name="connsiteX884" fmla="*/ 157308 w 2051041"/>
              <a:gd name="connsiteY884" fmla="*/ 534923 h 2084191"/>
              <a:gd name="connsiteX885" fmla="*/ 173090 w 2051041"/>
              <a:gd name="connsiteY885" fmla="*/ 517509 h 2084191"/>
              <a:gd name="connsiteX886" fmla="*/ 335798 w 2051041"/>
              <a:gd name="connsiteY886" fmla="*/ 511523 h 2084191"/>
              <a:gd name="connsiteX887" fmla="*/ 358654 w 2051041"/>
              <a:gd name="connsiteY887" fmla="*/ 533834 h 2084191"/>
              <a:gd name="connsiteX888" fmla="*/ 336343 w 2051041"/>
              <a:gd name="connsiteY888" fmla="*/ 556689 h 2084191"/>
              <a:gd name="connsiteX889" fmla="*/ 312943 w 2051041"/>
              <a:gd name="connsiteY889" fmla="*/ 534378 h 2084191"/>
              <a:gd name="connsiteX890" fmla="*/ 335798 w 2051041"/>
              <a:gd name="connsiteY890" fmla="*/ 511523 h 2084191"/>
              <a:gd name="connsiteX891" fmla="*/ 500139 w 2051041"/>
              <a:gd name="connsiteY891" fmla="*/ 506626 h 2084191"/>
              <a:gd name="connsiteX892" fmla="*/ 527348 w 2051041"/>
              <a:gd name="connsiteY892" fmla="*/ 535467 h 2084191"/>
              <a:gd name="connsiteX893" fmla="*/ 497963 w 2051041"/>
              <a:gd name="connsiteY893" fmla="*/ 561587 h 2084191"/>
              <a:gd name="connsiteX894" fmla="*/ 471842 w 2051041"/>
              <a:gd name="connsiteY894" fmla="*/ 533290 h 2084191"/>
              <a:gd name="connsiteX895" fmla="*/ 500139 w 2051041"/>
              <a:gd name="connsiteY895" fmla="*/ 506626 h 2084191"/>
              <a:gd name="connsiteX896" fmla="*/ 662304 w 2051041"/>
              <a:gd name="connsiteY896" fmla="*/ 500639 h 2084191"/>
              <a:gd name="connsiteX897" fmla="*/ 696042 w 2051041"/>
              <a:gd name="connsiteY897" fmla="*/ 533290 h 2084191"/>
              <a:gd name="connsiteX898" fmla="*/ 663392 w 2051041"/>
              <a:gd name="connsiteY898" fmla="*/ 566485 h 2084191"/>
              <a:gd name="connsiteX899" fmla="*/ 630197 w 2051041"/>
              <a:gd name="connsiteY899" fmla="*/ 534378 h 2084191"/>
              <a:gd name="connsiteX900" fmla="*/ 662304 w 2051041"/>
              <a:gd name="connsiteY900" fmla="*/ 500639 h 2084191"/>
              <a:gd name="connsiteX901" fmla="*/ 825557 w 2051041"/>
              <a:gd name="connsiteY901" fmla="*/ 496830 h 2084191"/>
              <a:gd name="connsiteX902" fmla="*/ 863649 w 2051041"/>
              <a:gd name="connsiteY902" fmla="*/ 534923 h 2084191"/>
              <a:gd name="connsiteX903" fmla="*/ 825557 w 2051041"/>
              <a:gd name="connsiteY903" fmla="*/ 571383 h 2084191"/>
              <a:gd name="connsiteX904" fmla="*/ 788553 w 2051041"/>
              <a:gd name="connsiteY904" fmla="*/ 534379 h 2084191"/>
              <a:gd name="connsiteX905" fmla="*/ 825557 w 2051041"/>
              <a:gd name="connsiteY905" fmla="*/ 496830 h 2084191"/>
              <a:gd name="connsiteX906" fmla="*/ 989898 w 2051041"/>
              <a:gd name="connsiteY906" fmla="*/ 494110 h 2084191"/>
              <a:gd name="connsiteX907" fmla="*/ 1029078 w 2051041"/>
              <a:gd name="connsiteY907" fmla="*/ 534923 h 2084191"/>
              <a:gd name="connsiteX908" fmla="*/ 989353 w 2051041"/>
              <a:gd name="connsiteY908" fmla="*/ 574104 h 2084191"/>
              <a:gd name="connsiteX909" fmla="*/ 949629 w 2051041"/>
              <a:gd name="connsiteY909" fmla="*/ 533835 h 2084191"/>
              <a:gd name="connsiteX910" fmla="*/ 989898 w 2051041"/>
              <a:gd name="connsiteY910" fmla="*/ 494110 h 2084191"/>
              <a:gd name="connsiteX911" fmla="*/ 1152062 w 2051041"/>
              <a:gd name="connsiteY911" fmla="*/ 490301 h 2084191"/>
              <a:gd name="connsiteX912" fmla="*/ 1196140 w 2051041"/>
              <a:gd name="connsiteY912" fmla="*/ 533835 h 2084191"/>
              <a:gd name="connsiteX913" fmla="*/ 1152606 w 2051041"/>
              <a:gd name="connsiteY913" fmla="*/ 577369 h 2084191"/>
              <a:gd name="connsiteX914" fmla="*/ 1109072 w 2051041"/>
              <a:gd name="connsiteY914" fmla="*/ 534379 h 2084191"/>
              <a:gd name="connsiteX915" fmla="*/ 1152062 w 2051041"/>
              <a:gd name="connsiteY915" fmla="*/ 490301 h 2084191"/>
              <a:gd name="connsiteX916" fmla="*/ 1316947 w 2051041"/>
              <a:gd name="connsiteY916" fmla="*/ 489212 h 2084191"/>
              <a:gd name="connsiteX917" fmla="*/ 1361570 w 2051041"/>
              <a:gd name="connsiteY917" fmla="*/ 534923 h 2084191"/>
              <a:gd name="connsiteX918" fmla="*/ 1315859 w 2051041"/>
              <a:gd name="connsiteY918" fmla="*/ 580090 h 2084191"/>
              <a:gd name="connsiteX919" fmla="*/ 1270693 w 2051041"/>
              <a:gd name="connsiteY919" fmla="*/ 533835 h 2084191"/>
              <a:gd name="connsiteX920" fmla="*/ 1316947 w 2051041"/>
              <a:gd name="connsiteY920" fmla="*/ 489212 h 2084191"/>
              <a:gd name="connsiteX921" fmla="*/ 1479112 w 2051041"/>
              <a:gd name="connsiteY921" fmla="*/ 484315 h 2084191"/>
              <a:gd name="connsiteX922" fmla="*/ 1528087 w 2051041"/>
              <a:gd name="connsiteY922" fmla="*/ 533835 h 2084191"/>
              <a:gd name="connsiteX923" fmla="*/ 1479656 w 2051041"/>
              <a:gd name="connsiteY923" fmla="*/ 582267 h 2084191"/>
              <a:gd name="connsiteX924" fmla="*/ 1431224 w 2051041"/>
              <a:gd name="connsiteY924" fmla="*/ 533835 h 2084191"/>
              <a:gd name="connsiteX925" fmla="*/ 1479112 w 2051041"/>
              <a:gd name="connsiteY925" fmla="*/ 484315 h 2084191"/>
              <a:gd name="connsiteX926" fmla="*/ 1643452 w 2051041"/>
              <a:gd name="connsiteY926" fmla="*/ 484314 h 2084191"/>
              <a:gd name="connsiteX927" fmla="*/ 1692973 w 2051041"/>
              <a:gd name="connsiteY927" fmla="*/ 534923 h 2084191"/>
              <a:gd name="connsiteX928" fmla="*/ 1641276 w 2051041"/>
              <a:gd name="connsiteY928" fmla="*/ 583898 h 2084191"/>
              <a:gd name="connsiteX929" fmla="*/ 1592300 w 2051041"/>
              <a:gd name="connsiteY929" fmla="*/ 532202 h 2084191"/>
              <a:gd name="connsiteX930" fmla="*/ 1643452 w 2051041"/>
              <a:gd name="connsiteY930" fmla="*/ 484314 h 2084191"/>
              <a:gd name="connsiteX931" fmla="*/ 1806162 w 2051041"/>
              <a:gd name="connsiteY931" fmla="*/ 481594 h 2084191"/>
              <a:gd name="connsiteX932" fmla="*/ 1857858 w 2051041"/>
              <a:gd name="connsiteY932" fmla="*/ 536011 h 2084191"/>
              <a:gd name="connsiteX933" fmla="*/ 1803441 w 2051041"/>
              <a:gd name="connsiteY933" fmla="*/ 586075 h 2084191"/>
              <a:gd name="connsiteX934" fmla="*/ 1753377 w 2051041"/>
              <a:gd name="connsiteY934" fmla="*/ 533290 h 2084191"/>
              <a:gd name="connsiteX935" fmla="*/ 1806162 w 2051041"/>
              <a:gd name="connsiteY935" fmla="*/ 481594 h 2084191"/>
              <a:gd name="connsiteX936" fmla="*/ 1968326 w 2051041"/>
              <a:gd name="connsiteY936" fmla="*/ 480505 h 2084191"/>
              <a:gd name="connsiteX937" fmla="*/ 2022200 w 2051041"/>
              <a:gd name="connsiteY937" fmla="*/ 534379 h 2084191"/>
              <a:gd name="connsiteX938" fmla="*/ 1969415 w 2051041"/>
              <a:gd name="connsiteY938" fmla="*/ 588252 h 2084191"/>
              <a:gd name="connsiteX939" fmla="*/ 1915541 w 2051041"/>
              <a:gd name="connsiteY939" fmla="*/ 534923 h 2084191"/>
              <a:gd name="connsiteX940" fmla="*/ 1968326 w 2051041"/>
              <a:gd name="connsiteY940" fmla="*/ 480505 h 2084191"/>
              <a:gd name="connsiteX941" fmla="*/ 91464 w 2051041"/>
              <a:gd name="connsiteY941" fmla="*/ 440780 h 2084191"/>
              <a:gd name="connsiteX942" fmla="*/ 102891 w 2051041"/>
              <a:gd name="connsiteY942" fmla="*/ 451664 h 2084191"/>
              <a:gd name="connsiteX943" fmla="*/ 92008 w 2051041"/>
              <a:gd name="connsiteY943" fmla="*/ 464179 h 2084191"/>
              <a:gd name="connsiteX944" fmla="*/ 80036 w 2051041"/>
              <a:gd name="connsiteY944" fmla="*/ 452752 h 2084191"/>
              <a:gd name="connsiteX945" fmla="*/ 91464 w 2051041"/>
              <a:gd name="connsiteY945" fmla="*/ 440780 h 2084191"/>
              <a:gd name="connsiteX946" fmla="*/ 254172 w 2051041"/>
              <a:gd name="connsiteY946" fmla="*/ 430441 h 2084191"/>
              <a:gd name="connsiteX947" fmla="*/ 275939 w 2051041"/>
              <a:gd name="connsiteY947" fmla="*/ 452208 h 2084191"/>
              <a:gd name="connsiteX948" fmla="*/ 254716 w 2051041"/>
              <a:gd name="connsiteY948" fmla="*/ 473975 h 2084191"/>
              <a:gd name="connsiteX949" fmla="*/ 232405 w 2051041"/>
              <a:gd name="connsiteY949" fmla="*/ 452752 h 2084191"/>
              <a:gd name="connsiteX950" fmla="*/ 254172 w 2051041"/>
              <a:gd name="connsiteY950" fmla="*/ 430441 h 2084191"/>
              <a:gd name="connsiteX951" fmla="*/ 417969 w 2051041"/>
              <a:gd name="connsiteY951" fmla="*/ 424999 h 2084191"/>
              <a:gd name="connsiteX952" fmla="*/ 444634 w 2051041"/>
              <a:gd name="connsiteY952" fmla="*/ 452752 h 2084191"/>
              <a:gd name="connsiteX953" fmla="*/ 417425 w 2051041"/>
              <a:gd name="connsiteY953" fmla="*/ 479417 h 2084191"/>
              <a:gd name="connsiteX954" fmla="*/ 390760 w 2051041"/>
              <a:gd name="connsiteY954" fmla="*/ 452208 h 2084191"/>
              <a:gd name="connsiteX955" fmla="*/ 417969 w 2051041"/>
              <a:gd name="connsiteY955" fmla="*/ 424999 h 2084191"/>
              <a:gd name="connsiteX956" fmla="*/ 580677 w 2051041"/>
              <a:gd name="connsiteY956" fmla="*/ 419558 h 2084191"/>
              <a:gd name="connsiteX957" fmla="*/ 612783 w 2051041"/>
              <a:gd name="connsiteY957" fmla="*/ 452208 h 2084191"/>
              <a:gd name="connsiteX958" fmla="*/ 581221 w 2051041"/>
              <a:gd name="connsiteY958" fmla="*/ 484315 h 2084191"/>
              <a:gd name="connsiteX959" fmla="*/ 549115 w 2051041"/>
              <a:gd name="connsiteY959" fmla="*/ 452208 h 2084191"/>
              <a:gd name="connsiteX960" fmla="*/ 580677 w 2051041"/>
              <a:gd name="connsiteY960" fmla="*/ 419558 h 2084191"/>
              <a:gd name="connsiteX961" fmla="*/ 743931 w 2051041"/>
              <a:gd name="connsiteY961" fmla="*/ 415748 h 2084191"/>
              <a:gd name="connsiteX962" fmla="*/ 780390 w 2051041"/>
              <a:gd name="connsiteY962" fmla="*/ 452208 h 2084191"/>
              <a:gd name="connsiteX963" fmla="*/ 744475 w 2051041"/>
              <a:gd name="connsiteY963" fmla="*/ 489212 h 2084191"/>
              <a:gd name="connsiteX964" fmla="*/ 708559 w 2051041"/>
              <a:gd name="connsiteY964" fmla="*/ 453840 h 2084191"/>
              <a:gd name="connsiteX965" fmla="*/ 743931 w 2051041"/>
              <a:gd name="connsiteY965" fmla="*/ 415748 h 2084191"/>
              <a:gd name="connsiteX966" fmla="*/ 908271 w 2051041"/>
              <a:gd name="connsiteY966" fmla="*/ 414116 h 2084191"/>
              <a:gd name="connsiteX967" fmla="*/ 946363 w 2051041"/>
              <a:gd name="connsiteY967" fmla="*/ 453296 h 2084191"/>
              <a:gd name="connsiteX968" fmla="*/ 906638 w 2051041"/>
              <a:gd name="connsiteY968" fmla="*/ 491933 h 2084191"/>
              <a:gd name="connsiteX969" fmla="*/ 868546 w 2051041"/>
              <a:gd name="connsiteY969" fmla="*/ 452208 h 2084191"/>
              <a:gd name="connsiteX970" fmla="*/ 908271 w 2051041"/>
              <a:gd name="connsiteY970" fmla="*/ 414116 h 2084191"/>
              <a:gd name="connsiteX971" fmla="*/ 1072068 w 2051041"/>
              <a:gd name="connsiteY971" fmla="*/ 409218 h 2084191"/>
              <a:gd name="connsiteX972" fmla="*/ 1113970 w 2051041"/>
              <a:gd name="connsiteY972" fmla="*/ 452752 h 2084191"/>
              <a:gd name="connsiteX973" fmla="*/ 1070436 w 2051041"/>
              <a:gd name="connsiteY973" fmla="*/ 495198 h 2084191"/>
              <a:gd name="connsiteX974" fmla="*/ 1028534 w 2051041"/>
              <a:gd name="connsiteY974" fmla="*/ 451120 h 2084191"/>
              <a:gd name="connsiteX975" fmla="*/ 1072068 w 2051041"/>
              <a:gd name="connsiteY975" fmla="*/ 409218 h 2084191"/>
              <a:gd name="connsiteX976" fmla="*/ 1235865 w 2051041"/>
              <a:gd name="connsiteY976" fmla="*/ 408130 h 2084191"/>
              <a:gd name="connsiteX977" fmla="*/ 1279400 w 2051041"/>
              <a:gd name="connsiteY977" fmla="*/ 453296 h 2084191"/>
              <a:gd name="connsiteX978" fmla="*/ 1233689 w 2051041"/>
              <a:gd name="connsiteY978" fmla="*/ 497374 h 2084191"/>
              <a:gd name="connsiteX979" fmla="*/ 1189611 w 2051041"/>
              <a:gd name="connsiteY979" fmla="*/ 451664 h 2084191"/>
              <a:gd name="connsiteX980" fmla="*/ 1235865 w 2051041"/>
              <a:gd name="connsiteY980" fmla="*/ 408130 h 2084191"/>
              <a:gd name="connsiteX981" fmla="*/ 1396941 w 2051041"/>
              <a:gd name="connsiteY981" fmla="*/ 403776 h 2084191"/>
              <a:gd name="connsiteX982" fmla="*/ 1446461 w 2051041"/>
              <a:gd name="connsiteY982" fmla="*/ 450575 h 2084191"/>
              <a:gd name="connsiteX983" fmla="*/ 1399118 w 2051041"/>
              <a:gd name="connsiteY983" fmla="*/ 500640 h 2084191"/>
              <a:gd name="connsiteX984" fmla="*/ 1349598 w 2051041"/>
              <a:gd name="connsiteY984" fmla="*/ 453296 h 2084191"/>
              <a:gd name="connsiteX985" fmla="*/ 1396941 w 2051041"/>
              <a:gd name="connsiteY985" fmla="*/ 403776 h 2084191"/>
              <a:gd name="connsiteX986" fmla="*/ 1560738 w 2051041"/>
              <a:gd name="connsiteY986" fmla="*/ 402144 h 2084191"/>
              <a:gd name="connsiteX987" fmla="*/ 1611347 w 2051041"/>
              <a:gd name="connsiteY987" fmla="*/ 453297 h 2084191"/>
              <a:gd name="connsiteX988" fmla="*/ 1560194 w 2051041"/>
              <a:gd name="connsiteY988" fmla="*/ 502272 h 2084191"/>
              <a:gd name="connsiteX989" fmla="*/ 1511218 w 2051041"/>
              <a:gd name="connsiteY989" fmla="*/ 451664 h 2084191"/>
              <a:gd name="connsiteX990" fmla="*/ 1560738 w 2051041"/>
              <a:gd name="connsiteY990" fmla="*/ 402144 h 2084191"/>
              <a:gd name="connsiteX991" fmla="*/ 1723991 w 2051041"/>
              <a:gd name="connsiteY991" fmla="*/ 399423 h 2084191"/>
              <a:gd name="connsiteX992" fmla="*/ 1776776 w 2051041"/>
              <a:gd name="connsiteY992" fmla="*/ 452752 h 2084191"/>
              <a:gd name="connsiteX993" fmla="*/ 1725079 w 2051041"/>
              <a:gd name="connsiteY993" fmla="*/ 504993 h 2084191"/>
              <a:gd name="connsiteX994" fmla="*/ 1671750 w 2051041"/>
              <a:gd name="connsiteY994" fmla="*/ 452752 h 2084191"/>
              <a:gd name="connsiteX995" fmla="*/ 1723991 w 2051041"/>
              <a:gd name="connsiteY995" fmla="*/ 399423 h 2084191"/>
              <a:gd name="connsiteX996" fmla="*/ 2051040 w 2051041"/>
              <a:gd name="connsiteY996" fmla="*/ 398335 h 2084191"/>
              <a:gd name="connsiteX997" fmla="*/ 2051041 w 2051041"/>
              <a:gd name="connsiteY997" fmla="*/ 398335 h 2084191"/>
              <a:gd name="connsiteX998" fmla="*/ 2051041 w 2051041"/>
              <a:gd name="connsiteY998" fmla="*/ 506936 h 2084191"/>
              <a:gd name="connsiteX999" fmla="*/ 2049952 w 2051041"/>
              <a:gd name="connsiteY999" fmla="*/ 507170 h 2084191"/>
              <a:gd name="connsiteX1000" fmla="*/ 1995534 w 2051041"/>
              <a:gd name="connsiteY1000" fmla="*/ 452208 h 2084191"/>
              <a:gd name="connsiteX1001" fmla="*/ 2051040 w 2051041"/>
              <a:gd name="connsiteY1001" fmla="*/ 398335 h 2084191"/>
              <a:gd name="connsiteX1002" fmla="*/ 1888332 w 2051041"/>
              <a:gd name="connsiteY1002" fmla="*/ 398335 h 2084191"/>
              <a:gd name="connsiteX1003" fmla="*/ 1941661 w 2051041"/>
              <a:gd name="connsiteY1003" fmla="*/ 452208 h 2084191"/>
              <a:gd name="connsiteX1004" fmla="*/ 1886699 w 2051041"/>
              <a:gd name="connsiteY1004" fmla="*/ 506082 h 2084191"/>
              <a:gd name="connsiteX1005" fmla="*/ 1833370 w 2051041"/>
              <a:gd name="connsiteY1005" fmla="*/ 452208 h 2084191"/>
              <a:gd name="connsiteX1006" fmla="*/ 1888332 w 2051041"/>
              <a:gd name="connsiteY1006" fmla="*/ 398335 h 2084191"/>
              <a:gd name="connsiteX1007" fmla="*/ 12014 w 2051041"/>
              <a:gd name="connsiteY1007" fmla="*/ 364052 h 2084191"/>
              <a:gd name="connsiteX1008" fmla="*/ 15823 w 2051041"/>
              <a:gd name="connsiteY1008" fmla="*/ 370038 h 2084191"/>
              <a:gd name="connsiteX1009" fmla="*/ 9293 w 2051041"/>
              <a:gd name="connsiteY1009" fmla="*/ 377656 h 2084191"/>
              <a:gd name="connsiteX1010" fmla="*/ 3307 w 2051041"/>
              <a:gd name="connsiteY1010" fmla="*/ 371126 h 2084191"/>
              <a:gd name="connsiteX1011" fmla="*/ 12014 w 2051041"/>
              <a:gd name="connsiteY1011" fmla="*/ 364052 h 2084191"/>
              <a:gd name="connsiteX1012" fmla="*/ 172545 w 2051041"/>
              <a:gd name="connsiteY1012" fmla="*/ 353713 h 2084191"/>
              <a:gd name="connsiteX1013" fmla="*/ 190503 w 2051041"/>
              <a:gd name="connsiteY1013" fmla="*/ 370582 h 2084191"/>
              <a:gd name="connsiteX1014" fmla="*/ 173090 w 2051041"/>
              <a:gd name="connsiteY1014" fmla="*/ 387996 h 2084191"/>
              <a:gd name="connsiteX1015" fmla="*/ 155676 w 2051041"/>
              <a:gd name="connsiteY1015" fmla="*/ 371126 h 2084191"/>
              <a:gd name="connsiteX1016" fmla="*/ 172545 w 2051041"/>
              <a:gd name="connsiteY1016" fmla="*/ 353713 h 2084191"/>
              <a:gd name="connsiteX1017" fmla="*/ 336886 w 2051041"/>
              <a:gd name="connsiteY1017" fmla="*/ 345550 h 2084191"/>
              <a:gd name="connsiteX1018" fmla="*/ 361374 w 2051041"/>
              <a:gd name="connsiteY1018" fmla="*/ 371670 h 2084191"/>
              <a:gd name="connsiteX1019" fmla="*/ 335798 w 2051041"/>
              <a:gd name="connsiteY1019" fmla="*/ 395070 h 2084191"/>
              <a:gd name="connsiteX1020" fmla="*/ 311854 w 2051041"/>
              <a:gd name="connsiteY1020" fmla="*/ 370038 h 2084191"/>
              <a:gd name="connsiteX1021" fmla="*/ 336886 w 2051041"/>
              <a:gd name="connsiteY1021" fmla="*/ 345550 h 2084191"/>
              <a:gd name="connsiteX1022" fmla="*/ 499596 w 2051041"/>
              <a:gd name="connsiteY1022" fmla="*/ 342284 h 2084191"/>
              <a:gd name="connsiteX1023" fmla="*/ 528437 w 2051041"/>
              <a:gd name="connsiteY1023" fmla="*/ 370582 h 2084191"/>
              <a:gd name="connsiteX1024" fmla="*/ 499051 w 2051041"/>
              <a:gd name="connsiteY1024" fmla="*/ 399423 h 2084191"/>
              <a:gd name="connsiteX1025" fmla="*/ 470210 w 2051041"/>
              <a:gd name="connsiteY1025" fmla="*/ 370037 h 2084191"/>
              <a:gd name="connsiteX1026" fmla="*/ 499596 w 2051041"/>
              <a:gd name="connsiteY1026" fmla="*/ 342284 h 2084191"/>
              <a:gd name="connsiteX1027" fmla="*/ 663392 w 2051041"/>
              <a:gd name="connsiteY1027" fmla="*/ 337387 h 2084191"/>
              <a:gd name="connsiteX1028" fmla="*/ 697131 w 2051041"/>
              <a:gd name="connsiteY1028" fmla="*/ 371126 h 2084191"/>
              <a:gd name="connsiteX1029" fmla="*/ 662304 w 2051041"/>
              <a:gd name="connsiteY1029" fmla="*/ 404321 h 2084191"/>
              <a:gd name="connsiteX1030" fmla="*/ 629109 w 2051041"/>
              <a:gd name="connsiteY1030" fmla="*/ 371126 h 2084191"/>
              <a:gd name="connsiteX1031" fmla="*/ 663392 w 2051041"/>
              <a:gd name="connsiteY1031" fmla="*/ 337387 h 2084191"/>
              <a:gd name="connsiteX1032" fmla="*/ 825556 w 2051041"/>
              <a:gd name="connsiteY1032" fmla="*/ 332489 h 2084191"/>
              <a:gd name="connsiteX1033" fmla="*/ 864737 w 2051041"/>
              <a:gd name="connsiteY1033" fmla="*/ 370037 h 2084191"/>
              <a:gd name="connsiteX1034" fmla="*/ 826645 w 2051041"/>
              <a:gd name="connsiteY1034" fmla="*/ 409218 h 2084191"/>
              <a:gd name="connsiteX1035" fmla="*/ 787464 w 2051041"/>
              <a:gd name="connsiteY1035" fmla="*/ 371126 h 2084191"/>
              <a:gd name="connsiteX1036" fmla="*/ 825556 w 2051041"/>
              <a:gd name="connsiteY1036" fmla="*/ 332489 h 2084191"/>
              <a:gd name="connsiteX1037" fmla="*/ 989898 w 2051041"/>
              <a:gd name="connsiteY1037" fmla="*/ 328680 h 2084191"/>
              <a:gd name="connsiteX1038" fmla="*/ 1031255 w 2051041"/>
              <a:gd name="connsiteY1038" fmla="*/ 371126 h 2084191"/>
              <a:gd name="connsiteX1039" fmla="*/ 989354 w 2051041"/>
              <a:gd name="connsiteY1039" fmla="*/ 413027 h 2084191"/>
              <a:gd name="connsiteX1040" fmla="*/ 947452 w 2051041"/>
              <a:gd name="connsiteY1040" fmla="*/ 370037 h 2084191"/>
              <a:gd name="connsiteX1041" fmla="*/ 989898 w 2051041"/>
              <a:gd name="connsiteY1041" fmla="*/ 328680 h 2084191"/>
              <a:gd name="connsiteX1042" fmla="*/ 1153150 w 2051041"/>
              <a:gd name="connsiteY1042" fmla="*/ 326504 h 2084191"/>
              <a:gd name="connsiteX1043" fmla="*/ 1197228 w 2051041"/>
              <a:gd name="connsiteY1043" fmla="*/ 370582 h 2084191"/>
              <a:gd name="connsiteX1044" fmla="*/ 1152606 w 2051041"/>
              <a:gd name="connsiteY1044" fmla="*/ 414661 h 2084191"/>
              <a:gd name="connsiteX1045" fmla="*/ 1108528 w 2051041"/>
              <a:gd name="connsiteY1045" fmla="*/ 370038 h 2084191"/>
              <a:gd name="connsiteX1046" fmla="*/ 1153150 w 2051041"/>
              <a:gd name="connsiteY1046" fmla="*/ 326504 h 2084191"/>
              <a:gd name="connsiteX1047" fmla="*/ 1317492 w 2051041"/>
              <a:gd name="connsiteY1047" fmla="*/ 323239 h 2084191"/>
              <a:gd name="connsiteX1048" fmla="*/ 1364835 w 2051041"/>
              <a:gd name="connsiteY1048" fmla="*/ 372215 h 2084191"/>
              <a:gd name="connsiteX1049" fmla="*/ 1314771 w 2051041"/>
              <a:gd name="connsiteY1049" fmla="*/ 419014 h 2084191"/>
              <a:gd name="connsiteX1050" fmla="*/ 1268516 w 2051041"/>
              <a:gd name="connsiteY1050" fmla="*/ 370582 h 2084191"/>
              <a:gd name="connsiteX1051" fmla="*/ 1317492 w 2051041"/>
              <a:gd name="connsiteY1051" fmla="*/ 323239 h 2084191"/>
              <a:gd name="connsiteX1052" fmla="*/ 1479112 w 2051041"/>
              <a:gd name="connsiteY1052" fmla="*/ 320517 h 2084191"/>
              <a:gd name="connsiteX1053" fmla="*/ 1529720 w 2051041"/>
              <a:gd name="connsiteY1053" fmla="*/ 371670 h 2084191"/>
              <a:gd name="connsiteX1054" fmla="*/ 1478568 w 2051041"/>
              <a:gd name="connsiteY1054" fmla="*/ 420101 h 2084191"/>
              <a:gd name="connsiteX1055" fmla="*/ 1429592 w 2051041"/>
              <a:gd name="connsiteY1055" fmla="*/ 370037 h 2084191"/>
              <a:gd name="connsiteX1056" fmla="*/ 1479112 w 2051041"/>
              <a:gd name="connsiteY1056" fmla="*/ 320517 h 2084191"/>
              <a:gd name="connsiteX1057" fmla="*/ 1642364 w 2051041"/>
              <a:gd name="connsiteY1057" fmla="*/ 318341 h 2084191"/>
              <a:gd name="connsiteX1058" fmla="*/ 1695694 w 2051041"/>
              <a:gd name="connsiteY1058" fmla="*/ 370582 h 2084191"/>
              <a:gd name="connsiteX1059" fmla="*/ 1643453 w 2051041"/>
              <a:gd name="connsiteY1059" fmla="*/ 424455 h 2084191"/>
              <a:gd name="connsiteX1060" fmla="*/ 1589035 w 2051041"/>
              <a:gd name="connsiteY1060" fmla="*/ 371670 h 2084191"/>
              <a:gd name="connsiteX1061" fmla="*/ 1642364 w 2051041"/>
              <a:gd name="connsiteY1061" fmla="*/ 318341 h 2084191"/>
              <a:gd name="connsiteX1062" fmla="*/ 90919 w 2051041"/>
              <a:gd name="connsiteY1062" fmla="*/ 273718 h 2084191"/>
              <a:gd name="connsiteX1063" fmla="*/ 106700 w 2051041"/>
              <a:gd name="connsiteY1063" fmla="*/ 288411 h 2084191"/>
              <a:gd name="connsiteX1064" fmla="*/ 91463 w 2051041"/>
              <a:gd name="connsiteY1064" fmla="*/ 303648 h 2084191"/>
              <a:gd name="connsiteX1065" fmla="*/ 76770 w 2051041"/>
              <a:gd name="connsiteY1065" fmla="*/ 288411 h 2084191"/>
              <a:gd name="connsiteX1066" fmla="*/ 90919 w 2051041"/>
              <a:gd name="connsiteY1066" fmla="*/ 273718 h 2084191"/>
              <a:gd name="connsiteX1067" fmla="*/ 254716 w 2051041"/>
              <a:gd name="connsiteY1067" fmla="*/ 267733 h 2084191"/>
              <a:gd name="connsiteX1068" fmla="*/ 276483 w 2051041"/>
              <a:gd name="connsiteY1068" fmla="*/ 288956 h 2084191"/>
              <a:gd name="connsiteX1069" fmla="*/ 254172 w 2051041"/>
              <a:gd name="connsiteY1069" fmla="*/ 311811 h 2084191"/>
              <a:gd name="connsiteX1070" fmla="*/ 232405 w 2051041"/>
              <a:gd name="connsiteY1070" fmla="*/ 289500 h 2084191"/>
              <a:gd name="connsiteX1071" fmla="*/ 254716 w 2051041"/>
              <a:gd name="connsiteY1071" fmla="*/ 267733 h 2084191"/>
              <a:gd name="connsiteX1072" fmla="*/ 1941117 w 2051041"/>
              <a:gd name="connsiteY1072" fmla="*/ 263202 h 2084191"/>
              <a:gd name="connsiteX1073" fmla="*/ 1936219 w 2051041"/>
              <a:gd name="connsiteY1073" fmla="*/ 266467 h 2084191"/>
              <a:gd name="connsiteX1074" fmla="*/ 1938396 w 2051041"/>
              <a:gd name="connsiteY1074" fmla="*/ 272453 h 2084191"/>
              <a:gd name="connsiteX1075" fmla="*/ 1932954 w 2051041"/>
              <a:gd name="connsiteY1075" fmla="*/ 325782 h 2084191"/>
              <a:gd name="connsiteX1076" fmla="*/ 1930777 w 2051041"/>
              <a:gd name="connsiteY1076" fmla="*/ 331224 h 2084191"/>
              <a:gd name="connsiteX1077" fmla="*/ 1936219 w 2051041"/>
              <a:gd name="connsiteY1077" fmla="*/ 330136 h 2084191"/>
              <a:gd name="connsiteX1078" fmla="*/ 1966693 w 2051041"/>
              <a:gd name="connsiteY1078" fmla="*/ 320340 h 2084191"/>
              <a:gd name="connsiteX1079" fmla="*/ 1998799 w 2051041"/>
              <a:gd name="connsiteY1079" fmla="*/ 328503 h 2084191"/>
              <a:gd name="connsiteX1080" fmla="*/ 2003153 w 2051041"/>
              <a:gd name="connsiteY1080" fmla="*/ 330136 h 2084191"/>
              <a:gd name="connsiteX1081" fmla="*/ 2001520 w 2051041"/>
              <a:gd name="connsiteY1081" fmla="*/ 324694 h 2084191"/>
              <a:gd name="connsiteX1082" fmla="*/ 1994446 w 2051041"/>
              <a:gd name="connsiteY1082" fmla="*/ 309457 h 2084191"/>
              <a:gd name="connsiteX1083" fmla="*/ 1998255 w 2051041"/>
              <a:gd name="connsiteY1083" fmla="*/ 267555 h 2084191"/>
              <a:gd name="connsiteX1084" fmla="*/ 2000976 w 2051041"/>
              <a:gd name="connsiteY1084" fmla="*/ 263746 h 2084191"/>
              <a:gd name="connsiteX1085" fmla="*/ 1995534 w 2051041"/>
              <a:gd name="connsiteY1085" fmla="*/ 263746 h 2084191"/>
              <a:gd name="connsiteX1086" fmla="*/ 1941117 w 2051041"/>
              <a:gd name="connsiteY1086" fmla="*/ 263202 h 2084191"/>
              <a:gd name="connsiteX1087" fmla="*/ 417425 w 2051041"/>
              <a:gd name="connsiteY1087" fmla="*/ 262291 h 2084191"/>
              <a:gd name="connsiteX1088" fmla="*/ 445178 w 2051041"/>
              <a:gd name="connsiteY1088" fmla="*/ 288956 h 2084191"/>
              <a:gd name="connsiteX1089" fmla="*/ 417969 w 2051041"/>
              <a:gd name="connsiteY1089" fmla="*/ 317253 h 2084191"/>
              <a:gd name="connsiteX1090" fmla="*/ 390216 w 2051041"/>
              <a:gd name="connsiteY1090" fmla="*/ 290044 h 2084191"/>
              <a:gd name="connsiteX1091" fmla="*/ 417425 w 2051041"/>
              <a:gd name="connsiteY1091" fmla="*/ 262291 h 2084191"/>
              <a:gd name="connsiteX1092" fmla="*/ 580678 w 2051041"/>
              <a:gd name="connsiteY1092" fmla="*/ 256304 h 2084191"/>
              <a:gd name="connsiteX1093" fmla="*/ 613872 w 2051041"/>
              <a:gd name="connsiteY1093" fmla="*/ 288955 h 2084191"/>
              <a:gd name="connsiteX1094" fmla="*/ 581222 w 2051041"/>
              <a:gd name="connsiteY1094" fmla="*/ 322150 h 2084191"/>
              <a:gd name="connsiteX1095" fmla="*/ 548027 w 2051041"/>
              <a:gd name="connsiteY1095" fmla="*/ 289499 h 2084191"/>
              <a:gd name="connsiteX1096" fmla="*/ 580678 w 2051041"/>
              <a:gd name="connsiteY1096" fmla="*/ 256304 h 2084191"/>
              <a:gd name="connsiteX1097" fmla="*/ 743930 w 2051041"/>
              <a:gd name="connsiteY1097" fmla="*/ 251951 h 2084191"/>
              <a:gd name="connsiteX1098" fmla="*/ 782022 w 2051041"/>
              <a:gd name="connsiteY1098" fmla="*/ 289499 h 2084191"/>
              <a:gd name="connsiteX1099" fmla="*/ 744474 w 2051041"/>
              <a:gd name="connsiteY1099" fmla="*/ 326503 h 2084191"/>
              <a:gd name="connsiteX1100" fmla="*/ 707470 w 2051041"/>
              <a:gd name="connsiteY1100" fmla="*/ 289499 h 2084191"/>
              <a:gd name="connsiteX1101" fmla="*/ 743930 w 2051041"/>
              <a:gd name="connsiteY1101" fmla="*/ 251951 h 2084191"/>
              <a:gd name="connsiteX1102" fmla="*/ 907183 w 2051041"/>
              <a:gd name="connsiteY1102" fmla="*/ 249775 h 2084191"/>
              <a:gd name="connsiteX1103" fmla="*/ 947452 w 2051041"/>
              <a:gd name="connsiteY1103" fmla="*/ 289500 h 2084191"/>
              <a:gd name="connsiteX1104" fmla="*/ 908271 w 2051041"/>
              <a:gd name="connsiteY1104" fmla="*/ 329225 h 2084191"/>
              <a:gd name="connsiteX1105" fmla="*/ 867458 w 2051041"/>
              <a:gd name="connsiteY1105" fmla="*/ 290044 h 2084191"/>
              <a:gd name="connsiteX1106" fmla="*/ 907183 w 2051041"/>
              <a:gd name="connsiteY1106" fmla="*/ 249775 h 2084191"/>
              <a:gd name="connsiteX1107" fmla="*/ 1070435 w 2051041"/>
              <a:gd name="connsiteY1107" fmla="*/ 245965 h 2084191"/>
              <a:gd name="connsiteX1108" fmla="*/ 1114513 w 2051041"/>
              <a:gd name="connsiteY1108" fmla="*/ 290043 h 2084191"/>
              <a:gd name="connsiteX1109" fmla="*/ 1069347 w 2051041"/>
              <a:gd name="connsiteY1109" fmla="*/ 333578 h 2084191"/>
              <a:gd name="connsiteX1110" fmla="*/ 1026357 w 2051041"/>
              <a:gd name="connsiteY1110" fmla="*/ 288955 h 2084191"/>
              <a:gd name="connsiteX1111" fmla="*/ 1070435 w 2051041"/>
              <a:gd name="connsiteY1111" fmla="*/ 245965 h 2084191"/>
              <a:gd name="connsiteX1112" fmla="*/ 1233689 w 2051041"/>
              <a:gd name="connsiteY1112" fmla="*/ 241613 h 2084191"/>
              <a:gd name="connsiteX1113" fmla="*/ 1282120 w 2051041"/>
              <a:gd name="connsiteY1113" fmla="*/ 288412 h 2084191"/>
              <a:gd name="connsiteX1114" fmla="*/ 1235321 w 2051041"/>
              <a:gd name="connsiteY1114" fmla="*/ 335755 h 2084191"/>
              <a:gd name="connsiteX1115" fmla="*/ 1187434 w 2051041"/>
              <a:gd name="connsiteY1115" fmla="*/ 289500 h 2084191"/>
              <a:gd name="connsiteX1116" fmla="*/ 1233689 w 2051041"/>
              <a:gd name="connsiteY1116" fmla="*/ 241613 h 2084191"/>
              <a:gd name="connsiteX1117" fmla="*/ 1397485 w 2051041"/>
              <a:gd name="connsiteY1117" fmla="*/ 238891 h 2084191"/>
              <a:gd name="connsiteX1118" fmla="*/ 1448094 w 2051041"/>
              <a:gd name="connsiteY1118" fmla="*/ 288955 h 2084191"/>
              <a:gd name="connsiteX1119" fmla="*/ 1398029 w 2051041"/>
              <a:gd name="connsiteY1119" fmla="*/ 338475 h 2084191"/>
              <a:gd name="connsiteX1120" fmla="*/ 1348509 w 2051041"/>
              <a:gd name="connsiteY1120" fmla="*/ 289499 h 2084191"/>
              <a:gd name="connsiteX1121" fmla="*/ 1397485 w 2051041"/>
              <a:gd name="connsiteY1121" fmla="*/ 238891 h 2084191"/>
              <a:gd name="connsiteX1122" fmla="*/ 1559650 w 2051041"/>
              <a:gd name="connsiteY1122" fmla="*/ 237258 h 2084191"/>
              <a:gd name="connsiteX1123" fmla="*/ 1613523 w 2051041"/>
              <a:gd name="connsiteY1123" fmla="*/ 288955 h 2084191"/>
              <a:gd name="connsiteX1124" fmla="*/ 1560738 w 2051041"/>
              <a:gd name="connsiteY1124" fmla="*/ 342829 h 2084191"/>
              <a:gd name="connsiteX1125" fmla="*/ 1507953 w 2051041"/>
              <a:gd name="connsiteY1125" fmla="*/ 289499 h 2084191"/>
              <a:gd name="connsiteX1126" fmla="*/ 1559650 w 2051041"/>
              <a:gd name="connsiteY1126" fmla="*/ 237258 h 2084191"/>
              <a:gd name="connsiteX1127" fmla="*/ 9837 w 2051041"/>
              <a:gd name="connsiteY1127" fmla="*/ 198078 h 2084191"/>
              <a:gd name="connsiteX1128" fmla="*/ 19632 w 2051041"/>
              <a:gd name="connsiteY1128" fmla="*/ 207873 h 2084191"/>
              <a:gd name="connsiteX1129" fmla="*/ 10381 w 2051041"/>
              <a:gd name="connsiteY1129" fmla="*/ 218213 h 2084191"/>
              <a:gd name="connsiteX1130" fmla="*/ 42 w 2051041"/>
              <a:gd name="connsiteY1130" fmla="*/ 207873 h 2084191"/>
              <a:gd name="connsiteX1131" fmla="*/ 9837 w 2051041"/>
              <a:gd name="connsiteY1131" fmla="*/ 198078 h 2084191"/>
              <a:gd name="connsiteX1132" fmla="*/ 173090 w 2051041"/>
              <a:gd name="connsiteY1132" fmla="*/ 187739 h 2084191"/>
              <a:gd name="connsiteX1133" fmla="*/ 192136 w 2051041"/>
              <a:gd name="connsiteY1133" fmla="*/ 207329 h 2084191"/>
              <a:gd name="connsiteX1134" fmla="*/ 172546 w 2051041"/>
              <a:gd name="connsiteY1134" fmla="*/ 227464 h 2084191"/>
              <a:gd name="connsiteX1135" fmla="*/ 154044 w 2051041"/>
              <a:gd name="connsiteY1135" fmla="*/ 208418 h 2084191"/>
              <a:gd name="connsiteX1136" fmla="*/ 173090 w 2051041"/>
              <a:gd name="connsiteY1136" fmla="*/ 187739 h 2084191"/>
              <a:gd name="connsiteX1137" fmla="*/ 336887 w 2051041"/>
              <a:gd name="connsiteY1137" fmla="*/ 182297 h 2084191"/>
              <a:gd name="connsiteX1138" fmla="*/ 363007 w 2051041"/>
              <a:gd name="connsiteY1138" fmla="*/ 207329 h 2084191"/>
              <a:gd name="connsiteX1139" fmla="*/ 336887 w 2051041"/>
              <a:gd name="connsiteY1139" fmla="*/ 233994 h 2084191"/>
              <a:gd name="connsiteX1140" fmla="*/ 310766 w 2051041"/>
              <a:gd name="connsiteY1140" fmla="*/ 208961 h 2084191"/>
              <a:gd name="connsiteX1141" fmla="*/ 336887 w 2051041"/>
              <a:gd name="connsiteY1141" fmla="*/ 182297 h 2084191"/>
              <a:gd name="connsiteX1142" fmla="*/ 1856225 w 2051041"/>
              <a:gd name="connsiteY1142" fmla="*/ 180487 h 2084191"/>
              <a:gd name="connsiteX1143" fmla="*/ 1855681 w 2051041"/>
              <a:gd name="connsiteY1143" fmla="*/ 185929 h 2084191"/>
              <a:gd name="connsiteX1144" fmla="*/ 1851872 w 2051041"/>
              <a:gd name="connsiteY1144" fmla="*/ 244700 h 2084191"/>
              <a:gd name="connsiteX1145" fmla="*/ 1851328 w 2051041"/>
              <a:gd name="connsiteY1145" fmla="*/ 247965 h 2084191"/>
              <a:gd name="connsiteX1146" fmla="*/ 1854593 w 2051041"/>
              <a:gd name="connsiteY1146" fmla="*/ 247421 h 2084191"/>
              <a:gd name="connsiteX1147" fmla="*/ 1899215 w 2051041"/>
              <a:gd name="connsiteY1147" fmla="*/ 238714 h 2084191"/>
              <a:gd name="connsiteX1148" fmla="*/ 1913908 w 2051041"/>
              <a:gd name="connsiteY1148" fmla="*/ 243067 h 2084191"/>
              <a:gd name="connsiteX1149" fmla="*/ 1918806 w 2051041"/>
              <a:gd name="connsiteY1149" fmla="*/ 242523 h 2084191"/>
              <a:gd name="connsiteX1150" fmla="*/ 1918261 w 2051041"/>
              <a:gd name="connsiteY1150" fmla="*/ 238170 h 2084191"/>
              <a:gd name="connsiteX1151" fmla="*/ 1917173 w 2051041"/>
              <a:gd name="connsiteY1151" fmla="*/ 185929 h 2084191"/>
              <a:gd name="connsiteX1152" fmla="*/ 1918261 w 2051041"/>
              <a:gd name="connsiteY1152" fmla="*/ 181576 h 2084191"/>
              <a:gd name="connsiteX1153" fmla="*/ 1913908 w 2051041"/>
              <a:gd name="connsiteY1153" fmla="*/ 182664 h 2084191"/>
              <a:gd name="connsiteX1154" fmla="*/ 1860579 w 2051041"/>
              <a:gd name="connsiteY1154" fmla="*/ 180487 h 2084191"/>
              <a:gd name="connsiteX1155" fmla="*/ 1856225 w 2051041"/>
              <a:gd name="connsiteY1155" fmla="*/ 180487 h 2084191"/>
              <a:gd name="connsiteX1156" fmla="*/ 499595 w 2051041"/>
              <a:gd name="connsiteY1156" fmla="*/ 175767 h 2084191"/>
              <a:gd name="connsiteX1157" fmla="*/ 531158 w 2051041"/>
              <a:gd name="connsiteY1157" fmla="*/ 207874 h 2084191"/>
              <a:gd name="connsiteX1158" fmla="*/ 498507 w 2051041"/>
              <a:gd name="connsiteY1158" fmla="*/ 238347 h 2084191"/>
              <a:gd name="connsiteX1159" fmla="*/ 468033 w 2051041"/>
              <a:gd name="connsiteY1159" fmla="*/ 207329 h 2084191"/>
              <a:gd name="connsiteX1160" fmla="*/ 499595 w 2051041"/>
              <a:gd name="connsiteY1160" fmla="*/ 175767 h 2084191"/>
              <a:gd name="connsiteX1161" fmla="*/ 662304 w 2051041"/>
              <a:gd name="connsiteY1161" fmla="*/ 173046 h 2084191"/>
              <a:gd name="connsiteX1162" fmla="*/ 697676 w 2051041"/>
              <a:gd name="connsiteY1162" fmla="*/ 207873 h 2084191"/>
              <a:gd name="connsiteX1163" fmla="*/ 662304 w 2051041"/>
              <a:gd name="connsiteY1163" fmla="*/ 242156 h 2084191"/>
              <a:gd name="connsiteX1164" fmla="*/ 628021 w 2051041"/>
              <a:gd name="connsiteY1164" fmla="*/ 207873 h 2084191"/>
              <a:gd name="connsiteX1165" fmla="*/ 662304 w 2051041"/>
              <a:gd name="connsiteY1165" fmla="*/ 173046 h 2084191"/>
              <a:gd name="connsiteX1166" fmla="*/ 826645 w 2051041"/>
              <a:gd name="connsiteY1166" fmla="*/ 168148 h 2084191"/>
              <a:gd name="connsiteX1167" fmla="*/ 864737 w 2051041"/>
              <a:gd name="connsiteY1167" fmla="*/ 207329 h 2084191"/>
              <a:gd name="connsiteX1168" fmla="*/ 826100 w 2051041"/>
              <a:gd name="connsiteY1168" fmla="*/ 247054 h 2084191"/>
              <a:gd name="connsiteX1169" fmla="*/ 787464 w 2051041"/>
              <a:gd name="connsiteY1169" fmla="*/ 207873 h 2084191"/>
              <a:gd name="connsiteX1170" fmla="*/ 826645 w 2051041"/>
              <a:gd name="connsiteY1170" fmla="*/ 168148 h 2084191"/>
              <a:gd name="connsiteX1171" fmla="*/ 987721 w 2051041"/>
              <a:gd name="connsiteY1171" fmla="*/ 164883 h 2084191"/>
              <a:gd name="connsiteX1172" fmla="*/ 1031799 w 2051041"/>
              <a:gd name="connsiteY1172" fmla="*/ 207329 h 2084191"/>
              <a:gd name="connsiteX1173" fmla="*/ 988809 w 2051041"/>
              <a:gd name="connsiteY1173" fmla="*/ 250319 h 2084191"/>
              <a:gd name="connsiteX1174" fmla="*/ 945819 w 2051041"/>
              <a:gd name="connsiteY1174" fmla="*/ 208417 h 2084191"/>
              <a:gd name="connsiteX1175" fmla="*/ 987721 w 2051041"/>
              <a:gd name="connsiteY1175" fmla="*/ 164883 h 2084191"/>
              <a:gd name="connsiteX1176" fmla="*/ 1153150 w 2051041"/>
              <a:gd name="connsiteY1176" fmla="*/ 162707 h 2084191"/>
              <a:gd name="connsiteX1177" fmla="*/ 1197772 w 2051041"/>
              <a:gd name="connsiteY1177" fmla="*/ 207874 h 2084191"/>
              <a:gd name="connsiteX1178" fmla="*/ 1151517 w 2051041"/>
              <a:gd name="connsiteY1178" fmla="*/ 253584 h 2084191"/>
              <a:gd name="connsiteX1179" fmla="*/ 1107439 w 2051041"/>
              <a:gd name="connsiteY1179" fmla="*/ 207329 h 2084191"/>
              <a:gd name="connsiteX1180" fmla="*/ 1153150 w 2051041"/>
              <a:gd name="connsiteY1180" fmla="*/ 162707 h 2084191"/>
              <a:gd name="connsiteX1181" fmla="*/ 1315315 w 2051041"/>
              <a:gd name="connsiteY1181" fmla="*/ 158353 h 2084191"/>
              <a:gd name="connsiteX1182" fmla="*/ 1365379 w 2051041"/>
              <a:gd name="connsiteY1182" fmla="*/ 206785 h 2084191"/>
              <a:gd name="connsiteX1183" fmla="*/ 1315859 w 2051041"/>
              <a:gd name="connsiteY1183" fmla="*/ 256305 h 2084191"/>
              <a:gd name="connsiteX1184" fmla="*/ 1266883 w 2051041"/>
              <a:gd name="connsiteY1184" fmla="*/ 207873 h 2084191"/>
              <a:gd name="connsiteX1185" fmla="*/ 1315315 w 2051041"/>
              <a:gd name="connsiteY1185" fmla="*/ 158353 h 2084191"/>
              <a:gd name="connsiteX1186" fmla="*/ 1478567 w 2051041"/>
              <a:gd name="connsiteY1186" fmla="*/ 156721 h 2084191"/>
              <a:gd name="connsiteX1187" fmla="*/ 1529720 w 2051041"/>
              <a:gd name="connsiteY1187" fmla="*/ 207329 h 2084191"/>
              <a:gd name="connsiteX1188" fmla="*/ 1478567 w 2051041"/>
              <a:gd name="connsiteY1188" fmla="*/ 258482 h 2084191"/>
              <a:gd name="connsiteX1189" fmla="*/ 1427959 w 2051041"/>
              <a:gd name="connsiteY1189" fmla="*/ 207874 h 2084191"/>
              <a:gd name="connsiteX1190" fmla="*/ 1478567 w 2051041"/>
              <a:gd name="connsiteY1190" fmla="*/ 156721 h 2084191"/>
              <a:gd name="connsiteX1191" fmla="*/ 1644541 w 2051041"/>
              <a:gd name="connsiteY1191" fmla="*/ 153456 h 2084191"/>
              <a:gd name="connsiteX1192" fmla="*/ 1697326 w 2051041"/>
              <a:gd name="connsiteY1192" fmla="*/ 209506 h 2084191"/>
              <a:gd name="connsiteX1193" fmla="*/ 1641276 w 2051041"/>
              <a:gd name="connsiteY1193" fmla="*/ 262835 h 2084191"/>
              <a:gd name="connsiteX1194" fmla="*/ 1587947 w 2051041"/>
              <a:gd name="connsiteY1194" fmla="*/ 206785 h 2084191"/>
              <a:gd name="connsiteX1195" fmla="*/ 1644541 w 2051041"/>
              <a:gd name="connsiteY1195" fmla="*/ 153456 h 2084191"/>
              <a:gd name="connsiteX1196" fmla="*/ 91463 w 2051041"/>
              <a:gd name="connsiteY1196" fmla="*/ 109922 h 2084191"/>
              <a:gd name="connsiteX1197" fmla="*/ 107244 w 2051041"/>
              <a:gd name="connsiteY1197" fmla="*/ 126247 h 2084191"/>
              <a:gd name="connsiteX1198" fmla="*/ 91463 w 2051041"/>
              <a:gd name="connsiteY1198" fmla="*/ 142028 h 2084191"/>
              <a:gd name="connsiteX1199" fmla="*/ 75682 w 2051041"/>
              <a:gd name="connsiteY1199" fmla="*/ 126247 h 2084191"/>
              <a:gd name="connsiteX1200" fmla="*/ 91463 w 2051041"/>
              <a:gd name="connsiteY1200" fmla="*/ 109922 h 2084191"/>
              <a:gd name="connsiteX1201" fmla="*/ 1942341 w 2051041"/>
              <a:gd name="connsiteY1201" fmla="*/ 104915 h 2084191"/>
              <a:gd name="connsiteX1202" fmla="*/ 1942205 w 2051041"/>
              <a:gd name="connsiteY1202" fmla="*/ 111377 h 2084191"/>
              <a:gd name="connsiteX1203" fmla="*/ 1946559 w 2051041"/>
              <a:gd name="connsiteY1203" fmla="*/ 131511 h 2084191"/>
              <a:gd name="connsiteX1204" fmla="*/ 1939484 w 2051041"/>
              <a:gd name="connsiteY1204" fmla="*/ 157088 h 2084191"/>
              <a:gd name="connsiteX1205" fmla="*/ 1941117 w 2051041"/>
              <a:gd name="connsiteY1205" fmla="*/ 160353 h 2084191"/>
              <a:gd name="connsiteX1206" fmla="*/ 1986828 w 2051041"/>
              <a:gd name="connsiteY1206" fmla="*/ 157088 h 2084191"/>
              <a:gd name="connsiteX1207" fmla="*/ 1987916 w 2051041"/>
              <a:gd name="connsiteY1207" fmla="*/ 157088 h 2084191"/>
              <a:gd name="connsiteX1208" fmla="*/ 1993902 w 2051041"/>
              <a:gd name="connsiteY1208" fmla="*/ 150013 h 2084191"/>
              <a:gd name="connsiteX1209" fmla="*/ 1993902 w 2051041"/>
              <a:gd name="connsiteY1209" fmla="*/ 109744 h 2084191"/>
              <a:gd name="connsiteX1210" fmla="*/ 1989004 w 2051041"/>
              <a:gd name="connsiteY1210" fmla="*/ 105391 h 2084191"/>
              <a:gd name="connsiteX1211" fmla="*/ 1948191 w 2051041"/>
              <a:gd name="connsiteY1211" fmla="*/ 105391 h 2084191"/>
              <a:gd name="connsiteX1212" fmla="*/ 1942341 w 2051041"/>
              <a:gd name="connsiteY1212" fmla="*/ 104915 h 2084191"/>
              <a:gd name="connsiteX1213" fmla="*/ 255804 w 2051041"/>
              <a:gd name="connsiteY1213" fmla="*/ 103392 h 2084191"/>
              <a:gd name="connsiteX1214" fmla="*/ 277571 w 2051041"/>
              <a:gd name="connsiteY1214" fmla="*/ 126791 h 2084191"/>
              <a:gd name="connsiteX1215" fmla="*/ 254172 w 2051041"/>
              <a:gd name="connsiteY1215" fmla="*/ 148014 h 2084191"/>
              <a:gd name="connsiteX1216" fmla="*/ 232405 w 2051041"/>
              <a:gd name="connsiteY1216" fmla="*/ 125159 h 2084191"/>
              <a:gd name="connsiteX1217" fmla="*/ 255804 w 2051041"/>
              <a:gd name="connsiteY1217" fmla="*/ 103392 h 2084191"/>
              <a:gd name="connsiteX1218" fmla="*/ 1773511 w 2051041"/>
              <a:gd name="connsiteY1218" fmla="*/ 99405 h 2084191"/>
              <a:gd name="connsiteX1219" fmla="*/ 1773511 w 2051041"/>
              <a:gd name="connsiteY1219" fmla="*/ 107023 h 2084191"/>
              <a:gd name="connsiteX1220" fmla="*/ 1780585 w 2051041"/>
              <a:gd name="connsiteY1220" fmla="*/ 130423 h 2084191"/>
              <a:gd name="connsiteX1221" fmla="*/ 1773511 w 2051041"/>
              <a:gd name="connsiteY1221" fmla="*/ 155999 h 2084191"/>
              <a:gd name="connsiteX1222" fmla="*/ 1774055 w 2051041"/>
              <a:gd name="connsiteY1222" fmla="*/ 161985 h 2084191"/>
              <a:gd name="connsiteX1223" fmla="*/ 1780041 w 2051041"/>
              <a:gd name="connsiteY1223" fmla="*/ 162529 h 2084191"/>
              <a:gd name="connsiteX1224" fmla="*/ 1811059 w 2051041"/>
              <a:gd name="connsiteY1224" fmla="*/ 157632 h 2084191"/>
              <a:gd name="connsiteX1225" fmla="*/ 1829561 w 2051041"/>
              <a:gd name="connsiteY1225" fmla="*/ 161985 h 2084191"/>
              <a:gd name="connsiteX1226" fmla="*/ 1836635 w 2051041"/>
              <a:gd name="connsiteY1226" fmla="*/ 161985 h 2084191"/>
              <a:gd name="connsiteX1227" fmla="*/ 1833914 w 2051041"/>
              <a:gd name="connsiteY1227" fmla="*/ 157088 h 2084191"/>
              <a:gd name="connsiteX1228" fmla="*/ 1834458 w 2051041"/>
              <a:gd name="connsiteY1228" fmla="*/ 104303 h 2084191"/>
              <a:gd name="connsiteX1229" fmla="*/ 1835547 w 2051041"/>
              <a:gd name="connsiteY1229" fmla="*/ 99405 h 2084191"/>
              <a:gd name="connsiteX1230" fmla="*/ 1831193 w 2051041"/>
              <a:gd name="connsiteY1230" fmla="*/ 101038 h 2084191"/>
              <a:gd name="connsiteX1231" fmla="*/ 1780041 w 2051041"/>
              <a:gd name="connsiteY1231" fmla="*/ 101582 h 2084191"/>
              <a:gd name="connsiteX1232" fmla="*/ 1773511 w 2051041"/>
              <a:gd name="connsiteY1232" fmla="*/ 99405 h 2084191"/>
              <a:gd name="connsiteX1233" fmla="*/ 417424 w 2051041"/>
              <a:gd name="connsiteY1233" fmla="*/ 97950 h 2084191"/>
              <a:gd name="connsiteX1234" fmla="*/ 445721 w 2051041"/>
              <a:gd name="connsiteY1234" fmla="*/ 126247 h 2084191"/>
              <a:gd name="connsiteX1235" fmla="*/ 417424 w 2051041"/>
              <a:gd name="connsiteY1235" fmla="*/ 153456 h 2084191"/>
              <a:gd name="connsiteX1236" fmla="*/ 390215 w 2051041"/>
              <a:gd name="connsiteY1236" fmla="*/ 125159 h 2084191"/>
              <a:gd name="connsiteX1237" fmla="*/ 417424 w 2051041"/>
              <a:gd name="connsiteY1237" fmla="*/ 97950 h 2084191"/>
              <a:gd name="connsiteX1238" fmla="*/ 580677 w 2051041"/>
              <a:gd name="connsiteY1238" fmla="*/ 92508 h 2084191"/>
              <a:gd name="connsiteX1239" fmla="*/ 614960 w 2051041"/>
              <a:gd name="connsiteY1239" fmla="*/ 125159 h 2084191"/>
              <a:gd name="connsiteX1240" fmla="*/ 581766 w 2051041"/>
              <a:gd name="connsiteY1240" fmla="*/ 158353 h 2084191"/>
              <a:gd name="connsiteX1241" fmla="*/ 548571 w 2051041"/>
              <a:gd name="connsiteY1241" fmla="*/ 125703 h 2084191"/>
              <a:gd name="connsiteX1242" fmla="*/ 580677 w 2051041"/>
              <a:gd name="connsiteY1242" fmla="*/ 92508 h 2084191"/>
              <a:gd name="connsiteX1243" fmla="*/ 745019 w 2051041"/>
              <a:gd name="connsiteY1243" fmla="*/ 88154 h 2084191"/>
              <a:gd name="connsiteX1244" fmla="*/ 782567 w 2051041"/>
              <a:gd name="connsiteY1244" fmla="*/ 126791 h 2084191"/>
              <a:gd name="connsiteX1245" fmla="*/ 743930 w 2051041"/>
              <a:gd name="connsiteY1245" fmla="*/ 164339 h 2084191"/>
              <a:gd name="connsiteX1246" fmla="*/ 706382 w 2051041"/>
              <a:gd name="connsiteY1246" fmla="*/ 125702 h 2084191"/>
              <a:gd name="connsiteX1247" fmla="*/ 745019 w 2051041"/>
              <a:gd name="connsiteY1247" fmla="*/ 88154 h 2084191"/>
              <a:gd name="connsiteX1248" fmla="*/ 1685898 w 2051041"/>
              <a:gd name="connsiteY1248" fmla="*/ 84712 h 2084191"/>
              <a:gd name="connsiteX1249" fmla="*/ 1685681 w 2051041"/>
              <a:gd name="connsiteY1249" fmla="*/ 85147 h 2084191"/>
              <a:gd name="connsiteX1250" fmla="*/ 1685354 w 2051041"/>
              <a:gd name="connsiteY1250" fmla="*/ 85256 h 2084191"/>
              <a:gd name="connsiteX1251" fmla="*/ 1685898 w 2051041"/>
              <a:gd name="connsiteY1251" fmla="*/ 84712 h 2084191"/>
              <a:gd name="connsiteX1252" fmla="*/ 907183 w 2051041"/>
              <a:gd name="connsiteY1252" fmla="*/ 84345 h 2084191"/>
              <a:gd name="connsiteX1253" fmla="*/ 934935 w 2051041"/>
              <a:gd name="connsiteY1253" fmla="*/ 95228 h 2084191"/>
              <a:gd name="connsiteX1254" fmla="*/ 949628 w 2051041"/>
              <a:gd name="connsiteY1254" fmla="*/ 125158 h 2084191"/>
              <a:gd name="connsiteX1255" fmla="*/ 908271 w 2051041"/>
              <a:gd name="connsiteY1255" fmla="*/ 167060 h 2084191"/>
              <a:gd name="connsiteX1256" fmla="*/ 866369 w 2051041"/>
              <a:gd name="connsiteY1256" fmla="*/ 125702 h 2084191"/>
              <a:gd name="connsiteX1257" fmla="*/ 907183 w 2051041"/>
              <a:gd name="connsiteY1257" fmla="*/ 84345 h 2084191"/>
              <a:gd name="connsiteX1258" fmla="*/ 1070979 w 2051041"/>
              <a:gd name="connsiteY1258" fmla="*/ 82169 h 2084191"/>
              <a:gd name="connsiteX1259" fmla="*/ 1115602 w 2051041"/>
              <a:gd name="connsiteY1259" fmla="*/ 126247 h 2084191"/>
              <a:gd name="connsiteX1260" fmla="*/ 1071524 w 2051041"/>
              <a:gd name="connsiteY1260" fmla="*/ 170325 h 2084191"/>
              <a:gd name="connsiteX1261" fmla="*/ 1026357 w 2051041"/>
              <a:gd name="connsiteY1261" fmla="*/ 125703 h 2084191"/>
              <a:gd name="connsiteX1262" fmla="*/ 1070979 w 2051041"/>
              <a:gd name="connsiteY1262" fmla="*/ 82169 h 2084191"/>
              <a:gd name="connsiteX1263" fmla="*/ 1684811 w 2051041"/>
              <a:gd name="connsiteY1263" fmla="*/ 82168 h 2084191"/>
              <a:gd name="connsiteX1264" fmla="*/ 1684266 w 2051041"/>
              <a:gd name="connsiteY1264" fmla="*/ 82713 h 2084191"/>
              <a:gd name="connsiteX1265" fmla="*/ 1684469 w 2051041"/>
              <a:gd name="connsiteY1265" fmla="*/ 82365 h 2084191"/>
              <a:gd name="connsiteX1266" fmla="*/ 1234777 w 2051041"/>
              <a:gd name="connsiteY1266" fmla="*/ 78360 h 2084191"/>
              <a:gd name="connsiteX1267" fmla="*/ 1282664 w 2051041"/>
              <a:gd name="connsiteY1267" fmla="*/ 126791 h 2084191"/>
              <a:gd name="connsiteX1268" fmla="*/ 1234232 w 2051041"/>
              <a:gd name="connsiteY1268" fmla="*/ 174135 h 2084191"/>
              <a:gd name="connsiteX1269" fmla="*/ 1186889 w 2051041"/>
              <a:gd name="connsiteY1269" fmla="*/ 126791 h 2084191"/>
              <a:gd name="connsiteX1270" fmla="*/ 1234777 w 2051041"/>
              <a:gd name="connsiteY1270" fmla="*/ 78360 h 2084191"/>
              <a:gd name="connsiteX1271" fmla="*/ 1398574 w 2051041"/>
              <a:gd name="connsiteY1271" fmla="*/ 76182 h 2084191"/>
              <a:gd name="connsiteX1272" fmla="*/ 1448094 w 2051041"/>
              <a:gd name="connsiteY1272" fmla="*/ 127335 h 2084191"/>
              <a:gd name="connsiteX1273" fmla="*/ 1396941 w 2051041"/>
              <a:gd name="connsiteY1273" fmla="*/ 175766 h 2084191"/>
              <a:gd name="connsiteX1274" fmla="*/ 1347421 w 2051041"/>
              <a:gd name="connsiteY1274" fmla="*/ 125702 h 2084191"/>
              <a:gd name="connsiteX1275" fmla="*/ 1398574 w 2051041"/>
              <a:gd name="connsiteY1275" fmla="*/ 76182 h 2084191"/>
              <a:gd name="connsiteX1276" fmla="*/ 1561282 w 2051041"/>
              <a:gd name="connsiteY1276" fmla="*/ 72373 h 2084191"/>
              <a:gd name="connsiteX1277" fmla="*/ 1614611 w 2051041"/>
              <a:gd name="connsiteY1277" fmla="*/ 126247 h 2084191"/>
              <a:gd name="connsiteX1278" fmla="*/ 1560738 w 2051041"/>
              <a:gd name="connsiteY1278" fmla="*/ 179576 h 2084191"/>
              <a:gd name="connsiteX1279" fmla="*/ 1507409 w 2051041"/>
              <a:gd name="connsiteY1279" fmla="*/ 126247 h 2084191"/>
              <a:gd name="connsiteX1280" fmla="*/ 1561282 w 2051041"/>
              <a:gd name="connsiteY1280" fmla="*/ 72373 h 2084191"/>
              <a:gd name="connsiteX1281" fmla="*/ 10381 w 2051041"/>
              <a:gd name="connsiteY1281" fmla="*/ 33737 h 2084191"/>
              <a:gd name="connsiteX1282" fmla="*/ 20720 w 2051041"/>
              <a:gd name="connsiteY1282" fmla="*/ 45165 h 2084191"/>
              <a:gd name="connsiteX1283" fmla="*/ 9292 w 2051041"/>
              <a:gd name="connsiteY1283" fmla="*/ 54960 h 2084191"/>
              <a:gd name="connsiteX1284" fmla="*/ 41 w 2051041"/>
              <a:gd name="connsiteY1284" fmla="*/ 44621 h 2084191"/>
              <a:gd name="connsiteX1285" fmla="*/ 10381 w 2051041"/>
              <a:gd name="connsiteY1285" fmla="*/ 33737 h 2084191"/>
              <a:gd name="connsiteX1286" fmla="*/ 172546 w 2051041"/>
              <a:gd name="connsiteY1286" fmla="*/ 23942 h 2084191"/>
              <a:gd name="connsiteX1287" fmla="*/ 193224 w 2051041"/>
              <a:gd name="connsiteY1287" fmla="*/ 44621 h 2084191"/>
              <a:gd name="connsiteX1288" fmla="*/ 173090 w 2051041"/>
              <a:gd name="connsiteY1288" fmla="*/ 64755 h 2084191"/>
              <a:gd name="connsiteX1289" fmla="*/ 152411 w 2051041"/>
              <a:gd name="connsiteY1289" fmla="*/ 44621 h 2084191"/>
              <a:gd name="connsiteX1290" fmla="*/ 172546 w 2051041"/>
              <a:gd name="connsiteY1290" fmla="*/ 23942 h 2084191"/>
              <a:gd name="connsiteX1291" fmla="*/ 1861123 w 2051041"/>
              <a:gd name="connsiteY1291" fmla="*/ 22132 h 2084191"/>
              <a:gd name="connsiteX1292" fmla="*/ 1861123 w 2051041"/>
              <a:gd name="connsiteY1292" fmla="*/ 35737 h 2084191"/>
              <a:gd name="connsiteX1293" fmla="*/ 1861123 w 2051041"/>
              <a:gd name="connsiteY1293" fmla="*/ 61313 h 2084191"/>
              <a:gd name="connsiteX1294" fmla="*/ 1858946 w 2051041"/>
              <a:gd name="connsiteY1294" fmla="*/ 72740 h 2084191"/>
              <a:gd name="connsiteX1295" fmla="*/ 1866021 w 2051041"/>
              <a:gd name="connsiteY1295" fmla="*/ 76550 h 2084191"/>
              <a:gd name="connsiteX1296" fmla="*/ 1873639 w 2051041"/>
              <a:gd name="connsiteY1296" fmla="*/ 74917 h 2084191"/>
              <a:gd name="connsiteX1297" fmla="*/ 1900304 w 2051041"/>
              <a:gd name="connsiteY1297" fmla="*/ 74373 h 2084191"/>
              <a:gd name="connsiteX1298" fmla="*/ 1907922 w 2051041"/>
              <a:gd name="connsiteY1298" fmla="*/ 76006 h 2084191"/>
              <a:gd name="connsiteX1299" fmla="*/ 1912820 w 2051041"/>
              <a:gd name="connsiteY1299" fmla="*/ 70020 h 2084191"/>
              <a:gd name="connsiteX1300" fmla="*/ 1912820 w 2051041"/>
              <a:gd name="connsiteY1300" fmla="*/ 27030 h 2084191"/>
              <a:gd name="connsiteX1301" fmla="*/ 1908466 w 2051041"/>
              <a:gd name="connsiteY1301" fmla="*/ 22132 h 2084191"/>
              <a:gd name="connsiteX1302" fmla="*/ 1902480 w 2051041"/>
              <a:gd name="connsiteY1302" fmla="*/ 24309 h 2084191"/>
              <a:gd name="connsiteX1303" fmla="*/ 1873095 w 2051041"/>
              <a:gd name="connsiteY1303" fmla="*/ 24309 h 2084191"/>
              <a:gd name="connsiteX1304" fmla="*/ 1861123 w 2051041"/>
              <a:gd name="connsiteY1304" fmla="*/ 22132 h 2084191"/>
              <a:gd name="connsiteX1305" fmla="*/ 336886 w 2051041"/>
              <a:gd name="connsiteY1305" fmla="*/ 17412 h 2084191"/>
              <a:gd name="connsiteX1306" fmla="*/ 363007 w 2051041"/>
              <a:gd name="connsiteY1306" fmla="*/ 44077 h 2084191"/>
              <a:gd name="connsiteX1307" fmla="*/ 337431 w 2051041"/>
              <a:gd name="connsiteY1307" fmla="*/ 71285 h 2084191"/>
              <a:gd name="connsiteX1308" fmla="*/ 310222 w 2051041"/>
              <a:gd name="connsiteY1308" fmla="*/ 45165 h 2084191"/>
              <a:gd name="connsiteX1309" fmla="*/ 336886 w 2051041"/>
              <a:gd name="connsiteY1309" fmla="*/ 17412 h 2084191"/>
              <a:gd name="connsiteX1310" fmla="*/ 498507 w 2051041"/>
              <a:gd name="connsiteY1310" fmla="*/ 13059 h 2084191"/>
              <a:gd name="connsiteX1311" fmla="*/ 531702 w 2051041"/>
              <a:gd name="connsiteY1311" fmla="*/ 44621 h 2084191"/>
              <a:gd name="connsiteX1312" fmla="*/ 499595 w 2051041"/>
              <a:gd name="connsiteY1312" fmla="*/ 76727 h 2084191"/>
              <a:gd name="connsiteX1313" fmla="*/ 467489 w 2051041"/>
              <a:gd name="connsiteY1313" fmla="*/ 45165 h 2084191"/>
              <a:gd name="connsiteX1314" fmla="*/ 498507 w 2051041"/>
              <a:gd name="connsiteY1314" fmla="*/ 13059 h 2084191"/>
              <a:gd name="connsiteX1315" fmla="*/ 662303 w 2051041"/>
              <a:gd name="connsiteY1315" fmla="*/ 7616 h 2084191"/>
              <a:gd name="connsiteX1316" fmla="*/ 698763 w 2051041"/>
              <a:gd name="connsiteY1316" fmla="*/ 44076 h 2084191"/>
              <a:gd name="connsiteX1317" fmla="*/ 662303 w 2051041"/>
              <a:gd name="connsiteY1317" fmla="*/ 81080 h 2084191"/>
              <a:gd name="connsiteX1318" fmla="*/ 626932 w 2051041"/>
              <a:gd name="connsiteY1318" fmla="*/ 44076 h 2084191"/>
              <a:gd name="connsiteX1319" fmla="*/ 662303 w 2051041"/>
              <a:gd name="connsiteY1319" fmla="*/ 7616 h 2084191"/>
              <a:gd name="connsiteX1320" fmla="*/ 825557 w 2051041"/>
              <a:gd name="connsiteY1320" fmla="*/ 5440 h 2084191"/>
              <a:gd name="connsiteX1321" fmla="*/ 865281 w 2051041"/>
              <a:gd name="connsiteY1321" fmla="*/ 44621 h 2084191"/>
              <a:gd name="connsiteX1322" fmla="*/ 826101 w 2051041"/>
              <a:gd name="connsiteY1322" fmla="*/ 83257 h 2084191"/>
              <a:gd name="connsiteX1323" fmla="*/ 786920 w 2051041"/>
              <a:gd name="connsiteY1323" fmla="*/ 44621 h 2084191"/>
              <a:gd name="connsiteX1324" fmla="*/ 825557 w 2051041"/>
              <a:gd name="connsiteY1324" fmla="*/ 5440 h 2084191"/>
              <a:gd name="connsiteX1325" fmla="*/ 989353 w 2051041"/>
              <a:gd name="connsiteY1325" fmla="*/ 1086 h 2084191"/>
              <a:gd name="connsiteX1326" fmla="*/ 1032343 w 2051041"/>
              <a:gd name="connsiteY1326" fmla="*/ 43532 h 2084191"/>
              <a:gd name="connsiteX1327" fmla="*/ 989897 w 2051041"/>
              <a:gd name="connsiteY1327" fmla="*/ 87610 h 2084191"/>
              <a:gd name="connsiteX1328" fmla="*/ 945819 w 2051041"/>
              <a:gd name="connsiteY1328" fmla="*/ 44620 h 2084191"/>
              <a:gd name="connsiteX1329" fmla="*/ 989353 w 2051041"/>
              <a:gd name="connsiteY1329" fmla="*/ 1086 h 2084191"/>
              <a:gd name="connsiteX1330" fmla="*/ 1614056 w 2051041"/>
              <a:gd name="connsiteY1330" fmla="*/ 0 h 2084191"/>
              <a:gd name="connsiteX1331" fmla="*/ 1675529 w 2051041"/>
              <a:gd name="connsiteY1331" fmla="*/ 0 h 2084191"/>
              <a:gd name="connsiteX1332" fmla="*/ 1682905 w 2051041"/>
              <a:gd name="connsiteY1332" fmla="*/ 4720 h 2084191"/>
              <a:gd name="connsiteX1333" fmla="*/ 1933639 w 2051041"/>
              <a:gd name="connsiteY1333" fmla="*/ 4720 h 2084191"/>
              <a:gd name="connsiteX1334" fmla="*/ 2016655 w 2051041"/>
              <a:gd name="connsiteY1334" fmla="*/ 39107 h 2084191"/>
              <a:gd name="connsiteX1335" fmla="*/ 2028934 w 2051041"/>
              <a:gd name="connsiteY1335" fmla="*/ 57318 h 2084191"/>
              <a:gd name="connsiteX1336" fmla="*/ 2026008 w 2051041"/>
              <a:gd name="connsiteY1336" fmla="*/ 71108 h 2084191"/>
              <a:gd name="connsiteX1337" fmla="*/ 2030906 w 2051041"/>
              <a:gd name="connsiteY1337" fmla="*/ 75461 h 2084191"/>
              <a:gd name="connsiteX1338" fmla="*/ 2039929 w 2051041"/>
              <a:gd name="connsiteY1338" fmla="*/ 73627 h 2084191"/>
              <a:gd name="connsiteX1339" fmla="*/ 2041815 w 2051041"/>
              <a:gd name="connsiteY1339" fmla="*/ 76424 h 2084191"/>
              <a:gd name="connsiteX1340" fmla="*/ 2051041 w 2051041"/>
              <a:gd name="connsiteY1340" fmla="*/ 122122 h 2084191"/>
              <a:gd name="connsiteX1341" fmla="*/ 2051041 w 2051041"/>
              <a:gd name="connsiteY1341" fmla="*/ 186473 h 2084191"/>
              <a:gd name="connsiteX1342" fmla="*/ 2029818 w 2051041"/>
              <a:gd name="connsiteY1342" fmla="*/ 186473 h 2084191"/>
              <a:gd name="connsiteX1343" fmla="*/ 2023287 w 2051041"/>
              <a:gd name="connsiteY1343" fmla="*/ 192459 h 2084191"/>
              <a:gd name="connsiteX1344" fmla="*/ 2023832 w 2051041"/>
              <a:gd name="connsiteY1344" fmla="*/ 196268 h 2084191"/>
              <a:gd name="connsiteX1345" fmla="*/ 2019478 w 2051041"/>
              <a:gd name="connsiteY1345" fmla="*/ 239258 h 2084191"/>
              <a:gd name="connsiteX1346" fmla="*/ 2020022 w 2051041"/>
              <a:gd name="connsiteY1346" fmla="*/ 242523 h 2084191"/>
              <a:gd name="connsiteX1347" fmla="*/ 2023287 w 2051041"/>
              <a:gd name="connsiteY1347" fmla="*/ 243067 h 2084191"/>
              <a:gd name="connsiteX1348" fmla="*/ 2050224 w 2051041"/>
              <a:gd name="connsiteY1348" fmla="*/ 237150 h 2084191"/>
              <a:gd name="connsiteX1349" fmla="*/ 2051041 w 2051041"/>
              <a:gd name="connsiteY1349" fmla="*/ 237329 h 2084191"/>
              <a:gd name="connsiteX1350" fmla="*/ 2051041 w 2051041"/>
              <a:gd name="connsiteY1350" fmla="*/ 348996 h 2084191"/>
              <a:gd name="connsiteX1351" fmla="*/ 2036552 w 2051041"/>
              <a:gd name="connsiteY1351" fmla="*/ 347754 h 2084191"/>
              <a:gd name="connsiteX1352" fmla="*/ 2021111 w 2051041"/>
              <a:gd name="connsiteY1352" fmla="*/ 341019 h 2084191"/>
              <a:gd name="connsiteX1353" fmla="*/ 2016757 w 2051041"/>
              <a:gd name="connsiteY1353" fmla="*/ 338842 h 2084191"/>
              <a:gd name="connsiteX1354" fmla="*/ 2017301 w 2051041"/>
              <a:gd name="connsiteY1354" fmla="*/ 344284 h 2084191"/>
              <a:gd name="connsiteX1355" fmla="*/ 2025464 w 2051041"/>
              <a:gd name="connsiteY1355" fmla="*/ 376391 h 2084191"/>
              <a:gd name="connsiteX1356" fmla="*/ 1994446 w 2051041"/>
              <a:gd name="connsiteY1356" fmla="*/ 424278 h 2084191"/>
              <a:gd name="connsiteX1357" fmla="*/ 1933498 w 2051041"/>
              <a:gd name="connsiteY1357" fmla="*/ 416115 h 2084191"/>
              <a:gd name="connsiteX1358" fmla="*/ 1920438 w 2051041"/>
              <a:gd name="connsiteY1358" fmla="*/ 352447 h 2084191"/>
              <a:gd name="connsiteX1359" fmla="*/ 1925336 w 2051041"/>
              <a:gd name="connsiteY1359" fmla="*/ 338298 h 2084191"/>
              <a:gd name="connsiteX1360" fmla="*/ 1911731 w 2051041"/>
              <a:gd name="connsiteY1360" fmla="*/ 343196 h 2084191"/>
              <a:gd name="connsiteX1361" fmla="*/ 1898671 w 2051041"/>
              <a:gd name="connsiteY1361" fmla="*/ 347005 h 2084191"/>
              <a:gd name="connsiteX1362" fmla="*/ 1854593 w 2051041"/>
              <a:gd name="connsiteY1362" fmla="*/ 336666 h 2084191"/>
              <a:gd name="connsiteX1363" fmla="*/ 1847690 w 2051041"/>
              <a:gd name="connsiteY1363" fmla="*/ 333480 h 2084191"/>
              <a:gd name="connsiteX1364" fmla="*/ 1852961 w 2051041"/>
              <a:gd name="connsiteY1364" fmla="*/ 344461 h 2084191"/>
              <a:gd name="connsiteX1365" fmla="*/ 1826840 w 2051041"/>
              <a:gd name="connsiteY1365" fmla="*/ 420646 h 2084191"/>
              <a:gd name="connsiteX1366" fmla="*/ 1765893 w 2051041"/>
              <a:gd name="connsiteY1366" fmla="*/ 408130 h 2084191"/>
              <a:gd name="connsiteX1367" fmla="*/ 1759362 w 2051041"/>
              <a:gd name="connsiteY1367" fmla="*/ 342829 h 2084191"/>
              <a:gd name="connsiteX1368" fmla="*/ 1815991 w 2051041"/>
              <a:gd name="connsiteY1368" fmla="*/ 317193 h 2084191"/>
              <a:gd name="connsiteX1369" fmla="*/ 1834459 w 2051041"/>
              <a:gd name="connsiteY1369" fmla="*/ 325415 h 2084191"/>
              <a:gd name="connsiteX1370" fmla="*/ 1845023 w 2051041"/>
              <a:gd name="connsiteY1370" fmla="*/ 330169 h 2084191"/>
              <a:gd name="connsiteX1371" fmla="*/ 1840444 w 2051041"/>
              <a:gd name="connsiteY1371" fmla="*/ 321429 h 2084191"/>
              <a:gd name="connsiteX1372" fmla="*/ 1834458 w 2051041"/>
              <a:gd name="connsiteY1372" fmla="*/ 275174 h 2084191"/>
              <a:gd name="connsiteX1373" fmla="*/ 1840988 w 2051041"/>
              <a:gd name="connsiteY1373" fmla="*/ 259937 h 2084191"/>
              <a:gd name="connsiteX1374" fmla="*/ 1842077 w 2051041"/>
              <a:gd name="connsiteY1374" fmla="*/ 255584 h 2084191"/>
              <a:gd name="connsiteX1375" fmla="*/ 1837723 w 2051041"/>
              <a:gd name="connsiteY1375" fmla="*/ 257216 h 2084191"/>
              <a:gd name="connsiteX1376" fmla="*/ 1817589 w 2051041"/>
              <a:gd name="connsiteY1376" fmla="*/ 264834 h 2084191"/>
              <a:gd name="connsiteX1377" fmla="*/ 1768069 w 2051041"/>
              <a:gd name="connsiteY1377" fmla="*/ 251774 h 2084191"/>
              <a:gd name="connsiteX1378" fmla="*/ 1764740 w 2051041"/>
              <a:gd name="connsiteY1378" fmla="*/ 250110 h 2084191"/>
              <a:gd name="connsiteX1379" fmla="*/ 1773510 w 2051041"/>
              <a:gd name="connsiteY1379" fmla="*/ 267189 h 2084191"/>
              <a:gd name="connsiteX1380" fmla="*/ 1750655 w 2051041"/>
              <a:gd name="connsiteY1380" fmla="*/ 336843 h 2084191"/>
              <a:gd name="connsiteX1381" fmla="*/ 1673926 w 2051041"/>
              <a:gd name="connsiteY1381" fmla="*/ 310723 h 2084191"/>
              <a:gd name="connsiteX1382" fmla="*/ 1681545 w 2051041"/>
              <a:gd name="connsiteY1382" fmla="*/ 254673 h 2084191"/>
              <a:gd name="connsiteX1383" fmla="*/ 1733786 w 2051041"/>
              <a:gd name="connsiteY1383" fmla="*/ 235083 h 2084191"/>
              <a:gd name="connsiteX1384" fmla="*/ 1751743 w 2051041"/>
              <a:gd name="connsiteY1384" fmla="*/ 242157 h 2084191"/>
              <a:gd name="connsiteX1385" fmla="*/ 1762506 w 2051041"/>
              <a:gd name="connsiteY1385" fmla="*/ 246769 h 2084191"/>
              <a:gd name="connsiteX1386" fmla="*/ 1757185 w 2051041"/>
              <a:gd name="connsiteY1386" fmla="*/ 236537 h 2084191"/>
              <a:gd name="connsiteX1387" fmla="*/ 1756097 w 2051041"/>
              <a:gd name="connsiteY1387" fmla="*/ 185929 h 2084191"/>
              <a:gd name="connsiteX1388" fmla="*/ 1757185 w 2051041"/>
              <a:gd name="connsiteY1388" fmla="*/ 177766 h 2084191"/>
              <a:gd name="connsiteX1389" fmla="*/ 1749023 w 2051041"/>
              <a:gd name="connsiteY1389" fmla="*/ 178311 h 2084191"/>
              <a:gd name="connsiteX1390" fmla="*/ 1676103 w 2051041"/>
              <a:gd name="connsiteY1390" fmla="*/ 154911 h 2084191"/>
              <a:gd name="connsiteX1391" fmla="*/ 1681001 w 2051041"/>
              <a:gd name="connsiteY1391" fmla="*/ 94507 h 2084191"/>
              <a:gd name="connsiteX1392" fmla="*/ 1685681 w 2051041"/>
              <a:gd name="connsiteY1392" fmla="*/ 85147 h 2084191"/>
              <a:gd name="connsiteX1393" fmla="*/ 1693517 w 2051041"/>
              <a:gd name="connsiteY1393" fmla="*/ 82536 h 2084191"/>
              <a:gd name="connsiteX1394" fmla="*/ 1747934 w 2051041"/>
              <a:gd name="connsiteY1394" fmla="*/ 77638 h 2084191"/>
              <a:gd name="connsiteX1395" fmla="*/ 1756641 w 2051041"/>
              <a:gd name="connsiteY1395" fmla="*/ 79271 h 2084191"/>
              <a:gd name="connsiteX1396" fmla="*/ 1754464 w 2051041"/>
              <a:gd name="connsiteY1396" fmla="*/ 71652 h 2084191"/>
              <a:gd name="connsiteX1397" fmla="*/ 1752832 w 2051041"/>
              <a:gd name="connsiteY1397" fmla="*/ 68387 h 2084191"/>
              <a:gd name="connsiteX1398" fmla="*/ 1756097 w 2051041"/>
              <a:gd name="connsiteY1398" fmla="*/ 20500 h 2084191"/>
              <a:gd name="connsiteX1399" fmla="*/ 1756641 w 2051041"/>
              <a:gd name="connsiteY1399" fmla="*/ 16146 h 2084191"/>
              <a:gd name="connsiteX1400" fmla="*/ 1751744 w 2051041"/>
              <a:gd name="connsiteY1400" fmla="*/ 15058 h 2084191"/>
              <a:gd name="connsiteX1401" fmla="*/ 1741404 w 2051041"/>
              <a:gd name="connsiteY1401" fmla="*/ 19955 h 2084191"/>
              <a:gd name="connsiteX1402" fmla="*/ 1691884 w 2051041"/>
              <a:gd name="connsiteY1402" fmla="*/ 11249 h 2084191"/>
              <a:gd name="connsiteX1403" fmla="*/ 1685645 w 2051041"/>
              <a:gd name="connsiteY1403" fmla="*/ 8369 h 2084191"/>
              <a:gd name="connsiteX1404" fmla="*/ 1688620 w 2051041"/>
              <a:gd name="connsiteY1404" fmla="*/ 14691 h 2084191"/>
              <a:gd name="connsiteX1405" fmla="*/ 1691885 w 2051041"/>
              <a:gd name="connsiteY1405" fmla="*/ 69652 h 2084191"/>
              <a:gd name="connsiteX1406" fmla="*/ 1684469 w 2051041"/>
              <a:gd name="connsiteY1406" fmla="*/ 82365 h 2084191"/>
              <a:gd name="connsiteX1407" fmla="*/ 1663044 w 2051041"/>
              <a:gd name="connsiteY1407" fmla="*/ 94684 h 2084191"/>
              <a:gd name="connsiteX1408" fmla="*/ 1626584 w 2051041"/>
              <a:gd name="connsiteY1408" fmla="*/ 96861 h 2084191"/>
              <a:gd name="connsiteX1409" fmla="*/ 1590124 w 2051041"/>
              <a:gd name="connsiteY1409" fmla="*/ 60401 h 2084191"/>
              <a:gd name="connsiteX1410" fmla="*/ 1591757 w 2051041"/>
              <a:gd name="connsiteY1410" fmla="*/ 25030 h 2084191"/>
              <a:gd name="connsiteX1411" fmla="*/ 1460066 w 2051041"/>
              <a:gd name="connsiteY1411" fmla="*/ 0 h 2084191"/>
              <a:gd name="connsiteX1412" fmla="*/ 1498513 w 2051041"/>
              <a:gd name="connsiteY1412" fmla="*/ 0 h 2084191"/>
              <a:gd name="connsiteX1413" fmla="*/ 1517204 w 2051041"/>
              <a:gd name="connsiteY1413" fmla="*/ 8092 h 2084191"/>
              <a:gd name="connsiteX1414" fmla="*/ 1531896 w 2051041"/>
              <a:gd name="connsiteY1414" fmla="*/ 45164 h 2084191"/>
              <a:gd name="connsiteX1415" fmla="*/ 1479111 w 2051041"/>
              <a:gd name="connsiteY1415" fmla="*/ 97949 h 2084191"/>
              <a:gd name="connsiteX1416" fmla="*/ 1426870 w 2051041"/>
              <a:gd name="connsiteY1416" fmla="*/ 45164 h 2084191"/>
              <a:gd name="connsiteX1417" fmla="*/ 1441631 w 2051041"/>
              <a:gd name="connsiteY1417" fmla="*/ 7684 h 2084191"/>
              <a:gd name="connsiteX1418" fmla="*/ 1296749 w 2051041"/>
              <a:gd name="connsiteY1418" fmla="*/ 0 h 2084191"/>
              <a:gd name="connsiteX1419" fmla="*/ 1335755 w 2051041"/>
              <a:gd name="connsiteY1419" fmla="*/ 0 h 2084191"/>
              <a:gd name="connsiteX1420" fmla="*/ 1350278 w 2051041"/>
              <a:gd name="connsiteY1420" fmla="*/ 10270 h 2084191"/>
              <a:gd name="connsiteX1421" fmla="*/ 1365923 w 2051041"/>
              <a:gd name="connsiteY1421" fmla="*/ 45165 h 2084191"/>
              <a:gd name="connsiteX1422" fmla="*/ 1315315 w 2051041"/>
              <a:gd name="connsiteY1422" fmla="*/ 93052 h 2084191"/>
              <a:gd name="connsiteX1423" fmla="*/ 1266339 w 2051041"/>
              <a:gd name="connsiteY1423" fmla="*/ 44076 h 2084191"/>
              <a:gd name="connsiteX1424" fmla="*/ 1282732 w 2051041"/>
              <a:gd name="connsiteY1424" fmla="*/ 9317 h 2084191"/>
              <a:gd name="connsiteX1425" fmla="*/ 1148085 w 2051041"/>
              <a:gd name="connsiteY1425" fmla="*/ 0 h 2084191"/>
              <a:gd name="connsiteX1426" fmla="*/ 1161802 w 2051041"/>
              <a:gd name="connsiteY1426" fmla="*/ 0 h 2084191"/>
              <a:gd name="connsiteX1427" fmla="*/ 1169637 w 2051041"/>
              <a:gd name="connsiteY1427" fmla="*/ 1315 h 2084191"/>
              <a:gd name="connsiteX1428" fmla="*/ 1199405 w 2051041"/>
              <a:gd name="connsiteY1428" fmla="*/ 45164 h 2084191"/>
              <a:gd name="connsiteX1429" fmla="*/ 1151518 w 2051041"/>
              <a:gd name="connsiteY1429" fmla="*/ 91419 h 2084191"/>
              <a:gd name="connsiteX1430" fmla="*/ 1105807 w 2051041"/>
              <a:gd name="connsiteY1430" fmla="*/ 44620 h 2084191"/>
              <a:gd name="connsiteX1431" fmla="*/ 1119139 w 2051041"/>
              <a:gd name="connsiteY1431" fmla="*/ 11902 h 20841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Lst>
            <a:rect l="l" t="t" r="r" b="b"/>
            <a:pathLst>
              <a:path w="2051041" h="2084191">
                <a:moveTo>
                  <a:pt x="2051041" y="2080382"/>
                </a:moveTo>
                <a:lnTo>
                  <a:pt x="2051041" y="2083967"/>
                </a:lnTo>
                <a:lnTo>
                  <a:pt x="2047231" y="2084191"/>
                </a:lnTo>
                <a:cubicBezTo>
                  <a:pt x="2046687" y="2084191"/>
                  <a:pt x="2046143" y="2082559"/>
                  <a:pt x="2045599" y="2081470"/>
                </a:cubicBezTo>
                <a:close/>
                <a:moveTo>
                  <a:pt x="1478568" y="1997668"/>
                </a:moveTo>
                <a:cubicBezTo>
                  <a:pt x="1484010" y="1997668"/>
                  <a:pt x="1485642" y="2000933"/>
                  <a:pt x="1484554" y="2004743"/>
                </a:cubicBezTo>
                <a:cubicBezTo>
                  <a:pt x="1484010" y="2006919"/>
                  <a:pt x="1480745" y="2008551"/>
                  <a:pt x="1478568" y="2009096"/>
                </a:cubicBezTo>
                <a:cubicBezTo>
                  <a:pt x="1474759" y="2009640"/>
                  <a:pt x="1473126" y="2007463"/>
                  <a:pt x="1473126" y="2003654"/>
                </a:cubicBezTo>
                <a:cubicBezTo>
                  <a:pt x="1473126" y="1998756"/>
                  <a:pt x="1475303" y="1997124"/>
                  <a:pt x="1478568" y="1997668"/>
                </a:cubicBezTo>
                <a:close/>
                <a:moveTo>
                  <a:pt x="1641820" y="1993859"/>
                </a:moveTo>
                <a:cubicBezTo>
                  <a:pt x="1646718" y="1993314"/>
                  <a:pt x="1652160" y="1999300"/>
                  <a:pt x="1652160" y="2003654"/>
                </a:cubicBezTo>
                <a:cubicBezTo>
                  <a:pt x="1652160" y="2008551"/>
                  <a:pt x="1646718" y="2013449"/>
                  <a:pt x="1641820" y="2013449"/>
                </a:cubicBezTo>
                <a:cubicBezTo>
                  <a:pt x="1636923" y="2013449"/>
                  <a:pt x="1632025" y="2008007"/>
                  <a:pt x="1632025" y="2003654"/>
                </a:cubicBezTo>
                <a:cubicBezTo>
                  <a:pt x="1632025" y="1999300"/>
                  <a:pt x="1638011" y="1993859"/>
                  <a:pt x="1641820" y="1993859"/>
                </a:cubicBezTo>
                <a:close/>
                <a:moveTo>
                  <a:pt x="1969414" y="1992226"/>
                </a:moveTo>
                <a:cubicBezTo>
                  <a:pt x="1976488" y="1992226"/>
                  <a:pt x="1979753" y="1996035"/>
                  <a:pt x="1979753" y="2003654"/>
                </a:cubicBezTo>
                <a:cubicBezTo>
                  <a:pt x="1979753" y="2011272"/>
                  <a:pt x="1975944" y="2014537"/>
                  <a:pt x="1968325" y="2014537"/>
                </a:cubicBezTo>
                <a:cubicBezTo>
                  <a:pt x="1960707" y="2014537"/>
                  <a:pt x="1957442" y="2010728"/>
                  <a:pt x="1957986" y="2003110"/>
                </a:cubicBezTo>
                <a:cubicBezTo>
                  <a:pt x="1957986" y="1994947"/>
                  <a:pt x="1961251" y="1992226"/>
                  <a:pt x="1969414" y="1992226"/>
                </a:cubicBezTo>
                <a:close/>
                <a:moveTo>
                  <a:pt x="1805073" y="1992226"/>
                </a:moveTo>
                <a:cubicBezTo>
                  <a:pt x="1811058" y="1992226"/>
                  <a:pt x="1815956" y="1996035"/>
                  <a:pt x="1815956" y="2002565"/>
                </a:cubicBezTo>
                <a:cubicBezTo>
                  <a:pt x="1816500" y="2009096"/>
                  <a:pt x="1812147" y="2014537"/>
                  <a:pt x="1805073" y="2014537"/>
                </a:cubicBezTo>
                <a:cubicBezTo>
                  <a:pt x="1799087" y="2014537"/>
                  <a:pt x="1794189" y="2010184"/>
                  <a:pt x="1794189" y="2004198"/>
                </a:cubicBezTo>
                <a:cubicBezTo>
                  <a:pt x="1794189" y="1997668"/>
                  <a:pt x="1799087" y="1992770"/>
                  <a:pt x="1805073" y="1992226"/>
                </a:cubicBezTo>
                <a:close/>
                <a:moveTo>
                  <a:pt x="1234233" y="1916042"/>
                </a:moveTo>
                <a:cubicBezTo>
                  <a:pt x="1238586" y="1915497"/>
                  <a:pt x="1240763" y="1917674"/>
                  <a:pt x="1240219" y="1923660"/>
                </a:cubicBezTo>
                <a:cubicBezTo>
                  <a:pt x="1239674" y="1924204"/>
                  <a:pt x="1237498" y="1926381"/>
                  <a:pt x="1236953" y="1926381"/>
                </a:cubicBezTo>
                <a:cubicBezTo>
                  <a:pt x="1234233" y="1924204"/>
                  <a:pt x="1231512" y="1921483"/>
                  <a:pt x="1229335" y="1918762"/>
                </a:cubicBezTo>
                <a:cubicBezTo>
                  <a:pt x="1230968" y="1917674"/>
                  <a:pt x="1232600" y="1916586"/>
                  <a:pt x="1234233" y="1916042"/>
                </a:cubicBezTo>
                <a:close/>
                <a:moveTo>
                  <a:pt x="1397486" y="1911144"/>
                </a:moveTo>
                <a:cubicBezTo>
                  <a:pt x="1402927" y="1911144"/>
                  <a:pt x="1408369" y="1916041"/>
                  <a:pt x="1408369" y="1921483"/>
                </a:cubicBezTo>
                <a:cubicBezTo>
                  <a:pt x="1408369" y="1926925"/>
                  <a:pt x="1404016" y="1931279"/>
                  <a:pt x="1399118" y="1931823"/>
                </a:cubicBezTo>
                <a:cubicBezTo>
                  <a:pt x="1392588" y="1932367"/>
                  <a:pt x="1387146" y="1928013"/>
                  <a:pt x="1387146" y="1922028"/>
                </a:cubicBezTo>
                <a:cubicBezTo>
                  <a:pt x="1386602" y="1916586"/>
                  <a:pt x="1391500" y="1911144"/>
                  <a:pt x="1397486" y="1911144"/>
                </a:cubicBezTo>
                <a:close/>
                <a:moveTo>
                  <a:pt x="1560194" y="1906790"/>
                </a:moveTo>
                <a:cubicBezTo>
                  <a:pt x="1566180" y="1906790"/>
                  <a:pt x="1574342" y="1914953"/>
                  <a:pt x="1574342" y="1921482"/>
                </a:cubicBezTo>
                <a:cubicBezTo>
                  <a:pt x="1574342" y="1928013"/>
                  <a:pt x="1566724" y="1936175"/>
                  <a:pt x="1560738" y="1935631"/>
                </a:cubicBezTo>
                <a:cubicBezTo>
                  <a:pt x="1554752" y="1935631"/>
                  <a:pt x="1547678" y="1928557"/>
                  <a:pt x="1547134" y="1922027"/>
                </a:cubicBezTo>
                <a:cubicBezTo>
                  <a:pt x="1546589" y="1915497"/>
                  <a:pt x="1554208" y="1907334"/>
                  <a:pt x="1560194" y="1906790"/>
                </a:cubicBezTo>
                <a:close/>
                <a:moveTo>
                  <a:pt x="2049952" y="1905702"/>
                </a:moveTo>
                <a:lnTo>
                  <a:pt x="2051041" y="1906027"/>
                </a:lnTo>
                <a:lnTo>
                  <a:pt x="2051041" y="1938133"/>
                </a:lnTo>
                <a:lnTo>
                  <a:pt x="2050496" y="1938353"/>
                </a:lnTo>
                <a:cubicBezTo>
                  <a:pt x="2039613" y="1937808"/>
                  <a:pt x="2034715" y="1933455"/>
                  <a:pt x="2034171" y="1922572"/>
                </a:cubicBezTo>
                <a:cubicBezTo>
                  <a:pt x="2034171" y="1911144"/>
                  <a:pt x="2039069" y="1905702"/>
                  <a:pt x="2049952" y="1905702"/>
                </a:cubicBezTo>
                <a:close/>
                <a:moveTo>
                  <a:pt x="1723447" y="1905702"/>
                </a:moveTo>
                <a:cubicBezTo>
                  <a:pt x="1730521" y="1905702"/>
                  <a:pt x="1739772" y="1914409"/>
                  <a:pt x="1739772" y="1920939"/>
                </a:cubicBezTo>
                <a:cubicBezTo>
                  <a:pt x="1740316" y="1929101"/>
                  <a:pt x="1732698" y="1936720"/>
                  <a:pt x="1724535" y="1937264"/>
                </a:cubicBezTo>
                <a:cubicBezTo>
                  <a:pt x="1716373" y="1937264"/>
                  <a:pt x="1708754" y="1930190"/>
                  <a:pt x="1708210" y="1922027"/>
                </a:cubicBezTo>
                <a:cubicBezTo>
                  <a:pt x="1708210" y="1914953"/>
                  <a:pt x="1716373" y="1905702"/>
                  <a:pt x="1723447" y="1905702"/>
                </a:cubicBezTo>
                <a:close/>
                <a:moveTo>
                  <a:pt x="1887787" y="1905158"/>
                </a:moveTo>
                <a:cubicBezTo>
                  <a:pt x="1898671" y="1905158"/>
                  <a:pt x="1904113" y="1911144"/>
                  <a:pt x="1904113" y="1922028"/>
                </a:cubicBezTo>
                <a:cubicBezTo>
                  <a:pt x="1904113" y="1932367"/>
                  <a:pt x="1898127" y="1937809"/>
                  <a:pt x="1886699" y="1937809"/>
                </a:cubicBezTo>
                <a:cubicBezTo>
                  <a:pt x="1876360" y="1937809"/>
                  <a:pt x="1870918" y="1931823"/>
                  <a:pt x="1870918" y="1921483"/>
                </a:cubicBezTo>
                <a:cubicBezTo>
                  <a:pt x="1870918" y="1910600"/>
                  <a:pt x="1876904" y="1904614"/>
                  <a:pt x="1887787" y="1905158"/>
                </a:cubicBezTo>
                <a:close/>
                <a:moveTo>
                  <a:pt x="1152606" y="1831693"/>
                </a:moveTo>
                <a:cubicBezTo>
                  <a:pt x="1155871" y="1832782"/>
                  <a:pt x="1160769" y="1836591"/>
                  <a:pt x="1161313" y="1839312"/>
                </a:cubicBezTo>
                <a:cubicBezTo>
                  <a:pt x="1160769" y="1843121"/>
                  <a:pt x="1156959" y="1846931"/>
                  <a:pt x="1153694" y="1852916"/>
                </a:cubicBezTo>
                <a:cubicBezTo>
                  <a:pt x="1149341" y="1847475"/>
                  <a:pt x="1146076" y="1844754"/>
                  <a:pt x="1144988" y="1841489"/>
                </a:cubicBezTo>
                <a:cubicBezTo>
                  <a:pt x="1143355" y="1837135"/>
                  <a:pt x="1148797" y="1830605"/>
                  <a:pt x="1152606" y="1831693"/>
                </a:cubicBezTo>
                <a:close/>
                <a:moveTo>
                  <a:pt x="1315315" y="1825708"/>
                </a:moveTo>
                <a:cubicBezTo>
                  <a:pt x="1321301" y="1825164"/>
                  <a:pt x="1331096" y="1834415"/>
                  <a:pt x="1330552" y="1840401"/>
                </a:cubicBezTo>
                <a:cubicBezTo>
                  <a:pt x="1330552" y="1845298"/>
                  <a:pt x="1321301" y="1854549"/>
                  <a:pt x="1316404" y="1854549"/>
                </a:cubicBezTo>
                <a:cubicBezTo>
                  <a:pt x="1310962" y="1855094"/>
                  <a:pt x="1302255" y="1846387"/>
                  <a:pt x="1301711" y="1840945"/>
                </a:cubicBezTo>
                <a:cubicBezTo>
                  <a:pt x="1301167" y="1834959"/>
                  <a:pt x="1309329" y="1826252"/>
                  <a:pt x="1315315" y="1825708"/>
                </a:cubicBezTo>
                <a:close/>
                <a:moveTo>
                  <a:pt x="1479656" y="1822987"/>
                </a:moveTo>
                <a:cubicBezTo>
                  <a:pt x="1489995" y="1823531"/>
                  <a:pt x="1495981" y="1830061"/>
                  <a:pt x="1495981" y="1840401"/>
                </a:cubicBezTo>
                <a:cubicBezTo>
                  <a:pt x="1495981" y="1851284"/>
                  <a:pt x="1490539" y="1856726"/>
                  <a:pt x="1478567" y="1856182"/>
                </a:cubicBezTo>
                <a:cubicBezTo>
                  <a:pt x="1467140" y="1856182"/>
                  <a:pt x="1462242" y="1850740"/>
                  <a:pt x="1462242" y="1839312"/>
                </a:cubicBezTo>
                <a:cubicBezTo>
                  <a:pt x="1462242" y="1828429"/>
                  <a:pt x="1468772" y="1822443"/>
                  <a:pt x="1479656" y="1822987"/>
                </a:cubicBezTo>
                <a:close/>
                <a:moveTo>
                  <a:pt x="1642365" y="1821355"/>
                </a:moveTo>
                <a:cubicBezTo>
                  <a:pt x="1653248" y="1821355"/>
                  <a:pt x="1661955" y="1829518"/>
                  <a:pt x="1660867" y="1840401"/>
                </a:cubicBezTo>
                <a:cubicBezTo>
                  <a:pt x="1659778" y="1853461"/>
                  <a:pt x="1653792" y="1857270"/>
                  <a:pt x="1642365" y="1857270"/>
                </a:cubicBezTo>
                <a:cubicBezTo>
                  <a:pt x="1630937" y="1857270"/>
                  <a:pt x="1624407" y="1850740"/>
                  <a:pt x="1624407" y="1839857"/>
                </a:cubicBezTo>
                <a:cubicBezTo>
                  <a:pt x="1624407" y="1828973"/>
                  <a:pt x="1632025" y="1821355"/>
                  <a:pt x="1642365" y="1821355"/>
                </a:cubicBezTo>
                <a:close/>
                <a:moveTo>
                  <a:pt x="1806162" y="1819723"/>
                </a:moveTo>
                <a:cubicBezTo>
                  <a:pt x="1816501" y="1819723"/>
                  <a:pt x="1827385" y="1831150"/>
                  <a:pt x="1826840" y="1840945"/>
                </a:cubicBezTo>
                <a:cubicBezTo>
                  <a:pt x="1826296" y="1850740"/>
                  <a:pt x="1813780" y="1862168"/>
                  <a:pt x="1804529" y="1861080"/>
                </a:cubicBezTo>
                <a:cubicBezTo>
                  <a:pt x="1795278" y="1860536"/>
                  <a:pt x="1783851" y="1847476"/>
                  <a:pt x="1784395" y="1839313"/>
                </a:cubicBezTo>
                <a:cubicBezTo>
                  <a:pt x="1784939" y="1828973"/>
                  <a:pt x="1796367" y="1819178"/>
                  <a:pt x="1806162" y="1819723"/>
                </a:cubicBezTo>
                <a:close/>
                <a:moveTo>
                  <a:pt x="1968870" y="1819178"/>
                </a:moveTo>
                <a:cubicBezTo>
                  <a:pt x="1980298" y="1819178"/>
                  <a:pt x="1990093" y="1828973"/>
                  <a:pt x="1990093" y="1840401"/>
                </a:cubicBezTo>
                <a:cubicBezTo>
                  <a:pt x="1990093" y="1851285"/>
                  <a:pt x="1980298" y="1861624"/>
                  <a:pt x="1968870" y="1861624"/>
                </a:cubicBezTo>
                <a:cubicBezTo>
                  <a:pt x="1957986" y="1861624"/>
                  <a:pt x="1947647" y="1851285"/>
                  <a:pt x="1947647" y="1840401"/>
                </a:cubicBezTo>
                <a:cubicBezTo>
                  <a:pt x="1947647" y="1828973"/>
                  <a:pt x="1957986" y="1819178"/>
                  <a:pt x="1968870" y="1819178"/>
                </a:cubicBezTo>
                <a:close/>
                <a:moveTo>
                  <a:pt x="1070436" y="1747347"/>
                </a:moveTo>
                <a:cubicBezTo>
                  <a:pt x="1078598" y="1747347"/>
                  <a:pt x="1081863" y="1750612"/>
                  <a:pt x="1081863" y="1758231"/>
                </a:cubicBezTo>
                <a:cubicBezTo>
                  <a:pt x="1081863" y="1766393"/>
                  <a:pt x="1078598" y="1769658"/>
                  <a:pt x="1070980" y="1769658"/>
                </a:cubicBezTo>
                <a:cubicBezTo>
                  <a:pt x="1063361" y="1769658"/>
                  <a:pt x="1060096" y="1766393"/>
                  <a:pt x="1059552" y="1758775"/>
                </a:cubicBezTo>
                <a:cubicBezTo>
                  <a:pt x="1059552" y="1751156"/>
                  <a:pt x="1062817" y="1747347"/>
                  <a:pt x="1070436" y="1747347"/>
                </a:cubicBezTo>
                <a:close/>
                <a:moveTo>
                  <a:pt x="1233688" y="1742449"/>
                </a:moveTo>
                <a:cubicBezTo>
                  <a:pt x="1242939" y="1741904"/>
                  <a:pt x="1250558" y="1750067"/>
                  <a:pt x="1250558" y="1758774"/>
                </a:cubicBezTo>
                <a:cubicBezTo>
                  <a:pt x="1250558" y="1767481"/>
                  <a:pt x="1242939" y="1775099"/>
                  <a:pt x="1233688" y="1775099"/>
                </a:cubicBezTo>
                <a:cubicBezTo>
                  <a:pt x="1224981" y="1775099"/>
                  <a:pt x="1218451" y="1768025"/>
                  <a:pt x="1217907" y="1759318"/>
                </a:cubicBezTo>
                <a:cubicBezTo>
                  <a:pt x="1217907" y="1750067"/>
                  <a:pt x="1224981" y="1742449"/>
                  <a:pt x="1233688" y="1742449"/>
                </a:cubicBezTo>
                <a:close/>
                <a:moveTo>
                  <a:pt x="1399662" y="1739728"/>
                </a:moveTo>
                <a:cubicBezTo>
                  <a:pt x="1410002" y="1740817"/>
                  <a:pt x="1418164" y="1750068"/>
                  <a:pt x="1417076" y="1760407"/>
                </a:cubicBezTo>
                <a:cubicBezTo>
                  <a:pt x="1415988" y="1769114"/>
                  <a:pt x="1404560" y="1779997"/>
                  <a:pt x="1396941" y="1779453"/>
                </a:cubicBezTo>
                <a:cubicBezTo>
                  <a:pt x="1388779" y="1778909"/>
                  <a:pt x="1376807" y="1765305"/>
                  <a:pt x="1377895" y="1757686"/>
                </a:cubicBezTo>
                <a:cubicBezTo>
                  <a:pt x="1379528" y="1746803"/>
                  <a:pt x="1389867" y="1738640"/>
                  <a:pt x="1399662" y="1739728"/>
                </a:cubicBezTo>
                <a:close/>
                <a:moveTo>
                  <a:pt x="1723991" y="1735919"/>
                </a:moveTo>
                <a:cubicBezTo>
                  <a:pt x="1738140" y="1735919"/>
                  <a:pt x="1746847" y="1744626"/>
                  <a:pt x="1746847" y="1758774"/>
                </a:cubicBezTo>
                <a:cubicBezTo>
                  <a:pt x="1746847" y="1772379"/>
                  <a:pt x="1738140" y="1781086"/>
                  <a:pt x="1723991" y="1781086"/>
                </a:cubicBezTo>
                <a:cubicBezTo>
                  <a:pt x="1709299" y="1781086"/>
                  <a:pt x="1701680" y="1773467"/>
                  <a:pt x="1701680" y="1758774"/>
                </a:cubicBezTo>
                <a:cubicBezTo>
                  <a:pt x="1701680" y="1744626"/>
                  <a:pt x="1709843" y="1735919"/>
                  <a:pt x="1723991" y="1735919"/>
                </a:cubicBezTo>
                <a:close/>
                <a:moveTo>
                  <a:pt x="1560194" y="1735919"/>
                </a:moveTo>
                <a:cubicBezTo>
                  <a:pt x="1572710" y="1736463"/>
                  <a:pt x="1582505" y="1746258"/>
                  <a:pt x="1582505" y="1758230"/>
                </a:cubicBezTo>
                <a:cubicBezTo>
                  <a:pt x="1582505" y="1770202"/>
                  <a:pt x="1572710" y="1779997"/>
                  <a:pt x="1560738" y="1779997"/>
                </a:cubicBezTo>
                <a:cubicBezTo>
                  <a:pt x="1549855" y="1779997"/>
                  <a:pt x="1538427" y="1769114"/>
                  <a:pt x="1538427" y="1758230"/>
                </a:cubicBezTo>
                <a:cubicBezTo>
                  <a:pt x="1538427" y="1746803"/>
                  <a:pt x="1548766" y="1735919"/>
                  <a:pt x="1560194" y="1735919"/>
                </a:cubicBezTo>
                <a:close/>
                <a:moveTo>
                  <a:pt x="2051041" y="1734831"/>
                </a:moveTo>
                <a:lnTo>
                  <a:pt x="2051041" y="1781438"/>
                </a:lnTo>
                <a:lnTo>
                  <a:pt x="2050496" y="1781630"/>
                </a:lnTo>
                <a:cubicBezTo>
                  <a:pt x="2033627" y="1782174"/>
                  <a:pt x="2027097" y="1772379"/>
                  <a:pt x="2027097" y="1758775"/>
                </a:cubicBezTo>
                <a:cubicBezTo>
                  <a:pt x="2027097" y="1744082"/>
                  <a:pt x="2033627" y="1734831"/>
                  <a:pt x="2051041" y="1734831"/>
                </a:cubicBezTo>
                <a:close/>
                <a:moveTo>
                  <a:pt x="1887788" y="1734831"/>
                </a:moveTo>
                <a:cubicBezTo>
                  <a:pt x="1902481" y="1735375"/>
                  <a:pt x="1910099" y="1742994"/>
                  <a:pt x="1910099" y="1758775"/>
                </a:cubicBezTo>
                <a:cubicBezTo>
                  <a:pt x="1910099" y="1771835"/>
                  <a:pt x="1903025" y="1782718"/>
                  <a:pt x="1886699" y="1781086"/>
                </a:cubicBezTo>
                <a:cubicBezTo>
                  <a:pt x="1872551" y="1782174"/>
                  <a:pt x="1863844" y="1770203"/>
                  <a:pt x="1863844" y="1757687"/>
                </a:cubicBezTo>
                <a:cubicBezTo>
                  <a:pt x="1863844" y="1742994"/>
                  <a:pt x="1874728" y="1734287"/>
                  <a:pt x="1887788" y="1734831"/>
                </a:cubicBezTo>
                <a:close/>
                <a:moveTo>
                  <a:pt x="826100" y="1671706"/>
                </a:moveTo>
                <a:cubicBezTo>
                  <a:pt x="830454" y="1670618"/>
                  <a:pt x="832086" y="1673338"/>
                  <a:pt x="832086" y="1677692"/>
                </a:cubicBezTo>
                <a:cubicBezTo>
                  <a:pt x="832086" y="1681501"/>
                  <a:pt x="829365" y="1683134"/>
                  <a:pt x="825556" y="1683134"/>
                </a:cubicBezTo>
                <a:cubicBezTo>
                  <a:pt x="821203" y="1683134"/>
                  <a:pt x="819570" y="1679869"/>
                  <a:pt x="820658" y="1676603"/>
                </a:cubicBezTo>
                <a:cubicBezTo>
                  <a:pt x="821203" y="1674427"/>
                  <a:pt x="823924" y="1672250"/>
                  <a:pt x="826100" y="1671706"/>
                </a:cubicBezTo>
                <a:close/>
                <a:moveTo>
                  <a:pt x="989354" y="1661912"/>
                </a:moveTo>
                <a:cubicBezTo>
                  <a:pt x="994251" y="1661912"/>
                  <a:pt x="1004046" y="1671707"/>
                  <a:pt x="1004046" y="1676604"/>
                </a:cubicBezTo>
                <a:cubicBezTo>
                  <a:pt x="1004046" y="1682590"/>
                  <a:pt x="996428" y="1690209"/>
                  <a:pt x="989354" y="1690209"/>
                </a:cubicBezTo>
                <a:cubicBezTo>
                  <a:pt x="982823" y="1690209"/>
                  <a:pt x="975749" y="1683679"/>
                  <a:pt x="975205" y="1677693"/>
                </a:cubicBezTo>
                <a:cubicBezTo>
                  <a:pt x="974661" y="1671707"/>
                  <a:pt x="983912" y="1661367"/>
                  <a:pt x="989354" y="1661912"/>
                </a:cubicBezTo>
                <a:close/>
                <a:moveTo>
                  <a:pt x="1153151" y="1659734"/>
                </a:moveTo>
                <a:cubicBezTo>
                  <a:pt x="1162946" y="1658646"/>
                  <a:pt x="1171108" y="1667353"/>
                  <a:pt x="1170564" y="1677692"/>
                </a:cubicBezTo>
                <a:cubicBezTo>
                  <a:pt x="1170020" y="1688575"/>
                  <a:pt x="1162946" y="1694562"/>
                  <a:pt x="1152062" y="1694562"/>
                </a:cubicBezTo>
                <a:cubicBezTo>
                  <a:pt x="1141179" y="1694017"/>
                  <a:pt x="1135737" y="1688031"/>
                  <a:pt x="1135737" y="1677148"/>
                </a:cubicBezTo>
                <a:cubicBezTo>
                  <a:pt x="1135737" y="1664632"/>
                  <a:pt x="1141179" y="1659190"/>
                  <a:pt x="1153151" y="1659734"/>
                </a:cubicBezTo>
                <a:close/>
                <a:moveTo>
                  <a:pt x="1315315" y="1655381"/>
                </a:moveTo>
                <a:cubicBezTo>
                  <a:pt x="1327287" y="1654836"/>
                  <a:pt x="1337082" y="1664088"/>
                  <a:pt x="1337082" y="1676603"/>
                </a:cubicBezTo>
                <a:cubicBezTo>
                  <a:pt x="1337082" y="1688575"/>
                  <a:pt x="1326743" y="1698915"/>
                  <a:pt x="1315315" y="1698915"/>
                </a:cubicBezTo>
                <a:cubicBezTo>
                  <a:pt x="1304976" y="1698915"/>
                  <a:pt x="1294092" y="1687487"/>
                  <a:pt x="1294092" y="1677148"/>
                </a:cubicBezTo>
                <a:cubicBezTo>
                  <a:pt x="1294092" y="1666264"/>
                  <a:pt x="1304431" y="1655925"/>
                  <a:pt x="1315315" y="1655381"/>
                </a:cubicBezTo>
                <a:close/>
                <a:moveTo>
                  <a:pt x="1479111" y="1654293"/>
                </a:moveTo>
                <a:cubicBezTo>
                  <a:pt x="1495437" y="1653204"/>
                  <a:pt x="1501967" y="1664632"/>
                  <a:pt x="1501967" y="1677692"/>
                </a:cubicBezTo>
                <a:cubicBezTo>
                  <a:pt x="1501967" y="1689664"/>
                  <a:pt x="1492716" y="1700548"/>
                  <a:pt x="1479111" y="1700548"/>
                </a:cubicBezTo>
                <a:cubicBezTo>
                  <a:pt x="1466596" y="1700548"/>
                  <a:pt x="1455712" y="1690208"/>
                  <a:pt x="1455712" y="1676604"/>
                </a:cubicBezTo>
                <a:cubicBezTo>
                  <a:pt x="1456256" y="1663544"/>
                  <a:pt x="1464963" y="1653204"/>
                  <a:pt x="1479111" y="1654293"/>
                </a:cubicBezTo>
                <a:close/>
                <a:moveTo>
                  <a:pt x="1643452" y="1650483"/>
                </a:moveTo>
                <a:cubicBezTo>
                  <a:pt x="1654880" y="1651027"/>
                  <a:pt x="1667940" y="1664087"/>
                  <a:pt x="1668484" y="1676603"/>
                </a:cubicBezTo>
                <a:cubicBezTo>
                  <a:pt x="1669029" y="1689120"/>
                  <a:pt x="1655968" y="1702724"/>
                  <a:pt x="1643452" y="1703268"/>
                </a:cubicBezTo>
                <a:cubicBezTo>
                  <a:pt x="1631480" y="1703812"/>
                  <a:pt x="1617332" y="1690208"/>
                  <a:pt x="1617332" y="1677692"/>
                </a:cubicBezTo>
                <a:cubicBezTo>
                  <a:pt x="1616788" y="1664632"/>
                  <a:pt x="1630392" y="1650483"/>
                  <a:pt x="1643452" y="1650483"/>
                </a:cubicBezTo>
                <a:close/>
                <a:moveTo>
                  <a:pt x="1968326" y="1649940"/>
                </a:moveTo>
                <a:cubicBezTo>
                  <a:pt x="1983019" y="1649395"/>
                  <a:pt x="1997167" y="1664088"/>
                  <a:pt x="1995535" y="1676604"/>
                </a:cubicBezTo>
                <a:cubicBezTo>
                  <a:pt x="1997167" y="1689664"/>
                  <a:pt x="1982474" y="1704901"/>
                  <a:pt x="1968870" y="1704357"/>
                </a:cubicBezTo>
                <a:cubicBezTo>
                  <a:pt x="1954177" y="1703813"/>
                  <a:pt x="1942205" y="1691841"/>
                  <a:pt x="1941661" y="1677148"/>
                </a:cubicBezTo>
                <a:cubicBezTo>
                  <a:pt x="1941117" y="1662456"/>
                  <a:pt x="1956354" y="1649940"/>
                  <a:pt x="1968326" y="1649940"/>
                </a:cubicBezTo>
                <a:close/>
                <a:moveTo>
                  <a:pt x="1805617" y="1649939"/>
                </a:moveTo>
                <a:cubicBezTo>
                  <a:pt x="1819222" y="1648851"/>
                  <a:pt x="1832826" y="1664088"/>
                  <a:pt x="1832826" y="1677148"/>
                </a:cubicBezTo>
                <a:cubicBezTo>
                  <a:pt x="1832282" y="1690752"/>
                  <a:pt x="1819222" y="1703812"/>
                  <a:pt x="1805073" y="1704357"/>
                </a:cubicBezTo>
                <a:cubicBezTo>
                  <a:pt x="1792557" y="1704901"/>
                  <a:pt x="1777864" y="1688031"/>
                  <a:pt x="1778409" y="1677148"/>
                </a:cubicBezTo>
                <a:cubicBezTo>
                  <a:pt x="1779497" y="1662999"/>
                  <a:pt x="1791469" y="1649939"/>
                  <a:pt x="1805617" y="1649939"/>
                </a:cubicBezTo>
                <a:close/>
                <a:moveTo>
                  <a:pt x="744474" y="1588992"/>
                </a:moveTo>
                <a:cubicBezTo>
                  <a:pt x="748827" y="1588992"/>
                  <a:pt x="751004" y="1590624"/>
                  <a:pt x="751004" y="1594978"/>
                </a:cubicBezTo>
                <a:cubicBezTo>
                  <a:pt x="751004" y="1598787"/>
                  <a:pt x="749916" y="1601508"/>
                  <a:pt x="745562" y="1602052"/>
                </a:cubicBezTo>
                <a:cubicBezTo>
                  <a:pt x="740665" y="1602052"/>
                  <a:pt x="738488" y="1600420"/>
                  <a:pt x="738488" y="1594978"/>
                </a:cubicBezTo>
                <a:cubicBezTo>
                  <a:pt x="737944" y="1590624"/>
                  <a:pt x="740121" y="1588992"/>
                  <a:pt x="744474" y="1588992"/>
                </a:cubicBezTo>
                <a:close/>
                <a:moveTo>
                  <a:pt x="907183" y="1579741"/>
                </a:moveTo>
                <a:cubicBezTo>
                  <a:pt x="913169" y="1579197"/>
                  <a:pt x="923508" y="1588992"/>
                  <a:pt x="923508" y="1594978"/>
                </a:cubicBezTo>
                <a:cubicBezTo>
                  <a:pt x="923508" y="1600964"/>
                  <a:pt x="915345" y="1610215"/>
                  <a:pt x="908815" y="1610759"/>
                </a:cubicBezTo>
                <a:cubicBezTo>
                  <a:pt x="901197" y="1611303"/>
                  <a:pt x="892490" y="1603685"/>
                  <a:pt x="892490" y="1595522"/>
                </a:cubicBezTo>
                <a:cubicBezTo>
                  <a:pt x="892490" y="1588448"/>
                  <a:pt x="900653" y="1579741"/>
                  <a:pt x="907183" y="1579741"/>
                </a:cubicBezTo>
                <a:close/>
                <a:moveTo>
                  <a:pt x="1071524" y="1574843"/>
                </a:moveTo>
                <a:cubicBezTo>
                  <a:pt x="1081319" y="1575387"/>
                  <a:pt x="1091114" y="1585726"/>
                  <a:pt x="1091114" y="1595522"/>
                </a:cubicBezTo>
                <a:cubicBezTo>
                  <a:pt x="1091114" y="1605317"/>
                  <a:pt x="1080231" y="1615656"/>
                  <a:pt x="1070980" y="1615656"/>
                </a:cubicBezTo>
                <a:cubicBezTo>
                  <a:pt x="1062273" y="1615656"/>
                  <a:pt x="1050845" y="1604228"/>
                  <a:pt x="1050301" y="1595522"/>
                </a:cubicBezTo>
                <a:cubicBezTo>
                  <a:pt x="1050301" y="1586270"/>
                  <a:pt x="1062273" y="1574299"/>
                  <a:pt x="1071524" y="1574843"/>
                </a:cubicBezTo>
                <a:close/>
                <a:moveTo>
                  <a:pt x="1233688" y="1573210"/>
                </a:moveTo>
                <a:cubicBezTo>
                  <a:pt x="1247837" y="1573210"/>
                  <a:pt x="1256544" y="1581373"/>
                  <a:pt x="1256544" y="1595522"/>
                </a:cubicBezTo>
                <a:cubicBezTo>
                  <a:pt x="1256544" y="1609670"/>
                  <a:pt x="1247837" y="1618377"/>
                  <a:pt x="1233688" y="1618377"/>
                </a:cubicBezTo>
                <a:cubicBezTo>
                  <a:pt x="1221172" y="1618377"/>
                  <a:pt x="1212465" y="1608582"/>
                  <a:pt x="1211377" y="1596610"/>
                </a:cubicBezTo>
                <a:cubicBezTo>
                  <a:pt x="1210289" y="1584638"/>
                  <a:pt x="1222261" y="1571034"/>
                  <a:pt x="1233688" y="1573210"/>
                </a:cubicBezTo>
                <a:close/>
                <a:moveTo>
                  <a:pt x="1398030" y="1569402"/>
                </a:moveTo>
                <a:cubicBezTo>
                  <a:pt x="1411634" y="1569946"/>
                  <a:pt x="1423606" y="1582462"/>
                  <a:pt x="1423062" y="1595522"/>
                </a:cubicBezTo>
                <a:cubicBezTo>
                  <a:pt x="1423062" y="1608582"/>
                  <a:pt x="1410546" y="1621099"/>
                  <a:pt x="1397485" y="1621099"/>
                </a:cubicBezTo>
                <a:cubicBezTo>
                  <a:pt x="1384969" y="1621099"/>
                  <a:pt x="1371365" y="1608038"/>
                  <a:pt x="1371365" y="1595522"/>
                </a:cubicBezTo>
                <a:cubicBezTo>
                  <a:pt x="1371365" y="1582462"/>
                  <a:pt x="1384969" y="1568857"/>
                  <a:pt x="1398030" y="1569402"/>
                </a:cubicBezTo>
                <a:close/>
                <a:moveTo>
                  <a:pt x="1560194" y="1568313"/>
                </a:moveTo>
                <a:cubicBezTo>
                  <a:pt x="1574342" y="1566680"/>
                  <a:pt x="1587403" y="1581373"/>
                  <a:pt x="1587947" y="1594433"/>
                </a:cubicBezTo>
                <a:cubicBezTo>
                  <a:pt x="1588491" y="1608582"/>
                  <a:pt x="1574887" y="1622730"/>
                  <a:pt x="1560194" y="1622730"/>
                </a:cubicBezTo>
                <a:cubicBezTo>
                  <a:pt x="1547134" y="1622730"/>
                  <a:pt x="1532985" y="1608582"/>
                  <a:pt x="1532985" y="1594977"/>
                </a:cubicBezTo>
                <a:cubicBezTo>
                  <a:pt x="1532985" y="1581917"/>
                  <a:pt x="1547134" y="1566680"/>
                  <a:pt x="1560194" y="1568313"/>
                </a:cubicBezTo>
                <a:close/>
                <a:moveTo>
                  <a:pt x="1887244" y="1567225"/>
                </a:moveTo>
                <a:cubicBezTo>
                  <a:pt x="1905202" y="1567225"/>
                  <a:pt x="1915541" y="1578109"/>
                  <a:pt x="1915541" y="1594978"/>
                </a:cubicBezTo>
                <a:cubicBezTo>
                  <a:pt x="1915541" y="1612392"/>
                  <a:pt x="1903569" y="1624363"/>
                  <a:pt x="1886699" y="1623819"/>
                </a:cubicBezTo>
                <a:cubicBezTo>
                  <a:pt x="1872551" y="1623819"/>
                  <a:pt x="1857314" y="1613480"/>
                  <a:pt x="1858947" y="1594978"/>
                </a:cubicBezTo>
                <a:cubicBezTo>
                  <a:pt x="1857858" y="1577564"/>
                  <a:pt x="1870918" y="1567225"/>
                  <a:pt x="1887244" y="1567225"/>
                </a:cubicBezTo>
                <a:close/>
                <a:moveTo>
                  <a:pt x="1724535" y="1567225"/>
                </a:moveTo>
                <a:cubicBezTo>
                  <a:pt x="1743037" y="1567225"/>
                  <a:pt x="1752288" y="1581373"/>
                  <a:pt x="1752288" y="1594978"/>
                </a:cubicBezTo>
                <a:cubicBezTo>
                  <a:pt x="1752288" y="1609127"/>
                  <a:pt x="1741949" y="1623275"/>
                  <a:pt x="1724535" y="1623275"/>
                </a:cubicBezTo>
                <a:cubicBezTo>
                  <a:pt x="1710930" y="1623819"/>
                  <a:pt x="1694605" y="1613480"/>
                  <a:pt x="1696238" y="1594978"/>
                </a:cubicBezTo>
                <a:cubicBezTo>
                  <a:pt x="1694605" y="1577564"/>
                  <a:pt x="1708754" y="1567225"/>
                  <a:pt x="1724535" y="1567225"/>
                </a:cubicBezTo>
                <a:close/>
                <a:moveTo>
                  <a:pt x="2050496" y="1566680"/>
                </a:moveTo>
                <a:lnTo>
                  <a:pt x="2051041" y="1566888"/>
                </a:lnTo>
                <a:lnTo>
                  <a:pt x="2051041" y="1623794"/>
                </a:lnTo>
                <a:lnTo>
                  <a:pt x="2049408" y="1624363"/>
                </a:lnTo>
                <a:cubicBezTo>
                  <a:pt x="2033083" y="1623818"/>
                  <a:pt x="2021111" y="1611302"/>
                  <a:pt x="2021655" y="1594977"/>
                </a:cubicBezTo>
                <a:cubicBezTo>
                  <a:pt x="2022199" y="1575931"/>
                  <a:pt x="2033627" y="1567224"/>
                  <a:pt x="2050496" y="1566680"/>
                </a:cubicBezTo>
                <a:close/>
                <a:moveTo>
                  <a:pt x="663392" y="1505188"/>
                </a:moveTo>
                <a:cubicBezTo>
                  <a:pt x="666113" y="1505188"/>
                  <a:pt x="669922" y="1510086"/>
                  <a:pt x="674819" y="1513895"/>
                </a:cubicBezTo>
                <a:cubicBezTo>
                  <a:pt x="669378" y="1517704"/>
                  <a:pt x="665569" y="1522602"/>
                  <a:pt x="662848" y="1522058"/>
                </a:cubicBezTo>
                <a:cubicBezTo>
                  <a:pt x="659583" y="1521513"/>
                  <a:pt x="654685" y="1516072"/>
                  <a:pt x="654685" y="1513351"/>
                </a:cubicBezTo>
                <a:cubicBezTo>
                  <a:pt x="654685" y="1510086"/>
                  <a:pt x="660127" y="1505188"/>
                  <a:pt x="663392" y="1505188"/>
                </a:cubicBezTo>
                <a:close/>
                <a:moveTo>
                  <a:pt x="826101" y="1497570"/>
                </a:moveTo>
                <a:cubicBezTo>
                  <a:pt x="834263" y="1497025"/>
                  <a:pt x="842426" y="1505188"/>
                  <a:pt x="842970" y="1513351"/>
                </a:cubicBezTo>
                <a:cubicBezTo>
                  <a:pt x="842970" y="1522058"/>
                  <a:pt x="835352" y="1529676"/>
                  <a:pt x="826645" y="1529676"/>
                </a:cubicBezTo>
                <a:cubicBezTo>
                  <a:pt x="818482" y="1529676"/>
                  <a:pt x="810864" y="1523146"/>
                  <a:pt x="810319" y="1514983"/>
                </a:cubicBezTo>
                <a:cubicBezTo>
                  <a:pt x="809775" y="1506276"/>
                  <a:pt x="817394" y="1498114"/>
                  <a:pt x="826101" y="1497570"/>
                </a:cubicBezTo>
                <a:close/>
                <a:moveTo>
                  <a:pt x="988265" y="1492128"/>
                </a:moveTo>
                <a:cubicBezTo>
                  <a:pt x="998605" y="1492128"/>
                  <a:pt x="1010577" y="1501379"/>
                  <a:pt x="1010577" y="1513351"/>
                </a:cubicBezTo>
                <a:cubicBezTo>
                  <a:pt x="1010577" y="1524234"/>
                  <a:pt x="1000237" y="1534574"/>
                  <a:pt x="989354" y="1534574"/>
                </a:cubicBezTo>
                <a:cubicBezTo>
                  <a:pt x="979559" y="1534574"/>
                  <a:pt x="968675" y="1523690"/>
                  <a:pt x="968131" y="1513895"/>
                </a:cubicBezTo>
                <a:cubicBezTo>
                  <a:pt x="968131" y="1503556"/>
                  <a:pt x="977926" y="1492672"/>
                  <a:pt x="988265" y="1492128"/>
                </a:cubicBezTo>
                <a:close/>
                <a:moveTo>
                  <a:pt x="1152606" y="1490496"/>
                </a:moveTo>
                <a:cubicBezTo>
                  <a:pt x="1167299" y="1489407"/>
                  <a:pt x="1176006" y="1498658"/>
                  <a:pt x="1176006" y="1513351"/>
                </a:cubicBezTo>
                <a:cubicBezTo>
                  <a:pt x="1176006" y="1530764"/>
                  <a:pt x="1166755" y="1537295"/>
                  <a:pt x="1152606" y="1537839"/>
                </a:cubicBezTo>
                <a:cubicBezTo>
                  <a:pt x="1139546" y="1537839"/>
                  <a:pt x="1129207" y="1530764"/>
                  <a:pt x="1129207" y="1514984"/>
                </a:cubicBezTo>
                <a:cubicBezTo>
                  <a:pt x="1129207" y="1498114"/>
                  <a:pt x="1138458" y="1491040"/>
                  <a:pt x="1152606" y="1490496"/>
                </a:cubicBezTo>
                <a:close/>
                <a:moveTo>
                  <a:pt x="1316403" y="1487231"/>
                </a:moveTo>
                <a:cubicBezTo>
                  <a:pt x="1331095" y="1487775"/>
                  <a:pt x="1342523" y="1499203"/>
                  <a:pt x="1342523" y="1513896"/>
                </a:cubicBezTo>
                <a:cubicBezTo>
                  <a:pt x="1342523" y="1528588"/>
                  <a:pt x="1330551" y="1540560"/>
                  <a:pt x="1315314" y="1540560"/>
                </a:cubicBezTo>
                <a:cubicBezTo>
                  <a:pt x="1303887" y="1542193"/>
                  <a:pt x="1288106" y="1527500"/>
                  <a:pt x="1288650" y="1513896"/>
                </a:cubicBezTo>
                <a:cubicBezTo>
                  <a:pt x="1289194" y="1498659"/>
                  <a:pt x="1301166" y="1486687"/>
                  <a:pt x="1316403" y="1487231"/>
                </a:cubicBezTo>
                <a:close/>
                <a:moveTo>
                  <a:pt x="1479656" y="1485054"/>
                </a:moveTo>
                <a:cubicBezTo>
                  <a:pt x="1495437" y="1485598"/>
                  <a:pt x="1508497" y="1496482"/>
                  <a:pt x="1507409" y="1513895"/>
                </a:cubicBezTo>
                <a:cubicBezTo>
                  <a:pt x="1508497" y="1527500"/>
                  <a:pt x="1498158" y="1542192"/>
                  <a:pt x="1479112" y="1541648"/>
                </a:cubicBezTo>
                <a:cubicBezTo>
                  <a:pt x="1462787" y="1541648"/>
                  <a:pt x="1451359" y="1529676"/>
                  <a:pt x="1451359" y="1513351"/>
                </a:cubicBezTo>
                <a:cubicBezTo>
                  <a:pt x="1451359" y="1493761"/>
                  <a:pt x="1466596" y="1485054"/>
                  <a:pt x="1479656" y="1485054"/>
                </a:cubicBezTo>
                <a:close/>
                <a:moveTo>
                  <a:pt x="1641820" y="1482334"/>
                </a:moveTo>
                <a:cubicBezTo>
                  <a:pt x="1657057" y="1481789"/>
                  <a:pt x="1672838" y="1496482"/>
                  <a:pt x="1673382" y="1512807"/>
                </a:cubicBezTo>
                <a:cubicBezTo>
                  <a:pt x="1673927" y="1528044"/>
                  <a:pt x="1658145" y="1544370"/>
                  <a:pt x="1642909" y="1544370"/>
                </a:cubicBezTo>
                <a:cubicBezTo>
                  <a:pt x="1626039" y="1542193"/>
                  <a:pt x="1612979" y="1532942"/>
                  <a:pt x="1612435" y="1513351"/>
                </a:cubicBezTo>
                <a:cubicBezTo>
                  <a:pt x="1611890" y="1497571"/>
                  <a:pt x="1626583" y="1483422"/>
                  <a:pt x="1641820" y="1482334"/>
                </a:cubicBezTo>
                <a:close/>
                <a:moveTo>
                  <a:pt x="1804529" y="1481788"/>
                </a:moveTo>
                <a:cubicBezTo>
                  <a:pt x="1820855" y="1481244"/>
                  <a:pt x="1836091" y="1494304"/>
                  <a:pt x="1837180" y="1513351"/>
                </a:cubicBezTo>
                <a:cubicBezTo>
                  <a:pt x="1838812" y="1528043"/>
                  <a:pt x="1825208" y="1544913"/>
                  <a:pt x="1805617" y="1545457"/>
                </a:cubicBezTo>
                <a:cubicBezTo>
                  <a:pt x="1787660" y="1544913"/>
                  <a:pt x="1774055" y="1532397"/>
                  <a:pt x="1773511" y="1514983"/>
                </a:cubicBezTo>
                <a:cubicBezTo>
                  <a:pt x="1772967" y="1494849"/>
                  <a:pt x="1788204" y="1482333"/>
                  <a:pt x="1804529" y="1481788"/>
                </a:cubicBezTo>
                <a:close/>
                <a:moveTo>
                  <a:pt x="1968870" y="1480700"/>
                </a:moveTo>
                <a:cubicBezTo>
                  <a:pt x="1984651" y="1480700"/>
                  <a:pt x="2000977" y="1495937"/>
                  <a:pt x="2000977" y="1513351"/>
                </a:cubicBezTo>
                <a:cubicBezTo>
                  <a:pt x="2001521" y="1529132"/>
                  <a:pt x="1987916" y="1546001"/>
                  <a:pt x="1968870" y="1545457"/>
                </a:cubicBezTo>
                <a:cubicBezTo>
                  <a:pt x="1949824" y="1545457"/>
                  <a:pt x="1936764" y="1530764"/>
                  <a:pt x="1936764" y="1513351"/>
                </a:cubicBezTo>
                <a:cubicBezTo>
                  <a:pt x="1936764" y="1493760"/>
                  <a:pt x="1953633" y="1480700"/>
                  <a:pt x="1968870" y="1480700"/>
                </a:cubicBezTo>
                <a:close/>
                <a:moveTo>
                  <a:pt x="581221" y="1423562"/>
                </a:moveTo>
                <a:cubicBezTo>
                  <a:pt x="586663" y="1423562"/>
                  <a:pt x="589384" y="1427371"/>
                  <a:pt x="588840" y="1431725"/>
                </a:cubicBezTo>
                <a:cubicBezTo>
                  <a:pt x="588840" y="1434990"/>
                  <a:pt x="585030" y="1438255"/>
                  <a:pt x="581765" y="1443153"/>
                </a:cubicBezTo>
                <a:cubicBezTo>
                  <a:pt x="577412" y="1438255"/>
                  <a:pt x="574147" y="1436078"/>
                  <a:pt x="573059" y="1432813"/>
                </a:cubicBezTo>
                <a:cubicBezTo>
                  <a:pt x="571426" y="1429004"/>
                  <a:pt x="576868" y="1423562"/>
                  <a:pt x="581221" y="1423562"/>
                </a:cubicBezTo>
                <a:close/>
                <a:moveTo>
                  <a:pt x="745562" y="1414855"/>
                </a:moveTo>
                <a:cubicBezTo>
                  <a:pt x="754269" y="1415399"/>
                  <a:pt x="761344" y="1423018"/>
                  <a:pt x="761344" y="1432269"/>
                </a:cubicBezTo>
                <a:cubicBezTo>
                  <a:pt x="761344" y="1442064"/>
                  <a:pt x="754813" y="1448050"/>
                  <a:pt x="745018" y="1448050"/>
                </a:cubicBezTo>
                <a:cubicBezTo>
                  <a:pt x="734679" y="1448050"/>
                  <a:pt x="728693" y="1442064"/>
                  <a:pt x="728693" y="1431725"/>
                </a:cubicBezTo>
                <a:cubicBezTo>
                  <a:pt x="728693" y="1421386"/>
                  <a:pt x="735223" y="1414311"/>
                  <a:pt x="745562" y="1414855"/>
                </a:cubicBezTo>
                <a:close/>
                <a:moveTo>
                  <a:pt x="908815" y="1409958"/>
                </a:moveTo>
                <a:cubicBezTo>
                  <a:pt x="920243" y="1410502"/>
                  <a:pt x="930038" y="1420297"/>
                  <a:pt x="930038" y="1431725"/>
                </a:cubicBezTo>
                <a:cubicBezTo>
                  <a:pt x="929494" y="1443697"/>
                  <a:pt x="919155" y="1454036"/>
                  <a:pt x="907183" y="1453492"/>
                </a:cubicBezTo>
                <a:cubicBezTo>
                  <a:pt x="896844" y="1453492"/>
                  <a:pt x="885960" y="1442064"/>
                  <a:pt x="885960" y="1431725"/>
                </a:cubicBezTo>
                <a:cubicBezTo>
                  <a:pt x="885960" y="1420297"/>
                  <a:pt x="897388" y="1409414"/>
                  <a:pt x="908815" y="1409958"/>
                </a:cubicBezTo>
                <a:close/>
                <a:moveTo>
                  <a:pt x="1070436" y="1406693"/>
                </a:moveTo>
                <a:cubicBezTo>
                  <a:pt x="1084584" y="1406693"/>
                  <a:pt x="1096012" y="1418121"/>
                  <a:pt x="1096012" y="1432269"/>
                </a:cubicBezTo>
                <a:cubicBezTo>
                  <a:pt x="1096012" y="1445329"/>
                  <a:pt x="1082952" y="1458390"/>
                  <a:pt x="1070436" y="1457846"/>
                </a:cubicBezTo>
                <a:cubicBezTo>
                  <a:pt x="1058464" y="1457301"/>
                  <a:pt x="1044860" y="1443153"/>
                  <a:pt x="1045404" y="1431181"/>
                </a:cubicBezTo>
                <a:cubicBezTo>
                  <a:pt x="1045948" y="1418665"/>
                  <a:pt x="1057920" y="1406693"/>
                  <a:pt x="1070436" y="1406693"/>
                </a:cubicBezTo>
                <a:close/>
                <a:moveTo>
                  <a:pt x="1235865" y="1404516"/>
                </a:moveTo>
                <a:cubicBezTo>
                  <a:pt x="1252191" y="1405605"/>
                  <a:pt x="1262530" y="1415944"/>
                  <a:pt x="1261986" y="1433358"/>
                </a:cubicBezTo>
                <a:cubicBezTo>
                  <a:pt x="1261442" y="1449683"/>
                  <a:pt x="1251102" y="1459478"/>
                  <a:pt x="1233689" y="1459478"/>
                </a:cubicBezTo>
                <a:cubicBezTo>
                  <a:pt x="1218452" y="1461655"/>
                  <a:pt x="1206480" y="1445329"/>
                  <a:pt x="1206480" y="1432269"/>
                </a:cubicBezTo>
                <a:cubicBezTo>
                  <a:pt x="1206480" y="1417032"/>
                  <a:pt x="1220084" y="1403428"/>
                  <a:pt x="1235865" y="1404516"/>
                </a:cubicBezTo>
                <a:close/>
                <a:moveTo>
                  <a:pt x="1397485" y="1400162"/>
                </a:moveTo>
                <a:cubicBezTo>
                  <a:pt x="1412178" y="1400162"/>
                  <a:pt x="1427959" y="1416487"/>
                  <a:pt x="1427959" y="1431724"/>
                </a:cubicBezTo>
                <a:cubicBezTo>
                  <a:pt x="1428503" y="1446961"/>
                  <a:pt x="1413810" y="1462198"/>
                  <a:pt x="1398029" y="1463287"/>
                </a:cubicBezTo>
                <a:cubicBezTo>
                  <a:pt x="1384425" y="1464375"/>
                  <a:pt x="1367555" y="1448049"/>
                  <a:pt x="1366467" y="1432813"/>
                </a:cubicBezTo>
                <a:cubicBezTo>
                  <a:pt x="1365923" y="1418120"/>
                  <a:pt x="1382792" y="1400162"/>
                  <a:pt x="1397485" y="1400162"/>
                </a:cubicBezTo>
                <a:close/>
                <a:moveTo>
                  <a:pt x="1561282" y="1399618"/>
                </a:moveTo>
                <a:cubicBezTo>
                  <a:pt x="1575975" y="1399618"/>
                  <a:pt x="1593388" y="1415943"/>
                  <a:pt x="1593388" y="1432269"/>
                </a:cubicBezTo>
                <a:cubicBezTo>
                  <a:pt x="1593388" y="1446961"/>
                  <a:pt x="1578696" y="1464919"/>
                  <a:pt x="1560738" y="1464375"/>
                </a:cubicBezTo>
                <a:cubicBezTo>
                  <a:pt x="1542236" y="1463831"/>
                  <a:pt x="1529176" y="1450226"/>
                  <a:pt x="1528631" y="1432813"/>
                </a:cubicBezTo>
                <a:cubicBezTo>
                  <a:pt x="1528087" y="1414311"/>
                  <a:pt x="1545501" y="1399618"/>
                  <a:pt x="1561282" y="1399618"/>
                </a:cubicBezTo>
                <a:close/>
                <a:moveTo>
                  <a:pt x="1723446" y="1399074"/>
                </a:moveTo>
                <a:cubicBezTo>
                  <a:pt x="1741948" y="1399074"/>
                  <a:pt x="1757185" y="1413767"/>
                  <a:pt x="1757185" y="1432269"/>
                </a:cubicBezTo>
                <a:cubicBezTo>
                  <a:pt x="1757185" y="1451315"/>
                  <a:pt x="1743037" y="1463831"/>
                  <a:pt x="1723991" y="1465464"/>
                </a:cubicBezTo>
                <a:cubicBezTo>
                  <a:pt x="1707121" y="1466552"/>
                  <a:pt x="1690252" y="1448594"/>
                  <a:pt x="1691340" y="1433357"/>
                </a:cubicBezTo>
                <a:cubicBezTo>
                  <a:pt x="1692428" y="1412678"/>
                  <a:pt x="1704400" y="1399074"/>
                  <a:pt x="1723446" y="1399074"/>
                </a:cubicBezTo>
                <a:close/>
                <a:moveTo>
                  <a:pt x="1886700" y="1398530"/>
                </a:moveTo>
                <a:cubicBezTo>
                  <a:pt x="1904113" y="1396898"/>
                  <a:pt x="1922071" y="1415944"/>
                  <a:pt x="1920439" y="1432269"/>
                </a:cubicBezTo>
                <a:cubicBezTo>
                  <a:pt x="1919350" y="1451315"/>
                  <a:pt x="1907378" y="1464920"/>
                  <a:pt x="1887788" y="1464920"/>
                </a:cubicBezTo>
                <a:cubicBezTo>
                  <a:pt x="1867109" y="1464920"/>
                  <a:pt x="1854049" y="1452948"/>
                  <a:pt x="1854049" y="1433358"/>
                </a:cubicBezTo>
                <a:cubicBezTo>
                  <a:pt x="1854049" y="1412679"/>
                  <a:pt x="1867109" y="1400163"/>
                  <a:pt x="1886700" y="1398530"/>
                </a:cubicBezTo>
                <a:close/>
                <a:moveTo>
                  <a:pt x="2051041" y="1398217"/>
                </a:moveTo>
                <a:lnTo>
                  <a:pt x="2051041" y="1464535"/>
                </a:lnTo>
                <a:lnTo>
                  <a:pt x="2049953" y="1464920"/>
                </a:lnTo>
                <a:cubicBezTo>
                  <a:pt x="2032539" y="1467096"/>
                  <a:pt x="2017302" y="1450771"/>
                  <a:pt x="2017302" y="1431725"/>
                </a:cubicBezTo>
                <a:cubicBezTo>
                  <a:pt x="2017302" y="1422746"/>
                  <a:pt x="2021383" y="1414311"/>
                  <a:pt x="2027709" y="1408121"/>
                </a:cubicBezTo>
                <a:close/>
                <a:moveTo>
                  <a:pt x="500139" y="1341936"/>
                </a:moveTo>
                <a:cubicBezTo>
                  <a:pt x="503404" y="1343568"/>
                  <a:pt x="506125" y="1346833"/>
                  <a:pt x="511023" y="1350643"/>
                </a:cubicBezTo>
                <a:cubicBezTo>
                  <a:pt x="506125" y="1354452"/>
                  <a:pt x="502860" y="1357717"/>
                  <a:pt x="499595" y="1358261"/>
                </a:cubicBezTo>
                <a:cubicBezTo>
                  <a:pt x="495241" y="1359349"/>
                  <a:pt x="490888" y="1353908"/>
                  <a:pt x="491432" y="1349010"/>
                </a:cubicBezTo>
                <a:cubicBezTo>
                  <a:pt x="491976" y="1344112"/>
                  <a:pt x="495241" y="1340848"/>
                  <a:pt x="500139" y="1341936"/>
                </a:cubicBezTo>
                <a:close/>
                <a:moveTo>
                  <a:pt x="662848" y="1333773"/>
                </a:moveTo>
                <a:cubicBezTo>
                  <a:pt x="673187" y="1333773"/>
                  <a:pt x="679173" y="1340303"/>
                  <a:pt x="679173" y="1350643"/>
                </a:cubicBezTo>
                <a:cubicBezTo>
                  <a:pt x="679173" y="1359894"/>
                  <a:pt x="672099" y="1366424"/>
                  <a:pt x="662848" y="1366424"/>
                </a:cubicBezTo>
                <a:cubicBezTo>
                  <a:pt x="653053" y="1366424"/>
                  <a:pt x="647067" y="1359894"/>
                  <a:pt x="647067" y="1350098"/>
                </a:cubicBezTo>
                <a:cubicBezTo>
                  <a:pt x="647067" y="1339759"/>
                  <a:pt x="653053" y="1333773"/>
                  <a:pt x="662848" y="1333773"/>
                </a:cubicBezTo>
                <a:close/>
                <a:moveTo>
                  <a:pt x="826645" y="1328331"/>
                </a:moveTo>
                <a:cubicBezTo>
                  <a:pt x="838617" y="1328331"/>
                  <a:pt x="848412" y="1338670"/>
                  <a:pt x="847868" y="1350642"/>
                </a:cubicBezTo>
                <a:cubicBezTo>
                  <a:pt x="847868" y="1362070"/>
                  <a:pt x="836984" y="1372409"/>
                  <a:pt x="825556" y="1372409"/>
                </a:cubicBezTo>
                <a:cubicBezTo>
                  <a:pt x="814673" y="1372409"/>
                  <a:pt x="803789" y="1360982"/>
                  <a:pt x="804334" y="1349554"/>
                </a:cubicBezTo>
                <a:cubicBezTo>
                  <a:pt x="804334" y="1337582"/>
                  <a:pt x="814673" y="1328331"/>
                  <a:pt x="826645" y="1328331"/>
                </a:cubicBezTo>
                <a:close/>
                <a:moveTo>
                  <a:pt x="989353" y="1323978"/>
                </a:moveTo>
                <a:cubicBezTo>
                  <a:pt x="1002957" y="1324522"/>
                  <a:pt x="1014385" y="1334861"/>
                  <a:pt x="1015473" y="1350098"/>
                </a:cubicBezTo>
                <a:cubicBezTo>
                  <a:pt x="1014929" y="1363702"/>
                  <a:pt x="1004046" y="1376219"/>
                  <a:pt x="989353" y="1376763"/>
                </a:cubicBezTo>
                <a:cubicBezTo>
                  <a:pt x="976293" y="1376763"/>
                  <a:pt x="963777" y="1364791"/>
                  <a:pt x="963777" y="1350642"/>
                </a:cubicBezTo>
                <a:cubicBezTo>
                  <a:pt x="963233" y="1334861"/>
                  <a:pt x="977925" y="1323434"/>
                  <a:pt x="989353" y="1323978"/>
                </a:cubicBezTo>
                <a:close/>
                <a:moveTo>
                  <a:pt x="1152606" y="1322889"/>
                </a:moveTo>
                <a:cubicBezTo>
                  <a:pt x="1170564" y="1320712"/>
                  <a:pt x="1180903" y="1335405"/>
                  <a:pt x="1181447" y="1350098"/>
                </a:cubicBezTo>
                <a:cubicBezTo>
                  <a:pt x="1181447" y="1364791"/>
                  <a:pt x="1171108" y="1379483"/>
                  <a:pt x="1152606" y="1379483"/>
                </a:cubicBezTo>
                <a:cubicBezTo>
                  <a:pt x="1137913" y="1379483"/>
                  <a:pt x="1124853" y="1367511"/>
                  <a:pt x="1124853" y="1350642"/>
                </a:cubicBezTo>
                <a:cubicBezTo>
                  <a:pt x="1124309" y="1333228"/>
                  <a:pt x="1137913" y="1320712"/>
                  <a:pt x="1152606" y="1322889"/>
                </a:cubicBezTo>
                <a:close/>
                <a:moveTo>
                  <a:pt x="1315315" y="1318536"/>
                </a:moveTo>
                <a:cubicBezTo>
                  <a:pt x="1334361" y="1318536"/>
                  <a:pt x="1345789" y="1331596"/>
                  <a:pt x="1347966" y="1350098"/>
                </a:cubicBezTo>
                <a:cubicBezTo>
                  <a:pt x="1345245" y="1369144"/>
                  <a:pt x="1334905" y="1382205"/>
                  <a:pt x="1315315" y="1381661"/>
                </a:cubicBezTo>
                <a:cubicBezTo>
                  <a:pt x="1296813" y="1381116"/>
                  <a:pt x="1284841" y="1369144"/>
                  <a:pt x="1284297" y="1350098"/>
                </a:cubicBezTo>
                <a:cubicBezTo>
                  <a:pt x="1284297" y="1331052"/>
                  <a:pt x="1297357" y="1319080"/>
                  <a:pt x="1315315" y="1318536"/>
                </a:cubicBezTo>
                <a:close/>
                <a:moveTo>
                  <a:pt x="1480744" y="1317448"/>
                </a:moveTo>
                <a:cubicBezTo>
                  <a:pt x="1499246" y="1317992"/>
                  <a:pt x="1512851" y="1332140"/>
                  <a:pt x="1512306" y="1351731"/>
                </a:cubicBezTo>
                <a:cubicBezTo>
                  <a:pt x="1511762" y="1370233"/>
                  <a:pt x="1497070" y="1383837"/>
                  <a:pt x="1477479" y="1383293"/>
                </a:cubicBezTo>
                <a:cubicBezTo>
                  <a:pt x="1458977" y="1382749"/>
                  <a:pt x="1447550" y="1368600"/>
                  <a:pt x="1446461" y="1349554"/>
                </a:cubicBezTo>
                <a:cubicBezTo>
                  <a:pt x="1445373" y="1333773"/>
                  <a:pt x="1463331" y="1314727"/>
                  <a:pt x="1480744" y="1317448"/>
                </a:cubicBezTo>
                <a:close/>
                <a:moveTo>
                  <a:pt x="1642908" y="1315815"/>
                </a:moveTo>
                <a:cubicBezTo>
                  <a:pt x="1663043" y="1315815"/>
                  <a:pt x="1677735" y="1333229"/>
                  <a:pt x="1676647" y="1351731"/>
                </a:cubicBezTo>
                <a:cubicBezTo>
                  <a:pt x="1675559" y="1371865"/>
                  <a:pt x="1661954" y="1384381"/>
                  <a:pt x="1640732" y="1383837"/>
                </a:cubicBezTo>
                <a:cubicBezTo>
                  <a:pt x="1620597" y="1384381"/>
                  <a:pt x="1608081" y="1368056"/>
                  <a:pt x="1608081" y="1349554"/>
                </a:cubicBezTo>
                <a:cubicBezTo>
                  <a:pt x="1608081" y="1329964"/>
                  <a:pt x="1623318" y="1315815"/>
                  <a:pt x="1642908" y="1315815"/>
                </a:cubicBezTo>
                <a:close/>
                <a:moveTo>
                  <a:pt x="1968870" y="1314183"/>
                </a:moveTo>
                <a:cubicBezTo>
                  <a:pt x="1989548" y="1314727"/>
                  <a:pt x="2004785" y="1329420"/>
                  <a:pt x="2005329" y="1351187"/>
                </a:cubicBezTo>
                <a:cubicBezTo>
                  <a:pt x="2004785" y="1370233"/>
                  <a:pt x="1985739" y="1388735"/>
                  <a:pt x="1967781" y="1388191"/>
                </a:cubicBezTo>
                <a:cubicBezTo>
                  <a:pt x="1949823" y="1387647"/>
                  <a:pt x="1931322" y="1367512"/>
                  <a:pt x="1931866" y="1350098"/>
                </a:cubicBezTo>
                <a:cubicBezTo>
                  <a:pt x="1932410" y="1331596"/>
                  <a:pt x="1950912" y="1313094"/>
                  <a:pt x="1968870" y="1314183"/>
                </a:cubicBezTo>
                <a:close/>
                <a:moveTo>
                  <a:pt x="1806161" y="1313639"/>
                </a:moveTo>
                <a:cubicBezTo>
                  <a:pt x="1825207" y="1314183"/>
                  <a:pt x="1843165" y="1332141"/>
                  <a:pt x="1841533" y="1351187"/>
                </a:cubicBezTo>
                <a:cubicBezTo>
                  <a:pt x="1840988" y="1360438"/>
                  <a:pt x="1838267" y="1370233"/>
                  <a:pt x="1830105" y="1376763"/>
                </a:cubicBezTo>
                <a:cubicBezTo>
                  <a:pt x="1822486" y="1383293"/>
                  <a:pt x="1813235" y="1387102"/>
                  <a:pt x="1803984" y="1387102"/>
                </a:cubicBezTo>
                <a:cubicBezTo>
                  <a:pt x="1786027" y="1387102"/>
                  <a:pt x="1768613" y="1367512"/>
                  <a:pt x="1768613" y="1350098"/>
                </a:cubicBezTo>
                <a:cubicBezTo>
                  <a:pt x="1769157" y="1331596"/>
                  <a:pt x="1788203" y="1313094"/>
                  <a:pt x="1806161" y="1313639"/>
                </a:cubicBezTo>
                <a:close/>
                <a:moveTo>
                  <a:pt x="419057" y="1262486"/>
                </a:moveTo>
                <a:cubicBezTo>
                  <a:pt x="423410" y="1262486"/>
                  <a:pt x="425587" y="1265207"/>
                  <a:pt x="424499" y="1269016"/>
                </a:cubicBezTo>
                <a:cubicBezTo>
                  <a:pt x="423410" y="1271737"/>
                  <a:pt x="421234" y="1273914"/>
                  <a:pt x="417969" y="1278811"/>
                </a:cubicBezTo>
                <a:cubicBezTo>
                  <a:pt x="414704" y="1273914"/>
                  <a:pt x="412527" y="1271737"/>
                  <a:pt x="411983" y="1269016"/>
                </a:cubicBezTo>
                <a:cubicBezTo>
                  <a:pt x="410894" y="1264118"/>
                  <a:pt x="414159" y="1262486"/>
                  <a:pt x="419057" y="1262486"/>
                </a:cubicBezTo>
                <a:close/>
                <a:moveTo>
                  <a:pt x="581221" y="1252147"/>
                </a:moveTo>
                <a:cubicBezTo>
                  <a:pt x="591016" y="1252691"/>
                  <a:pt x="598091" y="1260310"/>
                  <a:pt x="597547" y="1269017"/>
                </a:cubicBezTo>
                <a:cubicBezTo>
                  <a:pt x="597547" y="1278268"/>
                  <a:pt x="589928" y="1284798"/>
                  <a:pt x="580133" y="1284254"/>
                </a:cubicBezTo>
                <a:cubicBezTo>
                  <a:pt x="570882" y="1283709"/>
                  <a:pt x="564896" y="1277179"/>
                  <a:pt x="564896" y="1268472"/>
                </a:cubicBezTo>
                <a:cubicBezTo>
                  <a:pt x="564896" y="1259222"/>
                  <a:pt x="571970" y="1252147"/>
                  <a:pt x="581221" y="1252147"/>
                </a:cubicBezTo>
                <a:close/>
                <a:moveTo>
                  <a:pt x="745018" y="1246705"/>
                </a:moveTo>
                <a:cubicBezTo>
                  <a:pt x="757534" y="1246705"/>
                  <a:pt x="766785" y="1257044"/>
                  <a:pt x="766241" y="1269560"/>
                </a:cubicBezTo>
                <a:cubicBezTo>
                  <a:pt x="765697" y="1280988"/>
                  <a:pt x="755358" y="1290783"/>
                  <a:pt x="744474" y="1290783"/>
                </a:cubicBezTo>
                <a:cubicBezTo>
                  <a:pt x="733046" y="1290783"/>
                  <a:pt x="722707" y="1279900"/>
                  <a:pt x="722707" y="1267928"/>
                </a:cubicBezTo>
                <a:cubicBezTo>
                  <a:pt x="722707" y="1255956"/>
                  <a:pt x="733046" y="1246705"/>
                  <a:pt x="745018" y="1246705"/>
                </a:cubicBezTo>
                <a:close/>
                <a:moveTo>
                  <a:pt x="907727" y="1241807"/>
                </a:moveTo>
                <a:cubicBezTo>
                  <a:pt x="921331" y="1241807"/>
                  <a:pt x="934391" y="1257044"/>
                  <a:pt x="933847" y="1269016"/>
                </a:cubicBezTo>
                <a:cubicBezTo>
                  <a:pt x="933847" y="1282620"/>
                  <a:pt x="920787" y="1295680"/>
                  <a:pt x="907183" y="1295136"/>
                </a:cubicBezTo>
                <a:cubicBezTo>
                  <a:pt x="893578" y="1294592"/>
                  <a:pt x="880518" y="1280988"/>
                  <a:pt x="880518" y="1267927"/>
                </a:cubicBezTo>
                <a:cubicBezTo>
                  <a:pt x="881062" y="1254323"/>
                  <a:pt x="894122" y="1242351"/>
                  <a:pt x="907727" y="1241807"/>
                </a:cubicBezTo>
                <a:close/>
                <a:moveTo>
                  <a:pt x="1070979" y="1240719"/>
                </a:moveTo>
                <a:cubicBezTo>
                  <a:pt x="1091114" y="1240175"/>
                  <a:pt x="1099276" y="1252691"/>
                  <a:pt x="1099821" y="1268472"/>
                </a:cubicBezTo>
                <a:cubicBezTo>
                  <a:pt x="1099821" y="1285886"/>
                  <a:pt x="1088393" y="1297858"/>
                  <a:pt x="1070435" y="1297858"/>
                </a:cubicBezTo>
                <a:cubicBezTo>
                  <a:pt x="1053566" y="1297858"/>
                  <a:pt x="1042138" y="1286430"/>
                  <a:pt x="1042138" y="1269560"/>
                </a:cubicBezTo>
                <a:cubicBezTo>
                  <a:pt x="1042138" y="1250514"/>
                  <a:pt x="1053566" y="1240719"/>
                  <a:pt x="1070979" y="1240719"/>
                </a:cubicBezTo>
                <a:close/>
                <a:moveTo>
                  <a:pt x="1234233" y="1235821"/>
                </a:moveTo>
                <a:cubicBezTo>
                  <a:pt x="1250558" y="1235821"/>
                  <a:pt x="1267972" y="1252691"/>
                  <a:pt x="1266883" y="1269016"/>
                </a:cubicBezTo>
                <a:cubicBezTo>
                  <a:pt x="1266339" y="1285885"/>
                  <a:pt x="1251646" y="1301122"/>
                  <a:pt x="1234233" y="1300578"/>
                </a:cubicBezTo>
                <a:cubicBezTo>
                  <a:pt x="1216275" y="1300578"/>
                  <a:pt x="1201582" y="1286430"/>
                  <a:pt x="1201582" y="1267383"/>
                </a:cubicBezTo>
                <a:cubicBezTo>
                  <a:pt x="1201582" y="1249425"/>
                  <a:pt x="1217907" y="1235821"/>
                  <a:pt x="1234233" y="1235821"/>
                </a:cubicBezTo>
                <a:close/>
                <a:moveTo>
                  <a:pt x="1396397" y="1234733"/>
                </a:moveTo>
                <a:cubicBezTo>
                  <a:pt x="1413810" y="1233645"/>
                  <a:pt x="1433945" y="1250514"/>
                  <a:pt x="1431224" y="1268472"/>
                </a:cubicBezTo>
                <a:cubicBezTo>
                  <a:pt x="1433401" y="1286430"/>
                  <a:pt x="1415443" y="1303299"/>
                  <a:pt x="1396941" y="1302755"/>
                </a:cubicBezTo>
                <a:cubicBezTo>
                  <a:pt x="1381160" y="1302211"/>
                  <a:pt x="1363202" y="1290783"/>
                  <a:pt x="1363746" y="1269016"/>
                </a:cubicBezTo>
                <a:cubicBezTo>
                  <a:pt x="1364290" y="1248881"/>
                  <a:pt x="1376806" y="1235821"/>
                  <a:pt x="1396397" y="1234733"/>
                </a:cubicBezTo>
                <a:close/>
                <a:moveTo>
                  <a:pt x="1559649" y="1232557"/>
                </a:moveTo>
                <a:cubicBezTo>
                  <a:pt x="1580328" y="1232013"/>
                  <a:pt x="1595021" y="1246705"/>
                  <a:pt x="1597742" y="1268472"/>
                </a:cubicBezTo>
                <a:cubicBezTo>
                  <a:pt x="1598286" y="1286974"/>
                  <a:pt x="1580872" y="1304932"/>
                  <a:pt x="1561826" y="1305476"/>
                </a:cubicBezTo>
                <a:cubicBezTo>
                  <a:pt x="1543868" y="1306564"/>
                  <a:pt x="1524822" y="1288063"/>
                  <a:pt x="1523734" y="1269561"/>
                </a:cubicBezTo>
                <a:cubicBezTo>
                  <a:pt x="1522645" y="1252147"/>
                  <a:pt x="1541147" y="1232557"/>
                  <a:pt x="1559649" y="1232557"/>
                </a:cubicBezTo>
                <a:close/>
                <a:moveTo>
                  <a:pt x="1723990" y="1231468"/>
                </a:moveTo>
                <a:cubicBezTo>
                  <a:pt x="1743037" y="1231468"/>
                  <a:pt x="1761539" y="1249426"/>
                  <a:pt x="1762083" y="1268472"/>
                </a:cubicBezTo>
                <a:cubicBezTo>
                  <a:pt x="1762627" y="1290239"/>
                  <a:pt x="1741404" y="1306020"/>
                  <a:pt x="1724535" y="1307109"/>
                </a:cubicBezTo>
                <a:cubicBezTo>
                  <a:pt x="1706033" y="1306564"/>
                  <a:pt x="1687531" y="1290239"/>
                  <a:pt x="1686442" y="1270105"/>
                </a:cubicBezTo>
                <a:cubicBezTo>
                  <a:pt x="1685354" y="1254323"/>
                  <a:pt x="1701679" y="1231468"/>
                  <a:pt x="1723990" y="1231468"/>
                </a:cubicBezTo>
                <a:close/>
                <a:moveTo>
                  <a:pt x="1888332" y="1230924"/>
                </a:moveTo>
                <a:cubicBezTo>
                  <a:pt x="1905745" y="1229836"/>
                  <a:pt x="1928056" y="1250514"/>
                  <a:pt x="1925336" y="1269561"/>
                </a:cubicBezTo>
                <a:cubicBezTo>
                  <a:pt x="1925336" y="1289695"/>
                  <a:pt x="1907378" y="1306564"/>
                  <a:pt x="1887243" y="1307653"/>
                </a:cubicBezTo>
                <a:cubicBezTo>
                  <a:pt x="1870918" y="1308197"/>
                  <a:pt x="1847519" y="1288063"/>
                  <a:pt x="1849151" y="1267928"/>
                </a:cubicBezTo>
                <a:cubicBezTo>
                  <a:pt x="1850239" y="1247794"/>
                  <a:pt x="1867653" y="1231468"/>
                  <a:pt x="1888332" y="1230924"/>
                </a:cubicBezTo>
                <a:close/>
                <a:moveTo>
                  <a:pt x="2049952" y="1230380"/>
                </a:moveTo>
                <a:lnTo>
                  <a:pt x="2051041" y="1230805"/>
                </a:lnTo>
                <a:lnTo>
                  <a:pt x="2051041" y="1307109"/>
                </a:lnTo>
                <a:cubicBezTo>
                  <a:pt x="2033627" y="1309830"/>
                  <a:pt x="2011316" y="1286974"/>
                  <a:pt x="2012404" y="1268472"/>
                </a:cubicBezTo>
                <a:cubicBezTo>
                  <a:pt x="2013493" y="1247794"/>
                  <a:pt x="2029274" y="1230380"/>
                  <a:pt x="2049952" y="1230380"/>
                </a:cubicBezTo>
                <a:close/>
                <a:moveTo>
                  <a:pt x="337431" y="1181404"/>
                </a:moveTo>
                <a:cubicBezTo>
                  <a:pt x="339608" y="1182493"/>
                  <a:pt x="341240" y="1184669"/>
                  <a:pt x="345050" y="1187934"/>
                </a:cubicBezTo>
                <a:cubicBezTo>
                  <a:pt x="340696" y="1190111"/>
                  <a:pt x="338519" y="1192288"/>
                  <a:pt x="336343" y="1192288"/>
                </a:cubicBezTo>
                <a:cubicBezTo>
                  <a:pt x="331445" y="1192832"/>
                  <a:pt x="330901" y="1189567"/>
                  <a:pt x="330901" y="1185758"/>
                </a:cubicBezTo>
                <a:cubicBezTo>
                  <a:pt x="330901" y="1181404"/>
                  <a:pt x="334166" y="1180860"/>
                  <a:pt x="337431" y="1181404"/>
                </a:cubicBezTo>
                <a:close/>
                <a:moveTo>
                  <a:pt x="499051" y="1171065"/>
                </a:moveTo>
                <a:cubicBezTo>
                  <a:pt x="506125" y="1170521"/>
                  <a:pt x="516465" y="1179772"/>
                  <a:pt x="516465" y="1187390"/>
                </a:cubicBezTo>
                <a:cubicBezTo>
                  <a:pt x="515921" y="1193920"/>
                  <a:pt x="507214" y="1202627"/>
                  <a:pt x="500140" y="1202627"/>
                </a:cubicBezTo>
                <a:cubicBezTo>
                  <a:pt x="493065" y="1202627"/>
                  <a:pt x="484358" y="1195008"/>
                  <a:pt x="483814" y="1187390"/>
                </a:cubicBezTo>
                <a:cubicBezTo>
                  <a:pt x="483270" y="1180316"/>
                  <a:pt x="491977" y="1171065"/>
                  <a:pt x="499051" y="1171065"/>
                </a:cubicBezTo>
                <a:close/>
                <a:moveTo>
                  <a:pt x="662848" y="1165623"/>
                </a:moveTo>
                <a:cubicBezTo>
                  <a:pt x="675364" y="1165623"/>
                  <a:pt x="684615" y="1174874"/>
                  <a:pt x="684615" y="1187390"/>
                </a:cubicBezTo>
                <a:cubicBezTo>
                  <a:pt x="684615" y="1199362"/>
                  <a:pt x="674820" y="1209157"/>
                  <a:pt x="662848" y="1209157"/>
                </a:cubicBezTo>
                <a:cubicBezTo>
                  <a:pt x="651420" y="1209157"/>
                  <a:pt x="641081" y="1198274"/>
                  <a:pt x="641081" y="1186846"/>
                </a:cubicBezTo>
                <a:cubicBezTo>
                  <a:pt x="641081" y="1175418"/>
                  <a:pt x="651420" y="1165623"/>
                  <a:pt x="662848" y="1165623"/>
                </a:cubicBezTo>
                <a:close/>
                <a:moveTo>
                  <a:pt x="825556" y="1160725"/>
                </a:moveTo>
                <a:cubicBezTo>
                  <a:pt x="840249" y="1161270"/>
                  <a:pt x="851677" y="1171609"/>
                  <a:pt x="852765" y="1186846"/>
                </a:cubicBezTo>
                <a:cubicBezTo>
                  <a:pt x="853309" y="1199906"/>
                  <a:pt x="840249" y="1213511"/>
                  <a:pt x="826645" y="1213511"/>
                </a:cubicBezTo>
                <a:cubicBezTo>
                  <a:pt x="813585" y="1214055"/>
                  <a:pt x="799980" y="1200995"/>
                  <a:pt x="798892" y="1188479"/>
                </a:cubicBezTo>
                <a:cubicBezTo>
                  <a:pt x="797803" y="1173241"/>
                  <a:pt x="814129" y="1160181"/>
                  <a:pt x="825556" y="1160725"/>
                </a:cubicBezTo>
                <a:close/>
                <a:moveTo>
                  <a:pt x="989353" y="1158004"/>
                </a:moveTo>
                <a:cubicBezTo>
                  <a:pt x="1007855" y="1159092"/>
                  <a:pt x="1018739" y="1168888"/>
                  <a:pt x="1018195" y="1187934"/>
                </a:cubicBezTo>
                <a:cubicBezTo>
                  <a:pt x="1017651" y="1206436"/>
                  <a:pt x="1007311" y="1216231"/>
                  <a:pt x="988809" y="1216775"/>
                </a:cubicBezTo>
                <a:cubicBezTo>
                  <a:pt x="972484" y="1217319"/>
                  <a:pt x="960512" y="1203715"/>
                  <a:pt x="959968" y="1187934"/>
                </a:cubicBezTo>
                <a:cubicBezTo>
                  <a:pt x="959968" y="1170520"/>
                  <a:pt x="972484" y="1158004"/>
                  <a:pt x="989353" y="1158004"/>
                </a:cubicBezTo>
                <a:close/>
                <a:moveTo>
                  <a:pt x="1152062" y="1153651"/>
                </a:moveTo>
                <a:cubicBezTo>
                  <a:pt x="1166755" y="1152562"/>
                  <a:pt x="1186345" y="1171065"/>
                  <a:pt x="1185801" y="1186301"/>
                </a:cubicBezTo>
                <a:cubicBezTo>
                  <a:pt x="1184713" y="1205348"/>
                  <a:pt x="1171652" y="1218952"/>
                  <a:pt x="1153150" y="1219496"/>
                </a:cubicBezTo>
                <a:cubicBezTo>
                  <a:pt x="1135193" y="1221129"/>
                  <a:pt x="1119412" y="1204259"/>
                  <a:pt x="1119956" y="1187390"/>
                </a:cubicBezTo>
                <a:cubicBezTo>
                  <a:pt x="1120500" y="1168888"/>
                  <a:pt x="1134648" y="1154739"/>
                  <a:pt x="1152062" y="1153651"/>
                </a:cubicBezTo>
                <a:close/>
                <a:moveTo>
                  <a:pt x="1315315" y="1152018"/>
                </a:moveTo>
                <a:cubicBezTo>
                  <a:pt x="1336537" y="1151474"/>
                  <a:pt x="1351230" y="1169432"/>
                  <a:pt x="1351230" y="1186845"/>
                </a:cubicBezTo>
                <a:cubicBezTo>
                  <a:pt x="1350686" y="1205891"/>
                  <a:pt x="1338714" y="1222217"/>
                  <a:pt x="1315859" y="1221673"/>
                </a:cubicBezTo>
                <a:cubicBezTo>
                  <a:pt x="1294092" y="1221128"/>
                  <a:pt x="1282120" y="1209157"/>
                  <a:pt x="1281576" y="1187390"/>
                </a:cubicBezTo>
                <a:cubicBezTo>
                  <a:pt x="1281031" y="1167255"/>
                  <a:pt x="1295724" y="1152562"/>
                  <a:pt x="1315315" y="1152018"/>
                </a:cubicBezTo>
                <a:close/>
                <a:moveTo>
                  <a:pt x="1479656" y="1149298"/>
                </a:moveTo>
                <a:cubicBezTo>
                  <a:pt x="1500878" y="1149842"/>
                  <a:pt x="1517204" y="1168888"/>
                  <a:pt x="1516660" y="1188479"/>
                </a:cubicBezTo>
                <a:cubicBezTo>
                  <a:pt x="1515027" y="1210246"/>
                  <a:pt x="1495981" y="1224938"/>
                  <a:pt x="1478023" y="1224394"/>
                </a:cubicBezTo>
                <a:cubicBezTo>
                  <a:pt x="1457889" y="1223850"/>
                  <a:pt x="1439931" y="1205892"/>
                  <a:pt x="1441563" y="1185758"/>
                </a:cubicBezTo>
                <a:cubicBezTo>
                  <a:pt x="1442652" y="1166167"/>
                  <a:pt x="1458977" y="1149298"/>
                  <a:pt x="1479656" y="1149298"/>
                </a:cubicBezTo>
                <a:close/>
                <a:moveTo>
                  <a:pt x="1642365" y="1148209"/>
                </a:moveTo>
                <a:cubicBezTo>
                  <a:pt x="1659779" y="1147121"/>
                  <a:pt x="1681001" y="1166711"/>
                  <a:pt x="1681001" y="1187390"/>
                </a:cubicBezTo>
                <a:cubicBezTo>
                  <a:pt x="1681001" y="1208613"/>
                  <a:pt x="1658690" y="1226026"/>
                  <a:pt x="1641821" y="1226026"/>
                </a:cubicBezTo>
                <a:cubicBezTo>
                  <a:pt x="1624407" y="1226026"/>
                  <a:pt x="1601007" y="1205348"/>
                  <a:pt x="1603728" y="1186846"/>
                </a:cubicBezTo>
                <a:cubicBezTo>
                  <a:pt x="1603728" y="1165623"/>
                  <a:pt x="1621686" y="1149298"/>
                  <a:pt x="1642365" y="1148209"/>
                </a:cubicBezTo>
                <a:close/>
                <a:moveTo>
                  <a:pt x="1969414" y="1147665"/>
                </a:moveTo>
                <a:cubicBezTo>
                  <a:pt x="1991725" y="1146032"/>
                  <a:pt x="2009139" y="1165623"/>
                  <a:pt x="2009139" y="1187934"/>
                </a:cubicBezTo>
                <a:cubicBezTo>
                  <a:pt x="2008595" y="1209157"/>
                  <a:pt x="1990093" y="1227114"/>
                  <a:pt x="1968870" y="1227114"/>
                </a:cubicBezTo>
                <a:cubicBezTo>
                  <a:pt x="1949824" y="1227114"/>
                  <a:pt x="1928601" y="1209701"/>
                  <a:pt x="1929145" y="1186301"/>
                </a:cubicBezTo>
                <a:cubicBezTo>
                  <a:pt x="1929145" y="1165623"/>
                  <a:pt x="1948191" y="1145488"/>
                  <a:pt x="1969414" y="1147665"/>
                </a:cubicBezTo>
                <a:close/>
                <a:moveTo>
                  <a:pt x="1805617" y="1147665"/>
                </a:moveTo>
                <a:cubicBezTo>
                  <a:pt x="1825752" y="1147665"/>
                  <a:pt x="1845342" y="1165078"/>
                  <a:pt x="1844798" y="1187934"/>
                </a:cubicBezTo>
                <a:cubicBezTo>
                  <a:pt x="1844254" y="1208612"/>
                  <a:pt x="1824664" y="1227115"/>
                  <a:pt x="1805073" y="1226571"/>
                </a:cubicBezTo>
                <a:cubicBezTo>
                  <a:pt x="1787115" y="1226571"/>
                  <a:pt x="1764260" y="1209701"/>
                  <a:pt x="1766981" y="1186845"/>
                </a:cubicBezTo>
                <a:cubicBezTo>
                  <a:pt x="1764804" y="1165623"/>
                  <a:pt x="1786027" y="1147665"/>
                  <a:pt x="1805617" y="1147665"/>
                </a:cubicBezTo>
                <a:close/>
                <a:moveTo>
                  <a:pt x="417425" y="1090527"/>
                </a:moveTo>
                <a:cubicBezTo>
                  <a:pt x="423955" y="1090527"/>
                  <a:pt x="433206" y="1099234"/>
                  <a:pt x="432662" y="1105764"/>
                </a:cubicBezTo>
                <a:cubicBezTo>
                  <a:pt x="432662" y="1111206"/>
                  <a:pt x="423955" y="1119912"/>
                  <a:pt x="417969" y="1120457"/>
                </a:cubicBezTo>
                <a:cubicBezTo>
                  <a:pt x="411439" y="1121001"/>
                  <a:pt x="402188" y="1111750"/>
                  <a:pt x="402732" y="1105219"/>
                </a:cubicBezTo>
                <a:cubicBezTo>
                  <a:pt x="402732" y="1099234"/>
                  <a:pt x="411439" y="1090527"/>
                  <a:pt x="417425" y="1090527"/>
                </a:cubicBezTo>
                <a:close/>
                <a:moveTo>
                  <a:pt x="580677" y="1083996"/>
                </a:moveTo>
                <a:cubicBezTo>
                  <a:pt x="592105" y="1083996"/>
                  <a:pt x="601900" y="1093791"/>
                  <a:pt x="602444" y="1105219"/>
                </a:cubicBezTo>
                <a:cubicBezTo>
                  <a:pt x="602988" y="1116647"/>
                  <a:pt x="593193" y="1126986"/>
                  <a:pt x="581221" y="1127530"/>
                </a:cubicBezTo>
                <a:cubicBezTo>
                  <a:pt x="570338" y="1127530"/>
                  <a:pt x="558910" y="1116102"/>
                  <a:pt x="558910" y="1105219"/>
                </a:cubicBezTo>
                <a:cubicBezTo>
                  <a:pt x="558910" y="1094880"/>
                  <a:pt x="570338" y="1083996"/>
                  <a:pt x="580677" y="1083996"/>
                </a:cubicBezTo>
                <a:close/>
                <a:moveTo>
                  <a:pt x="743386" y="1079099"/>
                </a:moveTo>
                <a:cubicBezTo>
                  <a:pt x="756991" y="1079099"/>
                  <a:pt x="769507" y="1088894"/>
                  <a:pt x="770595" y="1105219"/>
                </a:cubicBezTo>
                <a:cubicBezTo>
                  <a:pt x="771683" y="1116103"/>
                  <a:pt x="760800" y="1131340"/>
                  <a:pt x="745019" y="1132428"/>
                </a:cubicBezTo>
                <a:cubicBezTo>
                  <a:pt x="734135" y="1134061"/>
                  <a:pt x="717810" y="1118280"/>
                  <a:pt x="717810" y="1106308"/>
                </a:cubicBezTo>
                <a:cubicBezTo>
                  <a:pt x="717810" y="1091071"/>
                  <a:pt x="731414" y="1079099"/>
                  <a:pt x="743386" y="1079099"/>
                </a:cubicBezTo>
                <a:close/>
                <a:moveTo>
                  <a:pt x="907727" y="1076378"/>
                </a:moveTo>
                <a:cubicBezTo>
                  <a:pt x="926773" y="1076378"/>
                  <a:pt x="937112" y="1087262"/>
                  <a:pt x="937112" y="1105219"/>
                </a:cubicBezTo>
                <a:cubicBezTo>
                  <a:pt x="937112" y="1121545"/>
                  <a:pt x="928950" y="1134061"/>
                  <a:pt x="908271" y="1134061"/>
                </a:cubicBezTo>
                <a:cubicBezTo>
                  <a:pt x="888681" y="1134605"/>
                  <a:pt x="878341" y="1122633"/>
                  <a:pt x="878885" y="1105764"/>
                </a:cubicBezTo>
                <a:cubicBezTo>
                  <a:pt x="878341" y="1086173"/>
                  <a:pt x="892490" y="1076378"/>
                  <a:pt x="907727" y="1076378"/>
                </a:cubicBezTo>
                <a:close/>
                <a:moveTo>
                  <a:pt x="1071524" y="1072569"/>
                </a:moveTo>
                <a:cubicBezTo>
                  <a:pt x="1089482" y="1072569"/>
                  <a:pt x="1104174" y="1087806"/>
                  <a:pt x="1104174" y="1105220"/>
                </a:cubicBezTo>
                <a:cubicBezTo>
                  <a:pt x="1104174" y="1123722"/>
                  <a:pt x="1090026" y="1137870"/>
                  <a:pt x="1070435" y="1137870"/>
                </a:cubicBezTo>
                <a:cubicBezTo>
                  <a:pt x="1054110" y="1140047"/>
                  <a:pt x="1037241" y="1121545"/>
                  <a:pt x="1038329" y="1105764"/>
                </a:cubicBezTo>
                <a:cubicBezTo>
                  <a:pt x="1039417" y="1086173"/>
                  <a:pt x="1052478" y="1072569"/>
                  <a:pt x="1071524" y="1072569"/>
                </a:cubicBezTo>
                <a:close/>
                <a:moveTo>
                  <a:pt x="1235865" y="1068760"/>
                </a:moveTo>
                <a:cubicBezTo>
                  <a:pt x="1254912" y="1070392"/>
                  <a:pt x="1272325" y="1088894"/>
                  <a:pt x="1271237" y="1106852"/>
                </a:cubicBezTo>
                <a:cubicBezTo>
                  <a:pt x="1270149" y="1124810"/>
                  <a:pt x="1252735" y="1142223"/>
                  <a:pt x="1234777" y="1142223"/>
                </a:cubicBezTo>
                <a:cubicBezTo>
                  <a:pt x="1215187" y="1142223"/>
                  <a:pt x="1197773" y="1124265"/>
                  <a:pt x="1198861" y="1105219"/>
                </a:cubicBezTo>
                <a:cubicBezTo>
                  <a:pt x="1199406" y="1085629"/>
                  <a:pt x="1217908" y="1067127"/>
                  <a:pt x="1235865" y="1068760"/>
                </a:cubicBezTo>
                <a:close/>
                <a:moveTo>
                  <a:pt x="1396397" y="1067127"/>
                </a:moveTo>
                <a:cubicBezTo>
                  <a:pt x="1416532" y="1065494"/>
                  <a:pt x="1437755" y="1087806"/>
                  <a:pt x="1435578" y="1105219"/>
                </a:cubicBezTo>
                <a:cubicBezTo>
                  <a:pt x="1437210" y="1125898"/>
                  <a:pt x="1413267" y="1144400"/>
                  <a:pt x="1396941" y="1143856"/>
                </a:cubicBezTo>
                <a:cubicBezTo>
                  <a:pt x="1377895" y="1143856"/>
                  <a:pt x="1358305" y="1122633"/>
                  <a:pt x="1358849" y="1105763"/>
                </a:cubicBezTo>
                <a:cubicBezTo>
                  <a:pt x="1359393" y="1085629"/>
                  <a:pt x="1376807" y="1068759"/>
                  <a:pt x="1396397" y="1067127"/>
                </a:cubicBezTo>
                <a:close/>
                <a:moveTo>
                  <a:pt x="1560738" y="1066582"/>
                </a:moveTo>
                <a:cubicBezTo>
                  <a:pt x="1581961" y="1063862"/>
                  <a:pt x="1599919" y="1083452"/>
                  <a:pt x="1599919" y="1105763"/>
                </a:cubicBezTo>
                <a:cubicBezTo>
                  <a:pt x="1599919" y="1127530"/>
                  <a:pt x="1581417" y="1144400"/>
                  <a:pt x="1560738" y="1144400"/>
                </a:cubicBezTo>
                <a:cubicBezTo>
                  <a:pt x="1538971" y="1144400"/>
                  <a:pt x="1521557" y="1125898"/>
                  <a:pt x="1521013" y="1105763"/>
                </a:cubicBezTo>
                <a:cubicBezTo>
                  <a:pt x="1521013" y="1085629"/>
                  <a:pt x="1538971" y="1063862"/>
                  <a:pt x="1560738" y="1066582"/>
                </a:cubicBezTo>
                <a:close/>
                <a:moveTo>
                  <a:pt x="1723447" y="1064406"/>
                </a:moveTo>
                <a:cubicBezTo>
                  <a:pt x="1744126" y="1063862"/>
                  <a:pt x="1763716" y="1076378"/>
                  <a:pt x="1764260" y="1104675"/>
                </a:cubicBezTo>
                <a:cubicBezTo>
                  <a:pt x="1764804" y="1130796"/>
                  <a:pt x="1745758" y="1145488"/>
                  <a:pt x="1724535" y="1146032"/>
                </a:cubicBezTo>
                <a:cubicBezTo>
                  <a:pt x="1703313" y="1147121"/>
                  <a:pt x="1683722" y="1130796"/>
                  <a:pt x="1683178" y="1105764"/>
                </a:cubicBezTo>
                <a:cubicBezTo>
                  <a:pt x="1684266" y="1082364"/>
                  <a:pt x="1698415" y="1064950"/>
                  <a:pt x="1723447" y="1064406"/>
                </a:cubicBezTo>
                <a:close/>
                <a:moveTo>
                  <a:pt x="2051041" y="1063318"/>
                </a:moveTo>
                <a:lnTo>
                  <a:pt x="2051041" y="1147740"/>
                </a:lnTo>
                <a:lnTo>
                  <a:pt x="2049952" y="1148210"/>
                </a:lnTo>
                <a:cubicBezTo>
                  <a:pt x="2028730" y="1147121"/>
                  <a:pt x="2008051" y="1128619"/>
                  <a:pt x="2008051" y="1105764"/>
                </a:cubicBezTo>
                <a:cubicBezTo>
                  <a:pt x="2008595" y="1081276"/>
                  <a:pt x="2027641" y="1063862"/>
                  <a:pt x="2051041" y="1063318"/>
                </a:cubicBezTo>
                <a:close/>
                <a:moveTo>
                  <a:pt x="1887787" y="1062773"/>
                </a:moveTo>
                <a:cubicBezTo>
                  <a:pt x="1909554" y="1063862"/>
                  <a:pt x="1930233" y="1084540"/>
                  <a:pt x="1929145" y="1105763"/>
                </a:cubicBezTo>
                <a:cubicBezTo>
                  <a:pt x="1928056" y="1130251"/>
                  <a:pt x="1908466" y="1147121"/>
                  <a:pt x="1886699" y="1147665"/>
                </a:cubicBezTo>
                <a:cubicBezTo>
                  <a:pt x="1862755" y="1145488"/>
                  <a:pt x="1845886" y="1127530"/>
                  <a:pt x="1844798" y="1105219"/>
                </a:cubicBezTo>
                <a:cubicBezTo>
                  <a:pt x="1844253" y="1083996"/>
                  <a:pt x="1867109" y="1061685"/>
                  <a:pt x="1887787" y="1062773"/>
                </a:cubicBezTo>
                <a:close/>
                <a:moveTo>
                  <a:pt x="335798" y="1011621"/>
                </a:moveTo>
                <a:cubicBezTo>
                  <a:pt x="343960" y="1011621"/>
                  <a:pt x="347770" y="1014886"/>
                  <a:pt x="348314" y="1023049"/>
                </a:cubicBezTo>
                <a:cubicBezTo>
                  <a:pt x="348314" y="1031755"/>
                  <a:pt x="344505" y="1036109"/>
                  <a:pt x="336886" y="1036109"/>
                </a:cubicBezTo>
                <a:cubicBezTo>
                  <a:pt x="329268" y="1036109"/>
                  <a:pt x="324914" y="1032300"/>
                  <a:pt x="324370" y="1024681"/>
                </a:cubicBezTo>
                <a:cubicBezTo>
                  <a:pt x="323826" y="1015974"/>
                  <a:pt x="327635" y="1011621"/>
                  <a:pt x="335798" y="1011621"/>
                </a:cubicBezTo>
                <a:close/>
                <a:moveTo>
                  <a:pt x="499051" y="1002914"/>
                </a:moveTo>
                <a:cubicBezTo>
                  <a:pt x="508846" y="1002370"/>
                  <a:pt x="520818" y="1014342"/>
                  <a:pt x="520818" y="1024137"/>
                </a:cubicBezTo>
                <a:cubicBezTo>
                  <a:pt x="520818" y="1032844"/>
                  <a:pt x="508846" y="1045360"/>
                  <a:pt x="499595" y="1045360"/>
                </a:cubicBezTo>
                <a:cubicBezTo>
                  <a:pt x="490888" y="1045360"/>
                  <a:pt x="478372" y="1032844"/>
                  <a:pt x="478372" y="1024137"/>
                </a:cubicBezTo>
                <a:cubicBezTo>
                  <a:pt x="478372" y="1014886"/>
                  <a:pt x="489800" y="1002914"/>
                  <a:pt x="499051" y="1002914"/>
                </a:cubicBezTo>
                <a:close/>
                <a:moveTo>
                  <a:pt x="663392" y="997473"/>
                </a:moveTo>
                <a:cubicBezTo>
                  <a:pt x="675908" y="998561"/>
                  <a:pt x="688968" y="1011622"/>
                  <a:pt x="688424" y="1024138"/>
                </a:cubicBezTo>
                <a:cubicBezTo>
                  <a:pt x="687880" y="1039374"/>
                  <a:pt x="676452" y="1050802"/>
                  <a:pt x="661759" y="1050258"/>
                </a:cubicBezTo>
                <a:cubicBezTo>
                  <a:pt x="647066" y="1049170"/>
                  <a:pt x="637271" y="1036109"/>
                  <a:pt x="636727" y="1023593"/>
                </a:cubicBezTo>
                <a:cubicBezTo>
                  <a:pt x="637271" y="1010533"/>
                  <a:pt x="651420" y="996929"/>
                  <a:pt x="663392" y="997473"/>
                </a:cubicBezTo>
                <a:close/>
                <a:moveTo>
                  <a:pt x="826645" y="995840"/>
                </a:moveTo>
                <a:cubicBezTo>
                  <a:pt x="845147" y="995296"/>
                  <a:pt x="855486" y="1007267"/>
                  <a:pt x="854942" y="1024137"/>
                </a:cubicBezTo>
                <a:cubicBezTo>
                  <a:pt x="855486" y="1039374"/>
                  <a:pt x="845147" y="1052978"/>
                  <a:pt x="825557" y="1052978"/>
                </a:cubicBezTo>
                <a:cubicBezTo>
                  <a:pt x="808143" y="1052434"/>
                  <a:pt x="796715" y="1041006"/>
                  <a:pt x="797260" y="1023593"/>
                </a:cubicBezTo>
                <a:cubicBezTo>
                  <a:pt x="797260" y="1005635"/>
                  <a:pt x="808687" y="995840"/>
                  <a:pt x="826645" y="995840"/>
                </a:cubicBezTo>
                <a:close/>
                <a:moveTo>
                  <a:pt x="990441" y="990942"/>
                </a:moveTo>
                <a:cubicBezTo>
                  <a:pt x="1008943" y="990942"/>
                  <a:pt x="1023092" y="1006179"/>
                  <a:pt x="1022548" y="1025225"/>
                </a:cubicBezTo>
                <a:cubicBezTo>
                  <a:pt x="1022004" y="1043183"/>
                  <a:pt x="1007311" y="1056243"/>
                  <a:pt x="988809" y="1056787"/>
                </a:cubicBezTo>
                <a:cubicBezTo>
                  <a:pt x="973028" y="1057332"/>
                  <a:pt x="956702" y="1041551"/>
                  <a:pt x="956702" y="1023593"/>
                </a:cubicBezTo>
                <a:cubicBezTo>
                  <a:pt x="956158" y="1006723"/>
                  <a:pt x="973572" y="988221"/>
                  <a:pt x="990441" y="990942"/>
                </a:cubicBezTo>
                <a:close/>
                <a:moveTo>
                  <a:pt x="1150974" y="987678"/>
                </a:moveTo>
                <a:cubicBezTo>
                  <a:pt x="1170020" y="986045"/>
                  <a:pt x="1189066" y="1004547"/>
                  <a:pt x="1189610" y="1023593"/>
                </a:cubicBezTo>
                <a:cubicBezTo>
                  <a:pt x="1190154" y="1042095"/>
                  <a:pt x="1170564" y="1061685"/>
                  <a:pt x="1152062" y="1061685"/>
                </a:cubicBezTo>
                <a:cubicBezTo>
                  <a:pt x="1134104" y="1061685"/>
                  <a:pt x="1115602" y="1042639"/>
                  <a:pt x="1115058" y="1024682"/>
                </a:cubicBezTo>
                <a:cubicBezTo>
                  <a:pt x="1115058" y="1006724"/>
                  <a:pt x="1133016" y="988222"/>
                  <a:pt x="1150974" y="987678"/>
                </a:cubicBezTo>
                <a:close/>
                <a:moveTo>
                  <a:pt x="1315314" y="985501"/>
                </a:moveTo>
                <a:cubicBezTo>
                  <a:pt x="1335993" y="983868"/>
                  <a:pt x="1354495" y="1005635"/>
                  <a:pt x="1354495" y="1023593"/>
                </a:cubicBezTo>
                <a:cubicBezTo>
                  <a:pt x="1355039" y="1042639"/>
                  <a:pt x="1333816" y="1065495"/>
                  <a:pt x="1315858" y="1062230"/>
                </a:cubicBezTo>
                <a:cubicBezTo>
                  <a:pt x="1294636" y="1062230"/>
                  <a:pt x="1277222" y="1045360"/>
                  <a:pt x="1277222" y="1024137"/>
                </a:cubicBezTo>
                <a:cubicBezTo>
                  <a:pt x="1277222" y="1002914"/>
                  <a:pt x="1294091" y="986589"/>
                  <a:pt x="1315314" y="985501"/>
                </a:cubicBezTo>
                <a:close/>
                <a:moveTo>
                  <a:pt x="1479656" y="984412"/>
                </a:moveTo>
                <a:cubicBezTo>
                  <a:pt x="1503055" y="984412"/>
                  <a:pt x="1519925" y="1000737"/>
                  <a:pt x="1519380" y="1025225"/>
                </a:cubicBezTo>
                <a:cubicBezTo>
                  <a:pt x="1518836" y="1045904"/>
                  <a:pt x="1502511" y="1065494"/>
                  <a:pt x="1478567" y="1063318"/>
                </a:cubicBezTo>
                <a:cubicBezTo>
                  <a:pt x="1454624" y="1064950"/>
                  <a:pt x="1438842" y="1044816"/>
                  <a:pt x="1439387" y="1023593"/>
                </a:cubicBezTo>
                <a:cubicBezTo>
                  <a:pt x="1439931" y="1000193"/>
                  <a:pt x="1455712" y="983868"/>
                  <a:pt x="1479656" y="984412"/>
                </a:cubicBezTo>
                <a:close/>
                <a:moveTo>
                  <a:pt x="1641820" y="981691"/>
                </a:moveTo>
                <a:cubicBezTo>
                  <a:pt x="1665220" y="981691"/>
                  <a:pt x="1683178" y="999649"/>
                  <a:pt x="1684810" y="1023592"/>
                </a:cubicBezTo>
                <a:cubicBezTo>
                  <a:pt x="1683722" y="1048625"/>
                  <a:pt x="1665220" y="1066038"/>
                  <a:pt x="1642909" y="1066038"/>
                </a:cubicBezTo>
                <a:cubicBezTo>
                  <a:pt x="1618421" y="1066038"/>
                  <a:pt x="1599919" y="1047536"/>
                  <a:pt x="1599919" y="1023592"/>
                </a:cubicBezTo>
                <a:cubicBezTo>
                  <a:pt x="1599919" y="1001281"/>
                  <a:pt x="1616788" y="982235"/>
                  <a:pt x="1641820" y="981691"/>
                </a:cubicBezTo>
                <a:close/>
                <a:moveTo>
                  <a:pt x="1806161" y="980603"/>
                </a:moveTo>
                <a:cubicBezTo>
                  <a:pt x="1829561" y="980603"/>
                  <a:pt x="1848607" y="1000737"/>
                  <a:pt x="1849151" y="1023592"/>
                </a:cubicBezTo>
                <a:cubicBezTo>
                  <a:pt x="1849151" y="1046992"/>
                  <a:pt x="1827928" y="1068215"/>
                  <a:pt x="1805617" y="1067127"/>
                </a:cubicBezTo>
                <a:cubicBezTo>
                  <a:pt x="1781673" y="1068215"/>
                  <a:pt x="1762083" y="1044815"/>
                  <a:pt x="1762083" y="1023592"/>
                </a:cubicBezTo>
                <a:cubicBezTo>
                  <a:pt x="1762083" y="1002370"/>
                  <a:pt x="1781673" y="980058"/>
                  <a:pt x="1806161" y="980603"/>
                </a:cubicBezTo>
                <a:close/>
                <a:moveTo>
                  <a:pt x="1969414" y="980059"/>
                </a:moveTo>
                <a:cubicBezTo>
                  <a:pt x="1993358" y="980603"/>
                  <a:pt x="2012404" y="1001282"/>
                  <a:pt x="2012404" y="1024137"/>
                </a:cubicBezTo>
                <a:cubicBezTo>
                  <a:pt x="2012404" y="1046449"/>
                  <a:pt x="1991726" y="1069304"/>
                  <a:pt x="1968870" y="1067127"/>
                </a:cubicBezTo>
                <a:cubicBezTo>
                  <a:pt x="1946015" y="1068760"/>
                  <a:pt x="1925336" y="1044272"/>
                  <a:pt x="1924792" y="1024137"/>
                </a:cubicBezTo>
                <a:cubicBezTo>
                  <a:pt x="1924792" y="1002914"/>
                  <a:pt x="1944382" y="980059"/>
                  <a:pt x="1969414" y="980059"/>
                </a:cubicBezTo>
                <a:close/>
                <a:moveTo>
                  <a:pt x="254171" y="931083"/>
                </a:moveTo>
                <a:cubicBezTo>
                  <a:pt x="260701" y="931083"/>
                  <a:pt x="265599" y="935437"/>
                  <a:pt x="265599" y="941967"/>
                </a:cubicBezTo>
                <a:cubicBezTo>
                  <a:pt x="265599" y="948497"/>
                  <a:pt x="260701" y="952850"/>
                  <a:pt x="254171" y="952850"/>
                </a:cubicBezTo>
                <a:cubicBezTo>
                  <a:pt x="247641" y="952850"/>
                  <a:pt x="243832" y="948497"/>
                  <a:pt x="243832" y="941967"/>
                </a:cubicBezTo>
                <a:cubicBezTo>
                  <a:pt x="243832" y="935437"/>
                  <a:pt x="247641" y="931627"/>
                  <a:pt x="254171" y="931083"/>
                </a:cubicBezTo>
                <a:close/>
                <a:moveTo>
                  <a:pt x="417968" y="922377"/>
                </a:moveTo>
                <a:cubicBezTo>
                  <a:pt x="427219" y="921833"/>
                  <a:pt x="437559" y="932716"/>
                  <a:pt x="437559" y="942511"/>
                </a:cubicBezTo>
                <a:cubicBezTo>
                  <a:pt x="437559" y="951762"/>
                  <a:pt x="427219" y="961557"/>
                  <a:pt x="417968" y="961557"/>
                </a:cubicBezTo>
                <a:cubicBezTo>
                  <a:pt x="409262" y="961557"/>
                  <a:pt x="397290" y="949585"/>
                  <a:pt x="397834" y="941423"/>
                </a:cubicBezTo>
                <a:cubicBezTo>
                  <a:pt x="398378" y="933260"/>
                  <a:pt x="409806" y="922377"/>
                  <a:pt x="417968" y="922377"/>
                </a:cubicBezTo>
                <a:close/>
                <a:moveTo>
                  <a:pt x="581222" y="916934"/>
                </a:moveTo>
                <a:cubicBezTo>
                  <a:pt x="593738" y="916934"/>
                  <a:pt x="607342" y="931082"/>
                  <a:pt x="606798" y="943054"/>
                </a:cubicBezTo>
                <a:cubicBezTo>
                  <a:pt x="606254" y="955570"/>
                  <a:pt x="593738" y="967542"/>
                  <a:pt x="581222" y="967542"/>
                </a:cubicBezTo>
                <a:cubicBezTo>
                  <a:pt x="567617" y="966454"/>
                  <a:pt x="557278" y="958291"/>
                  <a:pt x="556190" y="943054"/>
                </a:cubicBezTo>
                <a:cubicBezTo>
                  <a:pt x="555101" y="929994"/>
                  <a:pt x="568161" y="916934"/>
                  <a:pt x="581222" y="916934"/>
                </a:cubicBezTo>
                <a:close/>
                <a:moveTo>
                  <a:pt x="744474" y="913669"/>
                </a:moveTo>
                <a:cubicBezTo>
                  <a:pt x="765153" y="913669"/>
                  <a:pt x="773860" y="927273"/>
                  <a:pt x="773315" y="942510"/>
                </a:cubicBezTo>
                <a:cubicBezTo>
                  <a:pt x="772771" y="959924"/>
                  <a:pt x="761344" y="971352"/>
                  <a:pt x="743930" y="970807"/>
                </a:cubicBezTo>
                <a:cubicBezTo>
                  <a:pt x="727061" y="970807"/>
                  <a:pt x="716177" y="959380"/>
                  <a:pt x="716177" y="941966"/>
                </a:cubicBezTo>
                <a:cubicBezTo>
                  <a:pt x="716177" y="923464"/>
                  <a:pt x="727605" y="914213"/>
                  <a:pt x="744474" y="913669"/>
                </a:cubicBezTo>
                <a:close/>
                <a:moveTo>
                  <a:pt x="908271" y="908772"/>
                </a:moveTo>
                <a:cubicBezTo>
                  <a:pt x="927317" y="910405"/>
                  <a:pt x="940922" y="924553"/>
                  <a:pt x="940377" y="944144"/>
                </a:cubicBezTo>
                <a:cubicBezTo>
                  <a:pt x="939833" y="962101"/>
                  <a:pt x="925141" y="975162"/>
                  <a:pt x="906094" y="975162"/>
                </a:cubicBezTo>
                <a:cubicBezTo>
                  <a:pt x="890313" y="975162"/>
                  <a:pt x="873988" y="959925"/>
                  <a:pt x="874532" y="940879"/>
                </a:cubicBezTo>
                <a:cubicBezTo>
                  <a:pt x="874532" y="925641"/>
                  <a:pt x="891402" y="907684"/>
                  <a:pt x="908271" y="908772"/>
                </a:cubicBezTo>
                <a:close/>
                <a:moveTo>
                  <a:pt x="1072068" y="906051"/>
                </a:moveTo>
                <a:cubicBezTo>
                  <a:pt x="1093291" y="907683"/>
                  <a:pt x="1105807" y="921832"/>
                  <a:pt x="1107984" y="942511"/>
                </a:cubicBezTo>
                <a:cubicBezTo>
                  <a:pt x="1107984" y="961013"/>
                  <a:pt x="1088938" y="979515"/>
                  <a:pt x="1070980" y="979515"/>
                </a:cubicBezTo>
                <a:cubicBezTo>
                  <a:pt x="1053022" y="979515"/>
                  <a:pt x="1034520" y="960469"/>
                  <a:pt x="1034520" y="942511"/>
                </a:cubicBezTo>
                <a:cubicBezTo>
                  <a:pt x="1034520" y="923465"/>
                  <a:pt x="1053566" y="904419"/>
                  <a:pt x="1072068" y="906051"/>
                </a:cubicBezTo>
                <a:close/>
                <a:moveTo>
                  <a:pt x="1235321" y="903874"/>
                </a:moveTo>
                <a:cubicBezTo>
                  <a:pt x="1257088" y="903874"/>
                  <a:pt x="1272325" y="920199"/>
                  <a:pt x="1272325" y="943054"/>
                </a:cubicBezTo>
                <a:cubicBezTo>
                  <a:pt x="1275045" y="962645"/>
                  <a:pt x="1251646" y="982779"/>
                  <a:pt x="1233688" y="981147"/>
                </a:cubicBezTo>
                <a:cubicBezTo>
                  <a:pt x="1211921" y="979514"/>
                  <a:pt x="1195052" y="963189"/>
                  <a:pt x="1195596" y="940878"/>
                </a:cubicBezTo>
                <a:cubicBezTo>
                  <a:pt x="1196140" y="919111"/>
                  <a:pt x="1212465" y="903330"/>
                  <a:pt x="1235321" y="903874"/>
                </a:cubicBezTo>
                <a:close/>
                <a:moveTo>
                  <a:pt x="1397486" y="901153"/>
                </a:moveTo>
                <a:cubicBezTo>
                  <a:pt x="1420885" y="901698"/>
                  <a:pt x="1437755" y="917479"/>
                  <a:pt x="1438299" y="942511"/>
                </a:cubicBezTo>
                <a:cubicBezTo>
                  <a:pt x="1437210" y="966999"/>
                  <a:pt x="1420341" y="983324"/>
                  <a:pt x="1396941" y="983324"/>
                </a:cubicBezTo>
                <a:cubicBezTo>
                  <a:pt x="1371909" y="983324"/>
                  <a:pt x="1355584" y="963190"/>
                  <a:pt x="1356128" y="941967"/>
                </a:cubicBezTo>
                <a:cubicBezTo>
                  <a:pt x="1356128" y="919655"/>
                  <a:pt x="1373542" y="900609"/>
                  <a:pt x="1397486" y="901153"/>
                </a:cubicBezTo>
                <a:close/>
                <a:moveTo>
                  <a:pt x="1560738" y="898977"/>
                </a:moveTo>
                <a:cubicBezTo>
                  <a:pt x="1584138" y="899521"/>
                  <a:pt x="1603728" y="917479"/>
                  <a:pt x="1603728" y="942511"/>
                </a:cubicBezTo>
                <a:cubicBezTo>
                  <a:pt x="1603728" y="966999"/>
                  <a:pt x="1581961" y="985501"/>
                  <a:pt x="1560738" y="985501"/>
                </a:cubicBezTo>
                <a:cubicBezTo>
                  <a:pt x="1537883" y="985501"/>
                  <a:pt x="1516660" y="963734"/>
                  <a:pt x="1517204" y="941423"/>
                </a:cubicBezTo>
                <a:cubicBezTo>
                  <a:pt x="1517748" y="919656"/>
                  <a:pt x="1535706" y="898977"/>
                  <a:pt x="1560738" y="898977"/>
                </a:cubicBezTo>
                <a:close/>
                <a:moveTo>
                  <a:pt x="1723990" y="897888"/>
                </a:moveTo>
                <a:cubicBezTo>
                  <a:pt x="1747934" y="897888"/>
                  <a:pt x="1769701" y="919111"/>
                  <a:pt x="1768069" y="942510"/>
                </a:cubicBezTo>
                <a:cubicBezTo>
                  <a:pt x="1770245" y="965366"/>
                  <a:pt x="1746302" y="987133"/>
                  <a:pt x="1723990" y="986589"/>
                </a:cubicBezTo>
                <a:cubicBezTo>
                  <a:pt x="1701679" y="986589"/>
                  <a:pt x="1679912" y="964278"/>
                  <a:pt x="1679912" y="941422"/>
                </a:cubicBezTo>
                <a:cubicBezTo>
                  <a:pt x="1680456" y="919655"/>
                  <a:pt x="1700047" y="897888"/>
                  <a:pt x="1723990" y="897888"/>
                </a:cubicBezTo>
                <a:close/>
                <a:moveTo>
                  <a:pt x="2050497" y="897344"/>
                </a:moveTo>
                <a:lnTo>
                  <a:pt x="2051041" y="897453"/>
                </a:lnTo>
                <a:lnTo>
                  <a:pt x="2051041" y="986917"/>
                </a:lnTo>
                <a:lnTo>
                  <a:pt x="2049952" y="987133"/>
                </a:lnTo>
                <a:cubicBezTo>
                  <a:pt x="2026553" y="987133"/>
                  <a:pt x="2004786" y="965366"/>
                  <a:pt x="2005330" y="941422"/>
                </a:cubicBezTo>
                <a:cubicBezTo>
                  <a:pt x="2005874" y="918023"/>
                  <a:pt x="2026009" y="897344"/>
                  <a:pt x="2050497" y="897344"/>
                </a:cubicBezTo>
                <a:close/>
                <a:moveTo>
                  <a:pt x="1887243" y="897344"/>
                </a:moveTo>
                <a:cubicBezTo>
                  <a:pt x="1910099" y="897344"/>
                  <a:pt x="1931866" y="916390"/>
                  <a:pt x="1931866" y="942511"/>
                </a:cubicBezTo>
                <a:cubicBezTo>
                  <a:pt x="1931866" y="965910"/>
                  <a:pt x="1910099" y="986589"/>
                  <a:pt x="1887243" y="986589"/>
                </a:cubicBezTo>
                <a:cubicBezTo>
                  <a:pt x="1864932" y="987133"/>
                  <a:pt x="1839900" y="965910"/>
                  <a:pt x="1843165" y="941422"/>
                </a:cubicBezTo>
                <a:cubicBezTo>
                  <a:pt x="1840444" y="918567"/>
                  <a:pt x="1863299" y="897344"/>
                  <a:pt x="1887243" y="897344"/>
                </a:cubicBezTo>
                <a:close/>
                <a:moveTo>
                  <a:pt x="172545" y="854354"/>
                </a:moveTo>
                <a:cubicBezTo>
                  <a:pt x="176899" y="854354"/>
                  <a:pt x="179619" y="855442"/>
                  <a:pt x="179619" y="860884"/>
                </a:cubicBezTo>
                <a:cubicBezTo>
                  <a:pt x="180164" y="864693"/>
                  <a:pt x="177987" y="866870"/>
                  <a:pt x="173634" y="866870"/>
                </a:cubicBezTo>
                <a:cubicBezTo>
                  <a:pt x="169824" y="866870"/>
                  <a:pt x="166559" y="866870"/>
                  <a:pt x="166015" y="861973"/>
                </a:cubicBezTo>
                <a:cubicBezTo>
                  <a:pt x="165471" y="857075"/>
                  <a:pt x="167103" y="854354"/>
                  <a:pt x="172545" y="854354"/>
                </a:cubicBezTo>
                <a:close/>
                <a:moveTo>
                  <a:pt x="336342" y="843471"/>
                </a:moveTo>
                <a:cubicBezTo>
                  <a:pt x="346681" y="844015"/>
                  <a:pt x="353211" y="849457"/>
                  <a:pt x="353211" y="860340"/>
                </a:cubicBezTo>
                <a:cubicBezTo>
                  <a:pt x="353211" y="872312"/>
                  <a:pt x="348858" y="876665"/>
                  <a:pt x="336886" y="877210"/>
                </a:cubicBezTo>
                <a:cubicBezTo>
                  <a:pt x="324370" y="877210"/>
                  <a:pt x="320561" y="872856"/>
                  <a:pt x="320017" y="860884"/>
                </a:cubicBezTo>
                <a:cubicBezTo>
                  <a:pt x="319473" y="851089"/>
                  <a:pt x="327635" y="842927"/>
                  <a:pt x="336342" y="843471"/>
                </a:cubicBezTo>
                <a:close/>
                <a:moveTo>
                  <a:pt x="500139" y="837485"/>
                </a:moveTo>
                <a:cubicBezTo>
                  <a:pt x="514832" y="837485"/>
                  <a:pt x="522994" y="846735"/>
                  <a:pt x="522994" y="861428"/>
                </a:cubicBezTo>
                <a:cubicBezTo>
                  <a:pt x="522994" y="876121"/>
                  <a:pt x="513743" y="884284"/>
                  <a:pt x="499595" y="884284"/>
                </a:cubicBezTo>
                <a:cubicBezTo>
                  <a:pt x="485446" y="883740"/>
                  <a:pt x="475651" y="875033"/>
                  <a:pt x="476739" y="860340"/>
                </a:cubicBezTo>
                <a:cubicBezTo>
                  <a:pt x="476195" y="842926"/>
                  <a:pt x="489256" y="836940"/>
                  <a:pt x="500139" y="837485"/>
                </a:cubicBezTo>
                <a:close/>
                <a:moveTo>
                  <a:pt x="662848" y="832587"/>
                </a:moveTo>
                <a:cubicBezTo>
                  <a:pt x="677541" y="832587"/>
                  <a:pt x="691689" y="842926"/>
                  <a:pt x="690057" y="860340"/>
                </a:cubicBezTo>
                <a:cubicBezTo>
                  <a:pt x="691689" y="876121"/>
                  <a:pt x="679718" y="888637"/>
                  <a:pt x="662848" y="888637"/>
                </a:cubicBezTo>
                <a:cubicBezTo>
                  <a:pt x="644890" y="888637"/>
                  <a:pt x="634551" y="874489"/>
                  <a:pt x="634551" y="861428"/>
                </a:cubicBezTo>
                <a:cubicBezTo>
                  <a:pt x="634551" y="842926"/>
                  <a:pt x="647611" y="832587"/>
                  <a:pt x="662848" y="832587"/>
                </a:cubicBezTo>
                <a:close/>
                <a:moveTo>
                  <a:pt x="826101" y="827146"/>
                </a:moveTo>
                <a:cubicBezTo>
                  <a:pt x="840249" y="826602"/>
                  <a:pt x="859840" y="843471"/>
                  <a:pt x="859295" y="860885"/>
                </a:cubicBezTo>
                <a:cubicBezTo>
                  <a:pt x="858751" y="875033"/>
                  <a:pt x="844603" y="894624"/>
                  <a:pt x="825556" y="892991"/>
                </a:cubicBezTo>
                <a:cubicBezTo>
                  <a:pt x="808687" y="894079"/>
                  <a:pt x="793450" y="877754"/>
                  <a:pt x="793450" y="860885"/>
                </a:cubicBezTo>
                <a:cubicBezTo>
                  <a:pt x="793994" y="842927"/>
                  <a:pt x="808143" y="828234"/>
                  <a:pt x="826101" y="827146"/>
                </a:cubicBezTo>
                <a:close/>
                <a:moveTo>
                  <a:pt x="988809" y="824424"/>
                </a:moveTo>
                <a:cubicBezTo>
                  <a:pt x="1010576" y="825512"/>
                  <a:pt x="1024180" y="839661"/>
                  <a:pt x="1025813" y="860339"/>
                </a:cubicBezTo>
                <a:cubicBezTo>
                  <a:pt x="1026901" y="878842"/>
                  <a:pt x="1008399" y="896799"/>
                  <a:pt x="989897" y="897344"/>
                </a:cubicBezTo>
                <a:cubicBezTo>
                  <a:pt x="971939" y="897344"/>
                  <a:pt x="953982" y="880474"/>
                  <a:pt x="953437" y="861972"/>
                </a:cubicBezTo>
                <a:cubicBezTo>
                  <a:pt x="951805" y="842926"/>
                  <a:pt x="969763" y="824968"/>
                  <a:pt x="988809" y="824424"/>
                </a:cubicBezTo>
                <a:close/>
                <a:moveTo>
                  <a:pt x="1153695" y="821704"/>
                </a:moveTo>
                <a:cubicBezTo>
                  <a:pt x="1175462" y="822248"/>
                  <a:pt x="1191243" y="839118"/>
                  <a:pt x="1191243" y="861429"/>
                </a:cubicBezTo>
                <a:cubicBezTo>
                  <a:pt x="1193964" y="882107"/>
                  <a:pt x="1169476" y="900610"/>
                  <a:pt x="1152606" y="899521"/>
                </a:cubicBezTo>
                <a:cubicBezTo>
                  <a:pt x="1130839" y="898433"/>
                  <a:pt x="1114514" y="882107"/>
                  <a:pt x="1114514" y="859252"/>
                </a:cubicBezTo>
                <a:cubicBezTo>
                  <a:pt x="1115058" y="837485"/>
                  <a:pt x="1131928" y="821704"/>
                  <a:pt x="1153695" y="821704"/>
                </a:cubicBezTo>
                <a:close/>
                <a:moveTo>
                  <a:pt x="1316403" y="818982"/>
                </a:moveTo>
                <a:cubicBezTo>
                  <a:pt x="1341979" y="820071"/>
                  <a:pt x="1356128" y="838573"/>
                  <a:pt x="1357216" y="860884"/>
                </a:cubicBezTo>
                <a:cubicBezTo>
                  <a:pt x="1356128" y="884828"/>
                  <a:pt x="1337626" y="901697"/>
                  <a:pt x="1315315" y="901697"/>
                </a:cubicBezTo>
                <a:cubicBezTo>
                  <a:pt x="1293003" y="901697"/>
                  <a:pt x="1273957" y="884284"/>
                  <a:pt x="1274501" y="860340"/>
                </a:cubicBezTo>
                <a:cubicBezTo>
                  <a:pt x="1275046" y="835852"/>
                  <a:pt x="1291915" y="818438"/>
                  <a:pt x="1316403" y="818982"/>
                </a:cubicBezTo>
                <a:close/>
                <a:moveTo>
                  <a:pt x="1479112" y="816806"/>
                </a:moveTo>
                <a:cubicBezTo>
                  <a:pt x="1501423" y="816806"/>
                  <a:pt x="1523190" y="835852"/>
                  <a:pt x="1522646" y="860340"/>
                </a:cubicBezTo>
                <a:cubicBezTo>
                  <a:pt x="1523735" y="885372"/>
                  <a:pt x="1499791" y="904419"/>
                  <a:pt x="1479656" y="904419"/>
                </a:cubicBezTo>
                <a:cubicBezTo>
                  <a:pt x="1457889" y="904419"/>
                  <a:pt x="1436122" y="883740"/>
                  <a:pt x="1435578" y="860884"/>
                </a:cubicBezTo>
                <a:cubicBezTo>
                  <a:pt x="1435578" y="838573"/>
                  <a:pt x="1455713" y="816806"/>
                  <a:pt x="1479112" y="816806"/>
                </a:cubicBezTo>
                <a:close/>
                <a:moveTo>
                  <a:pt x="1642909" y="815718"/>
                </a:moveTo>
                <a:cubicBezTo>
                  <a:pt x="1665764" y="816262"/>
                  <a:pt x="1686987" y="835852"/>
                  <a:pt x="1686987" y="860885"/>
                </a:cubicBezTo>
                <a:cubicBezTo>
                  <a:pt x="1686987" y="884284"/>
                  <a:pt x="1666308" y="906051"/>
                  <a:pt x="1641276" y="905507"/>
                </a:cubicBezTo>
                <a:cubicBezTo>
                  <a:pt x="1619509" y="905507"/>
                  <a:pt x="1595021" y="884284"/>
                  <a:pt x="1597742" y="860340"/>
                </a:cubicBezTo>
                <a:cubicBezTo>
                  <a:pt x="1595021" y="836941"/>
                  <a:pt x="1619509" y="815174"/>
                  <a:pt x="1642909" y="815718"/>
                </a:cubicBezTo>
                <a:close/>
                <a:moveTo>
                  <a:pt x="1806161" y="815173"/>
                </a:moveTo>
                <a:cubicBezTo>
                  <a:pt x="1832282" y="815717"/>
                  <a:pt x="1854593" y="836396"/>
                  <a:pt x="1852416" y="860884"/>
                </a:cubicBezTo>
                <a:cubicBezTo>
                  <a:pt x="1850240" y="885372"/>
                  <a:pt x="1837179" y="906050"/>
                  <a:pt x="1805617" y="906594"/>
                </a:cubicBezTo>
                <a:cubicBezTo>
                  <a:pt x="1776776" y="906594"/>
                  <a:pt x="1759362" y="885916"/>
                  <a:pt x="1759906" y="860884"/>
                </a:cubicBezTo>
                <a:cubicBezTo>
                  <a:pt x="1759906" y="834219"/>
                  <a:pt x="1776776" y="815717"/>
                  <a:pt x="1806161" y="815173"/>
                </a:cubicBezTo>
                <a:close/>
                <a:moveTo>
                  <a:pt x="1968326" y="812453"/>
                </a:moveTo>
                <a:cubicBezTo>
                  <a:pt x="1979754" y="812453"/>
                  <a:pt x="1991726" y="817351"/>
                  <a:pt x="2000977" y="826057"/>
                </a:cubicBezTo>
                <a:cubicBezTo>
                  <a:pt x="2010772" y="835308"/>
                  <a:pt x="2016214" y="847280"/>
                  <a:pt x="2015670" y="859796"/>
                </a:cubicBezTo>
                <a:cubicBezTo>
                  <a:pt x="2014581" y="884828"/>
                  <a:pt x="2000977" y="904963"/>
                  <a:pt x="1969415" y="907684"/>
                </a:cubicBezTo>
                <a:cubicBezTo>
                  <a:pt x="1942206" y="906051"/>
                  <a:pt x="1923704" y="890270"/>
                  <a:pt x="1922071" y="860885"/>
                </a:cubicBezTo>
                <a:cubicBezTo>
                  <a:pt x="1920983" y="836397"/>
                  <a:pt x="1943294" y="812453"/>
                  <a:pt x="1968326" y="812453"/>
                </a:cubicBezTo>
                <a:close/>
                <a:moveTo>
                  <a:pt x="255260" y="762932"/>
                </a:moveTo>
                <a:cubicBezTo>
                  <a:pt x="261790" y="763476"/>
                  <a:pt x="271041" y="773271"/>
                  <a:pt x="270497" y="779802"/>
                </a:cubicBezTo>
                <a:cubicBezTo>
                  <a:pt x="270497" y="786332"/>
                  <a:pt x="261246" y="795038"/>
                  <a:pt x="254172" y="795038"/>
                </a:cubicBezTo>
                <a:cubicBezTo>
                  <a:pt x="246553" y="795038"/>
                  <a:pt x="238391" y="786332"/>
                  <a:pt x="238935" y="778713"/>
                </a:cubicBezTo>
                <a:cubicBezTo>
                  <a:pt x="239479" y="771095"/>
                  <a:pt x="248186" y="762388"/>
                  <a:pt x="255260" y="762932"/>
                </a:cubicBezTo>
                <a:close/>
                <a:moveTo>
                  <a:pt x="416881" y="756402"/>
                </a:moveTo>
                <a:cubicBezTo>
                  <a:pt x="430485" y="756402"/>
                  <a:pt x="439736" y="765109"/>
                  <a:pt x="440280" y="778713"/>
                </a:cubicBezTo>
                <a:cubicBezTo>
                  <a:pt x="440280" y="791229"/>
                  <a:pt x="431573" y="801024"/>
                  <a:pt x="419057" y="801024"/>
                </a:cubicBezTo>
                <a:cubicBezTo>
                  <a:pt x="405997" y="801569"/>
                  <a:pt x="396202" y="792317"/>
                  <a:pt x="396202" y="779257"/>
                </a:cubicBezTo>
                <a:cubicBezTo>
                  <a:pt x="396202" y="766741"/>
                  <a:pt x="404909" y="756946"/>
                  <a:pt x="416881" y="756402"/>
                </a:cubicBezTo>
                <a:close/>
                <a:moveTo>
                  <a:pt x="581766" y="751505"/>
                </a:moveTo>
                <a:cubicBezTo>
                  <a:pt x="598091" y="752594"/>
                  <a:pt x="607887" y="762933"/>
                  <a:pt x="608975" y="779802"/>
                </a:cubicBezTo>
                <a:cubicBezTo>
                  <a:pt x="608975" y="792318"/>
                  <a:pt x="596459" y="808644"/>
                  <a:pt x="580678" y="806467"/>
                </a:cubicBezTo>
                <a:cubicBezTo>
                  <a:pt x="565985" y="808100"/>
                  <a:pt x="553469" y="792318"/>
                  <a:pt x="553469" y="778714"/>
                </a:cubicBezTo>
                <a:cubicBezTo>
                  <a:pt x="553469" y="764021"/>
                  <a:pt x="567618" y="750417"/>
                  <a:pt x="581766" y="751505"/>
                </a:cubicBezTo>
                <a:close/>
                <a:moveTo>
                  <a:pt x="746107" y="746607"/>
                </a:moveTo>
                <a:cubicBezTo>
                  <a:pt x="762432" y="747695"/>
                  <a:pt x="778213" y="765653"/>
                  <a:pt x="777125" y="780346"/>
                </a:cubicBezTo>
                <a:cubicBezTo>
                  <a:pt x="776581" y="795038"/>
                  <a:pt x="762432" y="811908"/>
                  <a:pt x="742842" y="811364"/>
                </a:cubicBezTo>
                <a:cubicBezTo>
                  <a:pt x="725428" y="810276"/>
                  <a:pt x="712368" y="795583"/>
                  <a:pt x="712368" y="778713"/>
                </a:cubicBezTo>
                <a:cubicBezTo>
                  <a:pt x="712368" y="760755"/>
                  <a:pt x="730870" y="745519"/>
                  <a:pt x="746107" y="746607"/>
                </a:cubicBezTo>
                <a:close/>
                <a:moveTo>
                  <a:pt x="907727" y="741710"/>
                </a:moveTo>
                <a:cubicBezTo>
                  <a:pt x="925684" y="741710"/>
                  <a:pt x="944187" y="760756"/>
                  <a:pt x="944187" y="778714"/>
                </a:cubicBezTo>
                <a:cubicBezTo>
                  <a:pt x="944187" y="796672"/>
                  <a:pt x="926229" y="815174"/>
                  <a:pt x="907727" y="815174"/>
                </a:cubicBezTo>
                <a:cubicBezTo>
                  <a:pt x="889225" y="815174"/>
                  <a:pt x="872899" y="798848"/>
                  <a:pt x="872355" y="779258"/>
                </a:cubicBezTo>
                <a:cubicBezTo>
                  <a:pt x="871811" y="759668"/>
                  <a:pt x="888136" y="742254"/>
                  <a:pt x="907727" y="741710"/>
                </a:cubicBezTo>
                <a:close/>
                <a:moveTo>
                  <a:pt x="1070979" y="740621"/>
                </a:moveTo>
                <a:cubicBezTo>
                  <a:pt x="1091114" y="737357"/>
                  <a:pt x="1110704" y="761300"/>
                  <a:pt x="1110160" y="779258"/>
                </a:cubicBezTo>
                <a:cubicBezTo>
                  <a:pt x="1110160" y="798304"/>
                  <a:pt x="1089481" y="817894"/>
                  <a:pt x="1070979" y="817894"/>
                </a:cubicBezTo>
                <a:cubicBezTo>
                  <a:pt x="1049757" y="817894"/>
                  <a:pt x="1031255" y="797216"/>
                  <a:pt x="1031799" y="778714"/>
                </a:cubicBezTo>
                <a:cubicBezTo>
                  <a:pt x="1033431" y="756947"/>
                  <a:pt x="1049212" y="740621"/>
                  <a:pt x="1070979" y="740621"/>
                </a:cubicBezTo>
                <a:close/>
                <a:moveTo>
                  <a:pt x="1233688" y="736268"/>
                </a:moveTo>
                <a:cubicBezTo>
                  <a:pt x="1254367" y="735723"/>
                  <a:pt x="1276134" y="756402"/>
                  <a:pt x="1276134" y="777625"/>
                </a:cubicBezTo>
                <a:cubicBezTo>
                  <a:pt x="1276134" y="801025"/>
                  <a:pt x="1258720" y="819526"/>
                  <a:pt x="1235320" y="820615"/>
                </a:cubicBezTo>
                <a:cubicBezTo>
                  <a:pt x="1211377" y="821159"/>
                  <a:pt x="1193419" y="802657"/>
                  <a:pt x="1192331" y="779258"/>
                </a:cubicBezTo>
                <a:cubicBezTo>
                  <a:pt x="1190698" y="758579"/>
                  <a:pt x="1213009" y="736812"/>
                  <a:pt x="1233688" y="736268"/>
                </a:cubicBezTo>
                <a:close/>
                <a:moveTo>
                  <a:pt x="1397485" y="735724"/>
                </a:moveTo>
                <a:cubicBezTo>
                  <a:pt x="1421973" y="734091"/>
                  <a:pt x="1441564" y="757491"/>
                  <a:pt x="1441019" y="779802"/>
                </a:cubicBezTo>
                <a:cubicBezTo>
                  <a:pt x="1441019" y="803746"/>
                  <a:pt x="1418708" y="823336"/>
                  <a:pt x="1396397" y="823336"/>
                </a:cubicBezTo>
                <a:cubicBezTo>
                  <a:pt x="1374630" y="823336"/>
                  <a:pt x="1352863" y="802113"/>
                  <a:pt x="1352863" y="779258"/>
                </a:cubicBezTo>
                <a:cubicBezTo>
                  <a:pt x="1353407" y="758579"/>
                  <a:pt x="1372453" y="733547"/>
                  <a:pt x="1397485" y="735724"/>
                </a:cubicBezTo>
                <a:close/>
                <a:moveTo>
                  <a:pt x="1562371" y="734636"/>
                </a:moveTo>
                <a:cubicBezTo>
                  <a:pt x="1586314" y="732459"/>
                  <a:pt x="1605905" y="754226"/>
                  <a:pt x="1605905" y="779802"/>
                </a:cubicBezTo>
                <a:cubicBezTo>
                  <a:pt x="1605361" y="805923"/>
                  <a:pt x="1585226" y="823881"/>
                  <a:pt x="1560194" y="823881"/>
                </a:cubicBezTo>
                <a:cubicBezTo>
                  <a:pt x="1535706" y="823881"/>
                  <a:pt x="1515027" y="803202"/>
                  <a:pt x="1515572" y="777626"/>
                </a:cubicBezTo>
                <a:cubicBezTo>
                  <a:pt x="1516116" y="755859"/>
                  <a:pt x="1535162" y="731371"/>
                  <a:pt x="1562371" y="734636"/>
                </a:cubicBezTo>
                <a:close/>
                <a:moveTo>
                  <a:pt x="1724535" y="730827"/>
                </a:moveTo>
                <a:cubicBezTo>
                  <a:pt x="1748478" y="731371"/>
                  <a:pt x="1772422" y="755314"/>
                  <a:pt x="1772422" y="779258"/>
                </a:cubicBezTo>
                <a:cubicBezTo>
                  <a:pt x="1771878" y="804290"/>
                  <a:pt x="1748478" y="826602"/>
                  <a:pt x="1723446" y="826602"/>
                </a:cubicBezTo>
                <a:cubicBezTo>
                  <a:pt x="1696238" y="823881"/>
                  <a:pt x="1677736" y="807011"/>
                  <a:pt x="1676647" y="778714"/>
                </a:cubicBezTo>
                <a:cubicBezTo>
                  <a:pt x="1676103" y="753138"/>
                  <a:pt x="1699503" y="730282"/>
                  <a:pt x="1724535" y="730827"/>
                </a:cubicBezTo>
                <a:close/>
                <a:moveTo>
                  <a:pt x="1886699" y="730826"/>
                </a:moveTo>
                <a:cubicBezTo>
                  <a:pt x="1914452" y="730826"/>
                  <a:pt x="1934587" y="749872"/>
                  <a:pt x="1935131" y="778713"/>
                </a:cubicBezTo>
                <a:cubicBezTo>
                  <a:pt x="1936219" y="804834"/>
                  <a:pt x="1916085" y="826601"/>
                  <a:pt x="1887244" y="827145"/>
                </a:cubicBezTo>
                <a:cubicBezTo>
                  <a:pt x="1860579" y="826601"/>
                  <a:pt x="1838812" y="805922"/>
                  <a:pt x="1838812" y="778713"/>
                </a:cubicBezTo>
                <a:cubicBezTo>
                  <a:pt x="1839356" y="750416"/>
                  <a:pt x="1860035" y="730282"/>
                  <a:pt x="1886699" y="730826"/>
                </a:cubicBezTo>
                <a:close/>
                <a:moveTo>
                  <a:pt x="2050496" y="730282"/>
                </a:moveTo>
                <a:lnTo>
                  <a:pt x="2051041" y="730396"/>
                </a:lnTo>
                <a:lnTo>
                  <a:pt x="2051041" y="826942"/>
                </a:lnTo>
                <a:lnTo>
                  <a:pt x="2049952" y="827145"/>
                </a:lnTo>
                <a:cubicBezTo>
                  <a:pt x="2023832" y="827145"/>
                  <a:pt x="2001521" y="804290"/>
                  <a:pt x="2002065" y="778169"/>
                </a:cubicBezTo>
                <a:cubicBezTo>
                  <a:pt x="2002609" y="751505"/>
                  <a:pt x="2024376" y="730282"/>
                  <a:pt x="2050496" y="730282"/>
                </a:cubicBezTo>
                <a:close/>
                <a:moveTo>
                  <a:pt x="173634" y="685660"/>
                </a:moveTo>
                <a:cubicBezTo>
                  <a:pt x="181253" y="685660"/>
                  <a:pt x="185062" y="690013"/>
                  <a:pt x="184518" y="698176"/>
                </a:cubicBezTo>
                <a:cubicBezTo>
                  <a:pt x="183973" y="705250"/>
                  <a:pt x="180164" y="709059"/>
                  <a:pt x="172546" y="709059"/>
                </a:cubicBezTo>
                <a:cubicBezTo>
                  <a:pt x="164383" y="709059"/>
                  <a:pt x="160574" y="705250"/>
                  <a:pt x="161118" y="697088"/>
                </a:cubicBezTo>
                <a:cubicBezTo>
                  <a:pt x="161662" y="688925"/>
                  <a:pt x="164927" y="685660"/>
                  <a:pt x="173634" y="685660"/>
                </a:cubicBezTo>
                <a:close/>
                <a:moveTo>
                  <a:pt x="335798" y="675320"/>
                </a:moveTo>
                <a:cubicBezTo>
                  <a:pt x="345593" y="675320"/>
                  <a:pt x="357565" y="685115"/>
                  <a:pt x="357565" y="696543"/>
                </a:cubicBezTo>
                <a:cubicBezTo>
                  <a:pt x="357565" y="707426"/>
                  <a:pt x="346682" y="718854"/>
                  <a:pt x="336342" y="718854"/>
                </a:cubicBezTo>
                <a:cubicBezTo>
                  <a:pt x="327091" y="718854"/>
                  <a:pt x="315664" y="707426"/>
                  <a:pt x="315120" y="697631"/>
                </a:cubicBezTo>
                <a:cubicBezTo>
                  <a:pt x="314575" y="687292"/>
                  <a:pt x="325459" y="675864"/>
                  <a:pt x="335798" y="675320"/>
                </a:cubicBezTo>
                <a:close/>
                <a:moveTo>
                  <a:pt x="499051" y="670423"/>
                </a:moveTo>
                <a:cubicBezTo>
                  <a:pt x="512111" y="669335"/>
                  <a:pt x="526804" y="684027"/>
                  <a:pt x="526804" y="697088"/>
                </a:cubicBezTo>
                <a:cubicBezTo>
                  <a:pt x="526804" y="711236"/>
                  <a:pt x="513744" y="724296"/>
                  <a:pt x="499595" y="724296"/>
                </a:cubicBezTo>
                <a:cubicBezTo>
                  <a:pt x="486535" y="724296"/>
                  <a:pt x="472930" y="711236"/>
                  <a:pt x="472930" y="697632"/>
                </a:cubicBezTo>
                <a:cubicBezTo>
                  <a:pt x="472386" y="684027"/>
                  <a:pt x="485446" y="670423"/>
                  <a:pt x="499051" y="670423"/>
                </a:cubicBezTo>
                <a:close/>
                <a:moveTo>
                  <a:pt x="662848" y="665525"/>
                </a:moveTo>
                <a:cubicBezTo>
                  <a:pt x="678629" y="665525"/>
                  <a:pt x="694410" y="681306"/>
                  <a:pt x="694954" y="697087"/>
                </a:cubicBezTo>
                <a:cubicBezTo>
                  <a:pt x="695499" y="712868"/>
                  <a:pt x="679173" y="729194"/>
                  <a:pt x="663392" y="729194"/>
                </a:cubicBezTo>
                <a:cubicBezTo>
                  <a:pt x="647611" y="729194"/>
                  <a:pt x="632374" y="713957"/>
                  <a:pt x="632374" y="698176"/>
                </a:cubicBezTo>
                <a:cubicBezTo>
                  <a:pt x="631286" y="681850"/>
                  <a:pt x="647067" y="665525"/>
                  <a:pt x="662848" y="665525"/>
                </a:cubicBezTo>
                <a:close/>
                <a:moveTo>
                  <a:pt x="825013" y="663349"/>
                </a:moveTo>
                <a:cubicBezTo>
                  <a:pt x="844603" y="662260"/>
                  <a:pt x="861472" y="676953"/>
                  <a:pt x="860384" y="697632"/>
                </a:cubicBezTo>
                <a:cubicBezTo>
                  <a:pt x="861472" y="716134"/>
                  <a:pt x="846780" y="731915"/>
                  <a:pt x="826101" y="731915"/>
                </a:cubicBezTo>
                <a:cubicBezTo>
                  <a:pt x="806511" y="731915"/>
                  <a:pt x="791818" y="719399"/>
                  <a:pt x="791818" y="698176"/>
                </a:cubicBezTo>
                <a:cubicBezTo>
                  <a:pt x="791818" y="676409"/>
                  <a:pt x="805967" y="663893"/>
                  <a:pt x="825013" y="663349"/>
                </a:cubicBezTo>
                <a:close/>
                <a:moveTo>
                  <a:pt x="988809" y="658995"/>
                </a:moveTo>
                <a:cubicBezTo>
                  <a:pt x="1008400" y="657362"/>
                  <a:pt x="1028534" y="679129"/>
                  <a:pt x="1027446" y="697087"/>
                </a:cubicBezTo>
                <a:cubicBezTo>
                  <a:pt x="1026902" y="718310"/>
                  <a:pt x="1010576" y="735723"/>
                  <a:pt x="989353" y="735723"/>
                </a:cubicBezTo>
                <a:cubicBezTo>
                  <a:pt x="968675" y="735723"/>
                  <a:pt x="950717" y="718310"/>
                  <a:pt x="950717" y="697631"/>
                </a:cubicBezTo>
                <a:cubicBezTo>
                  <a:pt x="950717" y="676408"/>
                  <a:pt x="968131" y="660627"/>
                  <a:pt x="988809" y="658995"/>
                </a:cubicBezTo>
                <a:close/>
                <a:moveTo>
                  <a:pt x="1152607" y="655729"/>
                </a:moveTo>
                <a:cubicBezTo>
                  <a:pt x="1173829" y="654097"/>
                  <a:pt x="1194508" y="675864"/>
                  <a:pt x="1195052" y="697087"/>
                </a:cubicBezTo>
                <a:cubicBezTo>
                  <a:pt x="1195596" y="717766"/>
                  <a:pt x="1173829" y="739533"/>
                  <a:pt x="1153151" y="739533"/>
                </a:cubicBezTo>
                <a:cubicBezTo>
                  <a:pt x="1132472" y="740077"/>
                  <a:pt x="1110705" y="718310"/>
                  <a:pt x="1110705" y="697631"/>
                </a:cubicBezTo>
                <a:cubicBezTo>
                  <a:pt x="1112882" y="674231"/>
                  <a:pt x="1127574" y="657362"/>
                  <a:pt x="1152607" y="655729"/>
                </a:cubicBezTo>
                <a:close/>
                <a:moveTo>
                  <a:pt x="1316948" y="653554"/>
                </a:moveTo>
                <a:cubicBezTo>
                  <a:pt x="1340347" y="654098"/>
                  <a:pt x="1359937" y="674777"/>
                  <a:pt x="1359937" y="697632"/>
                </a:cubicBezTo>
                <a:cubicBezTo>
                  <a:pt x="1359937" y="718855"/>
                  <a:pt x="1339803" y="743343"/>
                  <a:pt x="1315315" y="740622"/>
                </a:cubicBezTo>
                <a:cubicBezTo>
                  <a:pt x="1293004" y="742799"/>
                  <a:pt x="1271237" y="718311"/>
                  <a:pt x="1271781" y="696544"/>
                </a:cubicBezTo>
                <a:cubicBezTo>
                  <a:pt x="1271781" y="675321"/>
                  <a:pt x="1292460" y="653010"/>
                  <a:pt x="1316948" y="653554"/>
                </a:cubicBezTo>
                <a:close/>
                <a:moveTo>
                  <a:pt x="1479112" y="651921"/>
                </a:moveTo>
                <a:cubicBezTo>
                  <a:pt x="1506321" y="651377"/>
                  <a:pt x="1524823" y="669335"/>
                  <a:pt x="1524823" y="697088"/>
                </a:cubicBezTo>
                <a:cubicBezTo>
                  <a:pt x="1524823" y="722664"/>
                  <a:pt x="1506865" y="743343"/>
                  <a:pt x="1479112" y="742254"/>
                </a:cubicBezTo>
                <a:cubicBezTo>
                  <a:pt x="1450815" y="743343"/>
                  <a:pt x="1433401" y="721031"/>
                  <a:pt x="1433945" y="697088"/>
                </a:cubicBezTo>
                <a:cubicBezTo>
                  <a:pt x="1434490" y="670423"/>
                  <a:pt x="1451903" y="652465"/>
                  <a:pt x="1479112" y="651921"/>
                </a:cubicBezTo>
                <a:close/>
                <a:moveTo>
                  <a:pt x="1642909" y="649744"/>
                </a:moveTo>
                <a:cubicBezTo>
                  <a:pt x="1671750" y="650288"/>
                  <a:pt x="1690252" y="668790"/>
                  <a:pt x="1690796" y="697087"/>
                </a:cubicBezTo>
                <a:cubicBezTo>
                  <a:pt x="1691340" y="723752"/>
                  <a:pt x="1672294" y="743342"/>
                  <a:pt x="1642909" y="745519"/>
                </a:cubicBezTo>
                <a:cubicBezTo>
                  <a:pt x="1614067" y="743887"/>
                  <a:pt x="1594477" y="725384"/>
                  <a:pt x="1594477" y="697632"/>
                </a:cubicBezTo>
                <a:cubicBezTo>
                  <a:pt x="1594477" y="668790"/>
                  <a:pt x="1614611" y="649200"/>
                  <a:pt x="1642909" y="649744"/>
                </a:cubicBezTo>
                <a:close/>
                <a:moveTo>
                  <a:pt x="1805617" y="648112"/>
                </a:moveTo>
                <a:cubicBezTo>
                  <a:pt x="1829561" y="648112"/>
                  <a:pt x="1857314" y="672055"/>
                  <a:pt x="1854593" y="698176"/>
                </a:cubicBezTo>
                <a:cubicBezTo>
                  <a:pt x="1856770" y="719399"/>
                  <a:pt x="1832826" y="747151"/>
                  <a:pt x="1805073" y="746607"/>
                </a:cubicBezTo>
                <a:cubicBezTo>
                  <a:pt x="1779497" y="746063"/>
                  <a:pt x="1756097" y="721575"/>
                  <a:pt x="1756097" y="697087"/>
                </a:cubicBezTo>
                <a:cubicBezTo>
                  <a:pt x="1756097" y="670423"/>
                  <a:pt x="1782218" y="647567"/>
                  <a:pt x="1805617" y="648112"/>
                </a:cubicBezTo>
                <a:close/>
                <a:moveTo>
                  <a:pt x="1969414" y="647023"/>
                </a:moveTo>
                <a:cubicBezTo>
                  <a:pt x="1992814" y="647023"/>
                  <a:pt x="2020567" y="672055"/>
                  <a:pt x="2018934" y="698176"/>
                </a:cubicBezTo>
                <a:cubicBezTo>
                  <a:pt x="2017302" y="725384"/>
                  <a:pt x="1996623" y="746063"/>
                  <a:pt x="1968326" y="746063"/>
                </a:cubicBezTo>
                <a:cubicBezTo>
                  <a:pt x="1941661" y="748784"/>
                  <a:pt x="1919350" y="721031"/>
                  <a:pt x="1918806" y="697087"/>
                </a:cubicBezTo>
                <a:cubicBezTo>
                  <a:pt x="1918806" y="669878"/>
                  <a:pt x="1945471" y="647023"/>
                  <a:pt x="1969414" y="647023"/>
                </a:cubicBezTo>
                <a:close/>
                <a:moveTo>
                  <a:pt x="90919" y="606754"/>
                </a:moveTo>
                <a:cubicBezTo>
                  <a:pt x="94728" y="608386"/>
                  <a:pt x="99626" y="612195"/>
                  <a:pt x="99626" y="615460"/>
                </a:cubicBezTo>
                <a:cubicBezTo>
                  <a:pt x="100170" y="618181"/>
                  <a:pt x="95816" y="621990"/>
                  <a:pt x="92007" y="627976"/>
                </a:cubicBezTo>
                <a:cubicBezTo>
                  <a:pt x="87654" y="623079"/>
                  <a:pt x="84389" y="619814"/>
                  <a:pt x="82756" y="616005"/>
                </a:cubicBezTo>
                <a:cubicBezTo>
                  <a:pt x="81668" y="613284"/>
                  <a:pt x="88198" y="605665"/>
                  <a:pt x="90919" y="606754"/>
                </a:cubicBezTo>
                <a:close/>
                <a:moveTo>
                  <a:pt x="254172" y="598047"/>
                </a:moveTo>
                <a:cubicBezTo>
                  <a:pt x="265599" y="597503"/>
                  <a:pt x="273218" y="606210"/>
                  <a:pt x="272674" y="614917"/>
                </a:cubicBezTo>
                <a:cubicBezTo>
                  <a:pt x="272674" y="625800"/>
                  <a:pt x="266688" y="632874"/>
                  <a:pt x="255260" y="633419"/>
                </a:cubicBezTo>
                <a:cubicBezTo>
                  <a:pt x="244376" y="633963"/>
                  <a:pt x="237302" y="626889"/>
                  <a:pt x="236758" y="616005"/>
                </a:cubicBezTo>
                <a:cubicBezTo>
                  <a:pt x="236758" y="605122"/>
                  <a:pt x="243832" y="598047"/>
                  <a:pt x="254172" y="598047"/>
                </a:cubicBezTo>
                <a:close/>
                <a:moveTo>
                  <a:pt x="418513" y="590429"/>
                </a:moveTo>
                <a:cubicBezTo>
                  <a:pt x="431029" y="590429"/>
                  <a:pt x="442457" y="601857"/>
                  <a:pt x="443001" y="614917"/>
                </a:cubicBezTo>
                <a:cubicBezTo>
                  <a:pt x="443545" y="627977"/>
                  <a:pt x="432118" y="640493"/>
                  <a:pt x="419058" y="640493"/>
                </a:cubicBezTo>
                <a:cubicBezTo>
                  <a:pt x="404365" y="640493"/>
                  <a:pt x="394570" y="630698"/>
                  <a:pt x="392937" y="616005"/>
                </a:cubicBezTo>
                <a:cubicBezTo>
                  <a:pt x="391849" y="604033"/>
                  <a:pt x="405997" y="590429"/>
                  <a:pt x="418513" y="590429"/>
                </a:cubicBezTo>
                <a:close/>
                <a:moveTo>
                  <a:pt x="581222" y="587163"/>
                </a:moveTo>
                <a:cubicBezTo>
                  <a:pt x="600812" y="588252"/>
                  <a:pt x="610063" y="598047"/>
                  <a:pt x="610063" y="616549"/>
                </a:cubicBezTo>
                <a:cubicBezTo>
                  <a:pt x="610063" y="634507"/>
                  <a:pt x="599179" y="644846"/>
                  <a:pt x="580677" y="645390"/>
                </a:cubicBezTo>
                <a:cubicBezTo>
                  <a:pt x="565440" y="644846"/>
                  <a:pt x="551836" y="634507"/>
                  <a:pt x="551836" y="615461"/>
                </a:cubicBezTo>
                <a:cubicBezTo>
                  <a:pt x="551836" y="594782"/>
                  <a:pt x="567073" y="586075"/>
                  <a:pt x="581222" y="587163"/>
                </a:cubicBezTo>
                <a:close/>
                <a:moveTo>
                  <a:pt x="743930" y="582266"/>
                </a:moveTo>
                <a:cubicBezTo>
                  <a:pt x="761344" y="581178"/>
                  <a:pt x="779301" y="599136"/>
                  <a:pt x="779301" y="616005"/>
                </a:cubicBezTo>
                <a:cubicBezTo>
                  <a:pt x="779301" y="632874"/>
                  <a:pt x="762976" y="649744"/>
                  <a:pt x="745563" y="649744"/>
                </a:cubicBezTo>
                <a:cubicBezTo>
                  <a:pt x="728149" y="649200"/>
                  <a:pt x="710191" y="635595"/>
                  <a:pt x="711824" y="616549"/>
                </a:cubicBezTo>
                <a:cubicBezTo>
                  <a:pt x="711824" y="596415"/>
                  <a:pt x="724340" y="583355"/>
                  <a:pt x="743930" y="582266"/>
                </a:cubicBezTo>
                <a:close/>
                <a:moveTo>
                  <a:pt x="907183" y="577913"/>
                </a:moveTo>
                <a:cubicBezTo>
                  <a:pt x="927318" y="576825"/>
                  <a:pt x="947452" y="598592"/>
                  <a:pt x="945276" y="615461"/>
                </a:cubicBezTo>
                <a:cubicBezTo>
                  <a:pt x="945276" y="635596"/>
                  <a:pt x="927318" y="653554"/>
                  <a:pt x="907727" y="654098"/>
                </a:cubicBezTo>
                <a:cubicBezTo>
                  <a:pt x="890314" y="654642"/>
                  <a:pt x="869091" y="635052"/>
                  <a:pt x="869091" y="616006"/>
                </a:cubicBezTo>
                <a:cubicBezTo>
                  <a:pt x="869635" y="595871"/>
                  <a:pt x="887049" y="578457"/>
                  <a:pt x="907183" y="577913"/>
                </a:cubicBezTo>
                <a:close/>
                <a:moveTo>
                  <a:pt x="1069891" y="574648"/>
                </a:moveTo>
                <a:cubicBezTo>
                  <a:pt x="1092202" y="574648"/>
                  <a:pt x="1111793" y="589885"/>
                  <a:pt x="1111248" y="615461"/>
                </a:cubicBezTo>
                <a:cubicBezTo>
                  <a:pt x="1111793" y="639405"/>
                  <a:pt x="1093835" y="656274"/>
                  <a:pt x="1070435" y="656274"/>
                </a:cubicBezTo>
                <a:cubicBezTo>
                  <a:pt x="1045403" y="656274"/>
                  <a:pt x="1029622" y="635052"/>
                  <a:pt x="1029622" y="614917"/>
                </a:cubicBezTo>
                <a:cubicBezTo>
                  <a:pt x="1030166" y="593150"/>
                  <a:pt x="1046491" y="574648"/>
                  <a:pt x="1069891" y="574648"/>
                </a:cubicBezTo>
                <a:close/>
                <a:moveTo>
                  <a:pt x="1235321" y="572472"/>
                </a:moveTo>
                <a:cubicBezTo>
                  <a:pt x="1256543" y="572472"/>
                  <a:pt x="1279399" y="590973"/>
                  <a:pt x="1277222" y="616550"/>
                </a:cubicBezTo>
                <a:cubicBezTo>
                  <a:pt x="1278855" y="639949"/>
                  <a:pt x="1255455" y="660084"/>
                  <a:pt x="1233688" y="660084"/>
                </a:cubicBezTo>
                <a:cubicBezTo>
                  <a:pt x="1211377" y="660084"/>
                  <a:pt x="1189610" y="637773"/>
                  <a:pt x="1190154" y="614917"/>
                </a:cubicBezTo>
                <a:cubicBezTo>
                  <a:pt x="1190698" y="594783"/>
                  <a:pt x="1209200" y="571927"/>
                  <a:pt x="1235321" y="572472"/>
                </a:cubicBezTo>
                <a:close/>
                <a:moveTo>
                  <a:pt x="1397485" y="569206"/>
                </a:moveTo>
                <a:cubicBezTo>
                  <a:pt x="1423606" y="569750"/>
                  <a:pt x="1443196" y="587708"/>
                  <a:pt x="1443196" y="616005"/>
                </a:cubicBezTo>
                <a:cubicBezTo>
                  <a:pt x="1443196" y="642670"/>
                  <a:pt x="1424150" y="661716"/>
                  <a:pt x="1396941" y="661172"/>
                </a:cubicBezTo>
                <a:cubicBezTo>
                  <a:pt x="1369188" y="661172"/>
                  <a:pt x="1350686" y="638860"/>
                  <a:pt x="1351775" y="614373"/>
                </a:cubicBezTo>
                <a:cubicBezTo>
                  <a:pt x="1352319" y="587164"/>
                  <a:pt x="1371365" y="569206"/>
                  <a:pt x="1397485" y="569206"/>
                </a:cubicBezTo>
                <a:close/>
                <a:moveTo>
                  <a:pt x="1560738" y="567029"/>
                </a:moveTo>
                <a:cubicBezTo>
                  <a:pt x="1586859" y="567029"/>
                  <a:pt x="1608082" y="587708"/>
                  <a:pt x="1609714" y="615461"/>
                </a:cubicBezTo>
                <a:cubicBezTo>
                  <a:pt x="1608082" y="641581"/>
                  <a:pt x="1589580" y="663892"/>
                  <a:pt x="1561283" y="663892"/>
                </a:cubicBezTo>
                <a:cubicBezTo>
                  <a:pt x="1534074" y="663892"/>
                  <a:pt x="1512851" y="642669"/>
                  <a:pt x="1512851" y="616005"/>
                </a:cubicBezTo>
                <a:cubicBezTo>
                  <a:pt x="1512851" y="587163"/>
                  <a:pt x="1535706" y="567029"/>
                  <a:pt x="1560738" y="567029"/>
                </a:cubicBezTo>
                <a:close/>
                <a:moveTo>
                  <a:pt x="1725624" y="565397"/>
                </a:moveTo>
                <a:cubicBezTo>
                  <a:pt x="1747935" y="565941"/>
                  <a:pt x="1775144" y="590429"/>
                  <a:pt x="1774599" y="616005"/>
                </a:cubicBezTo>
                <a:cubicBezTo>
                  <a:pt x="1774055" y="638317"/>
                  <a:pt x="1751744" y="668246"/>
                  <a:pt x="1723447" y="664981"/>
                </a:cubicBezTo>
                <a:cubicBezTo>
                  <a:pt x="1700592" y="667158"/>
                  <a:pt x="1674471" y="643758"/>
                  <a:pt x="1674471" y="615461"/>
                </a:cubicBezTo>
                <a:cubicBezTo>
                  <a:pt x="1674471" y="588797"/>
                  <a:pt x="1700592" y="565397"/>
                  <a:pt x="1725624" y="565397"/>
                </a:cubicBezTo>
                <a:close/>
                <a:moveTo>
                  <a:pt x="1886699" y="564853"/>
                </a:moveTo>
                <a:cubicBezTo>
                  <a:pt x="1914996" y="564309"/>
                  <a:pt x="1938396" y="589341"/>
                  <a:pt x="1938396" y="614917"/>
                </a:cubicBezTo>
                <a:cubicBezTo>
                  <a:pt x="1938396" y="640493"/>
                  <a:pt x="1917717" y="667702"/>
                  <a:pt x="1887787" y="665525"/>
                </a:cubicBezTo>
                <a:cubicBezTo>
                  <a:pt x="1860034" y="667702"/>
                  <a:pt x="1837723" y="644302"/>
                  <a:pt x="1837179" y="615461"/>
                </a:cubicBezTo>
                <a:cubicBezTo>
                  <a:pt x="1837179" y="586620"/>
                  <a:pt x="1861667" y="565397"/>
                  <a:pt x="1886699" y="564853"/>
                </a:cubicBezTo>
                <a:close/>
                <a:moveTo>
                  <a:pt x="2050496" y="564852"/>
                </a:moveTo>
                <a:lnTo>
                  <a:pt x="2051041" y="564962"/>
                </a:lnTo>
                <a:lnTo>
                  <a:pt x="2051041" y="665899"/>
                </a:lnTo>
                <a:lnTo>
                  <a:pt x="2049952" y="666069"/>
                </a:lnTo>
                <a:cubicBezTo>
                  <a:pt x="2018934" y="667157"/>
                  <a:pt x="1999344" y="642669"/>
                  <a:pt x="1999344" y="615460"/>
                </a:cubicBezTo>
                <a:cubicBezTo>
                  <a:pt x="1999344" y="587163"/>
                  <a:pt x="2021655" y="564852"/>
                  <a:pt x="2050496" y="564852"/>
                </a:cubicBezTo>
                <a:close/>
                <a:moveTo>
                  <a:pt x="173090" y="517509"/>
                </a:moveTo>
                <a:cubicBezTo>
                  <a:pt x="181252" y="517509"/>
                  <a:pt x="189415" y="525672"/>
                  <a:pt x="189959" y="533834"/>
                </a:cubicBezTo>
                <a:cubicBezTo>
                  <a:pt x="189959" y="542541"/>
                  <a:pt x="182341" y="550160"/>
                  <a:pt x="173634" y="550160"/>
                </a:cubicBezTo>
                <a:cubicBezTo>
                  <a:pt x="165471" y="550160"/>
                  <a:pt x="157853" y="543085"/>
                  <a:pt x="157308" y="534923"/>
                </a:cubicBezTo>
                <a:cubicBezTo>
                  <a:pt x="156764" y="526216"/>
                  <a:pt x="164383" y="518053"/>
                  <a:pt x="173090" y="517509"/>
                </a:cubicBezTo>
                <a:close/>
                <a:moveTo>
                  <a:pt x="335798" y="511523"/>
                </a:moveTo>
                <a:cubicBezTo>
                  <a:pt x="349947" y="512067"/>
                  <a:pt x="357565" y="519686"/>
                  <a:pt x="358654" y="533834"/>
                </a:cubicBezTo>
                <a:cubicBezTo>
                  <a:pt x="359742" y="547439"/>
                  <a:pt x="348314" y="557778"/>
                  <a:pt x="336343" y="556689"/>
                </a:cubicBezTo>
                <a:cubicBezTo>
                  <a:pt x="324371" y="558322"/>
                  <a:pt x="312943" y="545806"/>
                  <a:pt x="312943" y="534378"/>
                </a:cubicBezTo>
                <a:cubicBezTo>
                  <a:pt x="312943" y="522951"/>
                  <a:pt x="322738" y="510979"/>
                  <a:pt x="335798" y="511523"/>
                </a:cubicBezTo>
                <a:close/>
                <a:moveTo>
                  <a:pt x="500139" y="506626"/>
                </a:moveTo>
                <a:cubicBezTo>
                  <a:pt x="517553" y="507170"/>
                  <a:pt x="527892" y="517509"/>
                  <a:pt x="527348" y="535467"/>
                </a:cubicBezTo>
                <a:cubicBezTo>
                  <a:pt x="526804" y="552880"/>
                  <a:pt x="515920" y="562131"/>
                  <a:pt x="497963" y="561587"/>
                </a:cubicBezTo>
                <a:cubicBezTo>
                  <a:pt x="481093" y="561043"/>
                  <a:pt x="472386" y="550704"/>
                  <a:pt x="471842" y="533290"/>
                </a:cubicBezTo>
                <a:cubicBezTo>
                  <a:pt x="471298" y="516965"/>
                  <a:pt x="485447" y="506081"/>
                  <a:pt x="500139" y="506626"/>
                </a:cubicBezTo>
                <a:close/>
                <a:moveTo>
                  <a:pt x="662304" y="500639"/>
                </a:moveTo>
                <a:cubicBezTo>
                  <a:pt x="677540" y="497919"/>
                  <a:pt x="696587" y="518597"/>
                  <a:pt x="696042" y="533290"/>
                </a:cubicBezTo>
                <a:cubicBezTo>
                  <a:pt x="694954" y="551792"/>
                  <a:pt x="681894" y="565396"/>
                  <a:pt x="663392" y="566485"/>
                </a:cubicBezTo>
                <a:cubicBezTo>
                  <a:pt x="643802" y="567573"/>
                  <a:pt x="629653" y="549615"/>
                  <a:pt x="630197" y="534378"/>
                </a:cubicBezTo>
                <a:cubicBezTo>
                  <a:pt x="630741" y="515876"/>
                  <a:pt x="644346" y="501184"/>
                  <a:pt x="662304" y="500639"/>
                </a:cubicBezTo>
                <a:close/>
                <a:moveTo>
                  <a:pt x="825557" y="496830"/>
                </a:moveTo>
                <a:cubicBezTo>
                  <a:pt x="846780" y="496286"/>
                  <a:pt x="862561" y="513700"/>
                  <a:pt x="863649" y="534923"/>
                </a:cubicBezTo>
                <a:cubicBezTo>
                  <a:pt x="862017" y="556690"/>
                  <a:pt x="845147" y="571927"/>
                  <a:pt x="825557" y="571383"/>
                </a:cubicBezTo>
                <a:cubicBezTo>
                  <a:pt x="805422" y="570838"/>
                  <a:pt x="788553" y="555057"/>
                  <a:pt x="788553" y="534379"/>
                </a:cubicBezTo>
                <a:cubicBezTo>
                  <a:pt x="788553" y="514244"/>
                  <a:pt x="804334" y="497375"/>
                  <a:pt x="825557" y="496830"/>
                </a:cubicBezTo>
                <a:close/>
                <a:moveTo>
                  <a:pt x="989898" y="494110"/>
                </a:moveTo>
                <a:cubicBezTo>
                  <a:pt x="1012209" y="494654"/>
                  <a:pt x="1029622" y="513156"/>
                  <a:pt x="1029078" y="534923"/>
                </a:cubicBezTo>
                <a:cubicBezTo>
                  <a:pt x="1028534" y="556146"/>
                  <a:pt x="1010576" y="574104"/>
                  <a:pt x="989353" y="574104"/>
                </a:cubicBezTo>
                <a:cubicBezTo>
                  <a:pt x="969763" y="574648"/>
                  <a:pt x="947452" y="556690"/>
                  <a:pt x="949629" y="533835"/>
                </a:cubicBezTo>
                <a:cubicBezTo>
                  <a:pt x="947996" y="512068"/>
                  <a:pt x="968675" y="494110"/>
                  <a:pt x="989898" y="494110"/>
                </a:cubicBezTo>
                <a:close/>
                <a:moveTo>
                  <a:pt x="1152062" y="490301"/>
                </a:moveTo>
                <a:cubicBezTo>
                  <a:pt x="1174917" y="490301"/>
                  <a:pt x="1196140" y="509347"/>
                  <a:pt x="1196140" y="533835"/>
                </a:cubicBezTo>
                <a:cubicBezTo>
                  <a:pt x="1197228" y="558867"/>
                  <a:pt x="1173829" y="577913"/>
                  <a:pt x="1152606" y="577369"/>
                </a:cubicBezTo>
                <a:cubicBezTo>
                  <a:pt x="1130839" y="577369"/>
                  <a:pt x="1109616" y="556690"/>
                  <a:pt x="1109072" y="534379"/>
                </a:cubicBezTo>
                <a:cubicBezTo>
                  <a:pt x="1108528" y="510980"/>
                  <a:pt x="1128662" y="490301"/>
                  <a:pt x="1152062" y="490301"/>
                </a:cubicBezTo>
                <a:close/>
                <a:moveTo>
                  <a:pt x="1316947" y="489212"/>
                </a:moveTo>
                <a:cubicBezTo>
                  <a:pt x="1343612" y="489756"/>
                  <a:pt x="1361570" y="510435"/>
                  <a:pt x="1361570" y="534923"/>
                </a:cubicBezTo>
                <a:cubicBezTo>
                  <a:pt x="1361570" y="560499"/>
                  <a:pt x="1341980" y="580090"/>
                  <a:pt x="1315859" y="580090"/>
                </a:cubicBezTo>
                <a:cubicBezTo>
                  <a:pt x="1291915" y="580090"/>
                  <a:pt x="1269060" y="560499"/>
                  <a:pt x="1270693" y="533835"/>
                </a:cubicBezTo>
                <a:cubicBezTo>
                  <a:pt x="1269604" y="508258"/>
                  <a:pt x="1291371" y="488124"/>
                  <a:pt x="1316947" y="489212"/>
                </a:cubicBezTo>
                <a:close/>
                <a:moveTo>
                  <a:pt x="1479112" y="484315"/>
                </a:moveTo>
                <a:cubicBezTo>
                  <a:pt x="1503599" y="484315"/>
                  <a:pt x="1528087" y="508259"/>
                  <a:pt x="1528087" y="533835"/>
                </a:cubicBezTo>
                <a:cubicBezTo>
                  <a:pt x="1528087" y="558867"/>
                  <a:pt x="1506865" y="582267"/>
                  <a:pt x="1479656" y="582267"/>
                </a:cubicBezTo>
                <a:cubicBezTo>
                  <a:pt x="1453535" y="582267"/>
                  <a:pt x="1431224" y="560500"/>
                  <a:pt x="1431224" y="533835"/>
                </a:cubicBezTo>
                <a:cubicBezTo>
                  <a:pt x="1430680" y="506626"/>
                  <a:pt x="1454624" y="485403"/>
                  <a:pt x="1479112" y="484315"/>
                </a:cubicBezTo>
                <a:close/>
                <a:moveTo>
                  <a:pt x="1643452" y="484314"/>
                </a:moveTo>
                <a:cubicBezTo>
                  <a:pt x="1667396" y="481049"/>
                  <a:pt x="1693517" y="509891"/>
                  <a:pt x="1692973" y="534923"/>
                </a:cubicBezTo>
                <a:cubicBezTo>
                  <a:pt x="1692428" y="558867"/>
                  <a:pt x="1669573" y="584987"/>
                  <a:pt x="1641276" y="583898"/>
                </a:cubicBezTo>
                <a:cubicBezTo>
                  <a:pt x="1616788" y="583354"/>
                  <a:pt x="1592300" y="562676"/>
                  <a:pt x="1592300" y="532202"/>
                </a:cubicBezTo>
                <a:cubicBezTo>
                  <a:pt x="1592300" y="509891"/>
                  <a:pt x="1615155" y="481049"/>
                  <a:pt x="1643452" y="484314"/>
                </a:cubicBezTo>
                <a:close/>
                <a:moveTo>
                  <a:pt x="1806162" y="481594"/>
                </a:moveTo>
                <a:cubicBezTo>
                  <a:pt x="1839901" y="484859"/>
                  <a:pt x="1858947" y="504993"/>
                  <a:pt x="1857858" y="536011"/>
                </a:cubicBezTo>
                <a:cubicBezTo>
                  <a:pt x="1855682" y="568662"/>
                  <a:pt x="1834459" y="584987"/>
                  <a:pt x="1803441" y="586075"/>
                </a:cubicBezTo>
                <a:cubicBezTo>
                  <a:pt x="1775144" y="584443"/>
                  <a:pt x="1751744" y="559955"/>
                  <a:pt x="1753377" y="533290"/>
                </a:cubicBezTo>
                <a:cubicBezTo>
                  <a:pt x="1755009" y="504993"/>
                  <a:pt x="1780041" y="479417"/>
                  <a:pt x="1806162" y="481594"/>
                </a:cubicBezTo>
                <a:close/>
                <a:moveTo>
                  <a:pt x="1968326" y="480505"/>
                </a:moveTo>
                <a:cubicBezTo>
                  <a:pt x="1998256" y="483226"/>
                  <a:pt x="2020023" y="501728"/>
                  <a:pt x="2022200" y="534379"/>
                </a:cubicBezTo>
                <a:cubicBezTo>
                  <a:pt x="2023832" y="560499"/>
                  <a:pt x="1996079" y="588252"/>
                  <a:pt x="1969415" y="588252"/>
                </a:cubicBezTo>
                <a:cubicBezTo>
                  <a:pt x="1943294" y="588796"/>
                  <a:pt x="1916085" y="561587"/>
                  <a:pt x="1915541" y="534923"/>
                </a:cubicBezTo>
                <a:cubicBezTo>
                  <a:pt x="1914453" y="508258"/>
                  <a:pt x="1941117" y="480505"/>
                  <a:pt x="1968326" y="480505"/>
                </a:cubicBezTo>
                <a:close/>
                <a:moveTo>
                  <a:pt x="91464" y="440780"/>
                </a:moveTo>
                <a:cubicBezTo>
                  <a:pt x="99082" y="440780"/>
                  <a:pt x="102347" y="443501"/>
                  <a:pt x="102891" y="451664"/>
                </a:cubicBezTo>
                <a:cubicBezTo>
                  <a:pt x="102891" y="460915"/>
                  <a:pt x="100171" y="464179"/>
                  <a:pt x="92008" y="464179"/>
                </a:cubicBezTo>
                <a:cubicBezTo>
                  <a:pt x="83301" y="464179"/>
                  <a:pt x="80036" y="461459"/>
                  <a:pt x="80036" y="452752"/>
                </a:cubicBezTo>
                <a:cubicBezTo>
                  <a:pt x="80036" y="444045"/>
                  <a:pt x="83301" y="440780"/>
                  <a:pt x="91464" y="440780"/>
                </a:cubicBezTo>
                <a:close/>
                <a:moveTo>
                  <a:pt x="254172" y="430441"/>
                </a:moveTo>
                <a:cubicBezTo>
                  <a:pt x="263967" y="430441"/>
                  <a:pt x="276483" y="440236"/>
                  <a:pt x="275939" y="452208"/>
                </a:cubicBezTo>
                <a:cubicBezTo>
                  <a:pt x="275939" y="463092"/>
                  <a:pt x="265600" y="473975"/>
                  <a:pt x="254716" y="473975"/>
                </a:cubicBezTo>
                <a:cubicBezTo>
                  <a:pt x="244377" y="473975"/>
                  <a:pt x="232949" y="463092"/>
                  <a:pt x="232405" y="452752"/>
                </a:cubicBezTo>
                <a:cubicBezTo>
                  <a:pt x="232405" y="442413"/>
                  <a:pt x="243833" y="430985"/>
                  <a:pt x="254172" y="430441"/>
                </a:cubicBezTo>
                <a:close/>
                <a:moveTo>
                  <a:pt x="417969" y="424999"/>
                </a:moveTo>
                <a:cubicBezTo>
                  <a:pt x="432118" y="424999"/>
                  <a:pt x="444634" y="438059"/>
                  <a:pt x="444634" y="452752"/>
                </a:cubicBezTo>
                <a:cubicBezTo>
                  <a:pt x="445178" y="464180"/>
                  <a:pt x="432662" y="481049"/>
                  <a:pt x="417425" y="479417"/>
                </a:cubicBezTo>
                <a:cubicBezTo>
                  <a:pt x="405453" y="481049"/>
                  <a:pt x="389672" y="465268"/>
                  <a:pt x="390760" y="452208"/>
                </a:cubicBezTo>
                <a:cubicBezTo>
                  <a:pt x="391849" y="437515"/>
                  <a:pt x="403276" y="424999"/>
                  <a:pt x="417969" y="424999"/>
                </a:cubicBezTo>
                <a:close/>
                <a:moveTo>
                  <a:pt x="580677" y="419558"/>
                </a:moveTo>
                <a:cubicBezTo>
                  <a:pt x="596458" y="419013"/>
                  <a:pt x="612783" y="434795"/>
                  <a:pt x="612783" y="452208"/>
                </a:cubicBezTo>
                <a:cubicBezTo>
                  <a:pt x="612783" y="469622"/>
                  <a:pt x="599723" y="483226"/>
                  <a:pt x="581221" y="484315"/>
                </a:cubicBezTo>
                <a:cubicBezTo>
                  <a:pt x="561087" y="482138"/>
                  <a:pt x="549659" y="470710"/>
                  <a:pt x="549115" y="452208"/>
                </a:cubicBezTo>
                <a:cubicBezTo>
                  <a:pt x="548571" y="433162"/>
                  <a:pt x="564352" y="420102"/>
                  <a:pt x="580677" y="419558"/>
                </a:cubicBezTo>
                <a:close/>
                <a:moveTo>
                  <a:pt x="743931" y="415748"/>
                </a:moveTo>
                <a:cubicBezTo>
                  <a:pt x="761888" y="414660"/>
                  <a:pt x="779846" y="432618"/>
                  <a:pt x="780390" y="452208"/>
                </a:cubicBezTo>
                <a:cubicBezTo>
                  <a:pt x="780934" y="471254"/>
                  <a:pt x="764065" y="488668"/>
                  <a:pt x="744475" y="489212"/>
                </a:cubicBezTo>
                <a:cubicBezTo>
                  <a:pt x="727061" y="489212"/>
                  <a:pt x="709103" y="472342"/>
                  <a:pt x="708559" y="453840"/>
                </a:cubicBezTo>
                <a:cubicBezTo>
                  <a:pt x="707471" y="435883"/>
                  <a:pt x="725428" y="416836"/>
                  <a:pt x="743931" y="415748"/>
                </a:cubicBezTo>
                <a:close/>
                <a:moveTo>
                  <a:pt x="908271" y="414116"/>
                </a:moveTo>
                <a:cubicBezTo>
                  <a:pt x="927861" y="411395"/>
                  <a:pt x="946907" y="431529"/>
                  <a:pt x="946363" y="453296"/>
                </a:cubicBezTo>
                <a:cubicBezTo>
                  <a:pt x="946363" y="473975"/>
                  <a:pt x="927317" y="491933"/>
                  <a:pt x="906638" y="491933"/>
                </a:cubicBezTo>
                <a:cubicBezTo>
                  <a:pt x="887048" y="491933"/>
                  <a:pt x="866913" y="473431"/>
                  <a:pt x="868546" y="452208"/>
                </a:cubicBezTo>
                <a:cubicBezTo>
                  <a:pt x="870179" y="428808"/>
                  <a:pt x="884871" y="413571"/>
                  <a:pt x="908271" y="414116"/>
                </a:cubicBezTo>
                <a:close/>
                <a:moveTo>
                  <a:pt x="1072068" y="409218"/>
                </a:moveTo>
                <a:cubicBezTo>
                  <a:pt x="1097100" y="410307"/>
                  <a:pt x="1113970" y="427720"/>
                  <a:pt x="1113970" y="452752"/>
                </a:cubicBezTo>
                <a:cubicBezTo>
                  <a:pt x="1113970" y="478329"/>
                  <a:pt x="1092203" y="495198"/>
                  <a:pt x="1070436" y="495198"/>
                </a:cubicBezTo>
                <a:cubicBezTo>
                  <a:pt x="1048124" y="494654"/>
                  <a:pt x="1027446" y="475063"/>
                  <a:pt x="1028534" y="451120"/>
                </a:cubicBezTo>
                <a:cubicBezTo>
                  <a:pt x="1029622" y="427720"/>
                  <a:pt x="1048669" y="408130"/>
                  <a:pt x="1072068" y="409218"/>
                </a:cubicBezTo>
                <a:close/>
                <a:moveTo>
                  <a:pt x="1235865" y="408130"/>
                </a:moveTo>
                <a:cubicBezTo>
                  <a:pt x="1258721" y="405953"/>
                  <a:pt x="1279400" y="427176"/>
                  <a:pt x="1279400" y="453296"/>
                </a:cubicBezTo>
                <a:cubicBezTo>
                  <a:pt x="1278855" y="478328"/>
                  <a:pt x="1258177" y="497374"/>
                  <a:pt x="1233689" y="497374"/>
                </a:cubicBezTo>
                <a:cubicBezTo>
                  <a:pt x="1209745" y="496830"/>
                  <a:pt x="1189066" y="476151"/>
                  <a:pt x="1189611" y="451664"/>
                </a:cubicBezTo>
                <a:cubicBezTo>
                  <a:pt x="1189611" y="429352"/>
                  <a:pt x="1209201" y="404864"/>
                  <a:pt x="1235865" y="408130"/>
                </a:cubicBezTo>
                <a:close/>
                <a:moveTo>
                  <a:pt x="1396941" y="403776"/>
                </a:moveTo>
                <a:cubicBezTo>
                  <a:pt x="1425238" y="403232"/>
                  <a:pt x="1445373" y="423911"/>
                  <a:pt x="1446461" y="450575"/>
                </a:cubicBezTo>
                <a:cubicBezTo>
                  <a:pt x="1447005" y="476696"/>
                  <a:pt x="1426327" y="500096"/>
                  <a:pt x="1399118" y="500640"/>
                </a:cubicBezTo>
                <a:cubicBezTo>
                  <a:pt x="1372453" y="501184"/>
                  <a:pt x="1349598" y="479961"/>
                  <a:pt x="1349598" y="453296"/>
                </a:cubicBezTo>
                <a:cubicBezTo>
                  <a:pt x="1349598" y="424999"/>
                  <a:pt x="1370277" y="404865"/>
                  <a:pt x="1396941" y="403776"/>
                </a:cubicBezTo>
                <a:close/>
                <a:moveTo>
                  <a:pt x="1560738" y="402144"/>
                </a:moveTo>
                <a:cubicBezTo>
                  <a:pt x="1588491" y="402144"/>
                  <a:pt x="1611347" y="427176"/>
                  <a:pt x="1611347" y="453297"/>
                </a:cubicBezTo>
                <a:cubicBezTo>
                  <a:pt x="1610803" y="476152"/>
                  <a:pt x="1590668" y="502817"/>
                  <a:pt x="1560194" y="502272"/>
                </a:cubicBezTo>
                <a:cubicBezTo>
                  <a:pt x="1534074" y="501728"/>
                  <a:pt x="1508498" y="479961"/>
                  <a:pt x="1511218" y="451664"/>
                </a:cubicBezTo>
                <a:cubicBezTo>
                  <a:pt x="1508498" y="425544"/>
                  <a:pt x="1534618" y="402144"/>
                  <a:pt x="1560738" y="402144"/>
                </a:cubicBezTo>
                <a:close/>
                <a:moveTo>
                  <a:pt x="1723991" y="399423"/>
                </a:moveTo>
                <a:cubicBezTo>
                  <a:pt x="1756097" y="402688"/>
                  <a:pt x="1777320" y="422278"/>
                  <a:pt x="1776776" y="452752"/>
                </a:cubicBezTo>
                <a:cubicBezTo>
                  <a:pt x="1776232" y="483226"/>
                  <a:pt x="1757730" y="501728"/>
                  <a:pt x="1725079" y="504993"/>
                </a:cubicBezTo>
                <a:cubicBezTo>
                  <a:pt x="1697870" y="507714"/>
                  <a:pt x="1670117" y="479961"/>
                  <a:pt x="1671750" y="452752"/>
                </a:cubicBezTo>
                <a:cubicBezTo>
                  <a:pt x="1673382" y="420102"/>
                  <a:pt x="1692428" y="403232"/>
                  <a:pt x="1723991" y="399423"/>
                </a:cubicBezTo>
                <a:close/>
                <a:moveTo>
                  <a:pt x="2051040" y="398335"/>
                </a:moveTo>
                <a:lnTo>
                  <a:pt x="2051041" y="398335"/>
                </a:lnTo>
                <a:lnTo>
                  <a:pt x="2051041" y="506936"/>
                </a:lnTo>
                <a:lnTo>
                  <a:pt x="2049952" y="507170"/>
                </a:lnTo>
                <a:cubicBezTo>
                  <a:pt x="2020566" y="506626"/>
                  <a:pt x="1995534" y="481593"/>
                  <a:pt x="1995534" y="452208"/>
                </a:cubicBezTo>
                <a:cubicBezTo>
                  <a:pt x="1996078" y="424455"/>
                  <a:pt x="2021655" y="397246"/>
                  <a:pt x="2051040" y="398335"/>
                </a:cubicBezTo>
                <a:close/>
                <a:moveTo>
                  <a:pt x="1888332" y="398335"/>
                </a:moveTo>
                <a:cubicBezTo>
                  <a:pt x="1915541" y="398879"/>
                  <a:pt x="1941661" y="423911"/>
                  <a:pt x="1941661" y="452208"/>
                </a:cubicBezTo>
                <a:cubicBezTo>
                  <a:pt x="1941661" y="481594"/>
                  <a:pt x="1916085" y="507170"/>
                  <a:pt x="1886699" y="506082"/>
                </a:cubicBezTo>
                <a:cubicBezTo>
                  <a:pt x="1857314" y="505538"/>
                  <a:pt x="1833914" y="481594"/>
                  <a:pt x="1833370" y="452208"/>
                </a:cubicBezTo>
                <a:cubicBezTo>
                  <a:pt x="1833370" y="423911"/>
                  <a:pt x="1860035" y="398335"/>
                  <a:pt x="1888332" y="398335"/>
                </a:cubicBezTo>
                <a:close/>
                <a:moveTo>
                  <a:pt x="12014" y="364052"/>
                </a:moveTo>
                <a:cubicBezTo>
                  <a:pt x="13102" y="365140"/>
                  <a:pt x="15279" y="367317"/>
                  <a:pt x="15823" y="370038"/>
                </a:cubicBezTo>
                <a:cubicBezTo>
                  <a:pt x="16911" y="374391"/>
                  <a:pt x="14191" y="377656"/>
                  <a:pt x="9293" y="377656"/>
                </a:cubicBezTo>
                <a:cubicBezTo>
                  <a:pt x="4940" y="377656"/>
                  <a:pt x="3307" y="374936"/>
                  <a:pt x="3307" y="371126"/>
                </a:cubicBezTo>
                <a:cubicBezTo>
                  <a:pt x="3307" y="367317"/>
                  <a:pt x="4940" y="364052"/>
                  <a:pt x="12014" y="364052"/>
                </a:cubicBezTo>
                <a:close/>
                <a:moveTo>
                  <a:pt x="172545" y="353713"/>
                </a:moveTo>
                <a:cubicBezTo>
                  <a:pt x="184517" y="353713"/>
                  <a:pt x="190503" y="359154"/>
                  <a:pt x="190503" y="370582"/>
                </a:cubicBezTo>
                <a:cubicBezTo>
                  <a:pt x="190503" y="381466"/>
                  <a:pt x="184517" y="387996"/>
                  <a:pt x="173090" y="387996"/>
                </a:cubicBezTo>
                <a:cubicBezTo>
                  <a:pt x="163839" y="388540"/>
                  <a:pt x="155676" y="381466"/>
                  <a:pt x="155676" y="371126"/>
                </a:cubicBezTo>
                <a:cubicBezTo>
                  <a:pt x="155676" y="362419"/>
                  <a:pt x="161662" y="352080"/>
                  <a:pt x="172545" y="353713"/>
                </a:cubicBezTo>
                <a:close/>
                <a:moveTo>
                  <a:pt x="336886" y="345550"/>
                </a:moveTo>
                <a:cubicBezTo>
                  <a:pt x="350490" y="346094"/>
                  <a:pt x="362462" y="358610"/>
                  <a:pt x="361374" y="371670"/>
                </a:cubicBezTo>
                <a:cubicBezTo>
                  <a:pt x="360286" y="385275"/>
                  <a:pt x="348858" y="395614"/>
                  <a:pt x="335798" y="395070"/>
                </a:cubicBezTo>
                <a:cubicBezTo>
                  <a:pt x="319472" y="394526"/>
                  <a:pt x="311854" y="381466"/>
                  <a:pt x="311854" y="370038"/>
                </a:cubicBezTo>
                <a:cubicBezTo>
                  <a:pt x="311854" y="356978"/>
                  <a:pt x="324370" y="345550"/>
                  <a:pt x="336886" y="345550"/>
                </a:cubicBezTo>
                <a:close/>
                <a:moveTo>
                  <a:pt x="499596" y="342284"/>
                </a:moveTo>
                <a:cubicBezTo>
                  <a:pt x="518642" y="341196"/>
                  <a:pt x="528437" y="354256"/>
                  <a:pt x="528437" y="370582"/>
                </a:cubicBezTo>
                <a:cubicBezTo>
                  <a:pt x="528437" y="386363"/>
                  <a:pt x="518642" y="399967"/>
                  <a:pt x="499051" y="399423"/>
                </a:cubicBezTo>
                <a:cubicBezTo>
                  <a:pt x="481094" y="399423"/>
                  <a:pt x="470210" y="387995"/>
                  <a:pt x="470210" y="370037"/>
                </a:cubicBezTo>
                <a:cubicBezTo>
                  <a:pt x="470754" y="352624"/>
                  <a:pt x="481638" y="341740"/>
                  <a:pt x="499596" y="342284"/>
                </a:cubicBezTo>
                <a:close/>
                <a:moveTo>
                  <a:pt x="663392" y="337387"/>
                </a:moveTo>
                <a:cubicBezTo>
                  <a:pt x="680262" y="337387"/>
                  <a:pt x="697675" y="354801"/>
                  <a:pt x="697131" y="371126"/>
                </a:cubicBezTo>
                <a:cubicBezTo>
                  <a:pt x="696043" y="390172"/>
                  <a:pt x="682982" y="404321"/>
                  <a:pt x="662304" y="404321"/>
                </a:cubicBezTo>
                <a:cubicBezTo>
                  <a:pt x="643258" y="405953"/>
                  <a:pt x="629109" y="389084"/>
                  <a:pt x="629109" y="371126"/>
                </a:cubicBezTo>
                <a:cubicBezTo>
                  <a:pt x="629109" y="352624"/>
                  <a:pt x="645434" y="337387"/>
                  <a:pt x="663392" y="337387"/>
                </a:cubicBezTo>
                <a:close/>
                <a:moveTo>
                  <a:pt x="825556" y="332489"/>
                </a:moveTo>
                <a:cubicBezTo>
                  <a:pt x="847323" y="333577"/>
                  <a:pt x="864193" y="349358"/>
                  <a:pt x="864737" y="370037"/>
                </a:cubicBezTo>
                <a:cubicBezTo>
                  <a:pt x="864193" y="391260"/>
                  <a:pt x="847323" y="409218"/>
                  <a:pt x="826645" y="409218"/>
                </a:cubicBezTo>
                <a:cubicBezTo>
                  <a:pt x="808687" y="412483"/>
                  <a:pt x="788008" y="387995"/>
                  <a:pt x="787464" y="371126"/>
                </a:cubicBezTo>
                <a:cubicBezTo>
                  <a:pt x="787464" y="353712"/>
                  <a:pt x="808687" y="331945"/>
                  <a:pt x="825556" y="332489"/>
                </a:cubicBezTo>
                <a:close/>
                <a:moveTo>
                  <a:pt x="989898" y="328680"/>
                </a:moveTo>
                <a:cubicBezTo>
                  <a:pt x="1013297" y="329224"/>
                  <a:pt x="1030167" y="347182"/>
                  <a:pt x="1031255" y="371126"/>
                </a:cubicBezTo>
                <a:cubicBezTo>
                  <a:pt x="1029623" y="396702"/>
                  <a:pt x="1010576" y="413027"/>
                  <a:pt x="989354" y="413027"/>
                </a:cubicBezTo>
                <a:cubicBezTo>
                  <a:pt x="964866" y="412483"/>
                  <a:pt x="946908" y="393981"/>
                  <a:pt x="947452" y="370037"/>
                </a:cubicBezTo>
                <a:cubicBezTo>
                  <a:pt x="947996" y="346094"/>
                  <a:pt x="964866" y="328680"/>
                  <a:pt x="989898" y="328680"/>
                </a:cubicBezTo>
                <a:close/>
                <a:moveTo>
                  <a:pt x="1153150" y="326504"/>
                </a:moveTo>
                <a:cubicBezTo>
                  <a:pt x="1177094" y="326504"/>
                  <a:pt x="1197228" y="347727"/>
                  <a:pt x="1197228" y="370582"/>
                </a:cubicBezTo>
                <a:cubicBezTo>
                  <a:pt x="1197228" y="392894"/>
                  <a:pt x="1176550" y="417925"/>
                  <a:pt x="1152606" y="414661"/>
                </a:cubicBezTo>
                <a:cubicBezTo>
                  <a:pt x="1130295" y="417925"/>
                  <a:pt x="1107984" y="393982"/>
                  <a:pt x="1108528" y="370038"/>
                </a:cubicBezTo>
                <a:cubicBezTo>
                  <a:pt x="1109072" y="347727"/>
                  <a:pt x="1129751" y="326504"/>
                  <a:pt x="1153150" y="326504"/>
                </a:cubicBezTo>
                <a:close/>
                <a:moveTo>
                  <a:pt x="1317492" y="323239"/>
                </a:moveTo>
                <a:cubicBezTo>
                  <a:pt x="1341979" y="322151"/>
                  <a:pt x="1367012" y="348271"/>
                  <a:pt x="1364835" y="372215"/>
                </a:cubicBezTo>
                <a:cubicBezTo>
                  <a:pt x="1361026" y="399968"/>
                  <a:pt x="1344700" y="416837"/>
                  <a:pt x="1314771" y="419014"/>
                </a:cubicBezTo>
                <a:cubicBezTo>
                  <a:pt x="1286474" y="415205"/>
                  <a:pt x="1267972" y="398879"/>
                  <a:pt x="1268516" y="370582"/>
                </a:cubicBezTo>
                <a:cubicBezTo>
                  <a:pt x="1268516" y="341197"/>
                  <a:pt x="1288650" y="324327"/>
                  <a:pt x="1317492" y="323239"/>
                </a:cubicBezTo>
                <a:close/>
                <a:moveTo>
                  <a:pt x="1479112" y="320517"/>
                </a:moveTo>
                <a:cubicBezTo>
                  <a:pt x="1503600" y="319973"/>
                  <a:pt x="1530265" y="343917"/>
                  <a:pt x="1529720" y="371670"/>
                </a:cubicBezTo>
                <a:cubicBezTo>
                  <a:pt x="1528632" y="395069"/>
                  <a:pt x="1506321" y="423366"/>
                  <a:pt x="1478568" y="420101"/>
                </a:cubicBezTo>
                <a:cubicBezTo>
                  <a:pt x="1452447" y="422822"/>
                  <a:pt x="1429592" y="397246"/>
                  <a:pt x="1429592" y="370037"/>
                </a:cubicBezTo>
                <a:cubicBezTo>
                  <a:pt x="1429592" y="342284"/>
                  <a:pt x="1455713" y="320517"/>
                  <a:pt x="1479112" y="320517"/>
                </a:cubicBezTo>
                <a:close/>
                <a:moveTo>
                  <a:pt x="1642364" y="318341"/>
                </a:moveTo>
                <a:cubicBezTo>
                  <a:pt x="1670661" y="318341"/>
                  <a:pt x="1692973" y="339020"/>
                  <a:pt x="1695694" y="370582"/>
                </a:cubicBezTo>
                <a:cubicBezTo>
                  <a:pt x="1696238" y="397791"/>
                  <a:pt x="1671206" y="423367"/>
                  <a:pt x="1643453" y="424455"/>
                </a:cubicBezTo>
                <a:cubicBezTo>
                  <a:pt x="1616788" y="425544"/>
                  <a:pt x="1589035" y="398335"/>
                  <a:pt x="1589035" y="371670"/>
                </a:cubicBezTo>
                <a:cubicBezTo>
                  <a:pt x="1589035" y="345006"/>
                  <a:pt x="1615155" y="317797"/>
                  <a:pt x="1642364" y="318341"/>
                </a:cubicBezTo>
                <a:close/>
                <a:moveTo>
                  <a:pt x="90919" y="273718"/>
                </a:moveTo>
                <a:cubicBezTo>
                  <a:pt x="96361" y="273174"/>
                  <a:pt x="106156" y="282425"/>
                  <a:pt x="106700" y="288411"/>
                </a:cubicBezTo>
                <a:cubicBezTo>
                  <a:pt x="106700" y="294941"/>
                  <a:pt x="97993" y="303648"/>
                  <a:pt x="91463" y="303648"/>
                </a:cubicBezTo>
                <a:cubicBezTo>
                  <a:pt x="84933" y="303648"/>
                  <a:pt x="76226" y="294941"/>
                  <a:pt x="76770" y="288411"/>
                </a:cubicBezTo>
                <a:cubicBezTo>
                  <a:pt x="76770" y="283513"/>
                  <a:pt x="86021" y="274262"/>
                  <a:pt x="90919" y="273718"/>
                </a:cubicBezTo>
                <a:close/>
                <a:moveTo>
                  <a:pt x="254716" y="267733"/>
                </a:moveTo>
                <a:cubicBezTo>
                  <a:pt x="267776" y="267733"/>
                  <a:pt x="276483" y="276440"/>
                  <a:pt x="276483" y="288956"/>
                </a:cubicBezTo>
                <a:cubicBezTo>
                  <a:pt x="276483" y="301472"/>
                  <a:pt x="266688" y="311811"/>
                  <a:pt x="254172" y="311811"/>
                </a:cubicBezTo>
                <a:cubicBezTo>
                  <a:pt x="243289" y="311811"/>
                  <a:pt x="232405" y="300384"/>
                  <a:pt x="232405" y="289500"/>
                </a:cubicBezTo>
                <a:cubicBezTo>
                  <a:pt x="232405" y="276984"/>
                  <a:pt x="242744" y="267733"/>
                  <a:pt x="254716" y="267733"/>
                </a:cubicBezTo>
                <a:close/>
                <a:moveTo>
                  <a:pt x="1941117" y="263202"/>
                </a:moveTo>
                <a:cubicBezTo>
                  <a:pt x="1937852" y="261570"/>
                  <a:pt x="1936219" y="263202"/>
                  <a:pt x="1936219" y="266467"/>
                </a:cubicBezTo>
                <a:cubicBezTo>
                  <a:pt x="1936763" y="268644"/>
                  <a:pt x="1937852" y="270276"/>
                  <a:pt x="1938396" y="272453"/>
                </a:cubicBezTo>
                <a:cubicBezTo>
                  <a:pt x="1944382" y="290955"/>
                  <a:pt x="1943838" y="308913"/>
                  <a:pt x="1932954" y="325782"/>
                </a:cubicBezTo>
                <a:cubicBezTo>
                  <a:pt x="1931866" y="327415"/>
                  <a:pt x="1931866" y="329047"/>
                  <a:pt x="1930777" y="331224"/>
                </a:cubicBezTo>
                <a:cubicBezTo>
                  <a:pt x="1932410" y="331224"/>
                  <a:pt x="1935131" y="331224"/>
                  <a:pt x="1936219" y="330136"/>
                </a:cubicBezTo>
                <a:cubicBezTo>
                  <a:pt x="1945470" y="323061"/>
                  <a:pt x="1955265" y="320885"/>
                  <a:pt x="1966693" y="320340"/>
                </a:cubicBezTo>
                <a:cubicBezTo>
                  <a:pt x="1978121" y="319796"/>
                  <a:pt x="1989004" y="323061"/>
                  <a:pt x="1998799" y="328503"/>
                </a:cubicBezTo>
                <a:cubicBezTo>
                  <a:pt x="2000432" y="329047"/>
                  <a:pt x="2001520" y="329592"/>
                  <a:pt x="2003153" y="330136"/>
                </a:cubicBezTo>
                <a:cubicBezTo>
                  <a:pt x="2002609" y="328503"/>
                  <a:pt x="2002609" y="326326"/>
                  <a:pt x="2001520" y="324694"/>
                </a:cubicBezTo>
                <a:cubicBezTo>
                  <a:pt x="1999344" y="319796"/>
                  <a:pt x="1995534" y="314899"/>
                  <a:pt x="1994446" y="309457"/>
                </a:cubicBezTo>
                <a:cubicBezTo>
                  <a:pt x="1992269" y="295308"/>
                  <a:pt x="1990093" y="281160"/>
                  <a:pt x="1998255" y="267555"/>
                </a:cubicBezTo>
                <a:cubicBezTo>
                  <a:pt x="2000432" y="267555"/>
                  <a:pt x="2000432" y="265923"/>
                  <a:pt x="2000976" y="263746"/>
                </a:cubicBezTo>
                <a:cubicBezTo>
                  <a:pt x="1998799" y="263746"/>
                  <a:pt x="1996623" y="262658"/>
                  <a:pt x="1995534" y="263746"/>
                </a:cubicBezTo>
                <a:cubicBezTo>
                  <a:pt x="1977577" y="272997"/>
                  <a:pt x="1959075" y="272997"/>
                  <a:pt x="1941117" y="263202"/>
                </a:cubicBezTo>
                <a:close/>
                <a:moveTo>
                  <a:pt x="417425" y="262291"/>
                </a:moveTo>
                <a:cubicBezTo>
                  <a:pt x="434839" y="262291"/>
                  <a:pt x="445178" y="272086"/>
                  <a:pt x="445178" y="288956"/>
                </a:cubicBezTo>
                <a:cubicBezTo>
                  <a:pt x="445178" y="305825"/>
                  <a:pt x="434839" y="316164"/>
                  <a:pt x="417969" y="317253"/>
                </a:cubicBezTo>
                <a:cubicBezTo>
                  <a:pt x="404909" y="317797"/>
                  <a:pt x="389672" y="306369"/>
                  <a:pt x="390216" y="290044"/>
                </a:cubicBezTo>
                <a:cubicBezTo>
                  <a:pt x="391305" y="272086"/>
                  <a:pt x="400011" y="262291"/>
                  <a:pt x="417425" y="262291"/>
                </a:cubicBezTo>
                <a:close/>
                <a:moveTo>
                  <a:pt x="580678" y="256304"/>
                </a:moveTo>
                <a:cubicBezTo>
                  <a:pt x="596459" y="255760"/>
                  <a:pt x="616049" y="273174"/>
                  <a:pt x="613872" y="288955"/>
                </a:cubicBezTo>
                <a:cubicBezTo>
                  <a:pt x="615505" y="304736"/>
                  <a:pt x="598635" y="322150"/>
                  <a:pt x="581222" y="322150"/>
                </a:cubicBezTo>
                <a:cubicBezTo>
                  <a:pt x="564352" y="322150"/>
                  <a:pt x="548571" y="308001"/>
                  <a:pt x="548027" y="289499"/>
                </a:cubicBezTo>
                <a:cubicBezTo>
                  <a:pt x="547483" y="272086"/>
                  <a:pt x="565441" y="256849"/>
                  <a:pt x="580678" y="256304"/>
                </a:cubicBezTo>
                <a:close/>
                <a:moveTo>
                  <a:pt x="743930" y="251951"/>
                </a:moveTo>
                <a:cubicBezTo>
                  <a:pt x="764609" y="251951"/>
                  <a:pt x="782566" y="268820"/>
                  <a:pt x="782022" y="289499"/>
                </a:cubicBezTo>
                <a:cubicBezTo>
                  <a:pt x="781478" y="311266"/>
                  <a:pt x="765153" y="326503"/>
                  <a:pt x="744474" y="326503"/>
                </a:cubicBezTo>
                <a:cubicBezTo>
                  <a:pt x="723795" y="326503"/>
                  <a:pt x="708014" y="311266"/>
                  <a:pt x="707470" y="289499"/>
                </a:cubicBezTo>
                <a:cubicBezTo>
                  <a:pt x="706926" y="271541"/>
                  <a:pt x="722163" y="252495"/>
                  <a:pt x="743930" y="251951"/>
                </a:cubicBezTo>
                <a:close/>
                <a:moveTo>
                  <a:pt x="907183" y="249775"/>
                </a:moveTo>
                <a:cubicBezTo>
                  <a:pt x="929494" y="249775"/>
                  <a:pt x="946908" y="263924"/>
                  <a:pt x="947452" y="289500"/>
                </a:cubicBezTo>
                <a:cubicBezTo>
                  <a:pt x="947996" y="311811"/>
                  <a:pt x="931127" y="330313"/>
                  <a:pt x="908271" y="329225"/>
                </a:cubicBezTo>
                <a:cubicBezTo>
                  <a:pt x="885960" y="330857"/>
                  <a:pt x="868002" y="312355"/>
                  <a:pt x="867458" y="290044"/>
                </a:cubicBezTo>
                <a:cubicBezTo>
                  <a:pt x="867458" y="266100"/>
                  <a:pt x="884872" y="249775"/>
                  <a:pt x="907183" y="249775"/>
                </a:cubicBezTo>
                <a:close/>
                <a:moveTo>
                  <a:pt x="1070435" y="245965"/>
                </a:moveTo>
                <a:cubicBezTo>
                  <a:pt x="1093291" y="245421"/>
                  <a:pt x="1116146" y="264467"/>
                  <a:pt x="1114513" y="290043"/>
                </a:cubicBezTo>
                <a:cubicBezTo>
                  <a:pt x="1115602" y="312899"/>
                  <a:pt x="1092202" y="334122"/>
                  <a:pt x="1069347" y="333578"/>
                </a:cubicBezTo>
                <a:cubicBezTo>
                  <a:pt x="1047036" y="333034"/>
                  <a:pt x="1026357" y="311266"/>
                  <a:pt x="1026357" y="288955"/>
                </a:cubicBezTo>
                <a:cubicBezTo>
                  <a:pt x="1026901" y="268276"/>
                  <a:pt x="1045403" y="245965"/>
                  <a:pt x="1070435" y="245965"/>
                </a:cubicBezTo>
                <a:close/>
                <a:moveTo>
                  <a:pt x="1233689" y="241613"/>
                </a:moveTo>
                <a:cubicBezTo>
                  <a:pt x="1257632" y="241068"/>
                  <a:pt x="1281032" y="263924"/>
                  <a:pt x="1282120" y="288412"/>
                </a:cubicBezTo>
                <a:cubicBezTo>
                  <a:pt x="1282665" y="312900"/>
                  <a:pt x="1260898" y="336299"/>
                  <a:pt x="1235321" y="335755"/>
                </a:cubicBezTo>
                <a:cubicBezTo>
                  <a:pt x="1206480" y="335211"/>
                  <a:pt x="1190155" y="318886"/>
                  <a:pt x="1187434" y="289500"/>
                </a:cubicBezTo>
                <a:cubicBezTo>
                  <a:pt x="1184713" y="266100"/>
                  <a:pt x="1208657" y="242701"/>
                  <a:pt x="1233689" y="241613"/>
                </a:cubicBezTo>
                <a:close/>
                <a:moveTo>
                  <a:pt x="1397485" y="238891"/>
                </a:moveTo>
                <a:cubicBezTo>
                  <a:pt x="1421973" y="237259"/>
                  <a:pt x="1448638" y="264467"/>
                  <a:pt x="1448094" y="288955"/>
                </a:cubicBezTo>
                <a:cubicBezTo>
                  <a:pt x="1447005" y="312355"/>
                  <a:pt x="1424150" y="341196"/>
                  <a:pt x="1398029" y="338475"/>
                </a:cubicBezTo>
                <a:cubicBezTo>
                  <a:pt x="1372453" y="340652"/>
                  <a:pt x="1347421" y="315620"/>
                  <a:pt x="1348509" y="289499"/>
                </a:cubicBezTo>
                <a:cubicBezTo>
                  <a:pt x="1349598" y="261202"/>
                  <a:pt x="1369732" y="240524"/>
                  <a:pt x="1397485" y="238891"/>
                </a:cubicBezTo>
                <a:close/>
                <a:moveTo>
                  <a:pt x="1559650" y="237258"/>
                </a:moveTo>
                <a:cubicBezTo>
                  <a:pt x="1590668" y="236170"/>
                  <a:pt x="1611891" y="259570"/>
                  <a:pt x="1613523" y="288955"/>
                </a:cubicBezTo>
                <a:cubicBezTo>
                  <a:pt x="1613523" y="316164"/>
                  <a:pt x="1587403" y="342829"/>
                  <a:pt x="1560738" y="342829"/>
                </a:cubicBezTo>
                <a:cubicBezTo>
                  <a:pt x="1534618" y="342829"/>
                  <a:pt x="1505776" y="315620"/>
                  <a:pt x="1507953" y="289499"/>
                </a:cubicBezTo>
                <a:cubicBezTo>
                  <a:pt x="1510130" y="261202"/>
                  <a:pt x="1526455" y="238347"/>
                  <a:pt x="1559650" y="237258"/>
                </a:cubicBezTo>
                <a:close/>
                <a:moveTo>
                  <a:pt x="9837" y="198078"/>
                </a:moveTo>
                <a:cubicBezTo>
                  <a:pt x="14190" y="198078"/>
                  <a:pt x="19632" y="202976"/>
                  <a:pt x="19632" y="207873"/>
                </a:cubicBezTo>
                <a:cubicBezTo>
                  <a:pt x="19632" y="212227"/>
                  <a:pt x="14190" y="217668"/>
                  <a:pt x="10381" y="218213"/>
                </a:cubicBezTo>
                <a:cubicBezTo>
                  <a:pt x="5483" y="218757"/>
                  <a:pt x="-503" y="212771"/>
                  <a:pt x="42" y="207873"/>
                </a:cubicBezTo>
                <a:cubicBezTo>
                  <a:pt x="42" y="202976"/>
                  <a:pt x="5483" y="198078"/>
                  <a:pt x="9837" y="198078"/>
                </a:cubicBezTo>
                <a:close/>
                <a:moveTo>
                  <a:pt x="173090" y="187739"/>
                </a:moveTo>
                <a:cubicBezTo>
                  <a:pt x="183429" y="188283"/>
                  <a:pt x="192136" y="196990"/>
                  <a:pt x="192136" y="207329"/>
                </a:cubicBezTo>
                <a:cubicBezTo>
                  <a:pt x="192136" y="217669"/>
                  <a:pt x="182341" y="228008"/>
                  <a:pt x="172546" y="227464"/>
                </a:cubicBezTo>
                <a:cubicBezTo>
                  <a:pt x="163839" y="226920"/>
                  <a:pt x="154588" y="217669"/>
                  <a:pt x="154044" y="208418"/>
                </a:cubicBezTo>
                <a:cubicBezTo>
                  <a:pt x="153500" y="198078"/>
                  <a:pt x="162751" y="187739"/>
                  <a:pt x="173090" y="187739"/>
                </a:cubicBezTo>
                <a:close/>
                <a:moveTo>
                  <a:pt x="336887" y="182297"/>
                </a:moveTo>
                <a:cubicBezTo>
                  <a:pt x="350491" y="182841"/>
                  <a:pt x="361919" y="191548"/>
                  <a:pt x="363007" y="207329"/>
                </a:cubicBezTo>
                <a:cubicBezTo>
                  <a:pt x="363551" y="219845"/>
                  <a:pt x="349947" y="233449"/>
                  <a:pt x="336887" y="233994"/>
                </a:cubicBezTo>
                <a:cubicBezTo>
                  <a:pt x="324371" y="233994"/>
                  <a:pt x="311311" y="221478"/>
                  <a:pt x="310766" y="208961"/>
                </a:cubicBezTo>
                <a:cubicBezTo>
                  <a:pt x="310222" y="195357"/>
                  <a:pt x="323282" y="181753"/>
                  <a:pt x="336887" y="182297"/>
                </a:cubicBezTo>
                <a:close/>
                <a:moveTo>
                  <a:pt x="1856225" y="180487"/>
                </a:moveTo>
                <a:cubicBezTo>
                  <a:pt x="1856225" y="182664"/>
                  <a:pt x="1855137" y="184841"/>
                  <a:pt x="1855681" y="185929"/>
                </a:cubicBezTo>
                <a:cubicBezTo>
                  <a:pt x="1863844" y="206064"/>
                  <a:pt x="1863844" y="226198"/>
                  <a:pt x="1851872" y="244700"/>
                </a:cubicBezTo>
                <a:cubicBezTo>
                  <a:pt x="1851328" y="245788"/>
                  <a:pt x="1851328" y="246877"/>
                  <a:pt x="1851328" y="247965"/>
                </a:cubicBezTo>
                <a:cubicBezTo>
                  <a:pt x="1852416" y="247965"/>
                  <a:pt x="1854049" y="247965"/>
                  <a:pt x="1854593" y="247421"/>
                </a:cubicBezTo>
                <a:cubicBezTo>
                  <a:pt x="1868197" y="237082"/>
                  <a:pt x="1883434" y="237082"/>
                  <a:pt x="1899215" y="238714"/>
                </a:cubicBezTo>
                <a:cubicBezTo>
                  <a:pt x="1904113" y="239258"/>
                  <a:pt x="1909010" y="241979"/>
                  <a:pt x="1913908" y="243067"/>
                </a:cubicBezTo>
                <a:cubicBezTo>
                  <a:pt x="1915541" y="243612"/>
                  <a:pt x="1917173" y="242523"/>
                  <a:pt x="1918806" y="242523"/>
                </a:cubicBezTo>
                <a:cubicBezTo>
                  <a:pt x="1918806" y="240891"/>
                  <a:pt x="1918806" y="239258"/>
                  <a:pt x="1918261" y="238170"/>
                </a:cubicBezTo>
                <a:cubicBezTo>
                  <a:pt x="1908466" y="220756"/>
                  <a:pt x="1910099" y="203887"/>
                  <a:pt x="1917173" y="185929"/>
                </a:cubicBezTo>
                <a:cubicBezTo>
                  <a:pt x="1917717" y="184297"/>
                  <a:pt x="1917717" y="183208"/>
                  <a:pt x="1918261" y="181576"/>
                </a:cubicBezTo>
                <a:cubicBezTo>
                  <a:pt x="1916629" y="182120"/>
                  <a:pt x="1914996" y="182120"/>
                  <a:pt x="1913908" y="182664"/>
                </a:cubicBezTo>
                <a:cubicBezTo>
                  <a:pt x="1895950" y="189738"/>
                  <a:pt x="1877992" y="190827"/>
                  <a:pt x="1860579" y="180487"/>
                </a:cubicBezTo>
                <a:cubicBezTo>
                  <a:pt x="1858946" y="181031"/>
                  <a:pt x="1857858" y="181031"/>
                  <a:pt x="1856225" y="180487"/>
                </a:cubicBezTo>
                <a:close/>
                <a:moveTo>
                  <a:pt x="499595" y="175767"/>
                </a:moveTo>
                <a:cubicBezTo>
                  <a:pt x="514832" y="175767"/>
                  <a:pt x="531702" y="193181"/>
                  <a:pt x="531158" y="207874"/>
                </a:cubicBezTo>
                <a:cubicBezTo>
                  <a:pt x="530613" y="223110"/>
                  <a:pt x="513744" y="239980"/>
                  <a:pt x="498507" y="238347"/>
                </a:cubicBezTo>
                <a:cubicBezTo>
                  <a:pt x="479461" y="236715"/>
                  <a:pt x="469666" y="224743"/>
                  <a:pt x="468033" y="207329"/>
                </a:cubicBezTo>
                <a:cubicBezTo>
                  <a:pt x="466945" y="192636"/>
                  <a:pt x="484903" y="175767"/>
                  <a:pt x="499595" y="175767"/>
                </a:cubicBezTo>
                <a:close/>
                <a:moveTo>
                  <a:pt x="662304" y="173046"/>
                </a:moveTo>
                <a:cubicBezTo>
                  <a:pt x="683527" y="171958"/>
                  <a:pt x="698220" y="189916"/>
                  <a:pt x="697676" y="207873"/>
                </a:cubicBezTo>
                <a:cubicBezTo>
                  <a:pt x="697131" y="227464"/>
                  <a:pt x="684615" y="243245"/>
                  <a:pt x="662304" y="242156"/>
                </a:cubicBezTo>
                <a:cubicBezTo>
                  <a:pt x="639993" y="241612"/>
                  <a:pt x="628565" y="229096"/>
                  <a:pt x="628021" y="207873"/>
                </a:cubicBezTo>
                <a:cubicBezTo>
                  <a:pt x="628021" y="187739"/>
                  <a:pt x="642714" y="172502"/>
                  <a:pt x="662304" y="173046"/>
                </a:cubicBezTo>
                <a:close/>
                <a:moveTo>
                  <a:pt x="826645" y="168148"/>
                </a:moveTo>
                <a:cubicBezTo>
                  <a:pt x="844602" y="168148"/>
                  <a:pt x="867458" y="187194"/>
                  <a:pt x="864737" y="207329"/>
                </a:cubicBezTo>
                <a:cubicBezTo>
                  <a:pt x="867458" y="229096"/>
                  <a:pt x="844058" y="247054"/>
                  <a:pt x="826100" y="247054"/>
                </a:cubicBezTo>
                <a:cubicBezTo>
                  <a:pt x="808687" y="247054"/>
                  <a:pt x="787464" y="228552"/>
                  <a:pt x="787464" y="207873"/>
                </a:cubicBezTo>
                <a:cubicBezTo>
                  <a:pt x="787464" y="187194"/>
                  <a:pt x="807054" y="168148"/>
                  <a:pt x="826645" y="168148"/>
                </a:cubicBezTo>
                <a:close/>
                <a:moveTo>
                  <a:pt x="987721" y="164883"/>
                </a:moveTo>
                <a:cubicBezTo>
                  <a:pt x="1012209" y="164339"/>
                  <a:pt x="1030711" y="181753"/>
                  <a:pt x="1031799" y="207329"/>
                </a:cubicBezTo>
                <a:cubicBezTo>
                  <a:pt x="1031255" y="232361"/>
                  <a:pt x="1011665" y="250319"/>
                  <a:pt x="988809" y="250319"/>
                </a:cubicBezTo>
                <a:cubicBezTo>
                  <a:pt x="965954" y="250319"/>
                  <a:pt x="946364" y="231273"/>
                  <a:pt x="945819" y="208417"/>
                </a:cubicBezTo>
                <a:cubicBezTo>
                  <a:pt x="945275" y="185018"/>
                  <a:pt x="962689" y="165428"/>
                  <a:pt x="987721" y="164883"/>
                </a:cubicBezTo>
                <a:close/>
                <a:moveTo>
                  <a:pt x="1153150" y="162707"/>
                </a:moveTo>
                <a:cubicBezTo>
                  <a:pt x="1177638" y="161619"/>
                  <a:pt x="1197772" y="180665"/>
                  <a:pt x="1197772" y="207874"/>
                </a:cubicBezTo>
                <a:cubicBezTo>
                  <a:pt x="1197772" y="235083"/>
                  <a:pt x="1176005" y="253584"/>
                  <a:pt x="1151517" y="253584"/>
                </a:cubicBezTo>
                <a:cubicBezTo>
                  <a:pt x="1128118" y="253040"/>
                  <a:pt x="1106895" y="234538"/>
                  <a:pt x="1107439" y="207329"/>
                </a:cubicBezTo>
                <a:cubicBezTo>
                  <a:pt x="1107983" y="179576"/>
                  <a:pt x="1129206" y="161075"/>
                  <a:pt x="1153150" y="162707"/>
                </a:cubicBezTo>
                <a:close/>
                <a:moveTo>
                  <a:pt x="1315315" y="158353"/>
                </a:moveTo>
                <a:cubicBezTo>
                  <a:pt x="1341435" y="156177"/>
                  <a:pt x="1365923" y="184474"/>
                  <a:pt x="1365379" y="206785"/>
                </a:cubicBezTo>
                <a:cubicBezTo>
                  <a:pt x="1365379" y="229640"/>
                  <a:pt x="1344156" y="256849"/>
                  <a:pt x="1315859" y="256305"/>
                </a:cubicBezTo>
                <a:cubicBezTo>
                  <a:pt x="1290283" y="256305"/>
                  <a:pt x="1267427" y="233994"/>
                  <a:pt x="1266883" y="207873"/>
                </a:cubicBezTo>
                <a:cubicBezTo>
                  <a:pt x="1265795" y="181209"/>
                  <a:pt x="1292460" y="157265"/>
                  <a:pt x="1315315" y="158353"/>
                </a:cubicBezTo>
                <a:close/>
                <a:moveTo>
                  <a:pt x="1478567" y="156721"/>
                </a:moveTo>
                <a:cubicBezTo>
                  <a:pt x="1510129" y="156721"/>
                  <a:pt x="1530264" y="180665"/>
                  <a:pt x="1529720" y="207329"/>
                </a:cubicBezTo>
                <a:cubicBezTo>
                  <a:pt x="1530264" y="236715"/>
                  <a:pt x="1510129" y="258482"/>
                  <a:pt x="1478567" y="258482"/>
                </a:cubicBezTo>
                <a:cubicBezTo>
                  <a:pt x="1449182" y="257938"/>
                  <a:pt x="1428503" y="238892"/>
                  <a:pt x="1427959" y="207874"/>
                </a:cubicBezTo>
                <a:cubicBezTo>
                  <a:pt x="1427415" y="179576"/>
                  <a:pt x="1447549" y="156721"/>
                  <a:pt x="1478567" y="156721"/>
                </a:cubicBezTo>
                <a:close/>
                <a:moveTo>
                  <a:pt x="1644541" y="153456"/>
                </a:moveTo>
                <a:cubicBezTo>
                  <a:pt x="1672294" y="154544"/>
                  <a:pt x="1697870" y="180665"/>
                  <a:pt x="1697326" y="209506"/>
                </a:cubicBezTo>
                <a:cubicBezTo>
                  <a:pt x="1696782" y="238347"/>
                  <a:pt x="1669573" y="263924"/>
                  <a:pt x="1641276" y="262835"/>
                </a:cubicBezTo>
                <a:cubicBezTo>
                  <a:pt x="1612979" y="261203"/>
                  <a:pt x="1587402" y="236715"/>
                  <a:pt x="1587947" y="206785"/>
                </a:cubicBezTo>
                <a:cubicBezTo>
                  <a:pt x="1587947" y="180121"/>
                  <a:pt x="1613523" y="152368"/>
                  <a:pt x="1644541" y="153456"/>
                </a:cubicBezTo>
                <a:close/>
                <a:moveTo>
                  <a:pt x="91463" y="109922"/>
                </a:moveTo>
                <a:cubicBezTo>
                  <a:pt x="97993" y="109922"/>
                  <a:pt x="107244" y="119173"/>
                  <a:pt x="107244" y="126247"/>
                </a:cubicBezTo>
                <a:cubicBezTo>
                  <a:pt x="107788" y="132777"/>
                  <a:pt x="98537" y="142028"/>
                  <a:pt x="91463" y="142028"/>
                </a:cubicBezTo>
                <a:cubicBezTo>
                  <a:pt x="83845" y="142028"/>
                  <a:pt x="75682" y="133866"/>
                  <a:pt x="75682" y="126247"/>
                </a:cubicBezTo>
                <a:cubicBezTo>
                  <a:pt x="75682" y="118629"/>
                  <a:pt x="84389" y="109922"/>
                  <a:pt x="91463" y="109922"/>
                </a:cubicBezTo>
                <a:close/>
                <a:moveTo>
                  <a:pt x="1942341" y="104915"/>
                </a:moveTo>
                <a:cubicBezTo>
                  <a:pt x="1941389" y="105799"/>
                  <a:pt x="1941389" y="107840"/>
                  <a:pt x="1942205" y="111377"/>
                </a:cubicBezTo>
                <a:cubicBezTo>
                  <a:pt x="1943294" y="118451"/>
                  <a:pt x="1944926" y="124437"/>
                  <a:pt x="1946559" y="131511"/>
                </a:cubicBezTo>
                <a:cubicBezTo>
                  <a:pt x="1944382" y="139674"/>
                  <a:pt x="1941661" y="148381"/>
                  <a:pt x="1939484" y="157088"/>
                </a:cubicBezTo>
                <a:cubicBezTo>
                  <a:pt x="1939484" y="158176"/>
                  <a:pt x="1941117" y="160353"/>
                  <a:pt x="1941117" y="160353"/>
                </a:cubicBezTo>
                <a:cubicBezTo>
                  <a:pt x="1955810" y="154367"/>
                  <a:pt x="1971046" y="150558"/>
                  <a:pt x="1986828" y="157088"/>
                </a:cubicBezTo>
                <a:cubicBezTo>
                  <a:pt x="1987372" y="157088"/>
                  <a:pt x="1987916" y="157088"/>
                  <a:pt x="1987916" y="157088"/>
                </a:cubicBezTo>
                <a:cubicBezTo>
                  <a:pt x="1994990" y="157632"/>
                  <a:pt x="1996623" y="155999"/>
                  <a:pt x="1993902" y="150013"/>
                </a:cubicBezTo>
                <a:cubicBezTo>
                  <a:pt x="1988460" y="136409"/>
                  <a:pt x="1988460" y="123349"/>
                  <a:pt x="1993902" y="109744"/>
                </a:cubicBezTo>
                <a:cubicBezTo>
                  <a:pt x="1995534" y="105935"/>
                  <a:pt x="1994446" y="103214"/>
                  <a:pt x="1989004" y="105391"/>
                </a:cubicBezTo>
                <a:cubicBezTo>
                  <a:pt x="1975400" y="109744"/>
                  <a:pt x="1961796" y="109744"/>
                  <a:pt x="1948191" y="105391"/>
                </a:cubicBezTo>
                <a:cubicBezTo>
                  <a:pt x="1945198" y="104303"/>
                  <a:pt x="1943294" y="104031"/>
                  <a:pt x="1942341" y="104915"/>
                </a:cubicBezTo>
                <a:close/>
                <a:moveTo>
                  <a:pt x="255804" y="103392"/>
                </a:moveTo>
                <a:cubicBezTo>
                  <a:pt x="269409" y="103392"/>
                  <a:pt x="277571" y="112643"/>
                  <a:pt x="277571" y="126791"/>
                </a:cubicBezTo>
                <a:cubicBezTo>
                  <a:pt x="277027" y="139852"/>
                  <a:pt x="267776" y="148558"/>
                  <a:pt x="254172" y="148014"/>
                </a:cubicBezTo>
                <a:cubicBezTo>
                  <a:pt x="241112" y="148014"/>
                  <a:pt x="231861" y="138763"/>
                  <a:pt x="232405" y="125159"/>
                </a:cubicBezTo>
                <a:cubicBezTo>
                  <a:pt x="232405" y="112099"/>
                  <a:pt x="242200" y="102848"/>
                  <a:pt x="255804" y="103392"/>
                </a:cubicBezTo>
                <a:close/>
                <a:moveTo>
                  <a:pt x="1773511" y="99405"/>
                </a:moveTo>
                <a:cubicBezTo>
                  <a:pt x="1773511" y="102126"/>
                  <a:pt x="1772966" y="104303"/>
                  <a:pt x="1773511" y="107023"/>
                </a:cubicBezTo>
                <a:cubicBezTo>
                  <a:pt x="1776232" y="114098"/>
                  <a:pt x="1778408" y="121716"/>
                  <a:pt x="1780585" y="130423"/>
                </a:cubicBezTo>
                <a:cubicBezTo>
                  <a:pt x="1778408" y="139130"/>
                  <a:pt x="1775687" y="147293"/>
                  <a:pt x="1773511" y="155999"/>
                </a:cubicBezTo>
                <a:cubicBezTo>
                  <a:pt x="1772966" y="157632"/>
                  <a:pt x="1772966" y="160897"/>
                  <a:pt x="1774055" y="161985"/>
                </a:cubicBezTo>
                <a:cubicBezTo>
                  <a:pt x="1775143" y="163074"/>
                  <a:pt x="1778408" y="163074"/>
                  <a:pt x="1780041" y="162529"/>
                </a:cubicBezTo>
                <a:cubicBezTo>
                  <a:pt x="1789836" y="155455"/>
                  <a:pt x="1800719" y="157632"/>
                  <a:pt x="1811059" y="157632"/>
                </a:cubicBezTo>
                <a:cubicBezTo>
                  <a:pt x="1817589" y="157632"/>
                  <a:pt x="1824119" y="156543"/>
                  <a:pt x="1829561" y="161985"/>
                </a:cubicBezTo>
                <a:cubicBezTo>
                  <a:pt x="1830649" y="163074"/>
                  <a:pt x="1834458" y="161985"/>
                  <a:pt x="1836635" y="161985"/>
                </a:cubicBezTo>
                <a:cubicBezTo>
                  <a:pt x="1835547" y="160353"/>
                  <a:pt x="1835002" y="158720"/>
                  <a:pt x="1833914" y="157088"/>
                </a:cubicBezTo>
                <a:cubicBezTo>
                  <a:pt x="1826840" y="139674"/>
                  <a:pt x="1826296" y="121716"/>
                  <a:pt x="1834458" y="104303"/>
                </a:cubicBezTo>
                <a:cubicBezTo>
                  <a:pt x="1835002" y="102670"/>
                  <a:pt x="1835547" y="101038"/>
                  <a:pt x="1835547" y="99405"/>
                </a:cubicBezTo>
                <a:cubicBezTo>
                  <a:pt x="1833914" y="99949"/>
                  <a:pt x="1832282" y="99949"/>
                  <a:pt x="1831193" y="101038"/>
                </a:cubicBezTo>
                <a:cubicBezTo>
                  <a:pt x="1814324" y="109200"/>
                  <a:pt x="1797454" y="109200"/>
                  <a:pt x="1780041" y="101582"/>
                </a:cubicBezTo>
                <a:cubicBezTo>
                  <a:pt x="1777864" y="100493"/>
                  <a:pt x="1775687" y="100493"/>
                  <a:pt x="1773511" y="99405"/>
                </a:cubicBezTo>
                <a:close/>
                <a:moveTo>
                  <a:pt x="417424" y="97950"/>
                </a:moveTo>
                <a:cubicBezTo>
                  <a:pt x="435382" y="97950"/>
                  <a:pt x="445721" y="108289"/>
                  <a:pt x="445721" y="126247"/>
                </a:cubicBezTo>
                <a:cubicBezTo>
                  <a:pt x="445721" y="143661"/>
                  <a:pt x="435382" y="153456"/>
                  <a:pt x="417424" y="153456"/>
                </a:cubicBezTo>
                <a:cubicBezTo>
                  <a:pt x="402187" y="155088"/>
                  <a:pt x="389127" y="141484"/>
                  <a:pt x="390215" y="125159"/>
                </a:cubicBezTo>
                <a:cubicBezTo>
                  <a:pt x="391304" y="107745"/>
                  <a:pt x="400555" y="97950"/>
                  <a:pt x="417424" y="97950"/>
                </a:cubicBezTo>
                <a:close/>
                <a:moveTo>
                  <a:pt x="580677" y="92508"/>
                </a:moveTo>
                <a:cubicBezTo>
                  <a:pt x="599724" y="92508"/>
                  <a:pt x="613328" y="106112"/>
                  <a:pt x="614960" y="125159"/>
                </a:cubicBezTo>
                <a:cubicBezTo>
                  <a:pt x="616049" y="141484"/>
                  <a:pt x="598091" y="161618"/>
                  <a:pt x="581766" y="158353"/>
                </a:cubicBezTo>
                <a:cubicBezTo>
                  <a:pt x="561631" y="158353"/>
                  <a:pt x="548571" y="145293"/>
                  <a:pt x="548571" y="125703"/>
                </a:cubicBezTo>
                <a:cubicBezTo>
                  <a:pt x="548571" y="106657"/>
                  <a:pt x="562175" y="92508"/>
                  <a:pt x="580677" y="92508"/>
                </a:cubicBezTo>
                <a:close/>
                <a:moveTo>
                  <a:pt x="745019" y="88154"/>
                </a:moveTo>
                <a:cubicBezTo>
                  <a:pt x="763521" y="87610"/>
                  <a:pt x="783111" y="107745"/>
                  <a:pt x="782567" y="126791"/>
                </a:cubicBezTo>
                <a:cubicBezTo>
                  <a:pt x="782023" y="147469"/>
                  <a:pt x="761344" y="164339"/>
                  <a:pt x="743930" y="164339"/>
                </a:cubicBezTo>
                <a:cubicBezTo>
                  <a:pt x="723796" y="163795"/>
                  <a:pt x="705838" y="144204"/>
                  <a:pt x="706382" y="125702"/>
                </a:cubicBezTo>
                <a:cubicBezTo>
                  <a:pt x="706926" y="109377"/>
                  <a:pt x="723252" y="87066"/>
                  <a:pt x="745019" y="88154"/>
                </a:cubicBezTo>
                <a:close/>
                <a:moveTo>
                  <a:pt x="1685898" y="84712"/>
                </a:moveTo>
                <a:lnTo>
                  <a:pt x="1685681" y="85147"/>
                </a:lnTo>
                <a:lnTo>
                  <a:pt x="1685354" y="85256"/>
                </a:lnTo>
                <a:cubicBezTo>
                  <a:pt x="1685354" y="85256"/>
                  <a:pt x="1685898" y="84712"/>
                  <a:pt x="1685898" y="84712"/>
                </a:cubicBezTo>
                <a:close/>
                <a:moveTo>
                  <a:pt x="907183" y="84345"/>
                </a:moveTo>
                <a:cubicBezTo>
                  <a:pt x="916978" y="84345"/>
                  <a:pt x="926773" y="87610"/>
                  <a:pt x="934935" y="95228"/>
                </a:cubicBezTo>
                <a:cubicBezTo>
                  <a:pt x="944187" y="103935"/>
                  <a:pt x="946907" y="114819"/>
                  <a:pt x="949628" y="125158"/>
                </a:cubicBezTo>
                <a:cubicBezTo>
                  <a:pt x="946907" y="150190"/>
                  <a:pt x="932759" y="166515"/>
                  <a:pt x="908271" y="167060"/>
                </a:cubicBezTo>
                <a:cubicBezTo>
                  <a:pt x="884871" y="167604"/>
                  <a:pt x="867458" y="150734"/>
                  <a:pt x="866369" y="125702"/>
                </a:cubicBezTo>
                <a:cubicBezTo>
                  <a:pt x="865825" y="103935"/>
                  <a:pt x="884871" y="83801"/>
                  <a:pt x="907183" y="84345"/>
                </a:cubicBezTo>
                <a:close/>
                <a:moveTo>
                  <a:pt x="1070979" y="82169"/>
                </a:moveTo>
                <a:cubicBezTo>
                  <a:pt x="1095467" y="79448"/>
                  <a:pt x="1115602" y="103936"/>
                  <a:pt x="1115602" y="126247"/>
                </a:cubicBezTo>
                <a:cubicBezTo>
                  <a:pt x="1115602" y="148014"/>
                  <a:pt x="1094923" y="170325"/>
                  <a:pt x="1071524" y="170325"/>
                </a:cubicBezTo>
                <a:cubicBezTo>
                  <a:pt x="1047580" y="170325"/>
                  <a:pt x="1026357" y="148558"/>
                  <a:pt x="1026357" y="125703"/>
                </a:cubicBezTo>
                <a:cubicBezTo>
                  <a:pt x="1026357" y="103936"/>
                  <a:pt x="1047036" y="79448"/>
                  <a:pt x="1070979" y="82169"/>
                </a:cubicBezTo>
                <a:close/>
                <a:moveTo>
                  <a:pt x="1684811" y="82168"/>
                </a:moveTo>
                <a:cubicBezTo>
                  <a:pt x="1684811" y="82168"/>
                  <a:pt x="1684266" y="82713"/>
                  <a:pt x="1684266" y="82713"/>
                </a:cubicBezTo>
                <a:lnTo>
                  <a:pt x="1684469" y="82365"/>
                </a:lnTo>
                <a:close/>
                <a:moveTo>
                  <a:pt x="1234777" y="78360"/>
                </a:moveTo>
                <a:cubicBezTo>
                  <a:pt x="1259809" y="76727"/>
                  <a:pt x="1284297" y="101759"/>
                  <a:pt x="1282664" y="126791"/>
                </a:cubicBezTo>
                <a:cubicBezTo>
                  <a:pt x="1280487" y="152912"/>
                  <a:pt x="1264162" y="171958"/>
                  <a:pt x="1234232" y="174135"/>
                </a:cubicBezTo>
                <a:cubicBezTo>
                  <a:pt x="1205935" y="172502"/>
                  <a:pt x="1186345" y="153456"/>
                  <a:pt x="1186889" y="126791"/>
                </a:cubicBezTo>
                <a:cubicBezTo>
                  <a:pt x="1187433" y="96318"/>
                  <a:pt x="1207024" y="79992"/>
                  <a:pt x="1234777" y="78360"/>
                </a:cubicBezTo>
                <a:close/>
                <a:moveTo>
                  <a:pt x="1398574" y="76182"/>
                </a:moveTo>
                <a:cubicBezTo>
                  <a:pt x="1424150" y="74006"/>
                  <a:pt x="1448638" y="99582"/>
                  <a:pt x="1448094" y="127335"/>
                </a:cubicBezTo>
                <a:cubicBezTo>
                  <a:pt x="1447549" y="151823"/>
                  <a:pt x="1426327" y="176311"/>
                  <a:pt x="1396941" y="175766"/>
                </a:cubicBezTo>
                <a:cubicBezTo>
                  <a:pt x="1367011" y="175222"/>
                  <a:pt x="1347421" y="151278"/>
                  <a:pt x="1347421" y="125702"/>
                </a:cubicBezTo>
                <a:cubicBezTo>
                  <a:pt x="1347421" y="99038"/>
                  <a:pt x="1369732" y="74006"/>
                  <a:pt x="1398574" y="76182"/>
                </a:cubicBezTo>
                <a:close/>
                <a:moveTo>
                  <a:pt x="1561282" y="72373"/>
                </a:moveTo>
                <a:cubicBezTo>
                  <a:pt x="1588491" y="72373"/>
                  <a:pt x="1614611" y="96861"/>
                  <a:pt x="1614611" y="126247"/>
                </a:cubicBezTo>
                <a:cubicBezTo>
                  <a:pt x="1614067" y="155632"/>
                  <a:pt x="1590667" y="180120"/>
                  <a:pt x="1560738" y="179576"/>
                </a:cubicBezTo>
                <a:cubicBezTo>
                  <a:pt x="1530808" y="179576"/>
                  <a:pt x="1507953" y="156176"/>
                  <a:pt x="1507409" y="126247"/>
                </a:cubicBezTo>
                <a:cubicBezTo>
                  <a:pt x="1506864" y="96861"/>
                  <a:pt x="1532441" y="72373"/>
                  <a:pt x="1561282" y="72373"/>
                </a:cubicBezTo>
                <a:close/>
                <a:moveTo>
                  <a:pt x="10381" y="33737"/>
                </a:moveTo>
                <a:cubicBezTo>
                  <a:pt x="15822" y="33737"/>
                  <a:pt x="20720" y="39179"/>
                  <a:pt x="20720" y="45165"/>
                </a:cubicBezTo>
                <a:cubicBezTo>
                  <a:pt x="20176" y="50606"/>
                  <a:pt x="14734" y="55504"/>
                  <a:pt x="9292" y="54960"/>
                </a:cubicBezTo>
                <a:cubicBezTo>
                  <a:pt x="4395" y="54416"/>
                  <a:pt x="41" y="49518"/>
                  <a:pt x="41" y="44621"/>
                </a:cubicBezTo>
                <a:cubicBezTo>
                  <a:pt x="-503" y="38635"/>
                  <a:pt x="4395" y="33737"/>
                  <a:pt x="10381" y="33737"/>
                </a:cubicBezTo>
                <a:close/>
                <a:moveTo>
                  <a:pt x="172546" y="23942"/>
                </a:moveTo>
                <a:cubicBezTo>
                  <a:pt x="181796" y="22854"/>
                  <a:pt x="193224" y="34826"/>
                  <a:pt x="193224" y="44621"/>
                </a:cubicBezTo>
                <a:cubicBezTo>
                  <a:pt x="193224" y="53872"/>
                  <a:pt x="182341" y="64755"/>
                  <a:pt x="173090" y="64755"/>
                </a:cubicBezTo>
                <a:cubicBezTo>
                  <a:pt x="164383" y="64755"/>
                  <a:pt x="152411" y="52784"/>
                  <a:pt x="152411" y="44621"/>
                </a:cubicBezTo>
                <a:cubicBezTo>
                  <a:pt x="152411" y="36458"/>
                  <a:pt x="164927" y="24486"/>
                  <a:pt x="172546" y="23942"/>
                </a:cubicBezTo>
                <a:close/>
                <a:moveTo>
                  <a:pt x="1861123" y="22132"/>
                </a:moveTo>
                <a:cubicBezTo>
                  <a:pt x="1861123" y="26485"/>
                  <a:pt x="1860035" y="31383"/>
                  <a:pt x="1861123" y="35737"/>
                </a:cubicBezTo>
                <a:cubicBezTo>
                  <a:pt x="1863844" y="44443"/>
                  <a:pt x="1864932" y="52606"/>
                  <a:pt x="1861123" y="61313"/>
                </a:cubicBezTo>
                <a:cubicBezTo>
                  <a:pt x="1860035" y="64034"/>
                  <a:pt x="1860035" y="67299"/>
                  <a:pt x="1858946" y="72740"/>
                </a:cubicBezTo>
                <a:cubicBezTo>
                  <a:pt x="1858402" y="76550"/>
                  <a:pt x="1861123" y="77638"/>
                  <a:pt x="1866021" y="76550"/>
                </a:cubicBezTo>
                <a:cubicBezTo>
                  <a:pt x="1868741" y="76006"/>
                  <a:pt x="1871462" y="76006"/>
                  <a:pt x="1873639" y="74917"/>
                </a:cubicBezTo>
                <a:cubicBezTo>
                  <a:pt x="1882346" y="71108"/>
                  <a:pt x="1891053" y="71108"/>
                  <a:pt x="1900304" y="74373"/>
                </a:cubicBezTo>
                <a:cubicBezTo>
                  <a:pt x="1902480" y="75461"/>
                  <a:pt x="1905201" y="76006"/>
                  <a:pt x="1907922" y="76006"/>
                </a:cubicBezTo>
                <a:cubicBezTo>
                  <a:pt x="1912276" y="76550"/>
                  <a:pt x="1914996" y="75461"/>
                  <a:pt x="1912820" y="70020"/>
                </a:cubicBezTo>
                <a:cubicBezTo>
                  <a:pt x="1907378" y="55871"/>
                  <a:pt x="1906834" y="41178"/>
                  <a:pt x="1912820" y="27030"/>
                </a:cubicBezTo>
                <a:cubicBezTo>
                  <a:pt x="1914996" y="22132"/>
                  <a:pt x="1911731" y="21588"/>
                  <a:pt x="1908466" y="22132"/>
                </a:cubicBezTo>
                <a:cubicBezTo>
                  <a:pt x="1906290" y="22676"/>
                  <a:pt x="1904657" y="24309"/>
                  <a:pt x="1902480" y="24309"/>
                </a:cubicBezTo>
                <a:cubicBezTo>
                  <a:pt x="1892685" y="24309"/>
                  <a:pt x="1882890" y="24853"/>
                  <a:pt x="1873095" y="24309"/>
                </a:cubicBezTo>
                <a:cubicBezTo>
                  <a:pt x="1868741" y="24309"/>
                  <a:pt x="1864932" y="22676"/>
                  <a:pt x="1861123" y="22132"/>
                </a:cubicBezTo>
                <a:close/>
                <a:moveTo>
                  <a:pt x="336886" y="17412"/>
                </a:moveTo>
                <a:cubicBezTo>
                  <a:pt x="347770" y="17412"/>
                  <a:pt x="363551" y="31016"/>
                  <a:pt x="363007" y="44077"/>
                </a:cubicBezTo>
                <a:cubicBezTo>
                  <a:pt x="363007" y="57681"/>
                  <a:pt x="350491" y="70741"/>
                  <a:pt x="337431" y="71285"/>
                </a:cubicBezTo>
                <a:cubicBezTo>
                  <a:pt x="324370" y="71830"/>
                  <a:pt x="310766" y="58769"/>
                  <a:pt x="310222" y="45165"/>
                </a:cubicBezTo>
                <a:cubicBezTo>
                  <a:pt x="309678" y="31016"/>
                  <a:pt x="323282" y="17956"/>
                  <a:pt x="336886" y="17412"/>
                </a:cubicBezTo>
                <a:close/>
                <a:moveTo>
                  <a:pt x="498507" y="13059"/>
                </a:moveTo>
                <a:cubicBezTo>
                  <a:pt x="514832" y="11970"/>
                  <a:pt x="531702" y="28296"/>
                  <a:pt x="531702" y="44621"/>
                </a:cubicBezTo>
                <a:cubicBezTo>
                  <a:pt x="531702" y="60402"/>
                  <a:pt x="515376" y="76183"/>
                  <a:pt x="499595" y="76727"/>
                </a:cubicBezTo>
                <a:cubicBezTo>
                  <a:pt x="483270" y="76727"/>
                  <a:pt x="467489" y="61490"/>
                  <a:pt x="467489" y="45165"/>
                </a:cubicBezTo>
                <a:cubicBezTo>
                  <a:pt x="467489" y="28840"/>
                  <a:pt x="482182" y="13059"/>
                  <a:pt x="498507" y="13059"/>
                </a:cubicBezTo>
                <a:close/>
                <a:moveTo>
                  <a:pt x="662303" y="7616"/>
                </a:moveTo>
                <a:cubicBezTo>
                  <a:pt x="680805" y="7072"/>
                  <a:pt x="698763" y="25030"/>
                  <a:pt x="698763" y="44076"/>
                </a:cubicBezTo>
                <a:cubicBezTo>
                  <a:pt x="698763" y="62578"/>
                  <a:pt x="680261" y="81624"/>
                  <a:pt x="662303" y="81080"/>
                </a:cubicBezTo>
                <a:cubicBezTo>
                  <a:pt x="644346" y="80536"/>
                  <a:pt x="626932" y="62578"/>
                  <a:pt x="626932" y="44076"/>
                </a:cubicBezTo>
                <a:cubicBezTo>
                  <a:pt x="626932" y="25574"/>
                  <a:pt x="643257" y="8160"/>
                  <a:pt x="662303" y="7616"/>
                </a:cubicBezTo>
                <a:close/>
                <a:moveTo>
                  <a:pt x="825557" y="5440"/>
                </a:moveTo>
                <a:cubicBezTo>
                  <a:pt x="847868" y="5440"/>
                  <a:pt x="865281" y="23942"/>
                  <a:pt x="865281" y="44621"/>
                </a:cubicBezTo>
                <a:cubicBezTo>
                  <a:pt x="865281" y="63667"/>
                  <a:pt x="847324" y="85978"/>
                  <a:pt x="826101" y="83257"/>
                </a:cubicBezTo>
                <a:cubicBezTo>
                  <a:pt x="805422" y="85978"/>
                  <a:pt x="786920" y="64211"/>
                  <a:pt x="786920" y="44621"/>
                </a:cubicBezTo>
                <a:cubicBezTo>
                  <a:pt x="786920" y="22854"/>
                  <a:pt x="805422" y="5440"/>
                  <a:pt x="825557" y="5440"/>
                </a:cubicBezTo>
                <a:close/>
                <a:moveTo>
                  <a:pt x="989353" y="1086"/>
                </a:moveTo>
                <a:cubicBezTo>
                  <a:pt x="1013297" y="1086"/>
                  <a:pt x="1032343" y="21220"/>
                  <a:pt x="1032343" y="43532"/>
                </a:cubicBezTo>
                <a:cubicBezTo>
                  <a:pt x="1032887" y="66931"/>
                  <a:pt x="1012753" y="88698"/>
                  <a:pt x="989897" y="87610"/>
                </a:cubicBezTo>
                <a:cubicBezTo>
                  <a:pt x="967042" y="88698"/>
                  <a:pt x="945819" y="65843"/>
                  <a:pt x="945819" y="44620"/>
                </a:cubicBezTo>
                <a:cubicBezTo>
                  <a:pt x="945819" y="23941"/>
                  <a:pt x="964321" y="1086"/>
                  <a:pt x="989353" y="1086"/>
                </a:cubicBezTo>
                <a:close/>
                <a:moveTo>
                  <a:pt x="1614056" y="0"/>
                </a:moveTo>
                <a:lnTo>
                  <a:pt x="1675529" y="0"/>
                </a:lnTo>
                <a:lnTo>
                  <a:pt x="1682905" y="4720"/>
                </a:lnTo>
                <a:lnTo>
                  <a:pt x="1933639" y="4720"/>
                </a:lnTo>
                <a:cubicBezTo>
                  <a:pt x="1966059" y="4720"/>
                  <a:pt x="1995409" y="17861"/>
                  <a:pt x="2016655" y="39107"/>
                </a:cubicBezTo>
                <a:lnTo>
                  <a:pt x="2028934" y="57318"/>
                </a:lnTo>
                <a:lnTo>
                  <a:pt x="2026008" y="71108"/>
                </a:lnTo>
                <a:cubicBezTo>
                  <a:pt x="2023832" y="74917"/>
                  <a:pt x="2026552" y="77094"/>
                  <a:pt x="2030906" y="75461"/>
                </a:cubicBezTo>
                <a:lnTo>
                  <a:pt x="2039929" y="73627"/>
                </a:lnTo>
                <a:lnTo>
                  <a:pt x="2041815" y="76424"/>
                </a:lnTo>
                <a:cubicBezTo>
                  <a:pt x="2047756" y="90470"/>
                  <a:pt x="2051041" y="105912"/>
                  <a:pt x="2051041" y="122122"/>
                </a:cubicBezTo>
                <a:lnTo>
                  <a:pt x="2051041" y="186473"/>
                </a:lnTo>
                <a:lnTo>
                  <a:pt x="2029818" y="186473"/>
                </a:lnTo>
                <a:cubicBezTo>
                  <a:pt x="2023832" y="184297"/>
                  <a:pt x="2022743" y="185929"/>
                  <a:pt x="2023287" y="192459"/>
                </a:cubicBezTo>
                <a:cubicBezTo>
                  <a:pt x="2023287" y="193548"/>
                  <a:pt x="2023287" y="195180"/>
                  <a:pt x="2023832" y="196268"/>
                </a:cubicBezTo>
                <a:cubicBezTo>
                  <a:pt x="2028185" y="210961"/>
                  <a:pt x="2026008" y="225110"/>
                  <a:pt x="2019478" y="239258"/>
                </a:cubicBezTo>
                <a:cubicBezTo>
                  <a:pt x="2018934" y="240347"/>
                  <a:pt x="2019478" y="241979"/>
                  <a:pt x="2020022" y="242523"/>
                </a:cubicBezTo>
                <a:cubicBezTo>
                  <a:pt x="2020566" y="243067"/>
                  <a:pt x="2022743" y="243612"/>
                  <a:pt x="2023287" y="243067"/>
                </a:cubicBezTo>
                <a:cubicBezTo>
                  <a:pt x="2032266" y="238986"/>
                  <a:pt x="2041245" y="237082"/>
                  <a:pt x="2050224" y="237150"/>
                </a:cubicBezTo>
                <a:lnTo>
                  <a:pt x="2051041" y="237329"/>
                </a:lnTo>
                <a:lnTo>
                  <a:pt x="2051041" y="348996"/>
                </a:lnTo>
                <a:lnTo>
                  <a:pt x="2036552" y="347754"/>
                </a:lnTo>
                <a:cubicBezTo>
                  <a:pt x="2031178" y="346733"/>
                  <a:pt x="2026009" y="344829"/>
                  <a:pt x="2021111" y="341019"/>
                </a:cubicBezTo>
                <a:cubicBezTo>
                  <a:pt x="2020022" y="339931"/>
                  <a:pt x="2018390" y="339387"/>
                  <a:pt x="2016757" y="338842"/>
                </a:cubicBezTo>
                <a:cubicBezTo>
                  <a:pt x="2016757" y="340475"/>
                  <a:pt x="2016757" y="343196"/>
                  <a:pt x="2017301" y="344284"/>
                </a:cubicBezTo>
                <a:cubicBezTo>
                  <a:pt x="2022743" y="354079"/>
                  <a:pt x="2026008" y="364419"/>
                  <a:pt x="2025464" y="376391"/>
                </a:cubicBezTo>
                <a:cubicBezTo>
                  <a:pt x="2024376" y="398702"/>
                  <a:pt x="2014580" y="413939"/>
                  <a:pt x="1994446" y="424278"/>
                </a:cubicBezTo>
                <a:cubicBezTo>
                  <a:pt x="1972135" y="435706"/>
                  <a:pt x="1950912" y="431352"/>
                  <a:pt x="1933498" y="416115"/>
                </a:cubicBezTo>
                <a:cubicBezTo>
                  <a:pt x="1917173" y="401967"/>
                  <a:pt x="1908466" y="378567"/>
                  <a:pt x="1920438" y="352447"/>
                </a:cubicBezTo>
                <a:cubicBezTo>
                  <a:pt x="1922615" y="348093"/>
                  <a:pt x="1923703" y="343196"/>
                  <a:pt x="1925336" y="338298"/>
                </a:cubicBezTo>
                <a:cubicBezTo>
                  <a:pt x="1920982" y="339931"/>
                  <a:pt x="1916085" y="341563"/>
                  <a:pt x="1911731" y="343196"/>
                </a:cubicBezTo>
                <a:cubicBezTo>
                  <a:pt x="1907378" y="344828"/>
                  <a:pt x="1903024" y="347005"/>
                  <a:pt x="1898671" y="347005"/>
                </a:cubicBezTo>
                <a:cubicBezTo>
                  <a:pt x="1882890" y="348638"/>
                  <a:pt x="1867653" y="348638"/>
                  <a:pt x="1854593" y="336666"/>
                </a:cubicBezTo>
                <a:lnTo>
                  <a:pt x="1847690" y="333480"/>
                </a:lnTo>
                <a:lnTo>
                  <a:pt x="1852961" y="344461"/>
                </a:lnTo>
                <a:cubicBezTo>
                  <a:pt x="1868742" y="372214"/>
                  <a:pt x="1855137" y="408674"/>
                  <a:pt x="1826840" y="420646"/>
                </a:cubicBezTo>
                <a:cubicBezTo>
                  <a:pt x="1803441" y="430985"/>
                  <a:pt x="1777864" y="422278"/>
                  <a:pt x="1765893" y="408130"/>
                </a:cubicBezTo>
                <a:cubicBezTo>
                  <a:pt x="1749567" y="388539"/>
                  <a:pt x="1744126" y="368405"/>
                  <a:pt x="1759362" y="342829"/>
                </a:cubicBezTo>
                <a:cubicBezTo>
                  <a:pt x="1771199" y="322422"/>
                  <a:pt x="1795584" y="313341"/>
                  <a:pt x="1815991" y="317193"/>
                </a:cubicBezTo>
                <a:cubicBezTo>
                  <a:pt x="1822793" y="318477"/>
                  <a:pt x="1829153" y="321198"/>
                  <a:pt x="1834459" y="325415"/>
                </a:cubicBezTo>
                <a:lnTo>
                  <a:pt x="1845023" y="330169"/>
                </a:lnTo>
                <a:lnTo>
                  <a:pt x="1840444" y="321429"/>
                </a:lnTo>
                <a:cubicBezTo>
                  <a:pt x="1831193" y="306736"/>
                  <a:pt x="1832282" y="290955"/>
                  <a:pt x="1834458" y="275174"/>
                </a:cubicBezTo>
                <a:cubicBezTo>
                  <a:pt x="1835002" y="269732"/>
                  <a:pt x="1838812" y="265379"/>
                  <a:pt x="1840988" y="259937"/>
                </a:cubicBezTo>
                <a:cubicBezTo>
                  <a:pt x="1841533" y="258849"/>
                  <a:pt x="1842077" y="257216"/>
                  <a:pt x="1842077" y="255584"/>
                </a:cubicBezTo>
                <a:cubicBezTo>
                  <a:pt x="1840444" y="256128"/>
                  <a:pt x="1838812" y="256672"/>
                  <a:pt x="1837723" y="257216"/>
                </a:cubicBezTo>
                <a:cubicBezTo>
                  <a:pt x="1831193" y="259937"/>
                  <a:pt x="1824663" y="263746"/>
                  <a:pt x="1817589" y="264834"/>
                </a:cubicBezTo>
                <a:cubicBezTo>
                  <a:pt x="1799631" y="268100"/>
                  <a:pt x="1782762" y="264290"/>
                  <a:pt x="1768069" y="251774"/>
                </a:cubicBezTo>
                <a:lnTo>
                  <a:pt x="1764740" y="250110"/>
                </a:lnTo>
                <a:lnTo>
                  <a:pt x="1773510" y="267189"/>
                </a:lnTo>
                <a:cubicBezTo>
                  <a:pt x="1786571" y="292765"/>
                  <a:pt x="1773510" y="323239"/>
                  <a:pt x="1750655" y="336843"/>
                </a:cubicBezTo>
                <a:cubicBezTo>
                  <a:pt x="1721270" y="354257"/>
                  <a:pt x="1685354" y="337388"/>
                  <a:pt x="1673926" y="310723"/>
                </a:cubicBezTo>
                <a:cubicBezTo>
                  <a:pt x="1664675" y="289500"/>
                  <a:pt x="1669029" y="271542"/>
                  <a:pt x="1681545" y="254673"/>
                </a:cubicBezTo>
                <a:cubicBezTo>
                  <a:pt x="1694605" y="237803"/>
                  <a:pt x="1712563" y="231817"/>
                  <a:pt x="1733786" y="235083"/>
                </a:cubicBezTo>
                <a:cubicBezTo>
                  <a:pt x="1739771" y="236171"/>
                  <a:pt x="1745757" y="239980"/>
                  <a:pt x="1751743" y="242157"/>
                </a:cubicBezTo>
                <a:lnTo>
                  <a:pt x="1762506" y="246769"/>
                </a:lnTo>
                <a:lnTo>
                  <a:pt x="1757185" y="236537"/>
                </a:lnTo>
                <a:cubicBezTo>
                  <a:pt x="1747934" y="219668"/>
                  <a:pt x="1747390" y="203343"/>
                  <a:pt x="1756097" y="185929"/>
                </a:cubicBezTo>
                <a:cubicBezTo>
                  <a:pt x="1757185" y="183752"/>
                  <a:pt x="1756641" y="180487"/>
                  <a:pt x="1757185" y="177766"/>
                </a:cubicBezTo>
                <a:cubicBezTo>
                  <a:pt x="1754464" y="177766"/>
                  <a:pt x="1751199" y="177222"/>
                  <a:pt x="1749023" y="178311"/>
                </a:cubicBezTo>
                <a:cubicBezTo>
                  <a:pt x="1722358" y="193003"/>
                  <a:pt x="1688075" y="178855"/>
                  <a:pt x="1676103" y="154911"/>
                </a:cubicBezTo>
                <a:cubicBezTo>
                  <a:pt x="1665220" y="133688"/>
                  <a:pt x="1667396" y="113554"/>
                  <a:pt x="1681001" y="94507"/>
                </a:cubicBezTo>
                <a:lnTo>
                  <a:pt x="1685681" y="85147"/>
                </a:lnTo>
                <a:lnTo>
                  <a:pt x="1693517" y="82536"/>
                </a:lnTo>
                <a:cubicBezTo>
                  <a:pt x="1710930" y="71108"/>
                  <a:pt x="1728888" y="71108"/>
                  <a:pt x="1747934" y="77638"/>
                </a:cubicBezTo>
                <a:cubicBezTo>
                  <a:pt x="1750655" y="78726"/>
                  <a:pt x="1753920" y="78726"/>
                  <a:pt x="1756641" y="79271"/>
                </a:cubicBezTo>
                <a:cubicBezTo>
                  <a:pt x="1756097" y="76550"/>
                  <a:pt x="1755553" y="74373"/>
                  <a:pt x="1754464" y="71652"/>
                </a:cubicBezTo>
                <a:cubicBezTo>
                  <a:pt x="1753920" y="70564"/>
                  <a:pt x="1753376" y="69475"/>
                  <a:pt x="1752832" y="68387"/>
                </a:cubicBezTo>
                <a:cubicBezTo>
                  <a:pt x="1747934" y="52062"/>
                  <a:pt x="1747390" y="35737"/>
                  <a:pt x="1756097" y="20500"/>
                </a:cubicBezTo>
                <a:cubicBezTo>
                  <a:pt x="1756641" y="19411"/>
                  <a:pt x="1757185" y="16690"/>
                  <a:pt x="1756641" y="16146"/>
                </a:cubicBezTo>
                <a:cubicBezTo>
                  <a:pt x="1755553" y="15058"/>
                  <a:pt x="1753376" y="14514"/>
                  <a:pt x="1751744" y="15058"/>
                </a:cubicBezTo>
                <a:cubicBezTo>
                  <a:pt x="1747934" y="16146"/>
                  <a:pt x="1744669" y="19411"/>
                  <a:pt x="1741404" y="19955"/>
                </a:cubicBezTo>
                <a:cubicBezTo>
                  <a:pt x="1724535" y="21588"/>
                  <a:pt x="1707121" y="23765"/>
                  <a:pt x="1691884" y="11249"/>
                </a:cubicBezTo>
                <a:lnTo>
                  <a:pt x="1685645" y="8369"/>
                </a:lnTo>
                <a:lnTo>
                  <a:pt x="1688620" y="14691"/>
                </a:lnTo>
                <a:cubicBezTo>
                  <a:pt x="1700048" y="32648"/>
                  <a:pt x="1700048" y="50606"/>
                  <a:pt x="1691885" y="69652"/>
                </a:cubicBezTo>
                <a:lnTo>
                  <a:pt x="1684469" y="82365"/>
                </a:lnTo>
                <a:lnTo>
                  <a:pt x="1663044" y="94684"/>
                </a:lnTo>
                <a:cubicBezTo>
                  <a:pt x="1651072" y="101759"/>
                  <a:pt x="1638556" y="100126"/>
                  <a:pt x="1626584" y="96861"/>
                </a:cubicBezTo>
                <a:cubicBezTo>
                  <a:pt x="1608082" y="91419"/>
                  <a:pt x="1595566" y="78359"/>
                  <a:pt x="1590124" y="60401"/>
                </a:cubicBezTo>
                <a:cubicBezTo>
                  <a:pt x="1586315" y="48974"/>
                  <a:pt x="1586315" y="37002"/>
                  <a:pt x="1591757" y="25030"/>
                </a:cubicBezTo>
                <a:close/>
                <a:moveTo>
                  <a:pt x="1460066" y="0"/>
                </a:moveTo>
                <a:lnTo>
                  <a:pt x="1498513" y="0"/>
                </a:lnTo>
                <a:lnTo>
                  <a:pt x="1517204" y="8092"/>
                </a:lnTo>
                <a:cubicBezTo>
                  <a:pt x="1526183" y="17411"/>
                  <a:pt x="1531352" y="30199"/>
                  <a:pt x="1531896" y="45164"/>
                </a:cubicBezTo>
                <a:cubicBezTo>
                  <a:pt x="1532985" y="71829"/>
                  <a:pt x="1505776" y="97949"/>
                  <a:pt x="1479111" y="97949"/>
                </a:cubicBezTo>
                <a:cubicBezTo>
                  <a:pt x="1451902" y="97949"/>
                  <a:pt x="1425238" y="71829"/>
                  <a:pt x="1426870" y="45164"/>
                </a:cubicBezTo>
                <a:cubicBezTo>
                  <a:pt x="1427687" y="29655"/>
                  <a:pt x="1432720" y="16867"/>
                  <a:pt x="1441631" y="7684"/>
                </a:cubicBezTo>
                <a:close/>
                <a:moveTo>
                  <a:pt x="1296749" y="0"/>
                </a:moveTo>
                <a:lnTo>
                  <a:pt x="1335755" y="0"/>
                </a:lnTo>
                <a:lnTo>
                  <a:pt x="1350278" y="10270"/>
                </a:lnTo>
                <a:cubicBezTo>
                  <a:pt x="1359937" y="19861"/>
                  <a:pt x="1366467" y="32649"/>
                  <a:pt x="1365923" y="45165"/>
                </a:cubicBezTo>
                <a:cubicBezTo>
                  <a:pt x="1364291" y="71829"/>
                  <a:pt x="1343068" y="93052"/>
                  <a:pt x="1315315" y="93052"/>
                </a:cubicBezTo>
                <a:cubicBezTo>
                  <a:pt x="1290283" y="95229"/>
                  <a:pt x="1266339" y="69109"/>
                  <a:pt x="1266339" y="44076"/>
                </a:cubicBezTo>
                <a:cubicBezTo>
                  <a:pt x="1266339" y="30472"/>
                  <a:pt x="1273141" y="18228"/>
                  <a:pt x="1282732" y="9317"/>
                </a:cubicBezTo>
                <a:close/>
                <a:moveTo>
                  <a:pt x="1148085" y="0"/>
                </a:moveTo>
                <a:lnTo>
                  <a:pt x="1161802" y="0"/>
                </a:lnTo>
                <a:lnTo>
                  <a:pt x="1169637" y="1315"/>
                </a:lnTo>
                <a:cubicBezTo>
                  <a:pt x="1186447" y="8432"/>
                  <a:pt x="1199813" y="26798"/>
                  <a:pt x="1199405" y="45164"/>
                </a:cubicBezTo>
                <a:cubicBezTo>
                  <a:pt x="1198861" y="69652"/>
                  <a:pt x="1175462" y="93596"/>
                  <a:pt x="1151518" y="91419"/>
                </a:cubicBezTo>
                <a:cubicBezTo>
                  <a:pt x="1123765" y="88154"/>
                  <a:pt x="1109072" y="72373"/>
                  <a:pt x="1105807" y="44620"/>
                </a:cubicBezTo>
                <a:cubicBezTo>
                  <a:pt x="1107440" y="30472"/>
                  <a:pt x="1111657" y="19588"/>
                  <a:pt x="1119139" y="11902"/>
                </a:cubicBezTo>
                <a:close/>
              </a:path>
            </a:pathLst>
          </a:custGeom>
          <a:solidFill>
            <a:srgbClr val="9AA8C5">
              <a:alpha val="17000"/>
            </a:srgbClr>
          </a:solidFill>
          <a:ln w="5432" cap="flat">
            <a:noFill/>
            <a:prstDash val="solid"/>
            <a:miter/>
          </a:ln>
        </p:spPr>
        <p:txBody>
          <a:bodyPr rtlCol="0" anchor="ctr"/>
          <a:lstStyle/>
          <a:p>
            <a:endParaRPr lang="en-IN"/>
          </a:p>
        </p:txBody>
      </p:sp>
    </p:spTree>
    <p:extLst>
      <p:ext uri="{BB962C8B-B14F-4D97-AF65-F5344CB8AC3E}">
        <p14:creationId xmlns:p14="http://schemas.microsoft.com/office/powerpoint/2010/main" val="159872915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2_content">
    <p:spTree>
      <p:nvGrpSpPr>
        <p:cNvPr id="1" name=""/>
        <p:cNvGrpSpPr/>
        <p:nvPr/>
      </p:nvGrpSpPr>
      <p:grpSpPr>
        <a:xfrm>
          <a:off x="0" y="0"/>
          <a:ext cx="0" cy="0"/>
          <a:chOff x="0" y="0"/>
          <a:chExt cx="0" cy="0"/>
        </a:xfrm>
      </p:grpSpPr>
      <p:sp>
        <p:nvSpPr>
          <p:cNvPr id="41" name="Title 11">
            <a:extLst>
              <a:ext uri="{FF2B5EF4-FFF2-40B4-BE49-F238E27FC236}">
                <a16:creationId xmlns:a16="http://schemas.microsoft.com/office/drawing/2014/main" id="{DDA87447-1017-4301-A6CE-4D2A98BB0C96}"/>
              </a:ext>
            </a:extLst>
          </p:cNvPr>
          <p:cNvSpPr>
            <a:spLocks noGrp="1"/>
          </p:cNvSpPr>
          <p:nvPr>
            <p:ph type="title" hasCustomPrompt="1"/>
          </p:nvPr>
        </p:nvSpPr>
        <p:spPr>
          <a:xfrm>
            <a:off x="374011" y="185817"/>
            <a:ext cx="10515600" cy="608663"/>
          </a:xfrm>
          <a:prstGeom prst="rect">
            <a:avLst/>
          </a:prstGeom>
        </p:spPr>
        <p:txBody>
          <a:bodyPr>
            <a:normAutofit/>
          </a:bodyPr>
          <a:lstStyle>
            <a:lvl1pPr marL="0" indent="0">
              <a:tabLst>
                <a:tab pos="3327400" algn="l"/>
              </a:tabLst>
              <a:defRPr sz="2600" b="1">
                <a:solidFill>
                  <a:srgbClr val="334D8B"/>
                </a:solidFill>
                <a:latin typeface="+mn-lt"/>
              </a:defRPr>
            </a:lvl1pPr>
          </a:lstStyle>
          <a:p>
            <a:r>
              <a:rPr lang="en-US"/>
              <a:t>Write your Heading here</a:t>
            </a:r>
          </a:p>
        </p:txBody>
      </p:sp>
      <p:sp>
        <p:nvSpPr>
          <p:cNvPr id="10" name="Rectangle: Rounded Corners 46">
            <a:extLst>
              <a:ext uri="{FF2B5EF4-FFF2-40B4-BE49-F238E27FC236}">
                <a16:creationId xmlns:a16="http://schemas.microsoft.com/office/drawing/2014/main" id="{2BD140BB-4F6C-EC44-9B87-BE7706386271}"/>
              </a:ext>
            </a:extLst>
          </p:cNvPr>
          <p:cNvSpPr>
            <a:spLocks/>
          </p:cNvSpPr>
          <p:nvPr/>
        </p:nvSpPr>
        <p:spPr>
          <a:xfrm>
            <a:off x="396343" y="1095291"/>
            <a:ext cx="1908000" cy="1368000"/>
          </a:xfrm>
          <a:prstGeom prst="roundRect">
            <a:avLst>
              <a:gd name="adj" fmla="val 9091"/>
            </a:avLst>
          </a:prstGeom>
          <a:solidFill>
            <a:srgbClr val="33ADAD"/>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Calibri"/>
              <a:ea typeface="+mn-ea"/>
              <a:cs typeface="+mn-cs"/>
            </a:endParaRPr>
          </a:p>
        </p:txBody>
      </p:sp>
      <p:sp>
        <p:nvSpPr>
          <p:cNvPr id="13" name="Rectangle: Rounded Corners 55">
            <a:extLst>
              <a:ext uri="{FF2B5EF4-FFF2-40B4-BE49-F238E27FC236}">
                <a16:creationId xmlns:a16="http://schemas.microsoft.com/office/drawing/2014/main" id="{B09B7DA6-5D0F-554D-B7C5-DAF106A9DE33}"/>
              </a:ext>
            </a:extLst>
          </p:cNvPr>
          <p:cNvSpPr>
            <a:spLocks/>
          </p:cNvSpPr>
          <p:nvPr/>
        </p:nvSpPr>
        <p:spPr>
          <a:xfrm>
            <a:off x="5131943" y="1095291"/>
            <a:ext cx="1908000" cy="1368000"/>
          </a:xfrm>
          <a:prstGeom prst="roundRect">
            <a:avLst>
              <a:gd name="adj" fmla="val 10173"/>
            </a:avLst>
          </a:prstGeom>
          <a:solidFill>
            <a:srgbClr val="409BD0"/>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Calibri"/>
              <a:ea typeface="+mn-ea"/>
              <a:cs typeface="+mn-cs"/>
            </a:endParaRPr>
          </a:p>
        </p:txBody>
      </p:sp>
      <p:sp>
        <p:nvSpPr>
          <p:cNvPr id="16" name="Rectangle: Rounded Corners 59">
            <a:extLst>
              <a:ext uri="{FF2B5EF4-FFF2-40B4-BE49-F238E27FC236}">
                <a16:creationId xmlns:a16="http://schemas.microsoft.com/office/drawing/2014/main" id="{0960D375-A7B7-A544-9F10-F231101B6B60}"/>
              </a:ext>
            </a:extLst>
          </p:cNvPr>
          <p:cNvSpPr>
            <a:spLocks/>
          </p:cNvSpPr>
          <p:nvPr/>
        </p:nvSpPr>
        <p:spPr>
          <a:xfrm>
            <a:off x="9914044" y="1095291"/>
            <a:ext cx="1908000" cy="1368000"/>
          </a:xfrm>
          <a:prstGeom prst="roundRect">
            <a:avLst>
              <a:gd name="adj" fmla="val 9091"/>
            </a:avLst>
          </a:prstGeom>
          <a:solidFill>
            <a:srgbClr val="9AA8C5"/>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Calibri"/>
              <a:ea typeface="+mn-ea"/>
              <a:cs typeface="+mn-cs"/>
            </a:endParaRPr>
          </a:p>
        </p:txBody>
      </p:sp>
      <p:sp>
        <p:nvSpPr>
          <p:cNvPr id="19" name="Rectangle: Rounded Corners 62">
            <a:extLst>
              <a:ext uri="{FF2B5EF4-FFF2-40B4-BE49-F238E27FC236}">
                <a16:creationId xmlns:a16="http://schemas.microsoft.com/office/drawing/2014/main" id="{1EC8F944-61B3-1945-9B44-568834368877}"/>
              </a:ext>
            </a:extLst>
          </p:cNvPr>
          <p:cNvSpPr>
            <a:spLocks/>
          </p:cNvSpPr>
          <p:nvPr/>
        </p:nvSpPr>
        <p:spPr>
          <a:xfrm>
            <a:off x="7494010" y="1095291"/>
            <a:ext cx="1908000" cy="1368000"/>
          </a:xfrm>
          <a:prstGeom prst="roundRect">
            <a:avLst>
              <a:gd name="adj" fmla="val 9091"/>
            </a:avLst>
          </a:prstGeom>
          <a:solidFill>
            <a:srgbClr val="72A2CE"/>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Calibri"/>
              <a:ea typeface="+mn-ea"/>
              <a:cs typeface="+mn-cs"/>
            </a:endParaRPr>
          </a:p>
        </p:txBody>
      </p:sp>
      <p:sp>
        <p:nvSpPr>
          <p:cNvPr id="22" name="Rectangle: Rounded Corners 66">
            <a:extLst>
              <a:ext uri="{FF2B5EF4-FFF2-40B4-BE49-F238E27FC236}">
                <a16:creationId xmlns:a16="http://schemas.microsoft.com/office/drawing/2014/main" id="{C0CE8EC9-D325-EF4C-80D4-D5D738A28C4C}"/>
              </a:ext>
            </a:extLst>
          </p:cNvPr>
          <p:cNvSpPr>
            <a:spLocks/>
          </p:cNvSpPr>
          <p:nvPr/>
        </p:nvSpPr>
        <p:spPr>
          <a:xfrm>
            <a:off x="2789975" y="1095291"/>
            <a:ext cx="1908000" cy="1368000"/>
          </a:xfrm>
          <a:prstGeom prst="roundRect">
            <a:avLst>
              <a:gd name="adj" fmla="val 9091"/>
            </a:avLst>
          </a:prstGeom>
          <a:solidFill>
            <a:srgbClr val="3CA8C6"/>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Calibri"/>
              <a:ea typeface="+mn-ea"/>
              <a:cs typeface="+mn-cs"/>
            </a:endParaRPr>
          </a:p>
        </p:txBody>
      </p:sp>
      <p:sp>
        <p:nvSpPr>
          <p:cNvPr id="34" name="Text Placeholder 3">
            <a:extLst>
              <a:ext uri="{FF2B5EF4-FFF2-40B4-BE49-F238E27FC236}">
                <a16:creationId xmlns:a16="http://schemas.microsoft.com/office/drawing/2014/main" id="{C48A67FA-07DF-E44D-BB61-28E9409D3B96}"/>
              </a:ext>
            </a:extLst>
          </p:cNvPr>
          <p:cNvSpPr>
            <a:spLocks noGrp="1"/>
          </p:cNvSpPr>
          <p:nvPr>
            <p:ph type="body" sz="half" idx="19" hasCustomPrompt="1"/>
          </p:nvPr>
        </p:nvSpPr>
        <p:spPr>
          <a:xfrm>
            <a:off x="396343" y="2721810"/>
            <a:ext cx="1908000" cy="3533216"/>
          </a:xfrm>
          <a:prstGeom prst="rect">
            <a:avLst/>
          </a:prstGeom>
        </p:spPr>
        <p:txBody>
          <a:bodyPr>
            <a:normAutofit/>
          </a:bodyPr>
          <a:lstStyle>
            <a:lvl1pPr marL="0" indent="0" algn="ctr">
              <a:buNone/>
              <a:defRPr sz="14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Write your text here</a:t>
            </a:r>
          </a:p>
        </p:txBody>
      </p:sp>
      <p:sp>
        <p:nvSpPr>
          <p:cNvPr id="35" name="Text Placeholder 3">
            <a:extLst>
              <a:ext uri="{FF2B5EF4-FFF2-40B4-BE49-F238E27FC236}">
                <a16:creationId xmlns:a16="http://schemas.microsoft.com/office/drawing/2014/main" id="{23D8C962-5DD1-C14F-9165-E6B53C8E92EA}"/>
              </a:ext>
            </a:extLst>
          </p:cNvPr>
          <p:cNvSpPr>
            <a:spLocks noGrp="1"/>
          </p:cNvSpPr>
          <p:nvPr>
            <p:ph type="body" sz="half" idx="20"/>
          </p:nvPr>
        </p:nvSpPr>
        <p:spPr>
          <a:xfrm>
            <a:off x="2789975" y="2721810"/>
            <a:ext cx="1908000" cy="3533216"/>
          </a:xfrm>
          <a:prstGeom prst="rect">
            <a:avLst/>
          </a:prstGeom>
        </p:spPr>
        <p:txBody>
          <a:bodyPr>
            <a:normAutofit/>
          </a:bodyPr>
          <a:lstStyle>
            <a:lvl1pPr marL="0" indent="0" algn="ctr">
              <a:buNone/>
              <a:defRPr sz="14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36" name="Text Placeholder 3">
            <a:extLst>
              <a:ext uri="{FF2B5EF4-FFF2-40B4-BE49-F238E27FC236}">
                <a16:creationId xmlns:a16="http://schemas.microsoft.com/office/drawing/2014/main" id="{F2A75F9E-BB34-D24D-AC55-FAC1786698E4}"/>
              </a:ext>
            </a:extLst>
          </p:cNvPr>
          <p:cNvSpPr>
            <a:spLocks noGrp="1"/>
          </p:cNvSpPr>
          <p:nvPr>
            <p:ph type="body" sz="half" idx="21"/>
          </p:nvPr>
        </p:nvSpPr>
        <p:spPr>
          <a:xfrm>
            <a:off x="5131943" y="2721810"/>
            <a:ext cx="1908000" cy="3533216"/>
          </a:xfrm>
          <a:prstGeom prst="rect">
            <a:avLst/>
          </a:prstGeom>
        </p:spPr>
        <p:txBody>
          <a:bodyPr>
            <a:normAutofit/>
          </a:bodyPr>
          <a:lstStyle>
            <a:lvl1pPr marL="0" indent="0" algn="ctr">
              <a:buNone/>
              <a:defRPr sz="14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37" name="Text Placeholder 3">
            <a:extLst>
              <a:ext uri="{FF2B5EF4-FFF2-40B4-BE49-F238E27FC236}">
                <a16:creationId xmlns:a16="http://schemas.microsoft.com/office/drawing/2014/main" id="{9E0D5C9E-CD2A-A347-9D77-276FE5D446DE}"/>
              </a:ext>
            </a:extLst>
          </p:cNvPr>
          <p:cNvSpPr>
            <a:spLocks noGrp="1"/>
          </p:cNvSpPr>
          <p:nvPr>
            <p:ph type="body" sz="half" idx="22"/>
          </p:nvPr>
        </p:nvSpPr>
        <p:spPr>
          <a:xfrm>
            <a:off x="7494010" y="2721810"/>
            <a:ext cx="1908000" cy="3533216"/>
          </a:xfrm>
          <a:prstGeom prst="rect">
            <a:avLst/>
          </a:prstGeom>
        </p:spPr>
        <p:txBody>
          <a:bodyPr>
            <a:normAutofit/>
          </a:bodyPr>
          <a:lstStyle>
            <a:lvl1pPr marL="0" indent="0" algn="ctr">
              <a:buNone/>
              <a:defRPr sz="14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38" name="Text Placeholder 3">
            <a:extLst>
              <a:ext uri="{FF2B5EF4-FFF2-40B4-BE49-F238E27FC236}">
                <a16:creationId xmlns:a16="http://schemas.microsoft.com/office/drawing/2014/main" id="{E24628F2-B349-C143-A143-F827DC39D886}"/>
              </a:ext>
            </a:extLst>
          </p:cNvPr>
          <p:cNvSpPr>
            <a:spLocks noGrp="1"/>
          </p:cNvSpPr>
          <p:nvPr>
            <p:ph type="body" sz="half" idx="23"/>
          </p:nvPr>
        </p:nvSpPr>
        <p:spPr>
          <a:xfrm>
            <a:off x="9914044" y="2721810"/>
            <a:ext cx="1908000" cy="3533216"/>
          </a:xfrm>
          <a:prstGeom prst="rect">
            <a:avLst/>
          </a:prstGeom>
        </p:spPr>
        <p:txBody>
          <a:bodyPr>
            <a:normAutofit/>
          </a:bodyPr>
          <a:lstStyle>
            <a:lvl1pPr marL="0" indent="0" algn="ctr">
              <a:buNone/>
              <a:defRPr sz="14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0" name="Text Placeholder 3">
            <a:extLst>
              <a:ext uri="{FF2B5EF4-FFF2-40B4-BE49-F238E27FC236}">
                <a16:creationId xmlns:a16="http://schemas.microsoft.com/office/drawing/2014/main" id="{55C3C442-8907-3447-8886-63FB0AD76944}"/>
              </a:ext>
            </a:extLst>
          </p:cNvPr>
          <p:cNvSpPr>
            <a:spLocks noGrp="1"/>
          </p:cNvSpPr>
          <p:nvPr>
            <p:ph type="body" sz="half" idx="27" hasCustomPrompt="1"/>
          </p:nvPr>
        </p:nvSpPr>
        <p:spPr>
          <a:xfrm>
            <a:off x="5131943" y="1456216"/>
            <a:ext cx="1908000" cy="802172"/>
          </a:xfrm>
          <a:prstGeom prst="rect">
            <a:avLst/>
          </a:prstGeom>
        </p:spPr>
        <p:txBody>
          <a:bodyPr anchor="b">
            <a:normAutofit/>
          </a:bodyPr>
          <a:lstStyle>
            <a:lvl1pPr marL="0" indent="0" algn="ctr">
              <a:buNone/>
              <a:defRPr sz="1600" b="1">
                <a:solidFill>
                  <a:schemeClr val="bg1">
                    <a:lumMod val="95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Heading</a:t>
            </a:r>
          </a:p>
        </p:txBody>
      </p:sp>
      <p:sp>
        <p:nvSpPr>
          <p:cNvPr id="51" name="Text Placeholder 3">
            <a:extLst>
              <a:ext uri="{FF2B5EF4-FFF2-40B4-BE49-F238E27FC236}">
                <a16:creationId xmlns:a16="http://schemas.microsoft.com/office/drawing/2014/main" id="{F25038C4-289F-2348-BBB1-BEF05AEA2E29}"/>
              </a:ext>
            </a:extLst>
          </p:cNvPr>
          <p:cNvSpPr>
            <a:spLocks noGrp="1"/>
          </p:cNvSpPr>
          <p:nvPr>
            <p:ph type="body" sz="half" idx="28" hasCustomPrompt="1"/>
          </p:nvPr>
        </p:nvSpPr>
        <p:spPr>
          <a:xfrm>
            <a:off x="7494010" y="1456216"/>
            <a:ext cx="1908000" cy="802172"/>
          </a:xfrm>
          <a:prstGeom prst="rect">
            <a:avLst/>
          </a:prstGeom>
        </p:spPr>
        <p:txBody>
          <a:bodyPr anchor="b">
            <a:normAutofit/>
          </a:bodyPr>
          <a:lstStyle>
            <a:lvl1pPr marL="0" indent="0" algn="ctr">
              <a:buNone/>
              <a:defRPr sz="1600" b="1">
                <a:solidFill>
                  <a:schemeClr val="bg1">
                    <a:lumMod val="95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Heading</a:t>
            </a:r>
          </a:p>
        </p:txBody>
      </p:sp>
      <p:sp>
        <p:nvSpPr>
          <p:cNvPr id="52" name="Text Placeholder 3">
            <a:extLst>
              <a:ext uri="{FF2B5EF4-FFF2-40B4-BE49-F238E27FC236}">
                <a16:creationId xmlns:a16="http://schemas.microsoft.com/office/drawing/2014/main" id="{D6A54516-55F3-084A-9883-DD7CD4247995}"/>
              </a:ext>
            </a:extLst>
          </p:cNvPr>
          <p:cNvSpPr>
            <a:spLocks noGrp="1"/>
          </p:cNvSpPr>
          <p:nvPr>
            <p:ph type="body" sz="half" idx="29" hasCustomPrompt="1"/>
          </p:nvPr>
        </p:nvSpPr>
        <p:spPr>
          <a:xfrm>
            <a:off x="9914044" y="1456216"/>
            <a:ext cx="1908000" cy="802172"/>
          </a:xfrm>
          <a:prstGeom prst="rect">
            <a:avLst/>
          </a:prstGeom>
        </p:spPr>
        <p:txBody>
          <a:bodyPr anchor="b">
            <a:normAutofit/>
          </a:bodyPr>
          <a:lstStyle>
            <a:lvl1pPr marL="0" indent="0" algn="ctr">
              <a:buNone/>
              <a:defRPr sz="1600" b="1">
                <a:solidFill>
                  <a:schemeClr val="bg1">
                    <a:lumMod val="95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Heading</a:t>
            </a:r>
          </a:p>
        </p:txBody>
      </p:sp>
      <p:sp>
        <p:nvSpPr>
          <p:cNvPr id="23" name="Text Placeholder 2">
            <a:extLst>
              <a:ext uri="{FF2B5EF4-FFF2-40B4-BE49-F238E27FC236}">
                <a16:creationId xmlns:a16="http://schemas.microsoft.com/office/drawing/2014/main" id="{B0CD8C96-B01C-B048-A186-943BAEC872E9}"/>
              </a:ext>
            </a:extLst>
          </p:cNvPr>
          <p:cNvSpPr>
            <a:spLocks noGrp="1"/>
          </p:cNvSpPr>
          <p:nvPr>
            <p:ph type="body" idx="1" hasCustomPrompt="1"/>
          </p:nvPr>
        </p:nvSpPr>
        <p:spPr>
          <a:xfrm>
            <a:off x="404492" y="1445346"/>
            <a:ext cx="1899851" cy="823912"/>
          </a:xfrm>
          <a:prstGeom prst="rect">
            <a:avLst/>
          </a:prstGeom>
        </p:spPr>
        <p:txBody>
          <a:bodyPr anchor="b"/>
          <a:lstStyle>
            <a:lvl1pPr marL="0" indent="0" algn="ctr">
              <a:buNone/>
              <a:defRPr sz="1800" b="1">
                <a:solidFill>
                  <a:schemeClr val="bg1">
                    <a:lumMod val="95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Heading</a:t>
            </a:r>
          </a:p>
        </p:txBody>
      </p:sp>
      <p:sp>
        <p:nvSpPr>
          <p:cNvPr id="24" name="Text Placeholder 2">
            <a:extLst>
              <a:ext uri="{FF2B5EF4-FFF2-40B4-BE49-F238E27FC236}">
                <a16:creationId xmlns:a16="http://schemas.microsoft.com/office/drawing/2014/main" id="{162DA618-478C-574A-82C7-7E669C7A2304}"/>
              </a:ext>
            </a:extLst>
          </p:cNvPr>
          <p:cNvSpPr>
            <a:spLocks noGrp="1"/>
          </p:cNvSpPr>
          <p:nvPr>
            <p:ph type="body" idx="30" hasCustomPrompt="1"/>
          </p:nvPr>
        </p:nvSpPr>
        <p:spPr>
          <a:xfrm>
            <a:off x="2798124" y="1434476"/>
            <a:ext cx="1899851" cy="823912"/>
          </a:xfrm>
          <a:prstGeom prst="rect">
            <a:avLst/>
          </a:prstGeom>
        </p:spPr>
        <p:txBody>
          <a:bodyPr anchor="b"/>
          <a:lstStyle>
            <a:lvl1pPr marL="0" indent="0" algn="ctr">
              <a:buNone/>
              <a:defRPr sz="1800" b="1">
                <a:solidFill>
                  <a:schemeClr val="bg1">
                    <a:lumMod val="95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Heading</a:t>
            </a:r>
          </a:p>
        </p:txBody>
      </p:sp>
      <p:sp>
        <p:nvSpPr>
          <p:cNvPr id="27" name="Slide Number Placeholder 5">
            <a:extLst>
              <a:ext uri="{FF2B5EF4-FFF2-40B4-BE49-F238E27FC236}">
                <a16:creationId xmlns:a16="http://schemas.microsoft.com/office/drawing/2014/main" id="{D1B14969-C02A-41F1-AAD8-1D0378A67984}"/>
              </a:ext>
            </a:extLst>
          </p:cNvPr>
          <p:cNvSpPr txBox="1">
            <a:spLocks/>
          </p:cNvSpPr>
          <p:nvPr userDrawn="1"/>
        </p:nvSpPr>
        <p:spPr>
          <a:xfrm>
            <a:off x="11373135" y="6506785"/>
            <a:ext cx="609600" cy="261610"/>
          </a:xfrm>
          <a:prstGeom prst="rect">
            <a:avLst/>
          </a:prstGeom>
          <a:noFill/>
        </p:spPr>
        <p:txBody>
          <a:bodyPr>
            <a:spAutoFit/>
          </a:bodyPr>
          <a:lstStyle>
            <a:defPPr>
              <a:defRPr lang="en-US"/>
            </a:defPPr>
            <a:lvl1pPr marL="0" algn="ctr" defTabSz="914400" rtl="0" eaLnBrk="1" latinLnBrk="0" hangingPunct="1">
              <a:defRPr lang="en-US" sz="1800" kern="1200" smtClean="0">
                <a:solidFill>
                  <a:schemeClr val="bg1"/>
                </a:solidFill>
                <a:latin typeface="Tahoma" pitchFamily="34" charset="0"/>
                <a:ea typeface="Tahoma" pitchFamily="34" charset="0"/>
                <a:cs typeface="Tahoma"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fld id="{3413C1ED-5599-4BB6-878F-244F2E6B8E4A}" type="slidenum">
              <a:rPr lang="en-IN" sz="1100">
                <a:solidFill>
                  <a:prstClr val="black">
                    <a:lumMod val="50000"/>
                    <a:lumOff val="50000"/>
                  </a:prstClr>
                </a:solidFill>
              </a:rPr>
              <a:pPr fontAlgn="auto">
                <a:spcBef>
                  <a:spcPts val="0"/>
                </a:spcBef>
                <a:spcAft>
                  <a:spcPts val="0"/>
                </a:spcAft>
                <a:defRPr/>
              </a:pPr>
              <a:t>‹#›</a:t>
            </a:fld>
            <a:endParaRPr lang="en-IN" sz="1100">
              <a:solidFill>
                <a:prstClr val="black">
                  <a:lumMod val="50000"/>
                  <a:lumOff val="50000"/>
                </a:prstClr>
              </a:solidFill>
            </a:endParaRPr>
          </a:p>
        </p:txBody>
      </p:sp>
      <p:pic>
        <p:nvPicPr>
          <p:cNvPr id="28" name="Picture 27">
            <a:extLst>
              <a:ext uri="{FF2B5EF4-FFF2-40B4-BE49-F238E27FC236}">
                <a16:creationId xmlns:a16="http://schemas.microsoft.com/office/drawing/2014/main" id="{457B2D0B-4965-4C34-BD7E-36B94B6CE573}"/>
              </a:ext>
            </a:extLst>
          </p:cNvPr>
          <p:cNvPicPr>
            <a:picLocks noChangeAspect="1"/>
          </p:cNvPicPr>
          <p:nvPr userDrawn="1"/>
        </p:nvPicPr>
        <p:blipFill>
          <a:blip r:embed="rId2"/>
          <a:stretch>
            <a:fillRect/>
          </a:stretch>
        </p:blipFill>
        <p:spPr>
          <a:xfrm>
            <a:off x="464908" y="6506785"/>
            <a:ext cx="1148260" cy="138938"/>
          </a:xfrm>
          <a:prstGeom prst="rect">
            <a:avLst/>
          </a:prstGeom>
        </p:spPr>
      </p:pic>
      <p:sp>
        <p:nvSpPr>
          <p:cNvPr id="29" name="Freeform: Shape 14">
            <a:extLst>
              <a:ext uri="{FF2B5EF4-FFF2-40B4-BE49-F238E27FC236}">
                <a16:creationId xmlns:a16="http://schemas.microsoft.com/office/drawing/2014/main" id="{0784420A-FE57-4EBC-84B4-120A8B6DF4DF}"/>
              </a:ext>
            </a:extLst>
          </p:cNvPr>
          <p:cNvSpPr/>
          <p:nvPr userDrawn="1"/>
        </p:nvSpPr>
        <p:spPr>
          <a:xfrm rot="5400000" flipH="1">
            <a:off x="10650813" y="-6388"/>
            <a:ext cx="1528833" cy="1553542"/>
          </a:xfrm>
          <a:custGeom>
            <a:avLst/>
            <a:gdLst>
              <a:gd name="connsiteX0" fmla="*/ 2051041 w 2051041"/>
              <a:gd name="connsiteY0" fmla="*/ 2080382 h 2084191"/>
              <a:gd name="connsiteX1" fmla="*/ 2051041 w 2051041"/>
              <a:gd name="connsiteY1" fmla="*/ 2083967 h 2084191"/>
              <a:gd name="connsiteX2" fmla="*/ 2047231 w 2051041"/>
              <a:gd name="connsiteY2" fmla="*/ 2084191 h 2084191"/>
              <a:gd name="connsiteX3" fmla="*/ 2045599 w 2051041"/>
              <a:gd name="connsiteY3" fmla="*/ 2081470 h 2084191"/>
              <a:gd name="connsiteX4" fmla="*/ 1478568 w 2051041"/>
              <a:gd name="connsiteY4" fmla="*/ 1997668 h 2084191"/>
              <a:gd name="connsiteX5" fmla="*/ 1484554 w 2051041"/>
              <a:gd name="connsiteY5" fmla="*/ 2004743 h 2084191"/>
              <a:gd name="connsiteX6" fmla="*/ 1478568 w 2051041"/>
              <a:gd name="connsiteY6" fmla="*/ 2009096 h 2084191"/>
              <a:gd name="connsiteX7" fmla="*/ 1473126 w 2051041"/>
              <a:gd name="connsiteY7" fmla="*/ 2003654 h 2084191"/>
              <a:gd name="connsiteX8" fmla="*/ 1478568 w 2051041"/>
              <a:gd name="connsiteY8" fmla="*/ 1997668 h 2084191"/>
              <a:gd name="connsiteX9" fmla="*/ 1641820 w 2051041"/>
              <a:gd name="connsiteY9" fmla="*/ 1993859 h 2084191"/>
              <a:gd name="connsiteX10" fmla="*/ 1652160 w 2051041"/>
              <a:gd name="connsiteY10" fmla="*/ 2003654 h 2084191"/>
              <a:gd name="connsiteX11" fmla="*/ 1641820 w 2051041"/>
              <a:gd name="connsiteY11" fmla="*/ 2013449 h 2084191"/>
              <a:gd name="connsiteX12" fmla="*/ 1632025 w 2051041"/>
              <a:gd name="connsiteY12" fmla="*/ 2003654 h 2084191"/>
              <a:gd name="connsiteX13" fmla="*/ 1641820 w 2051041"/>
              <a:gd name="connsiteY13" fmla="*/ 1993859 h 2084191"/>
              <a:gd name="connsiteX14" fmla="*/ 1969414 w 2051041"/>
              <a:gd name="connsiteY14" fmla="*/ 1992226 h 2084191"/>
              <a:gd name="connsiteX15" fmla="*/ 1979753 w 2051041"/>
              <a:gd name="connsiteY15" fmla="*/ 2003654 h 2084191"/>
              <a:gd name="connsiteX16" fmla="*/ 1968325 w 2051041"/>
              <a:gd name="connsiteY16" fmla="*/ 2014537 h 2084191"/>
              <a:gd name="connsiteX17" fmla="*/ 1957986 w 2051041"/>
              <a:gd name="connsiteY17" fmla="*/ 2003110 h 2084191"/>
              <a:gd name="connsiteX18" fmla="*/ 1969414 w 2051041"/>
              <a:gd name="connsiteY18" fmla="*/ 1992226 h 2084191"/>
              <a:gd name="connsiteX19" fmla="*/ 1805073 w 2051041"/>
              <a:gd name="connsiteY19" fmla="*/ 1992226 h 2084191"/>
              <a:gd name="connsiteX20" fmla="*/ 1815956 w 2051041"/>
              <a:gd name="connsiteY20" fmla="*/ 2002565 h 2084191"/>
              <a:gd name="connsiteX21" fmla="*/ 1805073 w 2051041"/>
              <a:gd name="connsiteY21" fmla="*/ 2014537 h 2084191"/>
              <a:gd name="connsiteX22" fmla="*/ 1794189 w 2051041"/>
              <a:gd name="connsiteY22" fmla="*/ 2004198 h 2084191"/>
              <a:gd name="connsiteX23" fmla="*/ 1805073 w 2051041"/>
              <a:gd name="connsiteY23" fmla="*/ 1992226 h 2084191"/>
              <a:gd name="connsiteX24" fmla="*/ 1234233 w 2051041"/>
              <a:gd name="connsiteY24" fmla="*/ 1916042 h 2084191"/>
              <a:gd name="connsiteX25" fmla="*/ 1240219 w 2051041"/>
              <a:gd name="connsiteY25" fmla="*/ 1923660 h 2084191"/>
              <a:gd name="connsiteX26" fmla="*/ 1236953 w 2051041"/>
              <a:gd name="connsiteY26" fmla="*/ 1926381 h 2084191"/>
              <a:gd name="connsiteX27" fmla="*/ 1229335 w 2051041"/>
              <a:gd name="connsiteY27" fmla="*/ 1918762 h 2084191"/>
              <a:gd name="connsiteX28" fmla="*/ 1234233 w 2051041"/>
              <a:gd name="connsiteY28" fmla="*/ 1916042 h 2084191"/>
              <a:gd name="connsiteX29" fmla="*/ 1397486 w 2051041"/>
              <a:gd name="connsiteY29" fmla="*/ 1911144 h 2084191"/>
              <a:gd name="connsiteX30" fmla="*/ 1408369 w 2051041"/>
              <a:gd name="connsiteY30" fmla="*/ 1921483 h 2084191"/>
              <a:gd name="connsiteX31" fmla="*/ 1399118 w 2051041"/>
              <a:gd name="connsiteY31" fmla="*/ 1931823 h 2084191"/>
              <a:gd name="connsiteX32" fmla="*/ 1387146 w 2051041"/>
              <a:gd name="connsiteY32" fmla="*/ 1922028 h 2084191"/>
              <a:gd name="connsiteX33" fmla="*/ 1397486 w 2051041"/>
              <a:gd name="connsiteY33" fmla="*/ 1911144 h 2084191"/>
              <a:gd name="connsiteX34" fmla="*/ 1560194 w 2051041"/>
              <a:gd name="connsiteY34" fmla="*/ 1906790 h 2084191"/>
              <a:gd name="connsiteX35" fmla="*/ 1574342 w 2051041"/>
              <a:gd name="connsiteY35" fmla="*/ 1921482 h 2084191"/>
              <a:gd name="connsiteX36" fmla="*/ 1560738 w 2051041"/>
              <a:gd name="connsiteY36" fmla="*/ 1935631 h 2084191"/>
              <a:gd name="connsiteX37" fmla="*/ 1547134 w 2051041"/>
              <a:gd name="connsiteY37" fmla="*/ 1922027 h 2084191"/>
              <a:gd name="connsiteX38" fmla="*/ 1560194 w 2051041"/>
              <a:gd name="connsiteY38" fmla="*/ 1906790 h 2084191"/>
              <a:gd name="connsiteX39" fmla="*/ 2049952 w 2051041"/>
              <a:gd name="connsiteY39" fmla="*/ 1905702 h 2084191"/>
              <a:gd name="connsiteX40" fmla="*/ 2051041 w 2051041"/>
              <a:gd name="connsiteY40" fmla="*/ 1906027 h 2084191"/>
              <a:gd name="connsiteX41" fmla="*/ 2051041 w 2051041"/>
              <a:gd name="connsiteY41" fmla="*/ 1938133 h 2084191"/>
              <a:gd name="connsiteX42" fmla="*/ 2050496 w 2051041"/>
              <a:gd name="connsiteY42" fmla="*/ 1938353 h 2084191"/>
              <a:gd name="connsiteX43" fmla="*/ 2034171 w 2051041"/>
              <a:gd name="connsiteY43" fmla="*/ 1922572 h 2084191"/>
              <a:gd name="connsiteX44" fmla="*/ 2049952 w 2051041"/>
              <a:gd name="connsiteY44" fmla="*/ 1905702 h 2084191"/>
              <a:gd name="connsiteX45" fmla="*/ 1723447 w 2051041"/>
              <a:gd name="connsiteY45" fmla="*/ 1905702 h 2084191"/>
              <a:gd name="connsiteX46" fmla="*/ 1739772 w 2051041"/>
              <a:gd name="connsiteY46" fmla="*/ 1920939 h 2084191"/>
              <a:gd name="connsiteX47" fmla="*/ 1724535 w 2051041"/>
              <a:gd name="connsiteY47" fmla="*/ 1937264 h 2084191"/>
              <a:gd name="connsiteX48" fmla="*/ 1708210 w 2051041"/>
              <a:gd name="connsiteY48" fmla="*/ 1922027 h 2084191"/>
              <a:gd name="connsiteX49" fmla="*/ 1723447 w 2051041"/>
              <a:gd name="connsiteY49" fmla="*/ 1905702 h 2084191"/>
              <a:gd name="connsiteX50" fmla="*/ 1887787 w 2051041"/>
              <a:gd name="connsiteY50" fmla="*/ 1905158 h 2084191"/>
              <a:gd name="connsiteX51" fmla="*/ 1904113 w 2051041"/>
              <a:gd name="connsiteY51" fmla="*/ 1922028 h 2084191"/>
              <a:gd name="connsiteX52" fmla="*/ 1886699 w 2051041"/>
              <a:gd name="connsiteY52" fmla="*/ 1937809 h 2084191"/>
              <a:gd name="connsiteX53" fmla="*/ 1870918 w 2051041"/>
              <a:gd name="connsiteY53" fmla="*/ 1921483 h 2084191"/>
              <a:gd name="connsiteX54" fmla="*/ 1887787 w 2051041"/>
              <a:gd name="connsiteY54" fmla="*/ 1905158 h 2084191"/>
              <a:gd name="connsiteX55" fmla="*/ 1152606 w 2051041"/>
              <a:gd name="connsiteY55" fmla="*/ 1831693 h 2084191"/>
              <a:gd name="connsiteX56" fmla="*/ 1161313 w 2051041"/>
              <a:gd name="connsiteY56" fmla="*/ 1839312 h 2084191"/>
              <a:gd name="connsiteX57" fmla="*/ 1153694 w 2051041"/>
              <a:gd name="connsiteY57" fmla="*/ 1852916 h 2084191"/>
              <a:gd name="connsiteX58" fmla="*/ 1144988 w 2051041"/>
              <a:gd name="connsiteY58" fmla="*/ 1841489 h 2084191"/>
              <a:gd name="connsiteX59" fmla="*/ 1152606 w 2051041"/>
              <a:gd name="connsiteY59" fmla="*/ 1831693 h 2084191"/>
              <a:gd name="connsiteX60" fmla="*/ 1315315 w 2051041"/>
              <a:gd name="connsiteY60" fmla="*/ 1825708 h 2084191"/>
              <a:gd name="connsiteX61" fmla="*/ 1330552 w 2051041"/>
              <a:gd name="connsiteY61" fmla="*/ 1840401 h 2084191"/>
              <a:gd name="connsiteX62" fmla="*/ 1316404 w 2051041"/>
              <a:gd name="connsiteY62" fmla="*/ 1854549 h 2084191"/>
              <a:gd name="connsiteX63" fmla="*/ 1301711 w 2051041"/>
              <a:gd name="connsiteY63" fmla="*/ 1840945 h 2084191"/>
              <a:gd name="connsiteX64" fmla="*/ 1315315 w 2051041"/>
              <a:gd name="connsiteY64" fmla="*/ 1825708 h 2084191"/>
              <a:gd name="connsiteX65" fmla="*/ 1479656 w 2051041"/>
              <a:gd name="connsiteY65" fmla="*/ 1822987 h 2084191"/>
              <a:gd name="connsiteX66" fmla="*/ 1495981 w 2051041"/>
              <a:gd name="connsiteY66" fmla="*/ 1840401 h 2084191"/>
              <a:gd name="connsiteX67" fmla="*/ 1478567 w 2051041"/>
              <a:gd name="connsiteY67" fmla="*/ 1856182 h 2084191"/>
              <a:gd name="connsiteX68" fmla="*/ 1462242 w 2051041"/>
              <a:gd name="connsiteY68" fmla="*/ 1839312 h 2084191"/>
              <a:gd name="connsiteX69" fmla="*/ 1479656 w 2051041"/>
              <a:gd name="connsiteY69" fmla="*/ 1822987 h 2084191"/>
              <a:gd name="connsiteX70" fmla="*/ 1642365 w 2051041"/>
              <a:gd name="connsiteY70" fmla="*/ 1821355 h 2084191"/>
              <a:gd name="connsiteX71" fmla="*/ 1660867 w 2051041"/>
              <a:gd name="connsiteY71" fmla="*/ 1840401 h 2084191"/>
              <a:gd name="connsiteX72" fmla="*/ 1642365 w 2051041"/>
              <a:gd name="connsiteY72" fmla="*/ 1857270 h 2084191"/>
              <a:gd name="connsiteX73" fmla="*/ 1624407 w 2051041"/>
              <a:gd name="connsiteY73" fmla="*/ 1839857 h 2084191"/>
              <a:gd name="connsiteX74" fmla="*/ 1642365 w 2051041"/>
              <a:gd name="connsiteY74" fmla="*/ 1821355 h 2084191"/>
              <a:gd name="connsiteX75" fmla="*/ 1806162 w 2051041"/>
              <a:gd name="connsiteY75" fmla="*/ 1819723 h 2084191"/>
              <a:gd name="connsiteX76" fmla="*/ 1826840 w 2051041"/>
              <a:gd name="connsiteY76" fmla="*/ 1840945 h 2084191"/>
              <a:gd name="connsiteX77" fmla="*/ 1804529 w 2051041"/>
              <a:gd name="connsiteY77" fmla="*/ 1861080 h 2084191"/>
              <a:gd name="connsiteX78" fmla="*/ 1784395 w 2051041"/>
              <a:gd name="connsiteY78" fmla="*/ 1839313 h 2084191"/>
              <a:gd name="connsiteX79" fmla="*/ 1806162 w 2051041"/>
              <a:gd name="connsiteY79" fmla="*/ 1819723 h 2084191"/>
              <a:gd name="connsiteX80" fmla="*/ 1968870 w 2051041"/>
              <a:gd name="connsiteY80" fmla="*/ 1819178 h 2084191"/>
              <a:gd name="connsiteX81" fmla="*/ 1990093 w 2051041"/>
              <a:gd name="connsiteY81" fmla="*/ 1840401 h 2084191"/>
              <a:gd name="connsiteX82" fmla="*/ 1968870 w 2051041"/>
              <a:gd name="connsiteY82" fmla="*/ 1861624 h 2084191"/>
              <a:gd name="connsiteX83" fmla="*/ 1947647 w 2051041"/>
              <a:gd name="connsiteY83" fmla="*/ 1840401 h 2084191"/>
              <a:gd name="connsiteX84" fmla="*/ 1968870 w 2051041"/>
              <a:gd name="connsiteY84" fmla="*/ 1819178 h 2084191"/>
              <a:gd name="connsiteX85" fmla="*/ 1070436 w 2051041"/>
              <a:gd name="connsiteY85" fmla="*/ 1747347 h 2084191"/>
              <a:gd name="connsiteX86" fmla="*/ 1081863 w 2051041"/>
              <a:gd name="connsiteY86" fmla="*/ 1758231 h 2084191"/>
              <a:gd name="connsiteX87" fmla="*/ 1070980 w 2051041"/>
              <a:gd name="connsiteY87" fmla="*/ 1769658 h 2084191"/>
              <a:gd name="connsiteX88" fmla="*/ 1059552 w 2051041"/>
              <a:gd name="connsiteY88" fmla="*/ 1758775 h 2084191"/>
              <a:gd name="connsiteX89" fmla="*/ 1070436 w 2051041"/>
              <a:gd name="connsiteY89" fmla="*/ 1747347 h 2084191"/>
              <a:gd name="connsiteX90" fmla="*/ 1233688 w 2051041"/>
              <a:gd name="connsiteY90" fmla="*/ 1742449 h 2084191"/>
              <a:gd name="connsiteX91" fmla="*/ 1250558 w 2051041"/>
              <a:gd name="connsiteY91" fmla="*/ 1758774 h 2084191"/>
              <a:gd name="connsiteX92" fmla="*/ 1233688 w 2051041"/>
              <a:gd name="connsiteY92" fmla="*/ 1775099 h 2084191"/>
              <a:gd name="connsiteX93" fmla="*/ 1217907 w 2051041"/>
              <a:gd name="connsiteY93" fmla="*/ 1759318 h 2084191"/>
              <a:gd name="connsiteX94" fmla="*/ 1233688 w 2051041"/>
              <a:gd name="connsiteY94" fmla="*/ 1742449 h 2084191"/>
              <a:gd name="connsiteX95" fmla="*/ 1399662 w 2051041"/>
              <a:gd name="connsiteY95" fmla="*/ 1739728 h 2084191"/>
              <a:gd name="connsiteX96" fmla="*/ 1417076 w 2051041"/>
              <a:gd name="connsiteY96" fmla="*/ 1760407 h 2084191"/>
              <a:gd name="connsiteX97" fmla="*/ 1396941 w 2051041"/>
              <a:gd name="connsiteY97" fmla="*/ 1779453 h 2084191"/>
              <a:gd name="connsiteX98" fmla="*/ 1377895 w 2051041"/>
              <a:gd name="connsiteY98" fmla="*/ 1757686 h 2084191"/>
              <a:gd name="connsiteX99" fmla="*/ 1399662 w 2051041"/>
              <a:gd name="connsiteY99" fmla="*/ 1739728 h 2084191"/>
              <a:gd name="connsiteX100" fmla="*/ 1723991 w 2051041"/>
              <a:gd name="connsiteY100" fmla="*/ 1735919 h 2084191"/>
              <a:gd name="connsiteX101" fmla="*/ 1746847 w 2051041"/>
              <a:gd name="connsiteY101" fmla="*/ 1758774 h 2084191"/>
              <a:gd name="connsiteX102" fmla="*/ 1723991 w 2051041"/>
              <a:gd name="connsiteY102" fmla="*/ 1781086 h 2084191"/>
              <a:gd name="connsiteX103" fmla="*/ 1701680 w 2051041"/>
              <a:gd name="connsiteY103" fmla="*/ 1758774 h 2084191"/>
              <a:gd name="connsiteX104" fmla="*/ 1723991 w 2051041"/>
              <a:gd name="connsiteY104" fmla="*/ 1735919 h 2084191"/>
              <a:gd name="connsiteX105" fmla="*/ 1560194 w 2051041"/>
              <a:gd name="connsiteY105" fmla="*/ 1735919 h 2084191"/>
              <a:gd name="connsiteX106" fmla="*/ 1582505 w 2051041"/>
              <a:gd name="connsiteY106" fmla="*/ 1758230 h 2084191"/>
              <a:gd name="connsiteX107" fmla="*/ 1560738 w 2051041"/>
              <a:gd name="connsiteY107" fmla="*/ 1779997 h 2084191"/>
              <a:gd name="connsiteX108" fmla="*/ 1538427 w 2051041"/>
              <a:gd name="connsiteY108" fmla="*/ 1758230 h 2084191"/>
              <a:gd name="connsiteX109" fmla="*/ 1560194 w 2051041"/>
              <a:gd name="connsiteY109" fmla="*/ 1735919 h 2084191"/>
              <a:gd name="connsiteX110" fmla="*/ 2051041 w 2051041"/>
              <a:gd name="connsiteY110" fmla="*/ 1734831 h 2084191"/>
              <a:gd name="connsiteX111" fmla="*/ 2051041 w 2051041"/>
              <a:gd name="connsiteY111" fmla="*/ 1781438 h 2084191"/>
              <a:gd name="connsiteX112" fmla="*/ 2050496 w 2051041"/>
              <a:gd name="connsiteY112" fmla="*/ 1781630 h 2084191"/>
              <a:gd name="connsiteX113" fmla="*/ 2027097 w 2051041"/>
              <a:gd name="connsiteY113" fmla="*/ 1758775 h 2084191"/>
              <a:gd name="connsiteX114" fmla="*/ 2051041 w 2051041"/>
              <a:gd name="connsiteY114" fmla="*/ 1734831 h 2084191"/>
              <a:gd name="connsiteX115" fmla="*/ 1887788 w 2051041"/>
              <a:gd name="connsiteY115" fmla="*/ 1734831 h 2084191"/>
              <a:gd name="connsiteX116" fmla="*/ 1910099 w 2051041"/>
              <a:gd name="connsiteY116" fmla="*/ 1758775 h 2084191"/>
              <a:gd name="connsiteX117" fmla="*/ 1886699 w 2051041"/>
              <a:gd name="connsiteY117" fmla="*/ 1781086 h 2084191"/>
              <a:gd name="connsiteX118" fmla="*/ 1863844 w 2051041"/>
              <a:gd name="connsiteY118" fmla="*/ 1757687 h 2084191"/>
              <a:gd name="connsiteX119" fmla="*/ 1887788 w 2051041"/>
              <a:gd name="connsiteY119" fmla="*/ 1734831 h 2084191"/>
              <a:gd name="connsiteX120" fmla="*/ 826100 w 2051041"/>
              <a:gd name="connsiteY120" fmla="*/ 1671706 h 2084191"/>
              <a:gd name="connsiteX121" fmla="*/ 832086 w 2051041"/>
              <a:gd name="connsiteY121" fmla="*/ 1677692 h 2084191"/>
              <a:gd name="connsiteX122" fmla="*/ 825556 w 2051041"/>
              <a:gd name="connsiteY122" fmla="*/ 1683134 h 2084191"/>
              <a:gd name="connsiteX123" fmla="*/ 820658 w 2051041"/>
              <a:gd name="connsiteY123" fmla="*/ 1676603 h 2084191"/>
              <a:gd name="connsiteX124" fmla="*/ 826100 w 2051041"/>
              <a:gd name="connsiteY124" fmla="*/ 1671706 h 2084191"/>
              <a:gd name="connsiteX125" fmla="*/ 989354 w 2051041"/>
              <a:gd name="connsiteY125" fmla="*/ 1661912 h 2084191"/>
              <a:gd name="connsiteX126" fmla="*/ 1004046 w 2051041"/>
              <a:gd name="connsiteY126" fmla="*/ 1676604 h 2084191"/>
              <a:gd name="connsiteX127" fmla="*/ 989354 w 2051041"/>
              <a:gd name="connsiteY127" fmla="*/ 1690209 h 2084191"/>
              <a:gd name="connsiteX128" fmla="*/ 975205 w 2051041"/>
              <a:gd name="connsiteY128" fmla="*/ 1677693 h 2084191"/>
              <a:gd name="connsiteX129" fmla="*/ 989354 w 2051041"/>
              <a:gd name="connsiteY129" fmla="*/ 1661912 h 2084191"/>
              <a:gd name="connsiteX130" fmla="*/ 1153151 w 2051041"/>
              <a:gd name="connsiteY130" fmla="*/ 1659734 h 2084191"/>
              <a:gd name="connsiteX131" fmla="*/ 1170564 w 2051041"/>
              <a:gd name="connsiteY131" fmla="*/ 1677692 h 2084191"/>
              <a:gd name="connsiteX132" fmla="*/ 1152062 w 2051041"/>
              <a:gd name="connsiteY132" fmla="*/ 1694562 h 2084191"/>
              <a:gd name="connsiteX133" fmla="*/ 1135737 w 2051041"/>
              <a:gd name="connsiteY133" fmla="*/ 1677148 h 2084191"/>
              <a:gd name="connsiteX134" fmla="*/ 1153151 w 2051041"/>
              <a:gd name="connsiteY134" fmla="*/ 1659734 h 2084191"/>
              <a:gd name="connsiteX135" fmla="*/ 1315315 w 2051041"/>
              <a:gd name="connsiteY135" fmla="*/ 1655381 h 2084191"/>
              <a:gd name="connsiteX136" fmla="*/ 1337082 w 2051041"/>
              <a:gd name="connsiteY136" fmla="*/ 1676603 h 2084191"/>
              <a:gd name="connsiteX137" fmla="*/ 1315315 w 2051041"/>
              <a:gd name="connsiteY137" fmla="*/ 1698915 h 2084191"/>
              <a:gd name="connsiteX138" fmla="*/ 1294092 w 2051041"/>
              <a:gd name="connsiteY138" fmla="*/ 1677148 h 2084191"/>
              <a:gd name="connsiteX139" fmla="*/ 1315315 w 2051041"/>
              <a:gd name="connsiteY139" fmla="*/ 1655381 h 2084191"/>
              <a:gd name="connsiteX140" fmla="*/ 1479111 w 2051041"/>
              <a:gd name="connsiteY140" fmla="*/ 1654293 h 2084191"/>
              <a:gd name="connsiteX141" fmla="*/ 1501967 w 2051041"/>
              <a:gd name="connsiteY141" fmla="*/ 1677692 h 2084191"/>
              <a:gd name="connsiteX142" fmla="*/ 1479111 w 2051041"/>
              <a:gd name="connsiteY142" fmla="*/ 1700548 h 2084191"/>
              <a:gd name="connsiteX143" fmla="*/ 1455712 w 2051041"/>
              <a:gd name="connsiteY143" fmla="*/ 1676604 h 2084191"/>
              <a:gd name="connsiteX144" fmla="*/ 1479111 w 2051041"/>
              <a:gd name="connsiteY144" fmla="*/ 1654293 h 2084191"/>
              <a:gd name="connsiteX145" fmla="*/ 1643452 w 2051041"/>
              <a:gd name="connsiteY145" fmla="*/ 1650483 h 2084191"/>
              <a:gd name="connsiteX146" fmla="*/ 1668484 w 2051041"/>
              <a:gd name="connsiteY146" fmla="*/ 1676603 h 2084191"/>
              <a:gd name="connsiteX147" fmla="*/ 1643452 w 2051041"/>
              <a:gd name="connsiteY147" fmla="*/ 1703268 h 2084191"/>
              <a:gd name="connsiteX148" fmla="*/ 1617332 w 2051041"/>
              <a:gd name="connsiteY148" fmla="*/ 1677692 h 2084191"/>
              <a:gd name="connsiteX149" fmla="*/ 1643452 w 2051041"/>
              <a:gd name="connsiteY149" fmla="*/ 1650483 h 2084191"/>
              <a:gd name="connsiteX150" fmla="*/ 1968326 w 2051041"/>
              <a:gd name="connsiteY150" fmla="*/ 1649940 h 2084191"/>
              <a:gd name="connsiteX151" fmla="*/ 1995535 w 2051041"/>
              <a:gd name="connsiteY151" fmla="*/ 1676604 h 2084191"/>
              <a:gd name="connsiteX152" fmla="*/ 1968870 w 2051041"/>
              <a:gd name="connsiteY152" fmla="*/ 1704357 h 2084191"/>
              <a:gd name="connsiteX153" fmla="*/ 1941661 w 2051041"/>
              <a:gd name="connsiteY153" fmla="*/ 1677148 h 2084191"/>
              <a:gd name="connsiteX154" fmla="*/ 1968326 w 2051041"/>
              <a:gd name="connsiteY154" fmla="*/ 1649940 h 2084191"/>
              <a:gd name="connsiteX155" fmla="*/ 1805617 w 2051041"/>
              <a:gd name="connsiteY155" fmla="*/ 1649939 h 2084191"/>
              <a:gd name="connsiteX156" fmla="*/ 1832826 w 2051041"/>
              <a:gd name="connsiteY156" fmla="*/ 1677148 h 2084191"/>
              <a:gd name="connsiteX157" fmla="*/ 1805073 w 2051041"/>
              <a:gd name="connsiteY157" fmla="*/ 1704357 h 2084191"/>
              <a:gd name="connsiteX158" fmla="*/ 1778409 w 2051041"/>
              <a:gd name="connsiteY158" fmla="*/ 1677148 h 2084191"/>
              <a:gd name="connsiteX159" fmla="*/ 1805617 w 2051041"/>
              <a:gd name="connsiteY159" fmla="*/ 1649939 h 2084191"/>
              <a:gd name="connsiteX160" fmla="*/ 744474 w 2051041"/>
              <a:gd name="connsiteY160" fmla="*/ 1588992 h 2084191"/>
              <a:gd name="connsiteX161" fmla="*/ 751004 w 2051041"/>
              <a:gd name="connsiteY161" fmla="*/ 1594978 h 2084191"/>
              <a:gd name="connsiteX162" fmla="*/ 745562 w 2051041"/>
              <a:gd name="connsiteY162" fmla="*/ 1602052 h 2084191"/>
              <a:gd name="connsiteX163" fmla="*/ 738488 w 2051041"/>
              <a:gd name="connsiteY163" fmla="*/ 1594978 h 2084191"/>
              <a:gd name="connsiteX164" fmla="*/ 744474 w 2051041"/>
              <a:gd name="connsiteY164" fmla="*/ 1588992 h 2084191"/>
              <a:gd name="connsiteX165" fmla="*/ 907183 w 2051041"/>
              <a:gd name="connsiteY165" fmla="*/ 1579741 h 2084191"/>
              <a:gd name="connsiteX166" fmla="*/ 923508 w 2051041"/>
              <a:gd name="connsiteY166" fmla="*/ 1594978 h 2084191"/>
              <a:gd name="connsiteX167" fmla="*/ 908815 w 2051041"/>
              <a:gd name="connsiteY167" fmla="*/ 1610759 h 2084191"/>
              <a:gd name="connsiteX168" fmla="*/ 892490 w 2051041"/>
              <a:gd name="connsiteY168" fmla="*/ 1595522 h 2084191"/>
              <a:gd name="connsiteX169" fmla="*/ 907183 w 2051041"/>
              <a:gd name="connsiteY169" fmla="*/ 1579741 h 2084191"/>
              <a:gd name="connsiteX170" fmla="*/ 1071524 w 2051041"/>
              <a:gd name="connsiteY170" fmla="*/ 1574843 h 2084191"/>
              <a:gd name="connsiteX171" fmla="*/ 1091114 w 2051041"/>
              <a:gd name="connsiteY171" fmla="*/ 1595522 h 2084191"/>
              <a:gd name="connsiteX172" fmla="*/ 1070980 w 2051041"/>
              <a:gd name="connsiteY172" fmla="*/ 1615656 h 2084191"/>
              <a:gd name="connsiteX173" fmla="*/ 1050301 w 2051041"/>
              <a:gd name="connsiteY173" fmla="*/ 1595522 h 2084191"/>
              <a:gd name="connsiteX174" fmla="*/ 1071524 w 2051041"/>
              <a:gd name="connsiteY174" fmla="*/ 1574843 h 2084191"/>
              <a:gd name="connsiteX175" fmla="*/ 1233688 w 2051041"/>
              <a:gd name="connsiteY175" fmla="*/ 1573210 h 2084191"/>
              <a:gd name="connsiteX176" fmla="*/ 1256544 w 2051041"/>
              <a:gd name="connsiteY176" fmla="*/ 1595522 h 2084191"/>
              <a:gd name="connsiteX177" fmla="*/ 1233688 w 2051041"/>
              <a:gd name="connsiteY177" fmla="*/ 1618377 h 2084191"/>
              <a:gd name="connsiteX178" fmla="*/ 1211377 w 2051041"/>
              <a:gd name="connsiteY178" fmla="*/ 1596610 h 2084191"/>
              <a:gd name="connsiteX179" fmla="*/ 1233688 w 2051041"/>
              <a:gd name="connsiteY179" fmla="*/ 1573210 h 2084191"/>
              <a:gd name="connsiteX180" fmla="*/ 1398030 w 2051041"/>
              <a:gd name="connsiteY180" fmla="*/ 1569402 h 2084191"/>
              <a:gd name="connsiteX181" fmla="*/ 1423062 w 2051041"/>
              <a:gd name="connsiteY181" fmla="*/ 1595522 h 2084191"/>
              <a:gd name="connsiteX182" fmla="*/ 1397485 w 2051041"/>
              <a:gd name="connsiteY182" fmla="*/ 1621099 h 2084191"/>
              <a:gd name="connsiteX183" fmla="*/ 1371365 w 2051041"/>
              <a:gd name="connsiteY183" fmla="*/ 1595522 h 2084191"/>
              <a:gd name="connsiteX184" fmla="*/ 1398030 w 2051041"/>
              <a:gd name="connsiteY184" fmla="*/ 1569402 h 2084191"/>
              <a:gd name="connsiteX185" fmla="*/ 1560194 w 2051041"/>
              <a:gd name="connsiteY185" fmla="*/ 1568313 h 2084191"/>
              <a:gd name="connsiteX186" fmla="*/ 1587947 w 2051041"/>
              <a:gd name="connsiteY186" fmla="*/ 1594433 h 2084191"/>
              <a:gd name="connsiteX187" fmla="*/ 1560194 w 2051041"/>
              <a:gd name="connsiteY187" fmla="*/ 1622730 h 2084191"/>
              <a:gd name="connsiteX188" fmla="*/ 1532985 w 2051041"/>
              <a:gd name="connsiteY188" fmla="*/ 1594977 h 2084191"/>
              <a:gd name="connsiteX189" fmla="*/ 1560194 w 2051041"/>
              <a:gd name="connsiteY189" fmla="*/ 1568313 h 2084191"/>
              <a:gd name="connsiteX190" fmla="*/ 1887244 w 2051041"/>
              <a:gd name="connsiteY190" fmla="*/ 1567225 h 2084191"/>
              <a:gd name="connsiteX191" fmla="*/ 1915541 w 2051041"/>
              <a:gd name="connsiteY191" fmla="*/ 1594978 h 2084191"/>
              <a:gd name="connsiteX192" fmla="*/ 1886699 w 2051041"/>
              <a:gd name="connsiteY192" fmla="*/ 1623819 h 2084191"/>
              <a:gd name="connsiteX193" fmla="*/ 1858947 w 2051041"/>
              <a:gd name="connsiteY193" fmla="*/ 1594978 h 2084191"/>
              <a:gd name="connsiteX194" fmla="*/ 1887244 w 2051041"/>
              <a:gd name="connsiteY194" fmla="*/ 1567225 h 2084191"/>
              <a:gd name="connsiteX195" fmla="*/ 1724535 w 2051041"/>
              <a:gd name="connsiteY195" fmla="*/ 1567225 h 2084191"/>
              <a:gd name="connsiteX196" fmla="*/ 1752288 w 2051041"/>
              <a:gd name="connsiteY196" fmla="*/ 1594978 h 2084191"/>
              <a:gd name="connsiteX197" fmla="*/ 1724535 w 2051041"/>
              <a:gd name="connsiteY197" fmla="*/ 1623275 h 2084191"/>
              <a:gd name="connsiteX198" fmla="*/ 1696238 w 2051041"/>
              <a:gd name="connsiteY198" fmla="*/ 1594978 h 2084191"/>
              <a:gd name="connsiteX199" fmla="*/ 1724535 w 2051041"/>
              <a:gd name="connsiteY199" fmla="*/ 1567225 h 2084191"/>
              <a:gd name="connsiteX200" fmla="*/ 2050496 w 2051041"/>
              <a:gd name="connsiteY200" fmla="*/ 1566680 h 2084191"/>
              <a:gd name="connsiteX201" fmla="*/ 2051041 w 2051041"/>
              <a:gd name="connsiteY201" fmla="*/ 1566888 h 2084191"/>
              <a:gd name="connsiteX202" fmla="*/ 2051041 w 2051041"/>
              <a:gd name="connsiteY202" fmla="*/ 1623794 h 2084191"/>
              <a:gd name="connsiteX203" fmla="*/ 2049408 w 2051041"/>
              <a:gd name="connsiteY203" fmla="*/ 1624363 h 2084191"/>
              <a:gd name="connsiteX204" fmla="*/ 2021655 w 2051041"/>
              <a:gd name="connsiteY204" fmla="*/ 1594977 h 2084191"/>
              <a:gd name="connsiteX205" fmla="*/ 2050496 w 2051041"/>
              <a:gd name="connsiteY205" fmla="*/ 1566680 h 2084191"/>
              <a:gd name="connsiteX206" fmla="*/ 663392 w 2051041"/>
              <a:gd name="connsiteY206" fmla="*/ 1505188 h 2084191"/>
              <a:gd name="connsiteX207" fmla="*/ 674819 w 2051041"/>
              <a:gd name="connsiteY207" fmla="*/ 1513895 h 2084191"/>
              <a:gd name="connsiteX208" fmla="*/ 662848 w 2051041"/>
              <a:gd name="connsiteY208" fmla="*/ 1522058 h 2084191"/>
              <a:gd name="connsiteX209" fmla="*/ 654685 w 2051041"/>
              <a:gd name="connsiteY209" fmla="*/ 1513351 h 2084191"/>
              <a:gd name="connsiteX210" fmla="*/ 663392 w 2051041"/>
              <a:gd name="connsiteY210" fmla="*/ 1505188 h 2084191"/>
              <a:gd name="connsiteX211" fmla="*/ 826101 w 2051041"/>
              <a:gd name="connsiteY211" fmla="*/ 1497570 h 2084191"/>
              <a:gd name="connsiteX212" fmla="*/ 842970 w 2051041"/>
              <a:gd name="connsiteY212" fmla="*/ 1513351 h 2084191"/>
              <a:gd name="connsiteX213" fmla="*/ 826645 w 2051041"/>
              <a:gd name="connsiteY213" fmla="*/ 1529676 h 2084191"/>
              <a:gd name="connsiteX214" fmla="*/ 810319 w 2051041"/>
              <a:gd name="connsiteY214" fmla="*/ 1514983 h 2084191"/>
              <a:gd name="connsiteX215" fmla="*/ 826101 w 2051041"/>
              <a:gd name="connsiteY215" fmla="*/ 1497570 h 2084191"/>
              <a:gd name="connsiteX216" fmla="*/ 988265 w 2051041"/>
              <a:gd name="connsiteY216" fmla="*/ 1492128 h 2084191"/>
              <a:gd name="connsiteX217" fmla="*/ 1010577 w 2051041"/>
              <a:gd name="connsiteY217" fmla="*/ 1513351 h 2084191"/>
              <a:gd name="connsiteX218" fmla="*/ 989354 w 2051041"/>
              <a:gd name="connsiteY218" fmla="*/ 1534574 h 2084191"/>
              <a:gd name="connsiteX219" fmla="*/ 968131 w 2051041"/>
              <a:gd name="connsiteY219" fmla="*/ 1513895 h 2084191"/>
              <a:gd name="connsiteX220" fmla="*/ 988265 w 2051041"/>
              <a:gd name="connsiteY220" fmla="*/ 1492128 h 2084191"/>
              <a:gd name="connsiteX221" fmla="*/ 1152606 w 2051041"/>
              <a:gd name="connsiteY221" fmla="*/ 1490496 h 2084191"/>
              <a:gd name="connsiteX222" fmla="*/ 1176006 w 2051041"/>
              <a:gd name="connsiteY222" fmla="*/ 1513351 h 2084191"/>
              <a:gd name="connsiteX223" fmla="*/ 1152606 w 2051041"/>
              <a:gd name="connsiteY223" fmla="*/ 1537839 h 2084191"/>
              <a:gd name="connsiteX224" fmla="*/ 1129207 w 2051041"/>
              <a:gd name="connsiteY224" fmla="*/ 1514984 h 2084191"/>
              <a:gd name="connsiteX225" fmla="*/ 1152606 w 2051041"/>
              <a:gd name="connsiteY225" fmla="*/ 1490496 h 2084191"/>
              <a:gd name="connsiteX226" fmla="*/ 1316403 w 2051041"/>
              <a:gd name="connsiteY226" fmla="*/ 1487231 h 2084191"/>
              <a:gd name="connsiteX227" fmla="*/ 1342523 w 2051041"/>
              <a:gd name="connsiteY227" fmla="*/ 1513896 h 2084191"/>
              <a:gd name="connsiteX228" fmla="*/ 1315314 w 2051041"/>
              <a:gd name="connsiteY228" fmla="*/ 1540560 h 2084191"/>
              <a:gd name="connsiteX229" fmla="*/ 1288650 w 2051041"/>
              <a:gd name="connsiteY229" fmla="*/ 1513896 h 2084191"/>
              <a:gd name="connsiteX230" fmla="*/ 1316403 w 2051041"/>
              <a:gd name="connsiteY230" fmla="*/ 1487231 h 2084191"/>
              <a:gd name="connsiteX231" fmla="*/ 1479656 w 2051041"/>
              <a:gd name="connsiteY231" fmla="*/ 1485054 h 2084191"/>
              <a:gd name="connsiteX232" fmla="*/ 1507409 w 2051041"/>
              <a:gd name="connsiteY232" fmla="*/ 1513895 h 2084191"/>
              <a:gd name="connsiteX233" fmla="*/ 1479112 w 2051041"/>
              <a:gd name="connsiteY233" fmla="*/ 1541648 h 2084191"/>
              <a:gd name="connsiteX234" fmla="*/ 1451359 w 2051041"/>
              <a:gd name="connsiteY234" fmla="*/ 1513351 h 2084191"/>
              <a:gd name="connsiteX235" fmla="*/ 1479656 w 2051041"/>
              <a:gd name="connsiteY235" fmla="*/ 1485054 h 2084191"/>
              <a:gd name="connsiteX236" fmla="*/ 1641820 w 2051041"/>
              <a:gd name="connsiteY236" fmla="*/ 1482334 h 2084191"/>
              <a:gd name="connsiteX237" fmla="*/ 1673382 w 2051041"/>
              <a:gd name="connsiteY237" fmla="*/ 1512807 h 2084191"/>
              <a:gd name="connsiteX238" fmla="*/ 1642909 w 2051041"/>
              <a:gd name="connsiteY238" fmla="*/ 1544370 h 2084191"/>
              <a:gd name="connsiteX239" fmla="*/ 1612435 w 2051041"/>
              <a:gd name="connsiteY239" fmla="*/ 1513351 h 2084191"/>
              <a:gd name="connsiteX240" fmla="*/ 1641820 w 2051041"/>
              <a:gd name="connsiteY240" fmla="*/ 1482334 h 2084191"/>
              <a:gd name="connsiteX241" fmla="*/ 1804529 w 2051041"/>
              <a:gd name="connsiteY241" fmla="*/ 1481788 h 2084191"/>
              <a:gd name="connsiteX242" fmla="*/ 1837180 w 2051041"/>
              <a:gd name="connsiteY242" fmla="*/ 1513351 h 2084191"/>
              <a:gd name="connsiteX243" fmla="*/ 1805617 w 2051041"/>
              <a:gd name="connsiteY243" fmla="*/ 1545457 h 2084191"/>
              <a:gd name="connsiteX244" fmla="*/ 1773511 w 2051041"/>
              <a:gd name="connsiteY244" fmla="*/ 1514983 h 2084191"/>
              <a:gd name="connsiteX245" fmla="*/ 1804529 w 2051041"/>
              <a:gd name="connsiteY245" fmla="*/ 1481788 h 2084191"/>
              <a:gd name="connsiteX246" fmla="*/ 1968870 w 2051041"/>
              <a:gd name="connsiteY246" fmla="*/ 1480700 h 2084191"/>
              <a:gd name="connsiteX247" fmla="*/ 2000977 w 2051041"/>
              <a:gd name="connsiteY247" fmla="*/ 1513351 h 2084191"/>
              <a:gd name="connsiteX248" fmla="*/ 1968870 w 2051041"/>
              <a:gd name="connsiteY248" fmla="*/ 1545457 h 2084191"/>
              <a:gd name="connsiteX249" fmla="*/ 1936764 w 2051041"/>
              <a:gd name="connsiteY249" fmla="*/ 1513351 h 2084191"/>
              <a:gd name="connsiteX250" fmla="*/ 1968870 w 2051041"/>
              <a:gd name="connsiteY250" fmla="*/ 1480700 h 2084191"/>
              <a:gd name="connsiteX251" fmla="*/ 581221 w 2051041"/>
              <a:gd name="connsiteY251" fmla="*/ 1423562 h 2084191"/>
              <a:gd name="connsiteX252" fmla="*/ 588840 w 2051041"/>
              <a:gd name="connsiteY252" fmla="*/ 1431725 h 2084191"/>
              <a:gd name="connsiteX253" fmla="*/ 581765 w 2051041"/>
              <a:gd name="connsiteY253" fmla="*/ 1443153 h 2084191"/>
              <a:gd name="connsiteX254" fmla="*/ 573059 w 2051041"/>
              <a:gd name="connsiteY254" fmla="*/ 1432813 h 2084191"/>
              <a:gd name="connsiteX255" fmla="*/ 581221 w 2051041"/>
              <a:gd name="connsiteY255" fmla="*/ 1423562 h 2084191"/>
              <a:gd name="connsiteX256" fmla="*/ 745562 w 2051041"/>
              <a:gd name="connsiteY256" fmla="*/ 1414855 h 2084191"/>
              <a:gd name="connsiteX257" fmla="*/ 761344 w 2051041"/>
              <a:gd name="connsiteY257" fmla="*/ 1432269 h 2084191"/>
              <a:gd name="connsiteX258" fmla="*/ 745018 w 2051041"/>
              <a:gd name="connsiteY258" fmla="*/ 1448050 h 2084191"/>
              <a:gd name="connsiteX259" fmla="*/ 728693 w 2051041"/>
              <a:gd name="connsiteY259" fmla="*/ 1431725 h 2084191"/>
              <a:gd name="connsiteX260" fmla="*/ 745562 w 2051041"/>
              <a:gd name="connsiteY260" fmla="*/ 1414855 h 2084191"/>
              <a:gd name="connsiteX261" fmla="*/ 908815 w 2051041"/>
              <a:gd name="connsiteY261" fmla="*/ 1409958 h 2084191"/>
              <a:gd name="connsiteX262" fmla="*/ 930038 w 2051041"/>
              <a:gd name="connsiteY262" fmla="*/ 1431725 h 2084191"/>
              <a:gd name="connsiteX263" fmla="*/ 907183 w 2051041"/>
              <a:gd name="connsiteY263" fmla="*/ 1453492 h 2084191"/>
              <a:gd name="connsiteX264" fmla="*/ 885960 w 2051041"/>
              <a:gd name="connsiteY264" fmla="*/ 1431725 h 2084191"/>
              <a:gd name="connsiteX265" fmla="*/ 908815 w 2051041"/>
              <a:gd name="connsiteY265" fmla="*/ 1409958 h 2084191"/>
              <a:gd name="connsiteX266" fmla="*/ 1070436 w 2051041"/>
              <a:gd name="connsiteY266" fmla="*/ 1406693 h 2084191"/>
              <a:gd name="connsiteX267" fmla="*/ 1096012 w 2051041"/>
              <a:gd name="connsiteY267" fmla="*/ 1432269 h 2084191"/>
              <a:gd name="connsiteX268" fmla="*/ 1070436 w 2051041"/>
              <a:gd name="connsiteY268" fmla="*/ 1457846 h 2084191"/>
              <a:gd name="connsiteX269" fmla="*/ 1045404 w 2051041"/>
              <a:gd name="connsiteY269" fmla="*/ 1431181 h 2084191"/>
              <a:gd name="connsiteX270" fmla="*/ 1070436 w 2051041"/>
              <a:gd name="connsiteY270" fmla="*/ 1406693 h 2084191"/>
              <a:gd name="connsiteX271" fmla="*/ 1235865 w 2051041"/>
              <a:gd name="connsiteY271" fmla="*/ 1404516 h 2084191"/>
              <a:gd name="connsiteX272" fmla="*/ 1261986 w 2051041"/>
              <a:gd name="connsiteY272" fmla="*/ 1433358 h 2084191"/>
              <a:gd name="connsiteX273" fmla="*/ 1233689 w 2051041"/>
              <a:gd name="connsiteY273" fmla="*/ 1459478 h 2084191"/>
              <a:gd name="connsiteX274" fmla="*/ 1206480 w 2051041"/>
              <a:gd name="connsiteY274" fmla="*/ 1432269 h 2084191"/>
              <a:gd name="connsiteX275" fmla="*/ 1235865 w 2051041"/>
              <a:gd name="connsiteY275" fmla="*/ 1404516 h 2084191"/>
              <a:gd name="connsiteX276" fmla="*/ 1397485 w 2051041"/>
              <a:gd name="connsiteY276" fmla="*/ 1400162 h 2084191"/>
              <a:gd name="connsiteX277" fmla="*/ 1427959 w 2051041"/>
              <a:gd name="connsiteY277" fmla="*/ 1431724 h 2084191"/>
              <a:gd name="connsiteX278" fmla="*/ 1398029 w 2051041"/>
              <a:gd name="connsiteY278" fmla="*/ 1463287 h 2084191"/>
              <a:gd name="connsiteX279" fmla="*/ 1366467 w 2051041"/>
              <a:gd name="connsiteY279" fmla="*/ 1432813 h 2084191"/>
              <a:gd name="connsiteX280" fmla="*/ 1397485 w 2051041"/>
              <a:gd name="connsiteY280" fmla="*/ 1400162 h 2084191"/>
              <a:gd name="connsiteX281" fmla="*/ 1561282 w 2051041"/>
              <a:gd name="connsiteY281" fmla="*/ 1399618 h 2084191"/>
              <a:gd name="connsiteX282" fmla="*/ 1593388 w 2051041"/>
              <a:gd name="connsiteY282" fmla="*/ 1432269 h 2084191"/>
              <a:gd name="connsiteX283" fmla="*/ 1560738 w 2051041"/>
              <a:gd name="connsiteY283" fmla="*/ 1464375 h 2084191"/>
              <a:gd name="connsiteX284" fmla="*/ 1528631 w 2051041"/>
              <a:gd name="connsiteY284" fmla="*/ 1432813 h 2084191"/>
              <a:gd name="connsiteX285" fmla="*/ 1561282 w 2051041"/>
              <a:gd name="connsiteY285" fmla="*/ 1399618 h 2084191"/>
              <a:gd name="connsiteX286" fmla="*/ 1723446 w 2051041"/>
              <a:gd name="connsiteY286" fmla="*/ 1399074 h 2084191"/>
              <a:gd name="connsiteX287" fmla="*/ 1757185 w 2051041"/>
              <a:gd name="connsiteY287" fmla="*/ 1432269 h 2084191"/>
              <a:gd name="connsiteX288" fmla="*/ 1723991 w 2051041"/>
              <a:gd name="connsiteY288" fmla="*/ 1465464 h 2084191"/>
              <a:gd name="connsiteX289" fmla="*/ 1691340 w 2051041"/>
              <a:gd name="connsiteY289" fmla="*/ 1433357 h 2084191"/>
              <a:gd name="connsiteX290" fmla="*/ 1723446 w 2051041"/>
              <a:gd name="connsiteY290" fmla="*/ 1399074 h 2084191"/>
              <a:gd name="connsiteX291" fmla="*/ 1886700 w 2051041"/>
              <a:gd name="connsiteY291" fmla="*/ 1398530 h 2084191"/>
              <a:gd name="connsiteX292" fmla="*/ 1920439 w 2051041"/>
              <a:gd name="connsiteY292" fmla="*/ 1432269 h 2084191"/>
              <a:gd name="connsiteX293" fmla="*/ 1887788 w 2051041"/>
              <a:gd name="connsiteY293" fmla="*/ 1464920 h 2084191"/>
              <a:gd name="connsiteX294" fmla="*/ 1854049 w 2051041"/>
              <a:gd name="connsiteY294" fmla="*/ 1433358 h 2084191"/>
              <a:gd name="connsiteX295" fmla="*/ 1886700 w 2051041"/>
              <a:gd name="connsiteY295" fmla="*/ 1398530 h 2084191"/>
              <a:gd name="connsiteX296" fmla="*/ 2051041 w 2051041"/>
              <a:gd name="connsiteY296" fmla="*/ 1398217 h 2084191"/>
              <a:gd name="connsiteX297" fmla="*/ 2051041 w 2051041"/>
              <a:gd name="connsiteY297" fmla="*/ 1464535 h 2084191"/>
              <a:gd name="connsiteX298" fmla="*/ 2049953 w 2051041"/>
              <a:gd name="connsiteY298" fmla="*/ 1464920 h 2084191"/>
              <a:gd name="connsiteX299" fmla="*/ 2017302 w 2051041"/>
              <a:gd name="connsiteY299" fmla="*/ 1431725 h 2084191"/>
              <a:gd name="connsiteX300" fmla="*/ 2027709 w 2051041"/>
              <a:gd name="connsiteY300" fmla="*/ 1408121 h 2084191"/>
              <a:gd name="connsiteX301" fmla="*/ 500139 w 2051041"/>
              <a:gd name="connsiteY301" fmla="*/ 1341936 h 2084191"/>
              <a:gd name="connsiteX302" fmla="*/ 511023 w 2051041"/>
              <a:gd name="connsiteY302" fmla="*/ 1350643 h 2084191"/>
              <a:gd name="connsiteX303" fmla="*/ 499595 w 2051041"/>
              <a:gd name="connsiteY303" fmla="*/ 1358261 h 2084191"/>
              <a:gd name="connsiteX304" fmla="*/ 491432 w 2051041"/>
              <a:gd name="connsiteY304" fmla="*/ 1349010 h 2084191"/>
              <a:gd name="connsiteX305" fmla="*/ 500139 w 2051041"/>
              <a:gd name="connsiteY305" fmla="*/ 1341936 h 2084191"/>
              <a:gd name="connsiteX306" fmla="*/ 662848 w 2051041"/>
              <a:gd name="connsiteY306" fmla="*/ 1333773 h 2084191"/>
              <a:gd name="connsiteX307" fmla="*/ 679173 w 2051041"/>
              <a:gd name="connsiteY307" fmla="*/ 1350643 h 2084191"/>
              <a:gd name="connsiteX308" fmla="*/ 662848 w 2051041"/>
              <a:gd name="connsiteY308" fmla="*/ 1366424 h 2084191"/>
              <a:gd name="connsiteX309" fmla="*/ 647067 w 2051041"/>
              <a:gd name="connsiteY309" fmla="*/ 1350098 h 2084191"/>
              <a:gd name="connsiteX310" fmla="*/ 662848 w 2051041"/>
              <a:gd name="connsiteY310" fmla="*/ 1333773 h 2084191"/>
              <a:gd name="connsiteX311" fmla="*/ 826645 w 2051041"/>
              <a:gd name="connsiteY311" fmla="*/ 1328331 h 2084191"/>
              <a:gd name="connsiteX312" fmla="*/ 847868 w 2051041"/>
              <a:gd name="connsiteY312" fmla="*/ 1350642 h 2084191"/>
              <a:gd name="connsiteX313" fmla="*/ 825556 w 2051041"/>
              <a:gd name="connsiteY313" fmla="*/ 1372409 h 2084191"/>
              <a:gd name="connsiteX314" fmla="*/ 804334 w 2051041"/>
              <a:gd name="connsiteY314" fmla="*/ 1349554 h 2084191"/>
              <a:gd name="connsiteX315" fmla="*/ 826645 w 2051041"/>
              <a:gd name="connsiteY315" fmla="*/ 1328331 h 2084191"/>
              <a:gd name="connsiteX316" fmla="*/ 989353 w 2051041"/>
              <a:gd name="connsiteY316" fmla="*/ 1323978 h 2084191"/>
              <a:gd name="connsiteX317" fmla="*/ 1015473 w 2051041"/>
              <a:gd name="connsiteY317" fmla="*/ 1350098 h 2084191"/>
              <a:gd name="connsiteX318" fmla="*/ 989353 w 2051041"/>
              <a:gd name="connsiteY318" fmla="*/ 1376763 h 2084191"/>
              <a:gd name="connsiteX319" fmla="*/ 963777 w 2051041"/>
              <a:gd name="connsiteY319" fmla="*/ 1350642 h 2084191"/>
              <a:gd name="connsiteX320" fmla="*/ 989353 w 2051041"/>
              <a:gd name="connsiteY320" fmla="*/ 1323978 h 2084191"/>
              <a:gd name="connsiteX321" fmla="*/ 1152606 w 2051041"/>
              <a:gd name="connsiteY321" fmla="*/ 1322889 h 2084191"/>
              <a:gd name="connsiteX322" fmla="*/ 1181447 w 2051041"/>
              <a:gd name="connsiteY322" fmla="*/ 1350098 h 2084191"/>
              <a:gd name="connsiteX323" fmla="*/ 1152606 w 2051041"/>
              <a:gd name="connsiteY323" fmla="*/ 1379483 h 2084191"/>
              <a:gd name="connsiteX324" fmla="*/ 1124853 w 2051041"/>
              <a:gd name="connsiteY324" fmla="*/ 1350642 h 2084191"/>
              <a:gd name="connsiteX325" fmla="*/ 1152606 w 2051041"/>
              <a:gd name="connsiteY325" fmla="*/ 1322889 h 2084191"/>
              <a:gd name="connsiteX326" fmla="*/ 1315315 w 2051041"/>
              <a:gd name="connsiteY326" fmla="*/ 1318536 h 2084191"/>
              <a:gd name="connsiteX327" fmla="*/ 1347966 w 2051041"/>
              <a:gd name="connsiteY327" fmla="*/ 1350098 h 2084191"/>
              <a:gd name="connsiteX328" fmla="*/ 1315315 w 2051041"/>
              <a:gd name="connsiteY328" fmla="*/ 1381661 h 2084191"/>
              <a:gd name="connsiteX329" fmla="*/ 1284297 w 2051041"/>
              <a:gd name="connsiteY329" fmla="*/ 1350098 h 2084191"/>
              <a:gd name="connsiteX330" fmla="*/ 1315315 w 2051041"/>
              <a:gd name="connsiteY330" fmla="*/ 1318536 h 2084191"/>
              <a:gd name="connsiteX331" fmla="*/ 1480744 w 2051041"/>
              <a:gd name="connsiteY331" fmla="*/ 1317448 h 2084191"/>
              <a:gd name="connsiteX332" fmla="*/ 1512306 w 2051041"/>
              <a:gd name="connsiteY332" fmla="*/ 1351731 h 2084191"/>
              <a:gd name="connsiteX333" fmla="*/ 1477479 w 2051041"/>
              <a:gd name="connsiteY333" fmla="*/ 1383293 h 2084191"/>
              <a:gd name="connsiteX334" fmla="*/ 1446461 w 2051041"/>
              <a:gd name="connsiteY334" fmla="*/ 1349554 h 2084191"/>
              <a:gd name="connsiteX335" fmla="*/ 1480744 w 2051041"/>
              <a:gd name="connsiteY335" fmla="*/ 1317448 h 2084191"/>
              <a:gd name="connsiteX336" fmla="*/ 1642908 w 2051041"/>
              <a:gd name="connsiteY336" fmla="*/ 1315815 h 2084191"/>
              <a:gd name="connsiteX337" fmla="*/ 1676647 w 2051041"/>
              <a:gd name="connsiteY337" fmla="*/ 1351731 h 2084191"/>
              <a:gd name="connsiteX338" fmla="*/ 1640732 w 2051041"/>
              <a:gd name="connsiteY338" fmla="*/ 1383837 h 2084191"/>
              <a:gd name="connsiteX339" fmla="*/ 1608081 w 2051041"/>
              <a:gd name="connsiteY339" fmla="*/ 1349554 h 2084191"/>
              <a:gd name="connsiteX340" fmla="*/ 1642908 w 2051041"/>
              <a:gd name="connsiteY340" fmla="*/ 1315815 h 2084191"/>
              <a:gd name="connsiteX341" fmla="*/ 1968870 w 2051041"/>
              <a:gd name="connsiteY341" fmla="*/ 1314183 h 2084191"/>
              <a:gd name="connsiteX342" fmla="*/ 2005329 w 2051041"/>
              <a:gd name="connsiteY342" fmla="*/ 1351187 h 2084191"/>
              <a:gd name="connsiteX343" fmla="*/ 1967781 w 2051041"/>
              <a:gd name="connsiteY343" fmla="*/ 1388191 h 2084191"/>
              <a:gd name="connsiteX344" fmla="*/ 1931866 w 2051041"/>
              <a:gd name="connsiteY344" fmla="*/ 1350098 h 2084191"/>
              <a:gd name="connsiteX345" fmla="*/ 1968870 w 2051041"/>
              <a:gd name="connsiteY345" fmla="*/ 1314183 h 2084191"/>
              <a:gd name="connsiteX346" fmla="*/ 1806161 w 2051041"/>
              <a:gd name="connsiteY346" fmla="*/ 1313639 h 2084191"/>
              <a:gd name="connsiteX347" fmla="*/ 1841533 w 2051041"/>
              <a:gd name="connsiteY347" fmla="*/ 1351187 h 2084191"/>
              <a:gd name="connsiteX348" fmla="*/ 1830105 w 2051041"/>
              <a:gd name="connsiteY348" fmla="*/ 1376763 h 2084191"/>
              <a:gd name="connsiteX349" fmla="*/ 1803984 w 2051041"/>
              <a:gd name="connsiteY349" fmla="*/ 1387102 h 2084191"/>
              <a:gd name="connsiteX350" fmla="*/ 1768613 w 2051041"/>
              <a:gd name="connsiteY350" fmla="*/ 1350098 h 2084191"/>
              <a:gd name="connsiteX351" fmla="*/ 1806161 w 2051041"/>
              <a:gd name="connsiteY351" fmla="*/ 1313639 h 2084191"/>
              <a:gd name="connsiteX352" fmla="*/ 419057 w 2051041"/>
              <a:gd name="connsiteY352" fmla="*/ 1262486 h 2084191"/>
              <a:gd name="connsiteX353" fmla="*/ 424499 w 2051041"/>
              <a:gd name="connsiteY353" fmla="*/ 1269016 h 2084191"/>
              <a:gd name="connsiteX354" fmla="*/ 417969 w 2051041"/>
              <a:gd name="connsiteY354" fmla="*/ 1278811 h 2084191"/>
              <a:gd name="connsiteX355" fmla="*/ 411983 w 2051041"/>
              <a:gd name="connsiteY355" fmla="*/ 1269016 h 2084191"/>
              <a:gd name="connsiteX356" fmla="*/ 419057 w 2051041"/>
              <a:gd name="connsiteY356" fmla="*/ 1262486 h 2084191"/>
              <a:gd name="connsiteX357" fmla="*/ 581221 w 2051041"/>
              <a:gd name="connsiteY357" fmla="*/ 1252147 h 2084191"/>
              <a:gd name="connsiteX358" fmla="*/ 597547 w 2051041"/>
              <a:gd name="connsiteY358" fmla="*/ 1269017 h 2084191"/>
              <a:gd name="connsiteX359" fmla="*/ 580133 w 2051041"/>
              <a:gd name="connsiteY359" fmla="*/ 1284254 h 2084191"/>
              <a:gd name="connsiteX360" fmla="*/ 564896 w 2051041"/>
              <a:gd name="connsiteY360" fmla="*/ 1268472 h 2084191"/>
              <a:gd name="connsiteX361" fmla="*/ 581221 w 2051041"/>
              <a:gd name="connsiteY361" fmla="*/ 1252147 h 2084191"/>
              <a:gd name="connsiteX362" fmla="*/ 745018 w 2051041"/>
              <a:gd name="connsiteY362" fmla="*/ 1246705 h 2084191"/>
              <a:gd name="connsiteX363" fmla="*/ 766241 w 2051041"/>
              <a:gd name="connsiteY363" fmla="*/ 1269560 h 2084191"/>
              <a:gd name="connsiteX364" fmla="*/ 744474 w 2051041"/>
              <a:gd name="connsiteY364" fmla="*/ 1290783 h 2084191"/>
              <a:gd name="connsiteX365" fmla="*/ 722707 w 2051041"/>
              <a:gd name="connsiteY365" fmla="*/ 1267928 h 2084191"/>
              <a:gd name="connsiteX366" fmla="*/ 745018 w 2051041"/>
              <a:gd name="connsiteY366" fmla="*/ 1246705 h 2084191"/>
              <a:gd name="connsiteX367" fmla="*/ 907727 w 2051041"/>
              <a:gd name="connsiteY367" fmla="*/ 1241807 h 2084191"/>
              <a:gd name="connsiteX368" fmla="*/ 933847 w 2051041"/>
              <a:gd name="connsiteY368" fmla="*/ 1269016 h 2084191"/>
              <a:gd name="connsiteX369" fmla="*/ 907183 w 2051041"/>
              <a:gd name="connsiteY369" fmla="*/ 1295136 h 2084191"/>
              <a:gd name="connsiteX370" fmla="*/ 880518 w 2051041"/>
              <a:gd name="connsiteY370" fmla="*/ 1267927 h 2084191"/>
              <a:gd name="connsiteX371" fmla="*/ 907727 w 2051041"/>
              <a:gd name="connsiteY371" fmla="*/ 1241807 h 2084191"/>
              <a:gd name="connsiteX372" fmla="*/ 1070979 w 2051041"/>
              <a:gd name="connsiteY372" fmla="*/ 1240719 h 2084191"/>
              <a:gd name="connsiteX373" fmla="*/ 1099821 w 2051041"/>
              <a:gd name="connsiteY373" fmla="*/ 1268472 h 2084191"/>
              <a:gd name="connsiteX374" fmla="*/ 1070435 w 2051041"/>
              <a:gd name="connsiteY374" fmla="*/ 1297858 h 2084191"/>
              <a:gd name="connsiteX375" fmla="*/ 1042138 w 2051041"/>
              <a:gd name="connsiteY375" fmla="*/ 1269560 h 2084191"/>
              <a:gd name="connsiteX376" fmla="*/ 1070979 w 2051041"/>
              <a:gd name="connsiteY376" fmla="*/ 1240719 h 2084191"/>
              <a:gd name="connsiteX377" fmla="*/ 1234233 w 2051041"/>
              <a:gd name="connsiteY377" fmla="*/ 1235821 h 2084191"/>
              <a:gd name="connsiteX378" fmla="*/ 1266883 w 2051041"/>
              <a:gd name="connsiteY378" fmla="*/ 1269016 h 2084191"/>
              <a:gd name="connsiteX379" fmla="*/ 1234233 w 2051041"/>
              <a:gd name="connsiteY379" fmla="*/ 1300578 h 2084191"/>
              <a:gd name="connsiteX380" fmla="*/ 1201582 w 2051041"/>
              <a:gd name="connsiteY380" fmla="*/ 1267383 h 2084191"/>
              <a:gd name="connsiteX381" fmla="*/ 1234233 w 2051041"/>
              <a:gd name="connsiteY381" fmla="*/ 1235821 h 2084191"/>
              <a:gd name="connsiteX382" fmla="*/ 1396397 w 2051041"/>
              <a:gd name="connsiteY382" fmla="*/ 1234733 h 2084191"/>
              <a:gd name="connsiteX383" fmla="*/ 1431224 w 2051041"/>
              <a:gd name="connsiteY383" fmla="*/ 1268472 h 2084191"/>
              <a:gd name="connsiteX384" fmla="*/ 1396941 w 2051041"/>
              <a:gd name="connsiteY384" fmla="*/ 1302755 h 2084191"/>
              <a:gd name="connsiteX385" fmla="*/ 1363746 w 2051041"/>
              <a:gd name="connsiteY385" fmla="*/ 1269016 h 2084191"/>
              <a:gd name="connsiteX386" fmla="*/ 1396397 w 2051041"/>
              <a:gd name="connsiteY386" fmla="*/ 1234733 h 2084191"/>
              <a:gd name="connsiteX387" fmla="*/ 1559649 w 2051041"/>
              <a:gd name="connsiteY387" fmla="*/ 1232557 h 2084191"/>
              <a:gd name="connsiteX388" fmla="*/ 1597742 w 2051041"/>
              <a:gd name="connsiteY388" fmla="*/ 1268472 h 2084191"/>
              <a:gd name="connsiteX389" fmla="*/ 1561826 w 2051041"/>
              <a:gd name="connsiteY389" fmla="*/ 1305476 h 2084191"/>
              <a:gd name="connsiteX390" fmla="*/ 1523734 w 2051041"/>
              <a:gd name="connsiteY390" fmla="*/ 1269561 h 2084191"/>
              <a:gd name="connsiteX391" fmla="*/ 1559649 w 2051041"/>
              <a:gd name="connsiteY391" fmla="*/ 1232557 h 2084191"/>
              <a:gd name="connsiteX392" fmla="*/ 1723990 w 2051041"/>
              <a:gd name="connsiteY392" fmla="*/ 1231468 h 2084191"/>
              <a:gd name="connsiteX393" fmla="*/ 1762083 w 2051041"/>
              <a:gd name="connsiteY393" fmla="*/ 1268472 h 2084191"/>
              <a:gd name="connsiteX394" fmla="*/ 1724535 w 2051041"/>
              <a:gd name="connsiteY394" fmla="*/ 1307109 h 2084191"/>
              <a:gd name="connsiteX395" fmla="*/ 1686442 w 2051041"/>
              <a:gd name="connsiteY395" fmla="*/ 1270105 h 2084191"/>
              <a:gd name="connsiteX396" fmla="*/ 1723990 w 2051041"/>
              <a:gd name="connsiteY396" fmla="*/ 1231468 h 2084191"/>
              <a:gd name="connsiteX397" fmla="*/ 1888332 w 2051041"/>
              <a:gd name="connsiteY397" fmla="*/ 1230924 h 2084191"/>
              <a:gd name="connsiteX398" fmla="*/ 1925336 w 2051041"/>
              <a:gd name="connsiteY398" fmla="*/ 1269561 h 2084191"/>
              <a:gd name="connsiteX399" fmla="*/ 1887243 w 2051041"/>
              <a:gd name="connsiteY399" fmla="*/ 1307653 h 2084191"/>
              <a:gd name="connsiteX400" fmla="*/ 1849151 w 2051041"/>
              <a:gd name="connsiteY400" fmla="*/ 1267928 h 2084191"/>
              <a:gd name="connsiteX401" fmla="*/ 1888332 w 2051041"/>
              <a:gd name="connsiteY401" fmla="*/ 1230924 h 2084191"/>
              <a:gd name="connsiteX402" fmla="*/ 2049952 w 2051041"/>
              <a:gd name="connsiteY402" fmla="*/ 1230380 h 2084191"/>
              <a:gd name="connsiteX403" fmla="*/ 2051041 w 2051041"/>
              <a:gd name="connsiteY403" fmla="*/ 1230805 h 2084191"/>
              <a:gd name="connsiteX404" fmla="*/ 2051041 w 2051041"/>
              <a:gd name="connsiteY404" fmla="*/ 1307109 h 2084191"/>
              <a:gd name="connsiteX405" fmla="*/ 2012404 w 2051041"/>
              <a:gd name="connsiteY405" fmla="*/ 1268472 h 2084191"/>
              <a:gd name="connsiteX406" fmla="*/ 2049952 w 2051041"/>
              <a:gd name="connsiteY406" fmla="*/ 1230380 h 2084191"/>
              <a:gd name="connsiteX407" fmla="*/ 337431 w 2051041"/>
              <a:gd name="connsiteY407" fmla="*/ 1181404 h 2084191"/>
              <a:gd name="connsiteX408" fmla="*/ 345050 w 2051041"/>
              <a:gd name="connsiteY408" fmla="*/ 1187934 h 2084191"/>
              <a:gd name="connsiteX409" fmla="*/ 336343 w 2051041"/>
              <a:gd name="connsiteY409" fmla="*/ 1192288 h 2084191"/>
              <a:gd name="connsiteX410" fmla="*/ 330901 w 2051041"/>
              <a:gd name="connsiteY410" fmla="*/ 1185758 h 2084191"/>
              <a:gd name="connsiteX411" fmla="*/ 337431 w 2051041"/>
              <a:gd name="connsiteY411" fmla="*/ 1181404 h 2084191"/>
              <a:gd name="connsiteX412" fmla="*/ 499051 w 2051041"/>
              <a:gd name="connsiteY412" fmla="*/ 1171065 h 2084191"/>
              <a:gd name="connsiteX413" fmla="*/ 516465 w 2051041"/>
              <a:gd name="connsiteY413" fmla="*/ 1187390 h 2084191"/>
              <a:gd name="connsiteX414" fmla="*/ 500140 w 2051041"/>
              <a:gd name="connsiteY414" fmla="*/ 1202627 h 2084191"/>
              <a:gd name="connsiteX415" fmla="*/ 483814 w 2051041"/>
              <a:gd name="connsiteY415" fmla="*/ 1187390 h 2084191"/>
              <a:gd name="connsiteX416" fmla="*/ 499051 w 2051041"/>
              <a:gd name="connsiteY416" fmla="*/ 1171065 h 2084191"/>
              <a:gd name="connsiteX417" fmla="*/ 662848 w 2051041"/>
              <a:gd name="connsiteY417" fmla="*/ 1165623 h 2084191"/>
              <a:gd name="connsiteX418" fmla="*/ 684615 w 2051041"/>
              <a:gd name="connsiteY418" fmla="*/ 1187390 h 2084191"/>
              <a:gd name="connsiteX419" fmla="*/ 662848 w 2051041"/>
              <a:gd name="connsiteY419" fmla="*/ 1209157 h 2084191"/>
              <a:gd name="connsiteX420" fmla="*/ 641081 w 2051041"/>
              <a:gd name="connsiteY420" fmla="*/ 1186846 h 2084191"/>
              <a:gd name="connsiteX421" fmla="*/ 662848 w 2051041"/>
              <a:gd name="connsiteY421" fmla="*/ 1165623 h 2084191"/>
              <a:gd name="connsiteX422" fmla="*/ 825556 w 2051041"/>
              <a:gd name="connsiteY422" fmla="*/ 1160725 h 2084191"/>
              <a:gd name="connsiteX423" fmla="*/ 852765 w 2051041"/>
              <a:gd name="connsiteY423" fmla="*/ 1186846 h 2084191"/>
              <a:gd name="connsiteX424" fmla="*/ 826645 w 2051041"/>
              <a:gd name="connsiteY424" fmla="*/ 1213511 h 2084191"/>
              <a:gd name="connsiteX425" fmla="*/ 798892 w 2051041"/>
              <a:gd name="connsiteY425" fmla="*/ 1188479 h 2084191"/>
              <a:gd name="connsiteX426" fmla="*/ 825556 w 2051041"/>
              <a:gd name="connsiteY426" fmla="*/ 1160725 h 2084191"/>
              <a:gd name="connsiteX427" fmla="*/ 989353 w 2051041"/>
              <a:gd name="connsiteY427" fmla="*/ 1158004 h 2084191"/>
              <a:gd name="connsiteX428" fmla="*/ 1018195 w 2051041"/>
              <a:gd name="connsiteY428" fmla="*/ 1187934 h 2084191"/>
              <a:gd name="connsiteX429" fmla="*/ 988809 w 2051041"/>
              <a:gd name="connsiteY429" fmla="*/ 1216775 h 2084191"/>
              <a:gd name="connsiteX430" fmla="*/ 959968 w 2051041"/>
              <a:gd name="connsiteY430" fmla="*/ 1187934 h 2084191"/>
              <a:gd name="connsiteX431" fmla="*/ 989353 w 2051041"/>
              <a:gd name="connsiteY431" fmla="*/ 1158004 h 2084191"/>
              <a:gd name="connsiteX432" fmla="*/ 1152062 w 2051041"/>
              <a:gd name="connsiteY432" fmla="*/ 1153651 h 2084191"/>
              <a:gd name="connsiteX433" fmla="*/ 1185801 w 2051041"/>
              <a:gd name="connsiteY433" fmla="*/ 1186301 h 2084191"/>
              <a:gd name="connsiteX434" fmla="*/ 1153150 w 2051041"/>
              <a:gd name="connsiteY434" fmla="*/ 1219496 h 2084191"/>
              <a:gd name="connsiteX435" fmla="*/ 1119956 w 2051041"/>
              <a:gd name="connsiteY435" fmla="*/ 1187390 h 2084191"/>
              <a:gd name="connsiteX436" fmla="*/ 1152062 w 2051041"/>
              <a:gd name="connsiteY436" fmla="*/ 1153651 h 2084191"/>
              <a:gd name="connsiteX437" fmla="*/ 1315315 w 2051041"/>
              <a:gd name="connsiteY437" fmla="*/ 1152018 h 2084191"/>
              <a:gd name="connsiteX438" fmla="*/ 1351230 w 2051041"/>
              <a:gd name="connsiteY438" fmla="*/ 1186845 h 2084191"/>
              <a:gd name="connsiteX439" fmla="*/ 1315859 w 2051041"/>
              <a:gd name="connsiteY439" fmla="*/ 1221673 h 2084191"/>
              <a:gd name="connsiteX440" fmla="*/ 1281576 w 2051041"/>
              <a:gd name="connsiteY440" fmla="*/ 1187390 h 2084191"/>
              <a:gd name="connsiteX441" fmla="*/ 1315315 w 2051041"/>
              <a:gd name="connsiteY441" fmla="*/ 1152018 h 2084191"/>
              <a:gd name="connsiteX442" fmla="*/ 1479656 w 2051041"/>
              <a:gd name="connsiteY442" fmla="*/ 1149298 h 2084191"/>
              <a:gd name="connsiteX443" fmla="*/ 1516660 w 2051041"/>
              <a:gd name="connsiteY443" fmla="*/ 1188479 h 2084191"/>
              <a:gd name="connsiteX444" fmla="*/ 1478023 w 2051041"/>
              <a:gd name="connsiteY444" fmla="*/ 1224394 h 2084191"/>
              <a:gd name="connsiteX445" fmla="*/ 1441563 w 2051041"/>
              <a:gd name="connsiteY445" fmla="*/ 1185758 h 2084191"/>
              <a:gd name="connsiteX446" fmla="*/ 1479656 w 2051041"/>
              <a:gd name="connsiteY446" fmla="*/ 1149298 h 2084191"/>
              <a:gd name="connsiteX447" fmla="*/ 1642365 w 2051041"/>
              <a:gd name="connsiteY447" fmla="*/ 1148209 h 2084191"/>
              <a:gd name="connsiteX448" fmla="*/ 1681001 w 2051041"/>
              <a:gd name="connsiteY448" fmla="*/ 1187390 h 2084191"/>
              <a:gd name="connsiteX449" fmla="*/ 1641821 w 2051041"/>
              <a:gd name="connsiteY449" fmla="*/ 1226026 h 2084191"/>
              <a:gd name="connsiteX450" fmla="*/ 1603728 w 2051041"/>
              <a:gd name="connsiteY450" fmla="*/ 1186846 h 2084191"/>
              <a:gd name="connsiteX451" fmla="*/ 1642365 w 2051041"/>
              <a:gd name="connsiteY451" fmla="*/ 1148209 h 2084191"/>
              <a:gd name="connsiteX452" fmla="*/ 1969414 w 2051041"/>
              <a:gd name="connsiteY452" fmla="*/ 1147665 h 2084191"/>
              <a:gd name="connsiteX453" fmla="*/ 2009139 w 2051041"/>
              <a:gd name="connsiteY453" fmla="*/ 1187934 h 2084191"/>
              <a:gd name="connsiteX454" fmla="*/ 1968870 w 2051041"/>
              <a:gd name="connsiteY454" fmla="*/ 1227114 h 2084191"/>
              <a:gd name="connsiteX455" fmla="*/ 1929145 w 2051041"/>
              <a:gd name="connsiteY455" fmla="*/ 1186301 h 2084191"/>
              <a:gd name="connsiteX456" fmla="*/ 1969414 w 2051041"/>
              <a:gd name="connsiteY456" fmla="*/ 1147665 h 2084191"/>
              <a:gd name="connsiteX457" fmla="*/ 1805617 w 2051041"/>
              <a:gd name="connsiteY457" fmla="*/ 1147665 h 2084191"/>
              <a:gd name="connsiteX458" fmla="*/ 1844798 w 2051041"/>
              <a:gd name="connsiteY458" fmla="*/ 1187934 h 2084191"/>
              <a:gd name="connsiteX459" fmla="*/ 1805073 w 2051041"/>
              <a:gd name="connsiteY459" fmla="*/ 1226571 h 2084191"/>
              <a:gd name="connsiteX460" fmla="*/ 1766981 w 2051041"/>
              <a:gd name="connsiteY460" fmla="*/ 1186845 h 2084191"/>
              <a:gd name="connsiteX461" fmla="*/ 1805617 w 2051041"/>
              <a:gd name="connsiteY461" fmla="*/ 1147665 h 2084191"/>
              <a:gd name="connsiteX462" fmla="*/ 417425 w 2051041"/>
              <a:gd name="connsiteY462" fmla="*/ 1090527 h 2084191"/>
              <a:gd name="connsiteX463" fmla="*/ 432662 w 2051041"/>
              <a:gd name="connsiteY463" fmla="*/ 1105764 h 2084191"/>
              <a:gd name="connsiteX464" fmla="*/ 417969 w 2051041"/>
              <a:gd name="connsiteY464" fmla="*/ 1120457 h 2084191"/>
              <a:gd name="connsiteX465" fmla="*/ 402732 w 2051041"/>
              <a:gd name="connsiteY465" fmla="*/ 1105219 h 2084191"/>
              <a:gd name="connsiteX466" fmla="*/ 417425 w 2051041"/>
              <a:gd name="connsiteY466" fmla="*/ 1090527 h 2084191"/>
              <a:gd name="connsiteX467" fmla="*/ 580677 w 2051041"/>
              <a:gd name="connsiteY467" fmla="*/ 1083996 h 2084191"/>
              <a:gd name="connsiteX468" fmla="*/ 602444 w 2051041"/>
              <a:gd name="connsiteY468" fmla="*/ 1105219 h 2084191"/>
              <a:gd name="connsiteX469" fmla="*/ 581221 w 2051041"/>
              <a:gd name="connsiteY469" fmla="*/ 1127530 h 2084191"/>
              <a:gd name="connsiteX470" fmla="*/ 558910 w 2051041"/>
              <a:gd name="connsiteY470" fmla="*/ 1105219 h 2084191"/>
              <a:gd name="connsiteX471" fmla="*/ 580677 w 2051041"/>
              <a:gd name="connsiteY471" fmla="*/ 1083996 h 2084191"/>
              <a:gd name="connsiteX472" fmla="*/ 743386 w 2051041"/>
              <a:gd name="connsiteY472" fmla="*/ 1079099 h 2084191"/>
              <a:gd name="connsiteX473" fmla="*/ 770595 w 2051041"/>
              <a:gd name="connsiteY473" fmla="*/ 1105219 h 2084191"/>
              <a:gd name="connsiteX474" fmla="*/ 745019 w 2051041"/>
              <a:gd name="connsiteY474" fmla="*/ 1132428 h 2084191"/>
              <a:gd name="connsiteX475" fmla="*/ 717810 w 2051041"/>
              <a:gd name="connsiteY475" fmla="*/ 1106308 h 2084191"/>
              <a:gd name="connsiteX476" fmla="*/ 743386 w 2051041"/>
              <a:gd name="connsiteY476" fmla="*/ 1079099 h 2084191"/>
              <a:gd name="connsiteX477" fmla="*/ 907727 w 2051041"/>
              <a:gd name="connsiteY477" fmla="*/ 1076378 h 2084191"/>
              <a:gd name="connsiteX478" fmla="*/ 937112 w 2051041"/>
              <a:gd name="connsiteY478" fmla="*/ 1105219 h 2084191"/>
              <a:gd name="connsiteX479" fmla="*/ 908271 w 2051041"/>
              <a:gd name="connsiteY479" fmla="*/ 1134061 h 2084191"/>
              <a:gd name="connsiteX480" fmla="*/ 878885 w 2051041"/>
              <a:gd name="connsiteY480" fmla="*/ 1105764 h 2084191"/>
              <a:gd name="connsiteX481" fmla="*/ 907727 w 2051041"/>
              <a:gd name="connsiteY481" fmla="*/ 1076378 h 2084191"/>
              <a:gd name="connsiteX482" fmla="*/ 1071524 w 2051041"/>
              <a:gd name="connsiteY482" fmla="*/ 1072569 h 2084191"/>
              <a:gd name="connsiteX483" fmla="*/ 1104174 w 2051041"/>
              <a:gd name="connsiteY483" fmla="*/ 1105220 h 2084191"/>
              <a:gd name="connsiteX484" fmla="*/ 1070435 w 2051041"/>
              <a:gd name="connsiteY484" fmla="*/ 1137870 h 2084191"/>
              <a:gd name="connsiteX485" fmla="*/ 1038329 w 2051041"/>
              <a:gd name="connsiteY485" fmla="*/ 1105764 h 2084191"/>
              <a:gd name="connsiteX486" fmla="*/ 1071524 w 2051041"/>
              <a:gd name="connsiteY486" fmla="*/ 1072569 h 2084191"/>
              <a:gd name="connsiteX487" fmla="*/ 1235865 w 2051041"/>
              <a:gd name="connsiteY487" fmla="*/ 1068760 h 2084191"/>
              <a:gd name="connsiteX488" fmla="*/ 1271237 w 2051041"/>
              <a:gd name="connsiteY488" fmla="*/ 1106852 h 2084191"/>
              <a:gd name="connsiteX489" fmla="*/ 1234777 w 2051041"/>
              <a:gd name="connsiteY489" fmla="*/ 1142223 h 2084191"/>
              <a:gd name="connsiteX490" fmla="*/ 1198861 w 2051041"/>
              <a:gd name="connsiteY490" fmla="*/ 1105219 h 2084191"/>
              <a:gd name="connsiteX491" fmla="*/ 1235865 w 2051041"/>
              <a:gd name="connsiteY491" fmla="*/ 1068760 h 2084191"/>
              <a:gd name="connsiteX492" fmla="*/ 1396397 w 2051041"/>
              <a:gd name="connsiteY492" fmla="*/ 1067127 h 2084191"/>
              <a:gd name="connsiteX493" fmla="*/ 1435578 w 2051041"/>
              <a:gd name="connsiteY493" fmla="*/ 1105219 h 2084191"/>
              <a:gd name="connsiteX494" fmla="*/ 1396941 w 2051041"/>
              <a:gd name="connsiteY494" fmla="*/ 1143856 h 2084191"/>
              <a:gd name="connsiteX495" fmla="*/ 1358849 w 2051041"/>
              <a:gd name="connsiteY495" fmla="*/ 1105763 h 2084191"/>
              <a:gd name="connsiteX496" fmla="*/ 1396397 w 2051041"/>
              <a:gd name="connsiteY496" fmla="*/ 1067127 h 2084191"/>
              <a:gd name="connsiteX497" fmla="*/ 1560738 w 2051041"/>
              <a:gd name="connsiteY497" fmla="*/ 1066582 h 2084191"/>
              <a:gd name="connsiteX498" fmla="*/ 1599919 w 2051041"/>
              <a:gd name="connsiteY498" fmla="*/ 1105763 h 2084191"/>
              <a:gd name="connsiteX499" fmla="*/ 1560738 w 2051041"/>
              <a:gd name="connsiteY499" fmla="*/ 1144400 h 2084191"/>
              <a:gd name="connsiteX500" fmla="*/ 1521013 w 2051041"/>
              <a:gd name="connsiteY500" fmla="*/ 1105763 h 2084191"/>
              <a:gd name="connsiteX501" fmla="*/ 1560738 w 2051041"/>
              <a:gd name="connsiteY501" fmla="*/ 1066582 h 2084191"/>
              <a:gd name="connsiteX502" fmla="*/ 1723447 w 2051041"/>
              <a:gd name="connsiteY502" fmla="*/ 1064406 h 2084191"/>
              <a:gd name="connsiteX503" fmla="*/ 1764260 w 2051041"/>
              <a:gd name="connsiteY503" fmla="*/ 1104675 h 2084191"/>
              <a:gd name="connsiteX504" fmla="*/ 1724535 w 2051041"/>
              <a:gd name="connsiteY504" fmla="*/ 1146032 h 2084191"/>
              <a:gd name="connsiteX505" fmla="*/ 1683178 w 2051041"/>
              <a:gd name="connsiteY505" fmla="*/ 1105764 h 2084191"/>
              <a:gd name="connsiteX506" fmla="*/ 1723447 w 2051041"/>
              <a:gd name="connsiteY506" fmla="*/ 1064406 h 2084191"/>
              <a:gd name="connsiteX507" fmla="*/ 2051041 w 2051041"/>
              <a:gd name="connsiteY507" fmla="*/ 1063318 h 2084191"/>
              <a:gd name="connsiteX508" fmla="*/ 2051041 w 2051041"/>
              <a:gd name="connsiteY508" fmla="*/ 1147740 h 2084191"/>
              <a:gd name="connsiteX509" fmla="*/ 2049952 w 2051041"/>
              <a:gd name="connsiteY509" fmla="*/ 1148210 h 2084191"/>
              <a:gd name="connsiteX510" fmla="*/ 2008051 w 2051041"/>
              <a:gd name="connsiteY510" fmla="*/ 1105764 h 2084191"/>
              <a:gd name="connsiteX511" fmla="*/ 2051041 w 2051041"/>
              <a:gd name="connsiteY511" fmla="*/ 1063318 h 2084191"/>
              <a:gd name="connsiteX512" fmla="*/ 1887787 w 2051041"/>
              <a:gd name="connsiteY512" fmla="*/ 1062773 h 2084191"/>
              <a:gd name="connsiteX513" fmla="*/ 1929145 w 2051041"/>
              <a:gd name="connsiteY513" fmla="*/ 1105763 h 2084191"/>
              <a:gd name="connsiteX514" fmla="*/ 1886699 w 2051041"/>
              <a:gd name="connsiteY514" fmla="*/ 1147665 h 2084191"/>
              <a:gd name="connsiteX515" fmla="*/ 1844798 w 2051041"/>
              <a:gd name="connsiteY515" fmla="*/ 1105219 h 2084191"/>
              <a:gd name="connsiteX516" fmla="*/ 1887787 w 2051041"/>
              <a:gd name="connsiteY516" fmla="*/ 1062773 h 2084191"/>
              <a:gd name="connsiteX517" fmla="*/ 335798 w 2051041"/>
              <a:gd name="connsiteY517" fmla="*/ 1011621 h 2084191"/>
              <a:gd name="connsiteX518" fmla="*/ 348314 w 2051041"/>
              <a:gd name="connsiteY518" fmla="*/ 1023049 h 2084191"/>
              <a:gd name="connsiteX519" fmla="*/ 336886 w 2051041"/>
              <a:gd name="connsiteY519" fmla="*/ 1036109 h 2084191"/>
              <a:gd name="connsiteX520" fmla="*/ 324370 w 2051041"/>
              <a:gd name="connsiteY520" fmla="*/ 1024681 h 2084191"/>
              <a:gd name="connsiteX521" fmla="*/ 335798 w 2051041"/>
              <a:gd name="connsiteY521" fmla="*/ 1011621 h 2084191"/>
              <a:gd name="connsiteX522" fmla="*/ 499051 w 2051041"/>
              <a:gd name="connsiteY522" fmla="*/ 1002914 h 2084191"/>
              <a:gd name="connsiteX523" fmla="*/ 520818 w 2051041"/>
              <a:gd name="connsiteY523" fmla="*/ 1024137 h 2084191"/>
              <a:gd name="connsiteX524" fmla="*/ 499595 w 2051041"/>
              <a:gd name="connsiteY524" fmla="*/ 1045360 h 2084191"/>
              <a:gd name="connsiteX525" fmla="*/ 478372 w 2051041"/>
              <a:gd name="connsiteY525" fmla="*/ 1024137 h 2084191"/>
              <a:gd name="connsiteX526" fmla="*/ 499051 w 2051041"/>
              <a:gd name="connsiteY526" fmla="*/ 1002914 h 2084191"/>
              <a:gd name="connsiteX527" fmla="*/ 663392 w 2051041"/>
              <a:gd name="connsiteY527" fmla="*/ 997473 h 2084191"/>
              <a:gd name="connsiteX528" fmla="*/ 688424 w 2051041"/>
              <a:gd name="connsiteY528" fmla="*/ 1024138 h 2084191"/>
              <a:gd name="connsiteX529" fmla="*/ 661759 w 2051041"/>
              <a:gd name="connsiteY529" fmla="*/ 1050258 h 2084191"/>
              <a:gd name="connsiteX530" fmla="*/ 636727 w 2051041"/>
              <a:gd name="connsiteY530" fmla="*/ 1023593 h 2084191"/>
              <a:gd name="connsiteX531" fmla="*/ 663392 w 2051041"/>
              <a:gd name="connsiteY531" fmla="*/ 997473 h 2084191"/>
              <a:gd name="connsiteX532" fmla="*/ 826645 w 2051041"/>
              <a:gd name="connsiteY532" fmla="*/ 995840 h 2084191"/>
              <a:gd name="connsiteX533" fmla="*/ 854942 w 2051041"/>
              <a:gd name="connsiteY533" fmla="*/ 1024137 h 2084191"/>
              <a:gd name="connsiteX534" fmla="*/ 825557 w 2051041"/>
              <a:gd name="connsiteY534" fmla="*/ 1052978 h 2084191"/>
              <a:gd name="connsiteX535" fmla="*/ 797260 w 2051041"/>
              <a:gd name="connsiteY535" fmla="*/ 1023593 h 2084191"/>
              <a:gd name="connsiteX536" fmla="*/ 826645 w 2051041"/>
              <a:gd name="connsiteY536" fmla="*/ 995840 h 2084191"/>
              <a:gd name="connsiteX537" fmla="*/ 990441 w 2051041"/>
              <a:gd name="connsiteY537" fmla="*/ 990942 h 2084191"/>
              <a:gd name="connsiteX538" fmla="*/ 1022548 w 2051041"/>
              <a:gd name="connsiteY538" fmla="*/ 1025225 h 2084191"/>
              <a:gd name="connsiteX539" fmla="*/ 988809 w 2051041"/>
              <a:gd name="connsiteY539" fmla="*/ 1056787 h 2084191"/>
              <a:gd name="connsiteX540" fmla="*/ 956702 w 2051041"/>
              <a:gd name="connsiteY540" fmla="*/ 1023593 h 2084191"/>
              <a:gd name="connsiteX541" fmla="*/ 990441 w 2051041"/>
              <a:gd name="connsiteY541" fmla="*/ 990942 h 2084191"/>
              <a:gd name="connsiteX542" fmla="*/ 1150974 w 2051041"/>
              <a:gd name="connsiteY542" fmla="*/ 987678 h 2084191"/>
              <a:gd name="connsiteX543" fmla="*/ 1189610 w 2051041"/>
              <a:gd name="connsiteY543" fmla="*/ 1023593 h 2084191"/>
              <a:gd name="connsiteX544" fmla="*/ 1152062 w 2051041"/>
              <a:gd name="connsiteY544" fmla="*/ 1061685 h 2084191"/>
              <a:gd name="connsiteX545" fmla="*/ 1115058 w 2051041"/>
              <a:gd name="connsiteY545" fmla="*/ 1024682 h 2084191"/>
              <a:gd name="connsiteX546" fmla="*/ 1150974 w 2051041"/>
              <a:gd name="connsiteY546" fmla="*/ 987678 h 2084191"/>
              <a:gd name="connsiteX547" fmla="*/ 1315314 w 2051041"/>
              <a:gd name="connsiteY547" fmla="*/ 985501 h 2084191"/>
              <a:gd name="connsiteX548" fmla="*/ 1354495 w 2051041"/>
              <a:gd name="connsiteY548" fmla="*/ 1023593 h 2084191"/>
              <a:gd name="connsiteX549" fmla="*/ 1315858 w 2051041"/>
              <a:gd name="connsiteY549" fmla="*/ 1062230 h 2084191"/>
              <a:gd name="connsiteX550" fmla="*/ 1277222 w 2051041"/>
              <a:gd name="connsiteY550" fmla="*/ 1024137 h 2084191"/>
              <a:gd name="connsiteX551" fmla="*/ 1315314 w 2051041"/>
              <a:gd name="connsiteY551" fmla="*/ 985501 h 2084191"/>
              <a:gd name="connsiteX552" fmla="*/ 1479656 w 2051041"/>
              <a:gd name="connsiteY552" fmla="*/ 984412 h 2084191"/>
              <a:gd name="connsiteX553" fmla="*/ 1519380 w 2051041"/>
              <a:gd name="connsiteY553" fmla="*/ 1025225 h 2084191"/>
              <a:gd name="connsiteX554" fmla="*/ 1478567 w 2051041"/>
              <a:gd name="connsiteY554" fmla="*/ 1063318 h 2084191"/>
              <a:gd name="connsiteX555" fmla="*/ 1439387 w 2051041"/>
              <a:gd name="connsiteY555" fmla="*/ 1023593 h 2084191"/>
              <a:gd name="connsiteX556" fmla="*/ 1479656 w 2051041"/>
              <a:gd name="connsiteY556" fmla="*/ 984412 h 2084191"/>
              <a:gd name="connsiteX557" fmla="*/ 1641820 w 2051041"/>
              <a:gd name="connsiteY557" fmla="*/ 981691 h 2084191"/>
              <a:gd name="connsiteX558" fmla="*/ 1684810 w 2051041"/>
              <a:gd name="connsiteY558" fmla="*/ 1023592 h 2084191"/>
              <a:gd name="connsiteX559" fmla="*/ 1642909 w 2051041"/>
              <a:gd name="connsiteY559" fmla="*/ 1066038 h 2084191"/>
              <a:gd name="connsiteX560" fmla="*/ 1599919 w 2051041"/>
              <a:gd name="connsiteY560" fmla="*/ 1023592 h 2084191"/>
              <a:gd name="connsiteX561" fmla="*/ 1641820 w 2051041"/>
              <a:gd name="connsiteY561" fmla="*/ 981691 h 2084191"/>
              <a:gd name="connsiteX562" fmla="*/ 1806161 w 2051041"/>
              <a:gd name="connsiteY562" fmla="*/ 980603 h 2084191"/>
              <a:gd name="connsiteX563" fmla="*/ 1849151 w 2051041"/>
              <a:gd name="connsiteY563" fmla="*/ 1023592 h 2084191"/>
              <a:gd name="connsiteX564" fmla="*/ 1805617 w 2051041"/>
              <a:gd name="connsiteY564" fmla="*/ 1067127 h 2084191"/>
              <a:gd name="connsiteX565" fmla="*/ 1762083 w 2051041"/>
              <a:gd name="connsiteY565" fmla="*/ 1023592 h 2084191"/>
              <a:gd name="connsiteX566" fmla="*/ 1806161 w 2051041"/>
              <a:gd name="connsiteY566" fmla="*/ 980603 h 2084191"/>
              <a:gd name="connsiteX567" fmla="*/ 1969414 w 2051041"/>
              <a:gd name="connsiteY567" fmla="*/ 980059 h 2084191"/>
              <a:gd name="connsiteX568" fmla="*/ 2012404 w 2051041"/>
              <a:gd name="connsiteY568" fmla="*/ 1024137 h 2084191"/>
              <a:gd name="connsiteX569" fmla="*/ 1968870 w 2051041"/>
              <a:gd name="connsiteY569" fmla="*/ 1067127 h 2084191"/>
              <a:gd name="connsiteX570" fmla="*/ 1924792 w 2051041"/>
              <a:gd name="connsiteY570" fmla="*/ 1024137 h 2084191"/>
              <a:gd name="connsiteX571" fmla="*/ 1969414 w 2051041"/>
              <a:gd name="connsiteY571" fmla="*/ 980059 h 2084191"/>
              <a:gd name="connsiteX572" fmla="*/ 254171 w 2051041"/>
              <a:gd name="connsiteY572" fmla="*/ 931083 h 2084191"/>
              <a:gd name="connsiteX573" fmla="*/ 265599 w 2051041"/>
              <a:gd name="connsiteY573" fmla="*/ 941967 h 2084191"/>
              <a:gd name="connsiteX574" fmla="*/ 254171 w 2051041"/>
              <a:gd name="connsiteY574" fmla="*/ 952850 h 2084191"/>
              <a:gd name="connsiteX575" fmla="*/ 243832 w 2051041"/>
              <a:gd name="connsiteY575" fmla="*/ 941967 h 2084191"/>
              <a:gd name="connsiteX576" fmla="*/ 254171 w 2051041"/>
              <a:gd name="connsiteY576" fmla="*/ 931083 h 2084191"/>
              <a:gd name="connsiteX577" fmla="*/ 417968 w 2051041"/>
              <a:gd name="connsiteY577" fmla="*/ 922377 h 2084191"/>
              <a:gd name="connsiteX578" fmla="*/ 437559 w 2051041"/>
              <a:gd name="connsiteY578" fmla="*/ 942511 h 2084191"/>
              <a:gd name="connsiteX579" fmla="*/ 417968 w 2051041"/>
              <a:gd name="connsiteY579" fmla="*/ 961557 h 2084191"/>
              <a:gd name="connsiteX580" fmla="*/ 397834 w 2051041"/>
              <a:gd name="connsiteY580" fmla="*/ 941423 h 2084191"/>
              <a:gd name="connsiteX581" fmla="*/ 417968 w 2051041"/>
              <a:gd name="connsiteY581" fmla="*/ 922377 h 2084191"/>
              <a:gd name="connsiteX582" fmla="*/ 581222 w 2051041"/>
              <a:gd name="connsiteY582" fmla="*/ 916934 h 2084191"/>
              <a:gd name="connsiteX583" fmla="*/ 606798 w 2051041"/>
              <a:gd name="connsiteY583" fmla="*/ 943054 h 2084191"/>
              <a:gd name="connsiteX584" fmla="*/ 581222 w 2051041"/>
              <a:gd name="connsiteY584" fmla="*/ 967542 h 2084191"/>
              <a:gd name="connsiteX585" fmla="*/ 556190 w 2051041"/>
              <a:gd name="connsiteY585" fmla="*/ 943054 h 2084191"/>
              <a:gd name="connsiteX586" fmla="*/ 581222 w 2051041"/>
              <a:gd name="connsiteY586" fmla="*/ 916934 h 2084191"/>
              <a:gd name="connsiteX587" fmla="*/ 744474 w 2051041"/>
              <a:gd name="connsiteY587" fmla="*/ 913669 h 2084191"/>
              <a:gd name="connsiteX588" fmla="*/ 773315 w 2051041"/>
              <a:gd name="connsiteY588" fmla="*/ 942510 h 2084191"/>
              <a:gd name="connsiteX589" fmla="*/ 743930 w 2051041"/>
              <a:gd name="connsiteY589" fmla="*/ 970807 h 2084191"/>
              <a:gd name="connsiteX590" fmla="*/ 716177 w 2051041"/>
              <a:gd name="connsiteY590" fmla="*/ 941966 h 2084191"/>
              <a:gd name="connsiteX591" fmla="*/ 744474 w 2051041"/>
              <a:gd name="connsiteY591" fmla="*/ 913669 h 2084191"/>
              <a:gd name="connsiteX592" fmla="*/ 908271 w 2051041"/>
              <a:gd name="connsiteY592" fmla="*/ 908772 h 2084191"/>
              <a:gd name="connsiteX593" fmla="*/ 940377 w 2051041"/>
              <a:gd name="connsiteY593" fmla="*/ 944144 h 2084191"/>
              <a:gd name="connsiteX594" fmla="*/ 906094 w 2051041"/>
              <a:gd name="connsiteY594" fmla="*/ 975162 h 2084191"/>
              <a:gd name="connsiteX595" fmla="*/ 874532 w 2051041"/>
              <a:gd name="connsiteY595" fmla="*/ 940879 h 2084191"/>
              <a:gd name="connsiteX596" fmla="*/ 908271 w 2051041"/>
              <a:gd name="connsiteY596" fmla="*/ 908772 h 2084191"/>
              <a:gd name="connsiteX597" fmla="*/ 1072068 w 2051041"/>
              <a:gd name="connsiteY597" fmla="*/ 906051 h 2084191"/>
              <a:gd name="connsiteX598" fmla="*/ 1107984 w 2051041"/>
              <a:gd name="connsiteY598" fmla="*/ 942511 h 2084191"/>
              <a:gd name="connsiteX599" fmla="*/ 1070980 w 2051041"/>
              <a:gd name="connsiteY599" fmla="*/ 979515 h 2084191"/>
              <a:gd name="connsiteX600" fmla="*/ 1034520 w 2051041"/>
              <a:gd name="connsiteY600" fmla="*/ 942511 h 2084191"/>
              <a:gd name="connsiteX601" fmla="*/ 1072068 w 2051041"/>
              <a:gd name="connsiteY601" fmla="*/ 906051 h 2084191"/>
              <a:gd name="connsiteX602" fmla="*/ 1235321 w 2051041"/>
              <a:gd name="connsiteY602" fmla="*/ 903874 h 2084191"/>
              <a:gd name="connsiteX603" fmla="*/ 1272325 w 2051041"/>
              <a:gd name="connsiteY603" fmla="*/ 943054 h 2084191"/>
              <a:gd name="connsiteX604" fmla="*/ 1233688 w 2051041"/>
              <a:gd name="connsiteY604" fmla="*/ 981147 h 2084191"/>
              <a:gd name="connsiteX605" fmla="*/ 1195596 w 2051041"/>
              <a:gd name="connsiteY605" fmla="*/ 940878 h 2084191"/>
              <a:gd name="connsiteX606" fmla="*/ 1235321 w 2051041"/>
              <a:gd name="connsiteY606" fmla="*/ 903874 h 2084191"/>
              <a:gd name="connsiteX607" fmla="*/ 1397486 w 2051041"/>
              <a:gd name="connsiteY607" fmla="*/ 901153 h 2084191"/>
              <a:gd name="connsiteX608" fmla="*/ 1438299 w 2051041"/>
              <a:gd name="connsiteY608" fmla="*/ 942511 h 2084191"/>
              <a:gd name="connsiteX609" fmla="*/ 1396941 w 2051041"/>
              <a:gd name="connsiteY609" fmla="*/ 983324 h 2084191"/>
              <a:gd name="connsiteX610" fmla="*/ 1356128 w 2051041"/>
              <a:gd name="connsiteY610" fmla="*/ 941967 h 2084191"/>
              <a:gd name="connsiteX611" fmla="*/ 1397486 w 2051041"/>
              <a:gd name="connsiteY611" fmla="*/ 901153 h 2084191"/>
              <a:gd name="connsiteX612" fmla="*/ 1560738 w 2051041"/>
              <a:gd name="connsiteY612" fmla="*/ 898977 h 2084191"/>
              <a:gd name="connsiteX613" fmla="*/ 1603728 w 2051041"/>
              <a:gd name="connsiteY613" fmla="*/ 942511 h 2084191"/>
              <a:gd name="connsiteX614" fmla="*/ 1560738 w 2051041"/>
              <a:gd name="connsiteY614" fmla="*/ 985501 h 2084191"/>
              <a:gd name="connsiteX615" fmla="*/ 1517204 w 2051041"/>
              <a:gd name="connsiteY615" fmla="*/ 941423 h 2084191"/>
              <a:gd name="connsiteX616" fmla="*/ 1560738 w 2051041"/>
              <a:gd name="connsiteY616" fmla="*/ 898977 h 2084191"/>
              <a:gd name="connsiteX617" fmla="*/ 1723990 w 2051041"/>
              <a:gd name="connsiteY617" fmla="*/ 897888 h 2084191"/>
              <a:gd name="connsiteX618" fmla="*/ 1768069 w 2051041"/>
              <a:gd name="connsiteY618" fmla="*/ 942510 h 2084191"/>
              <a:gd name="connsiteX619" fmla="*/ 1723990 w 2051041"/>
              <a:gd name="connsiteY619" fmla="*/ 986589 h 2084191"/>
              <a:gd name="connsiteX620" fmla="*/ 1679912 w 2051041"/>
              <a:gd name="connsiteY620" fmla="*/ 941422 h 2084191"/>
              <a:gd name="connsiteX621" fmla="*/ 1723990 w 2051041"/>
              <a:gd name="connsiteY621" fmla="*/ 897888 h 2084191"/>
              <a:gd name="connsiteX622" fmla="*/ 2050497 w 2051041"/>
              <a:gd name="connsiteY622" fmla="*/ 897344 h 2084191"/>
              <a:gd name="connsiteX623" fmla="*/ 2051041 w 2051041"/>
              <a:gd name="connsiteY623" fmla="*/ 897453 h 2084191"/>
              <a:gd name="connsiteX624" fmla="*/ 2051041 w 2051041"/>
              <a:gd name="connsiteY624" fmla="*/ 986917 h 2084191"/>
              <a:gd name="connsiteX625" fmla="*/ 2049952 w 2051041"/>
              <a:gd name="connsiteY625" fmla="*/ 987133 h 2084191"/>
              <a:gd name="connsiteX626" fmla="*/ 2005330 w 2051041"/>
              <a:gd name="connsiteY626" fmla="*/ 941422 h 2084191"/>
              <a:gd name="connsiteX627" fmla="*/ 2050497 w 2051041"/>
              <a:gd name="connsiteY627" fmla="*/ 897344 h 2084191"/>
              <a:gd name="connsiteX628" fmla="*/ 1887243 w 2051041"/>
              <a:gd name="connsiteY628" fmla="*/ 897344 h 2084191"/>
              <a:gd name="connsiteX629" fmla="*/ 1931866 w 2051041"/>
              <a:gd name="connsiteY629" fmla="*/ 942511 h 2084191"/>
              <a:gd name="connsiteX630" fmla="*/ 1887243 w 2051041"/>
              <a:gd name="connsiteY630" fmla="*/ 986589 h 2084191"/>
              <a:gd name="connsiteX631" fmla="*/ 1843165 w 2051041"/>
              <a:gd name="connsiteY631" fmla="*/ 941422 h 2084191"/>
              <a:gd name="connsiteX632" fmla="*/ 1887243 w 2051041"/>
              <a:gd name="connsiteY632" fmla="*/ 897344 h 2084191"/>
              <a:gd name="connsiteX633" fmla="*/ 172545 w 2051041"/>
              <a:gd name="connsiteY633" fmla="*/ 854354 h 2084191"/>
              <a:gd name="connsiteX634" fmla="*/ 179619 w 2051041"/>
              <a:gd name="connsiteY634" fmla="*/ 860884 h 2084191"/>
              <a:gd name="connsiteX635" fmla="*/ 173634 w 2051041"/>
              <a:gd name="connsiteY635" fmla="*/ 866870 h 2084191"/>
              <a:gd name="connsiteX636" fmla="*/ 166015 w 2051041"/>
              <a:gd name="connsiteY636" fmla="*/ 861973 h 2084191"/>
              <a:gd name="connsiteX637" fmla="*/ 172545 w 2051041"/>
              <a:gd name="connsiteY637" fmla="*/ 854354 h 2084191"/>
              <a:gd name="connsiteX638" fmla="*/ 336342 w 2051041"/>
              <a:gd name="connsiteY638" fmla="*/ 843471 h 2084191"/>
              <a:gd name="connsiteX639" fmla="*/ 353211 w 2051041"/>
              <a:gd name="connsiteY639" fmla="*/ 860340 h 2084191"/>
              <a:gd name="connsiteX640" fmla="*/ 336886 w 2051041"/>
              <a:gd name="connsiteY640" fmla="*/ 877210 h 2084191"/>
              <a:gd name="connsiteX641" fmla="*/ 320017 w 2051041"/>
              <a:gd name="connsiteY641" fmla="*/ 860884 h 2084191"/>
              <a:gd name="connsiteX642" fmla="*/ 336342 w 2051041"/>
              <a:gd name="connsiteY642" fmla="*/ 843471 h 2084191"/>
              <a:gd name="connsiteX643" fmla="*/ 500139 w 2051041"/>
              <a:gd name="connsiteY643" fmla="*/ 837485 h 2084191"/>
              <a:gd name="connsiteX644" fmla="*/ 522994 w 2051041"/>
              <a:gd name="connsiteY644" fmla="*/ 861428 h 2084191"/>
              <a:gd name="connsiteX645" fmla="*/ 499595 w 2051041"/>
              <a:gd name="connsiteY645" fmla="*/ 884284 h 2084191"/>
              <a:gd name="connsiteX646" fmla="*/ 476739 w 2051041"/>
              <a:gd name="connsiteY646" fmla="*/ 860340 h 2084191"/>
              <a:gd name="connsiteX647" fmla="*/ 500139 w 2051041"/>
              <a:gd name="connsiteY647" fmla="*/ 837485 h 2084191"/>
              <a:gd name="connsiteX648" fmla="*/ 662848 w 2051041"/>
              <a:gd name="connsiteY648" fmla="*/ 832587 h 2084191"/>
              <a:gd name="connsiteX649" fmla="*/ 690057 w 2051041"/>
              <a:gd name="connsiteY649" fmla="*/ 860340 h 2084191"/>
              <a:gd name="connsiteX650" fmla="*/ 662848 w 2051041"/>
              <a:gd name="connsiteY650" fmla="*/ 888637 h 2084191"/>
              <a:gd name="connsiteX651" fmla="*/ 634551 w 2051041"/>
              <a:gd name="connsiteY651" fmla="*/ 861428 h 2084191"/>
              <a:gd name="connsiteX652" fmla="*/ 662848 w 2051041"/>
              <a:gd name="connsiteY652" fmla="*/ 832587 h 2084191"/>
              <a:gd name="connsiteX653" fmla="*/ 826101 w 2051041"/>
              <a:gd name="connsiteY653" fmla="*/ 827146 h 2084191"/>
              <a:gd name="connsiteX654" fmla="*/ 859295 w 2051041"/>
              <a:gd name="connsiteY654" fmla="*/ 860885 h 2084191"/>
              <a:gd name="connsiteX655" fmla="*/ 825556 w 2051041"/>
              <a:gd name="connsiteY655" fmla="*/ 892991 h 2084191"/>
              <a:gd name="connsiteX656" fmla="*/ 793450 w 2051041"/>
              <a:gd name="connsiteY656" fmla="*/ 860885 h 2084191"/>
              <a:gd name="connsiteX657" fmla="*/ 826101 w 2051041"/>
              <a:gd name="connsiteY657" fmla="*/ 827146 h 2084191"/>
              <a:gd name="connsiteX658" fmla="*/ 988809 w 2051041"/>
              <a:gd name="connsiteY658" fmla="*/ 824424 h 2084191"/>
              <a:gd name="connsiteX659" fmla="*/ 1025813 w 2051041"/>
              <a:gd name="connsiteY659" fmla="*/ 860339 h 2084191"/>
              <a:gd name="connsiteX660" fmla="*/ 989897 w 2051041"/>
              <a:gd name="connsiteY660" fmla="*/ 897344 h 2084191"/>
              <a:gd name="connsiteX661" fmla="*/ 953437 w 2051041"/>
              <a:gd name="connsiteY661" fmla="*/ 861972 h 2084191"/>
              <a:gd name="connsiteX662" fmla="*/ 988809 w 2051041"/>
              <a:gd name="connsiteY662" fmla="*/ 824424 h 2084191"/>
              <a:gd name="connsiteX663" fmla="*/ 1153695 w 2051041"/>
              <a:gd name="connsiteY663" fmla="*/ 821704 h 2084191"/>
              <a:gd name="connsiteX664" fmla="*/ 1191243 w 2051041"/>
              <a:gd name="connsiteY664" fmla="*/ 861429 h 2084191"/>
              <a:gd name="connsiteX665" fmla="*/ 1152606 w 2051041"/>
              <a:gd name="connsiteY665" fmla="*/ 899521 h 2084191"/>
              <a:gd name="connsiteX666" fmla="*/ 1114514 w 2051041"/>
              <a:gd name="connsiteY666" fmla="*/ 859252 h 2084191"/>
              <a:gd name="connsiteX667" fmla="*/ 1153695 w 2051041"/>
              <a:gd name="connsiteY667" fmla="*/ 821704 h 2084191"/>
              <a:gd name="connsiteX668" fmla="*/ 1316403 w 2051041"/>
              <a:gd name="connsiteY668" fmla="*/ 818982 h 2084191"/>
              <a:gd name="connsiteX669" fmla="*/ 1357216 w 2051041"/>
              <a:gd name="connsiteY669" fmla="*/ 860884 h 2084191"/>
              <a:gd name="connsiteX670" fmla="*/ 1315315 w 2051041"/>
              <a:gd name="connsiteY670" fmla="*/ 901697 h 2084191"/>
              <a:gd name="connsiteX671" fmla="*/ 1274501 w 2051041"/>
              <a:gd name="connsiteY671" fmla="*/ 860340 h 2084191"/>
              <a:gd name="connsiteX672" fmla="*/ 1316403 w 2051041"/>
              <a:gd name="connsiteY672" fmla="*/ 818982 h 2084191"/>
              <a:gd name="connsiteX673" fmla="*/ 1479112 w 2051041"/>
              <a:gd name="connsiteY673" fmla="*/ 816806 h 2084191"/>
              <a:gd name="connsiteX674" fmla="*/ 1522646 w 2051041"/>
              <a:gd name="connsiteY674" fmla="*/ 860340 h 2084191"/>
              <a:gd name="connsiteX675" fmla="*/ 1479656 w 2051041"/>
              <a:gd name="connsiteY675" fmla="*/ 904419 h 2084191"/>
              <a:gd name="connsiteX676" fmla="*/ 1435578 w 2051041"/>
              <a:gd name="connsiteY676" fmla="*/ 860884 h 2084191"/>
              <a:gd name="connsiteX677" fmla="*/ 1479112 w 2051041"/>
              <a:gd name="connsiteY677" fmla="*/ 816806 h 2084191"/>
              <a:gd name="connsiteX678" fmla="*/ 1642909 w 2051041"/>
              <a:gd name="connsiteY678" fmla="*/ 815718 h 2084191"/>
              <a:gd name="connsiteX679" fmla="*/ 1686987 w 2051041"/>
              <a:gd name="connsiteY679" fmla="*/ 860885 h 2084191"/>
              <a:gd name="connsiteX680" fmla="*/ 1641276 w 2051041"/>
              <a:gd name="connsiteY680" fmla="*/ 905507 h 2084191"/>
              <a:gd name="connsiteX681" fmla="*/ 1597742 w 2051041"/>
              <a:gd name="connsiteY681" fmla="*/ 860340 h 2084191"/>
              <a:gd name="connsiteX682" fmla="*/ 1642909 w 2051041"/>
              <a:gd name="connsiteY682" fmla="*/ 815718 h 2084191"/>
              <a:gd name="connsiteX683" fmla="*/ 1806161 w 2051041"/>
              <a:gd name="connsiteY683" fmla="*/ 815173 h 2084191"/>
              <a:gd name="connsiteX684" fmla="*/ 1852416 w 2051041"/>
              <a:gd name="connsiteY684" fmla="*/ 860884 h 2084191"/>
              <a:gd name="connsiteX685" fmla="*/ 1805617 w 2051041"/>
              <a:gd name="connsiteY685" fmla="*/ 906594 h 2084191"/>
              <a:gd name="connsiteX686" fmla="*/ 1759906 w 2051041"/>
              <a:gd name="connsiteY686" fmla="*/ 860884 h 2084191"/>
              <a:gd name="connsiteX687" fmla="*/ 1806161 w 2051041"/>
              <a:gd name="connsiteY687" fmla="*/ 815173 h 2084191"/>
              <a:gd name="connsiteX688" fmla="*/ 1968326 w 2051041"/>
              <a:gd name="connsiteY688" fmla="*/ 812453 h 2084191"/>
              <a:gd name="connsiteX689" fmla="*/ 2000977 w 2051041"/>
              <a:gd name="connsiteY689" fmla="*/ 826057 h 2084191"/>
              <a:gd name="connsiteX690" fmla="*/ 2015670 w 2051041"/>
              <a:gd name="connsiteY690" fmla="*/ 859796 h 2084191"/>
              <a:gd name="connsiteX691" fmla="*/ 1969415 w 2051041"/>
              <a:gd name="connsiteY691" fmla="*/ 907684 h 2084191"/>
              <a:gd name="connsiteX692" fmla="*/ 1922071 w 2051041"/>
              <a:gd name="connsiteY692" fmla="*/ 860885 h 2084191"/>
              <a:gd name="connsiteX693" fmla="*/ 1968326 w 2051041"/>
              <a:gd name="connsiteY693" fmla="*/ 812453 h 2084191"/>
              <a:gd name="connsiteX694" fmla="*/ 255260 w 2051041"/>
              <a:gd name="connsiteY694" fmla="*/ 762932 h 2084191"/>
              <a:gd name="connsiteX695" fmla="*/ 270497 w 2051041"/>
              <a:gd name="connsiteY695" fmla="*/ 779802 h 2084191"/>
              <a:gd name="connsiteX696" fmla="*/ 254172 w 2051041"/>
              <a:gd name="connsiteY696" fmla="*/ 795038 h 2084191"/>
              <a:gd name="connsiteX697" fmla="*/ 238935 w 2051041"/>
              <a:gd name="connsiteY697" fmla="*/ 778713 h 2084191"/>
              <a:gd name="connsiteX698" fmla="*/ 255260 w 2051041"/>
              <a:gd name="connsiteY698" fmla="*/ 762932 h 2084191"/>
              <a:gd name="connsiteX699" fmla="*/ 416881 w 2051041"/>
              <a:gd name="connsiteY699" fmla="*/ 756402 h 2084191"/>
              <a:gd name="connsiteX700" fmla="*/ 440280 w 2051041"/>
              <a:gd name="connsiteY700" fmla="*/ 778713 h 2084191"/>
              <a:gd name="connsiteX701" fmla="*/ 419057 w 2051041"/>
              <a:gd name="connsiteY701" fmla="*/ 801024 h 2084191"/>
              <a:gd name="connsiteX702" fmla="*/ 396202 w 2051041"/>
              <a:gd name="connsiteY702" fmla="*/ 779257 h 2084191"/>
              <a:gd name="connsiteX703" fmla="*/ 416881 w 2051041"/>
              <a:gd name="connsiteY703" fmla="*/ 756402 h 2084191"/>
              <a:gd name="connsiteX704" fmla="*/ 581766 w 2051041"/>
              <a:gd name="connsiteY704" fmla="*/ 751505 h 2084191"/>
              <a:gd name="connsiteX705" fmla="*/ 608975 w 2051041"/>
              <a:gd name="connsiteY705" fmla="*/ 779802 h 2084191"/>
              <a:gd name="connsiteX706" fmla="*/ 580678 w 2051041"/>
              <a:gd name="connsiteY706" fmla="*/ 806467 h 2084191"/>
              <a:gd name="connsiteX707" fmla="*/ 553469 w 2051041"/>
              <a:gd name="connsiteY707" fmla="*/ 778714 h 2084191"/>
              <a:gd name="connsiteX708" fmla="*/ 581766 w 2051041"/>
              <a:gd name="connsiteY708" fmla="*/ 751505 h 2084191"/>
              <a:gd name="connsiteX709" fmla="*/ 746107 w 2051041"/>
              <a:gd name="connsiteY709" fmla="*/ 746607 h 2084191"/>
              <a:gd name="connsiteX710" fmla="*/ 777125 w 2051041"/>
              <a:gd name="connsiteY710" fmla="*/ 780346 h 2084191"/>
              <a:gd name="connsiteX711" fmla="*/ 742842 w 2051041"/>
              <a:gd name="connsiteY711" fmla="*/ 811364 h 2084191"/>
              <a:gd name="connsiteX712" fmla="*/ 712368 w 2051041"/>
              <a:gd name="connsiteY712" fmla="*/ 778713 h 2084191"/>
              <a:gd name="connsiteX713" fmla="*/ 746107 w 2051041"/>
              <a:gd name="connsiteY713" fmla="*/ 746607 h 2084191"/>
              <a:gd name="connsiteX714" fmla="*/ 907727 w 2051041"/>
              <a:gd name="connsiteY714" fmla="*/ 741710 h 2084191"/>
              <a:gd name="connsiteX715" fmla="*/ 944187 w 2051041"/>
              <a:gd name="connsiteY715" fmla="*/ 778714 h 2084191"/>
              <a:gd name="connsiteX716" fmla="*/ 907727 w 2051041"/>
              <a:gd name="connsiteY716" fmla="*/ 815174 h 2084191"/>
              <a:gd name="connsiteX717" fmla="*/ 872355 w 2051041"/>
              <a:gd name="connsiteY717" fmla="*/ 779258 h 2084191"/>
              <a:gd name="connsiteX718" fmla="*/ 907727 w 2051041"/>
              <a:gd name="connsiteY718" fmla="*/ 741710 h 2084191"/>
              <a:gd name="connsiteX719" fmla="*/ 1070979 w 2051041"/>
              <a:gd name="connsiteY719" fmla="*/ 740621 h 2084191"/>
              <a:gd name="connsiteX720" fmla="*/ 1110160 w 2051041"/>
              <a:gd name="connsiteY720" fmla="*/ 779258 h 2084191"/>
              <a:gd name="connsiteX721" fmla="*/ 1070979 w 2051041"/>
              <a:gd name="connsiteY721" fmla="*/ 817894 h 2084191"/>
              <a:gd name="connsiteX722" fmla="*/ 1031799 w 2051041"/>
              <a:gd name="connsiteY722" fmla="*/ 778714 h 2084191"/>
              <a:gd name="connsiteX723" fmla="*/ 1070979 w 2051041"/>
              <a:gd name="connsiteY723" fmla="*/ 740621 h 2084191"/>
              <a:gd name="connsiteX724" fmla="*/ 1233688 w 2051041"/>
              <a:gd name="connsiteY724" fmla="*/ 736268 h 2084191"/>
              <a:gd name="connsiteX725" fmla="*/ 1276134 w 2051041"/>
              <a:gd name="connsiteY725" fmla="*/ 777625 h 2084191"/>
              <a:gd name="connsiteX726" fmla="*/ 1235320 w 2051041"/>
              <a:gd name="connsiteY726" fmla="*/ 820615 h 2084191"/>
              <a:gd name="connsiteX727" fmla="*/ 1192331 w 2051041"/>
              <a:gd name="connsiteY727" fmla="*/ 779258 h 2084191"/>
              <a:gd name="connsiteX728" fmla="*/ 1233688 w 2051041"/>
              <a:gd name="connsiteY728" fmla="*/ 736268 h 2084191"/>
              <a:gd name="connsiteX729" fmla="*/ 1397485 w 2051041"/>
              <a:gd name="connsiteY729" fmla="*/ 735724 h 2084191"/>
              <a:gd name="connsiteX730" fmla="*/ 1441019 w 2051041"/>
              <a:gd name="connsiteY730" fmla="*/ 779802 h 2084191"/>
              <a:gd name="connsiteX731" fmla="*/ 1396397 w 2051041"/>
              <a:gd name="connsiteY731" fmla="*/ 823336 h 2084191"/>
              <a:gd name="connsiteX732" fmla="*/ 1352863 w 2051041"/>
              <a:gd name="connsiteY732" fmla="*/ 779258 h 2084191"/>
              <a:gd name="connsiteX733" fmla="*/ 1397485 w 2051041"/>
              <a:gd name="connsiteY733" fmla="*/ 735724 h 2084191"/>
              <a:gd name="connsiteX734" fmla="*/ 1562371 w 2051041"/>
              <a:gd name="connsiteY734" fmla="*/ 734636 h 2084191"/>
              <a:gd name="connsiteX735" fmla="*/ 1605905 w 2051041"/>
              <a:gd name="connsiteY735" fmla="*/ 779802 h 2084191"/>
              <a:gd name="connsiteX736" fmla="*/ 1560194 w 2051041"/>
              <a:gd name="connsiteY736" fmla="*/ 823881 h 2084191"/>
              <a:gd name="connsiteX737" fmla="*/ 1515572 w 2051041"/>
              <a:gd name="connsiteY737" fmla="*/ 777626 h 2084191"/>
              <a:gd name="connsiteX738" fmla="*/ 1562371 w 2051041"/>
              <a:gd name="connsiteY738" fmla="*/ 734636 h 2084191"/>
              <a:gd name="connsiteX739" fmla="*/ 1724535 w 2051041"/>
              <a:gd name="connsiteY739" fmla="*/ 730827 h 2084191"/>
              <a:gd name="connsiteX740" fmla="*/ 1772422 w 2051041"/>
              <a:gd name="connsiteY740" fmla="*/ 779258 h 2084191"/>
              <a:gd name="connsiteX741" fmla="*/ 1723446 w 2051041"/>
              <a:gd name="connsiteY741" fmla="*/ 826602 h 2084191"/>
              <a:gd name="connsiteX742" fmla="*/ 1676647 w 2051041"/>
              <a:gd name="connsiteY742" fmla="*/ 778714 h 2084191"/>
              <a:gd name="connsiteX743" fmla="*/ 1724535 w 2051041"/>
              <a:gd name="connsiteY743" fmla="*/ 730827 h 2084191"/>
              <a:gd name="connsiteX744" fmla="*/ 1886699 w 2051041"/>
              <a:gd name="connsiteY744" fmla="*/ 730826 h 2084191"/>
              <a:gd name="connsiteX745" fmla="*/ 1935131 w 2051041"/>
              <a:gd name="connsiteY745" fmla="*/ 778713 h 2084191"/>
              <a:gd name="connsiteX746" fmla="*/ 1887244 w 2051041"/>
              <a:gd name="connsiteY746" fmla="*/ 827145 h 2084191"/>
              <a:gd name="connsiteX747" fmla="*/ 1838812 w 2051041"/>
              <a:gd name="connsiteY747" fmla="*/ 778713 h 2084191"/>
              <a:gd name="connsiteX748" fmla="*/ 1886699 w 2051041"/>
              <a:gd name="connsiteY748" fmla="*/ 730826 h 2084191"/>
              <a:gd name="connsiteX749" fmla="*/ 2050496 w 2051041"/>
              <a:gd name="connsiteY749" fmla="*/ 730282 h 2084191"/>
              <a:gd name="connsiteX750" fmla="*/ 2051041 w 2051041"/>
              <a:gd name="connsiteY750" fmla="*/ 730396 h 2084191"/>
              <a:gd name="connsiteX751" fmla="*/ 2051041 w 2051041"/>
              <a:gd name="connsiteY751" fmla="*/ 826942 h 2084191"/>
              <a:gd name="connsiteX752" fmla="*/ 2049952 w 2051041"/>
              <a:gd name="connsiteY752" fmla="*/ 827145 h 2084191"/>
              <a:gd name="connsiteX753" fmla="*/ 2002065 w 2051041"/>
              <a:gd name="connsiteY753" fmla="*/ 778169 h 2084191"/>
              <a:gd name="connsiteX754" fmla="*/ 2050496 w 2051041"/>
              <a:gd name="connsiteY754" fmla="*/ 730282 h 2084191"/>
              <a:gd name="connsiteX755" fmla="*/ 173634 w 2051041"/>
              <a:gd name="connsiteY755" fmla="*/ 685660 h 2084191"/>
              <a:gd name="connsiteX756" fmla="*/ 184518 w 2051041"/>
              <a:gd name="connsiteY756" fmla="*/ 698176 h 2084191"/>
              <a:gd name="connsiteX757" fmla="*/ 172546 w 2051041"/>
              <a:gd name="connsiteY757" fmla="*/ 709059 h 2084191"/>
              <a:gd name="connsiteX758" fmla="*/ 161118 w 2051041"/>
              <a:gd name="connsiteY758" fmla="*/ 697088 h 2084191"/>
              <a:gd name="connsiteX759" fmla="*/ 173634 w 2051041"/>
              <a:gd name="connsiteY759" fmla="*/ 685660 h 2084191"/>
              <a:gd name="connsiteX760" fmla="*/ 335798 w 2051041"/>
              <a:gd name="connsiteY760" fmla="*/ 675320 h 2084191"/>
              <a:gd name="connsiteX761" fmla="*/ 357565 w 2051041"/>
              <a:gd name="connsiteY761" fmla="*/ 696543 h 2084191"/>
              <a:gd name="connsiteX762" fmla="*/ 336342 w 2051041"/>
              <a:gd name="connsiteY762" fmla="*/ 718854 h 2084191"/>
              <a:gd name="connsiteX763" fmla="*/ 315120 w 2051041"/>
              <a:gd name="connsiteY763" fmla="*/ 697631 h 2084191"/>
              <a:gd name="connsiteX764" fmla="*/ 335798 w 2051041"/>
              <a:gd name="connsiteY764" fmla="*/ 675320 h 2084191"/>
              <a:gd name="connsiteX765" fmla="*/ 499051 w 2051041"/>
              <a:gd name="connsiteY765" fmla="*/ 670423 h 2084191"/>
              <a:gd name="connsiteX766" fmla="*/ 526804 w 2051041"/>
              <a:gd name="connsiteY766" fmla="*/ 697088 h 2084191"/>
              <a:gd name="connsiteX767" fmla="*/ 499595 w 2051041"/>
              <a:gd name="connsiteY767" fmla="*/ 724296 h 2084191"/>
              <a:gd name="connsiteX768" fmla="*/ 472930 w 2051041"/>
              <a:gd name="connsiteY768" fmla="*/ 697632 h 2084191"/>
              <a:gd name="connsiteX769" fmla="*/ 499051 w 2051041"/>
              <a:gd name="connsiteY769" fmla="*/ 670423 h 2084191"/>
              <a:gd name="connsiteX770" fmla="*/ 662848 w 2051041"/>
              <a:gd name="connsiteY770" fmla="*/ 665525 h 2084191"/>
              <a:gd name="connsiteX771" fmla="*/ 694954 w 2051041"/>
              <a:gd name="connsiteY771" fmla="*/ 697087 h 2084191"/>
              <a:gd name="connsiteX772" fmla="*/ 663392 w 2051041"/>
              <a:gd name="connsiteY772" fmla="*/ 729194 h 2084191"/>
              <a:gd name="connsiteX773" fmla="*/ 632374 w 2051041"/>
              <a:gd name="connsiteY773" fmla="*/ 698176 h 2084191"/>
              <a:gd name="connsiteX774" fmla="*/ 662848 w 2051041"/>
              <a:gd name="connsiteY774" fmla="*/ 665525 h 2084191"/>
              <a:gd name="connsiteX775" fmla="*/ 825013 w 2051041"/>
              <a:gd name="connsiteY775" fmla="*/ 663349 h 2084191"/>
              <a:gd name="connsiteX776" fmla="*/ 860384 w 2051041"/>
              <a:gd name="connsiteY776" fmla="*/ 697632 h 2084191"/>
              <a:gd name="connsiteX777" fmla="*/ 826101 w 2051041"/>
              <a:gd name="connsiteY777" fmla="*/ 731915 h 2084191"/>
              <a:gd name="connsiteX778" fmla="*/ 791818 w 2051041"/>
              <a:gd name="connsiteY778" fmla="*/ 698176 h 2084191"/>
              <a:gd name="connsiteX779" fmla="*/ 825013 w 2051041"/>
              <a:gd name="connsiteY779" fmla="*/ 663349 h 2084191"/>
              <a:gd name="connsiteX780" fmla="*/ 988809 w 2051041"/>
              <a:gd name="connsiteY780" fmla="*/ 658995 h 2084191"/>
              <a:gd name="connsiteX781" fmla="*/ 1027446 w 2051041"/>
              <a:gd name="connsiteY781" fmla="*/ 697087 h 2084191"/>
              <a:gd name="connsiteX782" fmla="*/ 989353 w 2051041"/>
              <a:gd name="connsiteY782" fmla="*/ 735723 h 2084191"/>
              <a:gd name="connsiteX783" fmla="*/ 950717 w 2051041"/>
              <a:gd name="connsiteY783" fmla="*/ 697631 h 2084191"/>
              <a:gd name="connsiteX784" fmla="*/ 988809 w 2051041"/>
              <a:gd name="connsiteY784" fmla="*/ 658995 h 2084191"/>
              <a:gd name="connsiteX785" fmla="*/ 1152607 w 2051041"/>
              <a:gd name="connsiteY785" fmla="*/ 655729 h 2084191"/>
              <a:gd name="connsiteX786" fmla="*/ 1195052 w 2051041"/>
              <a:gd name="connsiteY786" fmla="*/ 697087 h 2084191"/>
              <a:gd name="connsiteX787" fmla="*/ 1153151 w 2051041"/>
              <a:gd name="connsiteY787" fmla="*/ 739533 h 2084191"/>
              <a:gd name="connsiteX788" fmla="*/ 1110705 w 2051041"/>
              <a:gd name="connsiteY788" fmla="*/ 697631 h 2084191"/>
              <a:gd name="connsiteX789" fmla="*/ 1152607 w 2051041"/>
              <a:gd name="connsiteY789" fmla="*/ 655729 h 2084191"/>
              <a:gd name="connsiteX790" fmla="*/ 1316948 w 2051041"/>
              <a:gd name="connsiteY790" fmla="*/ 653554 h 2084191"/>
              <a:gd name="connsiteX791" fmla="*/ 1359937 w 2051041"/>
              <a:gd name="connsiteY791" fmla="*/ 697632 h 2084191"/>
              <a:gd name="connsiteX792" fmla="*/ 1315315 w 2051041"/>
              <a:gd name="connsiteY792" fmla="*/ 740622 h 2084191"/>
              <a:gd name="connsiteX793" fmla="*/ 1271781 w 2051041"/>
              <a:gd name="connsiteY793" fmla="*/ 696544 h 2084191"/>
              <a:gd name="connsiteX794" fmla="*/ 1316948 w 2051041"/>
              <a:gd name="connsiteY794" fmla="*/ 653554 h 2084191"/>
              <a:gd name="connsiteX795" fmla="*/ 1479112 w 2051041"/>
              <a:gd name="connsiteY795" fmla="*/ 651921 h 2084191"/>
              <a:gd name="connsiteX796" fmla="*/ 1524823 w 2051041"/>
              <a:gd name="connsiteY796" fmla="*/ 697088 h 2084191"/>
              <a:gd name="connsiteX797" fmla="*/ 1479112 w 2051041"/>
              <a:gd name="connsiteY797" fmla="*/ 742254 h 2084191"/>
              <a:gd name="connsiteX798" fmla="*/ 1433945 w 2051041"/>
              <a:gd name="connsiteY798" fmla="*/ 697088 h 2084191"/>
              <a:gd name="connsiteX799" fmla="*/ 1479112 w 2051041"/>
              <a:gd name="connsiteY799" fmla="*/ 651921 h 2084191"/>
              <a:gd name="connsiteX800" fmla="*/ 1642909 w 2051041"/>
              <a:gd name="connsiteY800" fmla="*/ 649744 h 2084191"/>
              <a:gd name="connsiteX801" fmla="*/ 1690796 w 2051041"/>
              <a:gd name="connsiteY801" fmla="*/ 697087 h 2084191"/>
              <a:gd name="connsiteX802" fmla="*/ 1642909 w 2051041"/>
              <a:gd name="connsiteY802" fmla="*/ 745519 h 2084191"/>
              <a:gd name="connsiteX803" fmla="*/ 1594477 w 2051041"/>
              <a:gd name="connsiteY803" fmla="*/ 697632 h 2084191"/>
              <a:gd name="connsiteX804" fmla="*/ 1642909 w 2051041"/>
              <a:gd name="connsiteY804" fmla="*/ 649744 h 2084191"/>
              <a:gd name="connsiteX805" fmla="*/ 1805617 w 2051041"/>
              <a:gd name="connsiteY805" fmla="*/ 648112 h 2084191"/>
              <a:gd name="connsiteX806" fmla="*/ 1854593 w 2051041"/>
              <a:gd name="connsiteY806" fmla="*/ 698176 h 2084191"/>
              <a:gd name="connsiteX807" fmla="*/ 1805073 w 2051041"/>
              <a:gd name="connsiteY807" fmla="*/ 746607 h 2084191"/>
              <a:gd name="connsiteX808" fmla="*/ 1756097 w 2051041"/>
              <a:gd name="connsiteY808" fmla="*/ 697087 h 2084191"/>
              <a:gd name="connsiteX809" fmla="*/ 1805617 w 2051041"/>
              <a:gd name="connsiteY809" fmla="*/ 648112 h 2084191"/>
              <a:gd name="connsiteX810" fmla="*/ 1969414 w 2051041"/>
              <a:gd name="connsiteY810" fmla="*/ 647023 h 2084191"/>
              <a:gd name="connsiteX811" fmla="*/ 2018934 w 2051041"/>
              <a:gd name="connsiteY811" fmla="*/ 698176 h 2084191"/>
              <a:gd name="connsiteX812" fmla="*/ 1968326 w 2051041"/>
              <a:gd name="connsiteY812" fmla="*/ 746063 h 2084191"/>
              <a:gd name="connsiteX813" fmla="*/ 1918806 w 2051041"/>
              <a:gd name="connsiteY813" fmla="*/ 697087 h 2084191"/>
              <a:gd name="connsiteX814" fmla="*/ 1969414 w 2051041"/>
              <a:gd name="connsiteY814" fmla="*/ 647023 h 2084191"/>
              <a:gd name="connsiteX815" fmla="*/ 90919 w 2051041"/>
              <a:gd name="connsiteY815" fmla="*/ 606754 h 2084191"/>
              <a:gd name="connsiteX816" fmla="*/ 99626 w 2051041"/>
              <a:gd name="connsiteY816" fmla="*/ 615460 h 2084191"/>
              <a:gd name="connsiteX817" fmla="*/ 92007 w 2051041"/>
              <a:gd name="connsiteY817" fmla="*/ 627976 h 2084191"/>
              <a:gd name="connsiteX818" fmla="*/ 82756 w 2051041"/>
              <a:gd name="connsiteY818" fmla="*/ 616005 h 2084191"/>
              <a:gd name="connsiteX819" fmla="*/ 90919 w 2051041"/>
              <a:gd name="connsiteY819" fmla="*/ 606754 h 2084191"/>
              <a:gd name="connsiteX820" fmla="*/ 254172 w 2051041"/>
              <a:gd name="connsiteY820" fmla="*/ 598047 h 2084191"/>
              <a:gd name="connsiteX821" fmla="*/ 272674 w 2051041"/>
              <a:gd name="connsiteY821" fmla="*/ 614917 h 2084191"/>
              <a:gd name="connsiteX822" fmla="*/ 255260 w 2051041"/>
              <a:gd name="connsiteY822" fmla="*/ 633419 h 2084191"/>
              <a:gd name="connsiteX823" fmla="*/ 236758 w 2051041"/>
              <a:gd name="connsiteY823" fmla="*/ 616005 h 2084191"/>
              <a:gd name="connsiteX824" fmla="*/ 254172 w 2051041"/>
              <a:gd name="connsiteY824" fmla="*/ 598047 h 2084191"/>
              <a:gd name="connsiteX825" fmla="*/ 418513 w 2051041"/>
              <a:gd name="connsiteY825" fmla="*/ 590429 h 2084191"/>
              <a:gd name="connsiteX826" fmla="*/ 443001 w 2051041"/>
              <a:gd name="connsiteY826" fmla="*/ 614917 h 2084191"/>
              <a:gd name="connsiteX827" fmla="*/ 419058 w 2051041"/>
              <a:gd name="connsiteY827" fmla="*/ 640493 h 2084191"/>
              <a:gd name="connsiteX828" fmla="*/ 392937 w 2051041"/>
              <a:gd name="connsiteY828" fmla="*/ 616005 h 2084191"/>
              <a:gd name="connsiteX829" fmla="*/ 418513 w 2051041"/>
              <a:gd name="connsiteY829" fmla="*/ 590429 h 2084191"/>
              <a:gd name="connsiteX830" fmla="*/ 581222 w 2051041"/>
              <a:gd name="connsiteY830" fmla="*/ 587163 h 2084191"/>
              <a:gd name="connsiteX831" fmla="*/ 610063 w 2051041"/>
              <a:gd name="connsiteY831" fmla="*/ 616549 h 2084191"/>
              <a:gd name="connsiteX832" fmla="*/ 580677 w 2051041"/>
              <a:gd name="connsiteY832" fmla="*/ 645390 h 2084191"/>
              <a:gd name="connsiteX833" fmla="*/ 551836 w 2051041"/>
              <a:gd name="connsiteY833" fmla="*/ 615461 h 2084191"/>
              <a:gd name="connsiteX834" fmla="*/ 581222 w 2051041"/>
              <a:gd name="connsiteY834" fmla="*/ 587163 h 2084191"/>
              <a:gd name="connsiteX835" fmla="*/ 743930 w 2051041"/>
              <a:gd name="connsiteY835" fmla="*/ 582266 h 2084191"/>
              <a:gd name="connsiteX836" fmla="*/ 779301 w 2051041"/>
              <a:gd name="connsiteY836" fmla="*/ 616005 h 2084191"/>
              <a:gd name="connsiteX837" fmla="*/ 745563 w 2051041"/>
              <a:gd name="connsiteY837" fmla="*/ 649744 h 2084191"/>
              <a:gd name="connsiteX838" fmla="*/ 711824 w 2051041"/>
              <a:gd name="connsiteY838" fmla="*/ 616549 h 2084191"/>
              <a:gd name="connsiteX839" fmla="*/ 743930 w 2051041"/>
              <a:gd name="connsiteY839" fmla="*/ 582266 h 2084191"/>
              <a:gd name="connsiteX840" fmla="*/ 907183 w 2051041"/>
              <a:gd name="connsiteY840" fmla="*/ 577913 h 2084191"/>
              <a:gd name="connsiteX841" fmla="*/ 945276 w 2051041"/>
              <a:gd name="connsiteY841" fmla="*/ 615461 h 2084191"/>
              <a:gd name="connsiteX842" fmla="*/ 907727 w 2051041"/>
              <a:gd name="connsiteY842" fmla="*/ 654098 h 2084191"/>
              <a:gd name="connsiteX843" fmla="*/ 869091 w 2051041"/>
              <a:gd name="connsiteY843" fmla="*/ 616006 h 2084191"/>
              <a:gd name="connsiteX844" fmla="*/ 907183 w 2051041"/>
              <a:gd name="connsiteY844" fmla="*/ 577913 h 2084191"/>
              <a:gd name="connsiteX845" fmla="*/ 1069891 w 2051041"/>
              <a:gd name="connsiteY845" fmla="*/ 574648 h 2084191"/>
              <a:gd name="connsiteX846" fmla="*/ 1111248 w 2051041"/>
              <a:gd name="connsiteY846" fmla="*/ 615461 h 2084191"/>
              <a:gd name="connsiteX847" fmla="*/ 1070435 w 2051041"/>
              <a:gd name="connsiteY847" fmla="*/ 656274 h 2084191"/>
              <a:gd name="connsiteX848" fmla="*/ 1029622 w 2051041"/>
              <a:gd name="connsiteY848" fmla="*/ 614917 h 2084191"/>
              <a:gd name="connsiteX849" fmla="*/ 1069891 w 2051041"/>
              <a:gd name="connsiteY849" fmla="*/ 574648 h 2084191"/>
              <a:gd name="connsiteX850" fmla="*/ 1235321 w 2051041"/>
              <a:gd name="connsiteY850" fmla="*/ 572472 h 2084191"/>
              <a:gd name="connsiteX851" fmla="*/ 1277222 w 2051041"/>
              <a:gd name="connsiteY851" fmla="*/ 616550 h 2084191"/>
              <a:gd name="connsiteX852" fmla="*/ 1233688 w 2051041"/>
              <a:gd name="connsiteY852" fmla="*/ 660084 h 2084191"/>
              <a:gd name="connsiteX853" fmla="*/ 1190154 w 2051041"/>
              <a:gd name="connsiteY853" fmla="*/ 614917 h 2084191"/>
              <a:gd name="connsiteX854" fmla="*/ 1235321 w 2051041"/>
              <a:gd name="connsiteY854" fmla="*/ 572472 h 2084191"/>
              <a:gd name="connsiteX855" fmla="*/ 1397485 w 2051041"/>
              <a:gd name="connsiteY855" fmla="*/ 569206 h 2084191"/>
              <a:gd name="connsiteX856" fmla="*/ 1443196 w 2051041"/>
              <a:gd name="connsiteY856" fmla="*/ 616005 h 2084191"/>
              <a:gd name="connsiteX857" fmla="*/ 1396941 w 2051041"/>
              <a:gd name="connsiteY857" fmla="*/ 661172 h 2084191"/>
              <a:gd name="connsiteX858" fmla="*/ 1351775 w 2051041"/>
              <a:gd name="connsiteY858" fmla="*/ 614373 h 2084191"/>
              <a:gd name="connsiteX859" fmla="*/ 1397485 w 2051041"/>
              <a:gd name="connsiteY859" fmla="*/ 569206 h 2084191"/>
              <a:gd name="connsiteX860" fmla="*/ 1560738 w 2051041"/>
              <a:gd name="connsiteY860" fmla="*/ 567029 h 2084191"/>
              <a:gd name="connsiteX861" fmla="*/ 1609714 w 2051041"/>
              <a:gd name="connsiteY861" fmla="*/ 615461 h 2084191"/>
              <a:gd name="connsiteX862" fmla="*/ 1561283 w 2051041"/>
              <a:gd name="connsiteY862" fmla="*/ 663892 h 2084191"/>
              <a:gd name="connsiteX863" fmla="*/ 1512851 w 2051041"/>
              <a:gd name="connsiteY863" fmla="*/ 616005 h 2084191"/>
              <a:gd name="connsiteX864" fmla="*/ 1560738 w 2051041"/>
              <a:gd name="connsiteY864" fmla="*/ 567029 h 2084191"/>
              <a:gd name="connsiteX865" fmla="*/ 1725624 w 2051041"/>
              <a:gd name="connsiteY865" fmla="*/ 565397 h 2084191"/>
              <a:gd name="connsiteX866" fmla="*/ 1774599 w 2051041"/>
              <a:gd name="connsiteY866" fmla="*/ 616005 h 2084191"/>
              <a:gd name="connsiteX867" fmla="*/ 1723447 w 2051041"/>
              <a:gd name="connsiteY867" fmla="*/ 664981 h 2084191"/>
              <a:gd name="connsiteX868" fmla="*/ 1674471 w 2051041"/>
              <a:gd name="connsiteY868" fmla="*/ 615461 h 2084191"/>
              <a:gd name="connsiteX869" fmla="*/ 1725624 w 2051041"/>
              <a:gd name="connsiteY869" fmla="*/ 565397 h 2084191"/>
              <a:gd name="connsiteX870" fmla="*/ 1886699 w 2051041"/>
              <a:gd name="connsiteY870" fmla="*/ 564853 h 2084191"/>
              <a:gd name="connsiteX871" fmla="*/ 1938396 w 2051041"/>
              <a:gd name="connsiteY871" fmla="*/ 614917 h 2084191"/>
              <a:gd name="connsiteX872" fmla="*/ 1887787 w 2051041"/>
              <a:gd name="connsiteY872" fmla="*/ 665525 h 2084191"/>
              <a:gd name="connsiteX873" fmla="*/ 1837179 w 2051041"/>
              <a:gd name="connsiteY873" fmla="*/ 615461 h 2084191"/>
              <a:gd name="connsiteX874" fmla="*/ 1886699 w 2051041"/>
              <a:gd name="connsiteY874" fmla="*/ 564853 h 2084191"/>
              <a:gd name="connsiteX875" fmla="*/ 2050496 w 2051041"/>
              <a:gd name="connsiteY875" fmla="*/ 564852 h 2084191"/>
              <a:gd name="connsiteX876" fmla="*/ 2051041 w 2051041"/>
              <a:gd name="connsiteY876" fmla="*/ 564962 h 2084191"/>
              <a:gd name="connsiteX877" fmla="*/ 2051041 w 2051041"/>
              <a:gd name="connsiteY877" fmla="*/ 665899 h 2084191"/>
              <a:gd name="connsiteX878" fmla="*/ 2049952 w 2051041"/>
              <a:gd name="connsiteY878" fmla="*/ 666069 h 2084191"/>
              <a:gd name="connsiteX879" fmla="*/ 1999344 w 2051041"/>
              <a:gd name="connsiteY879" fmla="*/ 615460 h 2084191"/>
              <a:gd name="connsiteX880" fmla="*/ 2050496 w 2051041"/>
              <a:gd name="connsiteY880" fmla="*/ 564852 h 2084191"/>
              <a:gd name="connsiteX881" fmla="*/ 173090 w 2051041"/>
              <a:gd name="connsiteY881" fmla="*/ 517509 h 2084191"/>
              <a:gd name="connsiteX882" fmla="*/ 189959 w 2051041"/>
              <a:gd name="connsiteY882" fmla="*/ 533834 h 2084191"/>
              <a:gd name="connsiteX883" fmla="*/ 173634 w 2051041"/>
              <a:gd name="connsiteY883" fmla="*/ 550160 h 2084191"/>
              <a:gd name="connsiteX884" fmla="*/ 157308 w 2051041"/>
              <a:gd name="connsiteY884" fmla="*/ 534923 h 2084191"/>
              <a:gd name="connsiteX885" fmla="*/ 173090 w 2051041"/>
              <a:gd name="connsiteY885" fmla="*/ 517509 h 2084191"/>
              <a:gd name="connsiteX886" fmla="*/ 335798 w 2051041"/>
              <a:gd name="connsiteY886" fmla="*/ 511523 h 2084191"/>
              <a:gd name="connsiteX887" fmla="*/ 358654 w 2051041"/>
              <a:gd name="connsiteY887" fmla="*/ 533834 h 2084191"/>
              <a:gd name="connsiteX888" fmla="*/ 336343 w 2051041"/>
              <a:gd name="connsiteY888" fmla="*/ 556689 h 2084191"/>
              <a:gd name="connsiteX889" fmla="*/ 312943 w 2051041"/>
              <a:gd name="connsiteY889" fmla="*/ 534378 h 2084191"/>
              <a:gd name="connsiteX890" fmla="*/ 335798 w 2051041"/>
              <a:gd name="connsiteY890" fmla="*/ 511523 h 2084191"/>
              <a:gd name="connsiteX891" fmla="*/ 500139 w 2051041"/>
              <a:gd name="connsiteY891" fmla="*/ 506626 h 2084191"/>
              <a:gd name="connsiteX892" fmla="*/ 527348 w 2051041"/>
              <a:gd name="connsiteY892" fmla="*/ 535467 h 2084191"/>
              <a:gd name="connsiteX893" fmla="*/ 497963 w 2051041"/>
              <a:gd name="connsiteY893" fmla="*/ 561587 h 2084191"/>
              <a:gd name="connsiteX894" fmla="*/ 471842 w 2051041"/>
              <a:gd name="connsiteY894" fmla="*/ 533290 h 2084191"/>
              <a:gd name="connsiteX895" fmla="*/ 500139 w 2051041"/>
              <a:gd name="connsiteY895" fmla="*/ 506626 h 2084191"/>
              <a:gd name="connsiteX896" fmla="*/ 662304 w 2051041"/>
              <a:gd name="connsiteY896" fmla="*/ 500639 h 2084191"/>
              <a:gd name="connsiteX897" fmla="*/ 696042 w 2051041"/>
              <a:gd name="connsiteY897" fmla="*/ 533290 h 2084191"/>
              <a:gd name="connsiteX898" fmla="*/ 663392 w 2051041"/>
              <a:gd name="connsiteY898" fmla="*/ 566485 h 2084191"/>
              <a:gd name="connsiteX899" fmla="*/ 630197 w 2051041"/>
              <a:gd name="connsiteY899" fmla="*/ 534378 h 2084191"/>
              <a:gd name="connsiteX900" fmla="*/ 662304 w 2051041"/>
              <a:gd name="connsiteY900" fmla="*/ 500639 h 2084191"/>
              <a:gd name="connsiteX901" fmla="*/ 825557 w 2051041"/>
              <a:gd name="connsiteY901" fmla="*/ 496830 h 2084191"/>
              <a:gd name="connsiteX902" fmla="*/ 863649 w 2051041"/>
              <a:gd name="connsiteY902" fmla="*/ 534923 h 2084191"/>
              <a:gd name="connsiteX903" fmla="*/ 825557 w 2051041"/>
              <a:gd name="connsiteY903" fmla="*/ 571383 h 2084191"/>
              <a:gd name="connsiteX904" fmla="*/ 788553 w 2051041"/>
              <a:gd name="connsiteY904" fmla="*/ 534379 h 2084191"/>
              <a:gd name="connsiteX905" fmla="*/ 825557 w 2051041"/>
              <a:gd name="connsiteY905" fmla="*/ 496830 h 2084191"/>
              <a:gd name="connsiteX906" fmla="*/ 989898 w 2051041"/>
              <a:gd name="connsiteY906" fmla="*/ 494110 h 2084191"/>
              <a:gd name="connsiteX907" fmla="*/ 1029078 w 2051041"/>
              <a:gd name="connsiteY907" fmla="*/ 534923 h 2084191"/>
              <a:gd name="connsiteX908" fmla="*/ 989353 w 2051041"/>
              <a:gd name="connsiteY908" fmla="*/ 574104 h 2084191"/>
              <a:gd name="connsiteX909" fmla="*/ 949629 w 2051041"/>
              <a:gd name="connsiteY909" fmla="*/ 533835 h 2084191"/>
              <a:gd name="connsiteX910" fmla="*/ 989898 w 2051041"/>
              <a:gd name="connsiteY910" fmla="*/ 494110 h 2084191"/>
              <a:gd name="connsiteX911" fmla="*/ 1152062 w 2051041"/>
              <a:gd name="connsiteY911" fmla="*/ 490301 h 2084191"/>
              <a:gd name="connsiteX912" fmla="*/ 1196140 w 2051041"/>
              <a:gd name="connsiteY912" fmla="*/ 533835 h 2084191"/>
              <a:gd name="connsiteX913" fmla="*/ 1152606 w 2051041"/>
              <a:gd name="connsiteY913" fmla="*/ 577369 h 2084191"/>
              <a:gd name="connsiteX914" fmla="*/ 1109072 w 2051041"/>
              <a:gd name="connsiteY914" fmla="*/ 534379 h 2084191"/>
              <a:gd name="connsiteX915" fmla="*/ 1152062 w 2051041"/>
              <a:gd name="connsiteY915" fmla="*/ 490301 h 2084191"/>
              <a:gd name="connsiteX916" fmla="*/ 1316947 w 2051041"/>
              <a:gd name="connsiteY916" fmla="*/ 489212 h 2084191"/>
              <a:gd name="connsiteX917" fmla="*/ 1361570 w 2051041"/>
              <a:gd name="connsiteY917" fmla="*/ 534923 h 2084191"/>
              <a:gd name="connsiteX918" fmla="*/ 1315859 w 2051041"/>
              <a:gd name="connsiteY918" fmla="*/ 580090 h 2084191"/>
              <a:gd name="connsiteX919" fmla="*/ 1270693 w 2051041"/>
              <a:gd name="connsiteY919" fmla="*/ 533835 h 2084191"/>
              <a:gd name="connsiteX920" fmla="*/ 1316947 w 2051041"/>
              <a:gd name="connsiteY920" fmla="*/ 489212 h 2084191"/>
              <a:gd name="connsiteX921" fmla="*/ 1479112 w 2051041"/>
              <a:gd name="connsiteY921" fmla="*/ 484315 h 2084191"/>
              <a:gd name="connsiteX922" fmla="*/ 1528087 w 2051041"/>
              <a:gd name="connsiteY922" fmla="*/ 533835 h 2084191"/>
              <a:gd name="connsiteX923" fmla="*/ 1479656 w 2051041"/>
              <a:gd name="connsiteY923" fmla="*/ 582267 h 2084191"/>
              <a:gd name="connsiteX924" fmla="*/ 1431224 w 2051041"/>
              <a:gd name="connsiteY924" fmla="*/ 533835 h 2084191"/>
              <a:gd name="connsiteX925" fmla="*/ 1479112 w 2051041"/>
              <a:gd name="connsiteY925" fmla="*/ 484315 h 2084191"/>
              <a:gd name="connsiteX926" fmla="*/ 1643452 w 2051041"/>
              <a:gd name="connsiteY926" fmla="*/ 484314 h 2084191"/>
              <a:gd name="connsiteX927" fmla="*/ 1692973 w 2051041"/>
              <a:gd name="connsiteY927" fmla="*/ 534923 h 2084191"/>
              <a:gd name="connsiteX928" fmla="*/ 1641276 w 2051041"/>
              <a:gd name="connsiteY928" fmla="*/ 583898 h 2084191"/>
              <a:gd name="connsiteX929" fmla="*/ 1592300 w 2051041"/>
              <a:gd name="connsiteY929" fmla="*/ 532202 h 2084191"/>
              <a:gd name="connsiteX930" fmla="*/ 1643452 w 2051041"/>
              <a:gd name="connsiteY930" fmla="*/ 484314 h 2084191"/>
              <a:gd name="connsiteX931" fmla="*/ 1806162 w 2051041"/>
              <a:gd name="connsiteY931" fmla="*/ 481594 h 2084191"/>
              <a:gd name="connsiteX932" fmla="*/ 1857858 w 2051041"/>
              <a:gd name="connsiteY932" fmla="*/ 536011 h 2084191"/>
              <a:gd name="connsiteX933" fmla="*/ 1803441 w 2051041"/>
              <a:gd name="connsiteY933" fmla="*/ 586075 h 2084191"/>
              <a:gd name="connsiteX934" fmla="*/ 1753377 w 2051041"/>
              <a:gd name="connsiteY934" fmla="*/ 533290 h 2084191"/>
              <a:gd name="connsiteX935" fmla="*/ 1806162 w 2051041"/>
              <a:gd name="connsiteY935" fmla="*/ 481594 h 2084191"/>
              <a:gd name="connsiteX936" fmla="*/ 1968326 w 2051041"/>
              <a:gd name="connsiteY936" fmla="*/ 480505 h 2084191"/>
              <a:gd name="connsiteX937" fmla="*/ 2022200 w 2051041"/>
              <a:gd name="connsiteY937" fmla="*/ 534379 h 2084191"/>
              <a:gd name="connsiteX938" fmla="*/ 1969415 w 2051041"/>
              <a:gd name="connsiteY938" fmla="*/ 588252 h 2084191"/>
              <a:gd name="connsiteX939" fmla="*/ 1915541 w 2051041"/>
              <a:gd name="connsiteY939" fmla="*/ 534923 h 2084191"/>
              <a:gd name="connsiteX940" fmla="*/ 1968326 w 2051041"/>
              <a:gd name="connsiteY940" fmla="*/ 480505 h 2084191"/>
              <a:gd name="connsiteX941" fmla="*/ 91464 w 2051041"/>
              <a:gd name="connsiteY941" fmla="*/ 440780 h 2084191"/>
              <a:gd name="connsiteX942" fmla="*/ 102891 w 2051041"/>
              <a:gd name="connsiteY942" fmla="*/ 451664 h 2084191"/>
              <a:gd name="connsiteX943" fmla="*/ 92008 w 2051041"/>
              <a:gd name="connsiteY943" fmla="*/ 464179 h 2084191"/>
              <a:gd name="connsiteX944" fmla="*/ 80036 w 2051041"/>
              <a:gd name="connsiteY944" fmla="*/ 452752 h 2084191"/>
              <a:gd name="connsiteX945" fmla="*/ 91464 w 2051041"/>
              <a:gd name="connsiteY945" fmla="*/ 440780 h 2084191"/>
              <a:gd name="connsiteX946" fmla="*/ 254172 w 2051041"/>
              <a:gd name="connsiteY946" fmla="*/ 430441 h 2084191"/>
              <a:gd name="connsiteX947" fmla="*/ 275939 w 2051041"/>
              <a:gd name="connsiteY947" fmla="*/ 452208 h 2084191"/>
              <a:gd name="connsiteX948" fmla="*/ 254716 w 2051041"/>
              <a:gd name="connsiteY948" fmla="*/ 473975 h 2084191"/>
              <a:gd name="connsiteX949" fmla="*/ 232405 w 2051041"/>
              <a:gd name="connsiteY949" fmla="*/ 452752 h 2084191"/>
              <a:gd name="connsiteX950" fmla="*/ 254172 w 2051041"/>
              <a:gd name="connsiteY950" fmla="*/ 430441 h 2084191"/>
              <a:gd name="connsiteX951" fmla="*/ 417969 w 2051041"/>
              <a:gd name="connsiteY951" fmla="*/ 424999 h 2084191"/>
              <a:gd name="connsiteX952" fmla="*/ 444634 w 2051041"/>
              <a:gd name="connsiteY952" fmla="*/ 452752 h 2084191"/>
              <a:gd name="connsiteX953" fmla="*/ 417425 w 2051041"/>
              <a:gd name="connsiteY953" fmla="*/ 479417 h 2084191"/>
              <a:gd name="connsiteX954" fmla="*/ 390760 w 2051041"/>
              <a:gd name="connsiteY954" fmla="*/ 452208 h 2084191"/>
              <a:gd name="connsiteX955" fmla="*/ 417969 w 2051041"/>
              <a:gd name="connsiteY955" fmla="*/ 424999 h 2084191"/>
              <a:gd name="connsiteX956" fmla="*/ 580677 w 2051041"/>
              <a:gd name="connsiteY956" fmla="*/ 419558 h 2084191"/>
              <a:gd name="connsiteX957" fmla="*/ 612783 w 2051041"/>
              <a:gd name="connsiteY957" fmla="*/ 452208 h 2084191"/>
              <a:gd name="connsiteX958" fmla="*/ 581221 w 2051041"/>
              <a:gd name="connsiteY958" fmla="*/ 484315 h 2084191"/>
              <a:gd name="connsiteX959" fmla="*/ 549115 w 2051041"/>
              <a:gd name="connsiteY959" fmla="*/ 452208 h 2084191"/>
              <a:gd name="connsiteX960" fmla="*/ 580677 w 2051041"/>
              <a:gd name="connsiteY960" fmla="*/ 419558 h 2084191"/>
              <a:gd name="connsiteX961" fmla="*/ 743931 w 2051041"/>
              <a:gd name="connsiteY961" fmla="*/ 415748 h 2084191"/>
              <a:gd name="connsiteX962" fmla="*/ 780390 w 2051041"/>
              <a:gd name="connsiteY962" fmla="*/ 452208 h 2084191"/>
              <a:gd name="connsiteX963" fmla="*/ 744475 w 2051041"/>
              <a:gd name="connsiteY963" fmla="*/ 489212 h 2084191"/>
              <a:gd name="connsiteX964" fmla="*/ 708559 w 2051041"/>
              <a:gd name="connsiteY964" fmla="*/ 453840 h 2084191"/>
              <a:gd name="connsiteX965" fmla="*/ 743931 w 2051041"/>
              <a:gd name="connsiteY965" fmla="*/ 415748 h 2084191"/>
              <a:gd name="connsiteX966" fmla="*/ 908271 w 2051041"/>
              <a:gd name="connsiteY966" fmla="*/ 414116 h 2084191"/>
              <a:gd name="connsiteX967" fmla="*/ 946363 w 2051041"/>
              <a:gd name="connsiteY967" fmla="*/ 453296 h 2084191"/>
              <a:gd name="connsiteX968" fmla="*/ 906638 w 2051041"/>
              <a:gd name="connsiteY968" fmla="*/ 491933 h 2084191"/>
              <a:gd name="connsiteX969" fmla="*/ 868546 w 2051041"/>
              <a:gd name="connsiteY969" fmla="*/ 452208 h 2084191"/>
              <a:gd name="connsiteX970" fmla="*/ 908271 w 2051041"/>
              <a:gd name="connsiteY970" fmla="*/ 414116 h 2084191"/>
              <a:gd name="connsiteX971" fmla="*/ 1072068 w 2051041"/>
              <a:gd name="connsiteY971" fmla="*/ 409218 h 2084191"/>
              <a:gd name="connsiteX972" fmla="*/ 1113970 w 2051041"/>
              <a:gd name="connsiteY972" fmla="*/ 452752 h 2084191"/>
              <a:gd name="connsiteX973" fmla="*/ 1070436 w 2051041"/>
              <a:gd name="connsiteY973" fmla="*/ 495198 h 2084191"/>
              <a:gd name="connsiteX974" fmla="*/ 1028534 w 2051041"/>
              <a:gd name="connsiteY974" fmla="*/ 451120 h 2084191"/>
              <a:gd name="connsiteX975" fmla="*/ 1072068 w 2051041"/>
              <a:gd name="connsiteY975" fmla="*/ 409218 h 2084191"/>
              <a:gd name="connsiteX976" fmla="*/ 1235865 w 2051041"/>
              <a:gd name="connsiteY976" fmla="*/ 408130 h 2084191"/>
              <a:gd name="connsiteX977" fmla="*/ 1279400 w 2051041"/>
              <a:gd name="connsiteY977" fmla="*/ 453296 h 2084191"/>
              <a:gd name="connsiteX978" fmla="*/ 1233689 w 2051041"/>
              <a:gd name="connsiteY978" fmla="*/ 497374 h 2084191"/>
              <a:gd name="connsiteX979" fmla="*/ 1189611 w 2051041"/>
              <a:gd name="connsiteY979" fmla="*/ 451664 h 2084191"/>
              <a:gd name="connsiteX980" fmla="*/ 1235865 w 2051041"/>
              <a:gd name="connsiteY980" fmla="*/ 408130 h 2084191"/>
              <a:gd name="connsiteX981" fmla="*/ 1396941 w 2051041"/>
              <a:gd name="connsiteY981" fmla="*/ 403776 h 2084191"/>
              <a:gd name="connsiteX982" fmla="*/ 1446461 w 2051041"/>
              <a:gd name="connsiteY982" fmla="*/ 450575 h 2084191"/>
              <a:gd name="connsiteX983" fmla="*/ 1399118 w 2051041"/>
              <a:gd name="connsiteY983" fmla="*/ 500640 h 2084191"/>
              <a:gd name="connsiteX984" fmla="*/ 1349598 w 2051041"/>
              <a:gd name="connsiteY984" fmla="*/ 453296 h 2084191"/>
              <a:gd name="connsiteX985" fmla="*/ 1396941 w 2051041"/>
              <a:gd name="connsiteY985" fmla="*/ 403776 h 2084191"/>
              <a:gd name="connsiteX986" fmla="*/ 1560738 w 2051041"/>
              <a:gd name="connsiteY986" fmla="*/ 402144 h 2084191"/>
              <a:gd name="connsiteX987" fmla="*/ 1611347 w 2051041"/>
              <a:gd name="connsiteY987" fmla="*/ 453297 h 2084191"/>
              <a:gd name="connsiteX988" fmla="*/ 1560194 w 2051041"/>
              <a:gd name="connsiteY988" fmla="*/ 502272 h 2084191"/>
              <a:gd name="connsiteX989" fmla="*/ 1511218 w 2051041"/>
              <a:gd name="connsiteY989" fmla="*/ 451664 h 2084191"/>
              <a:gd name="connsiteX990" fmla="*/ 1560738 w 2051041"/>
              <a:gd name="connsiteY990" fmla="*/ 402144 h 2084191"/>
              <a:gd name="connsiteX991" fmla="*/ 1723991 w 2051041"/>
              <a:gd name="connsiteY991" fmla="*/ 399423 h 2084191"/>
              <a:gd name="connsiteX992" fmla="*/ 1776776 w 2051041"/>
              <a:gd name="connsiteY992" fmla="*/ 452752 h 2084191"/>
              <a:gd name="connsiteX993" fmla="*/ 1725079 w 2051041"/>
              <a:gd name="connsiteY993" fmla="*/ 504993 h 2084191"/>
              <a:gd name="connsiteX994" fmla="*/ 1671750 w 2051041"/>
              <a:gd name="connsiteY994" fmla="*/ 452752 h 2084191"/>
              <a:gd name="connsiteX995" fmla="*/ 1723991 w 2051041"/>
              <a:gd name="connsiteY995" fmla="*/ 399423 h 2084191"/>
              <a:gd name="connsiteX996" fmla="*/ 2051040 w 2051041"/>
              <a:gd name="connsiteY996" fmla="*/ 398335 h 2084191"/>
              <a:gd name="connsiteX997" fmla="*/ 2051041 w 2051041"/>
              <a:gd name="connsiteY997" fmla="*/ 398335 h 2084191"/>
              <a:gd name="connsiteX998" fmla="*/ 2051041 w 2051041"/>
              <a:gd name="connsiteY998" fmla="*/ 506936 h 2084191"/>
              <a:gd name="connsiteX999" fmla="*/ 2049952 w 2051041"/>
              <a:gd name="connsiteY999" fmla="*/ 507170 h 2084191"/>
              <a:gd name="connsiteX1000" fmla="*/ 1995534 w 2051041"/>
              <a:gd name="connsiteY1000" fmla="*/ 452208 h 2084191"/>
              <a:gd name="connsiteX1001" fmla="*/ 2051040 w 2051041"/>
              <a:gd name="connsiteY1001" fmla="*/ 398335 h 2084191"/>
              <a:gd name="connsiteX1002" fmla="*/ 1888332 w 2051041"/>
              <a:gd name="connsiteY1002" fmla="*/ 398335 h 2084191"/>
              <a:gd name="connsiteX1003" fmla="*/ 1941661 w 2051041"/>
              <a:gd name="connsiteY1003" fmla="*/ 452208 h 2084191"/>
              <a:gd name="connsiteX1004" fmla="*/ 1886699 w 2051041"/>
              <a:gd name="connsiteY1004" fmla="*/ 506082 h 2084191"/>
              <a:gd name="connsiteX1005" fmla="*/ 1833370 w 2051041"/>
              <a:gd name="connsiteY1005" fmla="*/ 452208 h 2084191"/>
              <a:gd name="connsiteX1006" fmla="*/ 1888332 w 2051041"/>
              <a:gd name="connsiteY1006" fmla="*/ 398335 h 2084191"/>
              <a:gd name="connsiteX1007" fmla="*/ 12014 w 2051041"/>
              <a:gd name="connsiteY1007" fmla="*/ 364052 h 2084191"/>
              <a:gd name="connsiteX1008" fmla="*/ 15823 w 2051041"/>
              <a:gd name="connsiteY1008" fmla="*/ 370038 h 2084191"/>
              <a:gd name="connsiteX1009" fmla="*/ 9293 w 2051041"/>
              <a:gd name="connsiteY1009" fmla="*/ 377656 h 2084191"/>
              <a:gd name="connsiteX1010" fmla="*/ 3307 w 2051041"/>
              <a:gd name="connsiteY1010" fmla="*/ 371126 h 2084191"/>
              <a:gd name="connsiteX1011" fmla="*/ 12014 w 2051041"/>
              <a:gd name="connsiteY1011" fmla="*/ 364052 h 2084191"/>
              <a:gd name="connsiteX1012" fmla="*/ 172545 w 2051041"/>
              <a:gd name="connsiteY1012" fmla="*/ 353713 h 2084191"/>
              <a:gd name="connsiteX1013" fmla="*/ 190503 w 2051041"/>
              <a:gd name="connsiteY1013" fmla="*/ 370582 h 2084191"/>
              <a:gd name="connsiteX1014" fmla="*/ 173090 w 2051041"/>
              <a:gd name="connsiteY1014" fmla="*/ 387996 h 2084191"/>
              <a:gd name="connsiteX1015" fmla="*/ 155676 w 2051041"/>
              <a:gd name="connsiteY1015" fmla="*/ 371126 h 2084191"/>
              <a:gd name="connsiteX1016" fmla="*/ 172545 w 2051041"/>
              <a:gd name="connsiteY1016" fmla="*/ 353713 h 2084191"/>
              <a:gd name="connsiteX1017" fmla="*/ 336886 w 2051041"/>
              <a:gd name="connsiteY1017" fmla="*/ 345550 h 2084191"/>
              <a:gd name="connsiteX1018" fmla="*/ 361374 w 2051041"/>
              <a:gd name="connsiteY1018" fmla="*/ 371670 h 2084191"/>
              <a:gd name="connsiteX1019" fmla="*/ 335798 w 2051041"/>
              <a:gd name="connsiteY1019" fmla="*/ 395070 h 2084191"/>
              <a:gd name="connsiteX1020" fmla="*/ 311854 w 2051041"/>
              <a:gd name="connsiteY1020" fmla="*/ 370038 h 2084191"/>
              <a:gd name="connsiteX1021" fmla="*/ 336886 w 2051041"/>
              <a:gd name="connsiteY1021" fmla="*/ 345550 h 2084191"/>
              <a:gd name="connsiteX1022" fmla="*/ 499596 w 2051041"/>
              <a:gd name="connsiteY1022" fmla="*/ 342284 h 2084191"/>
              <a:gd name="connsiteX1023" fmla="*/ 528437 w 2051041"/>
              <a:gd name="connsiteY1023" fmla="*/ 370582 h 2084191"/>
              <a:gd name="connsiteX1024" fmla="*/ 499051 w 2051041"/>
              <a:gd name="connsiteY1024" fmla="*/ 399423 h 2084191"/>
              <a:gd name="connsiteX1025" fmla="*/ 470210 w 2051041"/>
              <a:gd name="connsiteY1025" fmla="*/ 370037 h 2084191"/>
              <a:gd name="connsiteX1026" fmla="*/ 499596 w 2051041"/>
              <a:gd name="connsiteY1026" fmla="*/ 342284 h 2084191"/>
              <a:gd name="connsiteX1027" fmla="*/ 663392 w 2051041"/>
              <a:gd name="connsiteY1027" fmla="*/ 337387 h 2084191"/>
              <a:gd name="connsiteX1028" fmla="*/ 697131 w 2051041"/>
              <a:gd name="connsiteY1028" fmla="*/ 371126 h 2084191"/>
              <a:gd name="connsiteX1029" fmla="*/ 662304 w 2051041"/>
              <a:gd name="connsiteY1029" fmla="*/ 404321 h 2084191"/>
              <a:gd name="connsiteX1030" fmla="*/ 629109 w 2051041"/>
              <a:gd name="connsiteY1030" fmla="*/ 371126 h 2084191"/>
              <a:gd name="connsiteX1031" fmla="*/ 663392 w 2051041"/>
              <a:gd name="connsiteY1031" fmla="*/ 337387 h 2084191"/>
              <a:gd name="connsiteX1032" fmla="*/ 825556 w 2051041"/>
              <a:gd name="connsiteY1032" fmla="*/ 332489 h 2084191"/>
              <a:gd name="connsiteX1033" fmla="*/ 864737 w 2051041"/>
              <a:gd name="connsiteY1033" fmla="*/ 370037 h 2084191"/>
              <a:gd name="connsiteX1034" fmla="*/ 826645 w 2051041"/>
              <a:gd name="connsiteY1034" fmla="*/ 409218 h 2084191"/>
              <a:gd name="connsiteX1035" fmla="*/ 787464 w 2051041"/>
              <a:gd name="connsiteY1035" fmla="*/ 371126 h 2084191"/>
              <a:gd name="connsiteX1036" fmla="*/ 825556 w 2051041"/>
              <a:gd name="connsiteY1036" fmla="*/ 332489 h 2084191"/>
              <a:gd name="connsiteX1037" fmla="*/ 989898 w 2051041"/>
              <a:gd name="connsiteY1037" fmla="*/ 328680 h 2084191"/>
              <a:gd name="connsiteX1038" fmla="*/ 1031255 w 2051041"/>
              <a:gd name="connsiteY1038" fmla="*/ 371126 h 2084191"/>
              <a:gd name="connsiteX1039" fmla="*/ 989354 w 2051041"/>
              <a:gd name="connsiteY1039" fmla="*/ 413027 h 2084191"/>
              <a:gd name="connsiteX1040" fmla="*/ 947452 w 2051041"/>
              <a:gd name="connsiteY1040" fmla="*/ 370037 h 2084191"/>
              <a:gd name="connsiteX1041" fmla="*/ 989898 w 2051041"/>
              <a:gd name="connsiteY1041" fmla="*/ 328680 h 2084191"/>
              <a:gd name="connsiteX1042" fmla="*/ 1153150 w 2051041"/>
              <a:gd name="connsiteY1042" fmla="*/ 326504 h 2084191"/>
              <a:gd name="connsiteX1043" fmla="*/ 1197228 w 2051041"/>
              <a:gd name="connsiteY1043" fmla="*/ 370582 h 2084191"/>
              <a:gd name="connsiteX1044" fmla="*/ 1152606 w 2051041"/>
              <a:gd name="connsiteY1044" fmla="*/ 414661 h 2084191"/>
              <a:gd name="connsiteX1045" fmla="*/ 1108528 w 2051041"/>
              <a:gd name="connsiteY1045" fmla="*/ 370038 h 2084191"/>
              <a:gd name="connsiteX1046" fmla="*/ 1153150 w 2051041"/>
              <a:gd name="connsiteY1046" fmla="*/ 326504 h 2084191"/>
              <a:gd name="connsiteX1047" fmla="*/ 1317492 w 2051041"/>
              <a:gd name="connsiteY1047" fmla="*/ 323239 h 2084191"/>
              <a:gd name="connsiteX1048" fmla="*/ 1364835 w 2051041"/>
              <a:gd name="connsiteY1048" fmla="*/ 372215 h 2084191"/>
              <a:gd name="connsiteX1049" fmla="*/ 1314771 w 2051041"/>
              <a:gd name="connsiteY1049" fmla="*/ 419014 h 2084191"/>
              <a:gd name="connsiteX1050" fmla="*/ 1268516 w 2051041"/>
              <a:gd name="connsiteY1050" fmla="*/ 370582 h 2084191"/>
              <a:gd name="connsiteX1051" fmla="*/ 1317492 w 2051041"/>
              <a:gd name="connsiteY1051" fmla="*/ 323239 h 2084191"/>
              <a:gd name="connsiteX1052" fmla="*/ 1479112 w 2051041"/>
              <a:gd name="connsiteY1052" fmla="*/ 320517 h 2084191"/>
              <a:gd name="connsiteX1053" fmla="*/ 1529720 w 2051041"/>
              <a:gd name="connsiteY1053" fmla="*/ 371670 h 2084191"/>
              <a:gd name="connsiteX1054" fmla="*/ 1478568 w 2051041"/>
              <a:gd name="connsiteY1054" fmla="*/ 420101 h 2084191"/>
              <a:gd name="connsiteX1055" fmla="*/ 1429592 w 2051041"/>
              <a:gd name="connsiteY1055" fmla="*/ 370037 h 2084191"/>
              <a:gd name="connsiteX1056" fmla="*/ 1479112 w 2051041"/>
              <a:gd name="connsiteY1056" fmla="*/ 320517 h 2084191"/>
              <a:gd name="connsiteX1057" fmla="*/ 1642364 w 2051041"/>
              <a:gd name="connsiteY1057" fmla="*/ 318341 h 2084191"/>
              <a:gd name="connsiteX1058" fmla="*/ 1695694 w 2051041"/>
              <a:gd name="connsiteY1058" fmla="*/ 370582 h 2084191"/>
              <a:gd name="connsiteX1059" fmla="*/ 1643453 w 2051041"/>
              <a:gd name="connsiteY1059" fmla="*/ 424455 h 2084191"/>
              <a:gd name="connsiteX1060" fmla="*/ 1589035 w 2051041"/>
              <a:gd name="connsiteY1060" fmla="*/ 371670 h 2084191"/>
              <a:gd name="connsiteX1061" fmla="*/ 1642364 w 2051041"/>
              <a:gd name="connsiteY1061" fmla="*/ 318341 h 2084191"/>
              <a:gd name="connsiteX1062" fmla="*/ 90919 w 2051041"/>
              <a:gd name="connsiteY1062" fmla="*/ 273718 h 2084191"/>
              <a:gd name="connsiteX1063" fmla="*/ 106700 w 2051041"/>
              <a:gd name="connsiteY1063" fmla="*/ 288411 h 2084191"/>
              <a:gd name="connsiteX1064" fmla="*/ 91463 w 2051041"/>
              <a:gd name="connsiteY1064" fmla="*/ 303648 h 2084191"/>
              <a:gd name="connsiteX1065" fmla="*/ 76770 w 2051041"/>
              <a:gd name="connsiteY1065" fmla="*/ 288411 h 2084191"/>
              <a:gd name="connsiteX1066" fmla="*/ 90919 w 2051041"/>
              <a:gd name="connsiteY1066" fmla="*/ 273718 h 2084191"/>
              <a:gd name="connsiteX1067" fmla="*/ 254716 w 2051041"/>
              <a:gd name="connsiteY1067" fmla="*/ 267733 h 2084191"/>
              <a:gd name="connsiteX1068" fmla="*/ 276483 w 2051041"/>
              <a:gd name="connsiteY1068" fmla="*/ 288956 h 2084191"/>
              <a:gd name="connsiteX1069" fmla="*/ 254172 w 2051041"/>
              <a:gd name="connsiteY1069" fmla="*/ 311811 h 2084191"/>
              <a:gd name="connsiteX1070" fmla="*/ 232405 w 2051041"/>
              <a:gd name="connsiteY1070" fmla="*/ 289500 h 2084191"/>
              <a:gd name="connsiteX1071" fmla="*/ 254716 w 2051041"/>
              <a:gd name="connsiteY1071" fmla="*/ 267733 h 2084191"/>
              <a:gd name="connsiteX1072" fmla="*/ 1941117 w 2051041"/>
              <a:gd name="connsiteY1072" fmla="*/ 263202 h 2084191"/>
              <a:gd name="connsiteX1073" fmla="*/ 1936219 w 2051041"/>
              <a:gd name="connsiteY1073" fmla="*/ 266467 h 2084191"/>
              <a:gd name="connsiteX1074" fmla="*/ 1938396 w 2051041"/>
              <a:gd name="connsiteY1074" fmla="*/ 272453 h 2084191"/>
              <a:gd name="connsiteX1075" fmla="*/ 1932954 w 2051041"/>
              <a:gd name="connsiteY1075" fmla="*/ 325782 h 2084191"/>
              <a:gd name="connsiteX1076" fmla="*/ 1930777 w 2051041"/>
              <a:gd name="connsiteY1076" fmla="*/ 331224 h 2084191"/>
              <a:gd name="connsiteX1077" fmla="*/ 1936219 w 2051041"/>
              <a:gd name="connsiteY1077" fmla="*/ 330136 h 2084191"/>
              <a:gd name="connsiteX1078" fmla="*/ 1966693 w 2051041"/>
              <a:gd name="connsiteY1078" fmla="*/ 320340 h 2084191"/>
              <a:gd name="connsiteX1079" fmla="*/ 1998799 w 2051041"/>
              <a:gd name="connsiteY1079" fmla="*/ 328503 h 2084191"/>
              <a:gd name="connsiteX1080" fmla="*/ 2003153 w 2051041"/>
              <a:gd name="connsiteY1080" fmla="*/ 330136 h 2084191"/>
              <a:gd name="connsiteX1081" fmla="*/ 2001520 w 2051041"/>
              <a:gd name="connsiteY1081" fmla="*/ 324694 h 2084191"/>
              <a:gd name="connsiteX1082" fmla="*/ 1994446 w 2051041"/>
              <a:gd name="connsiteY1082" fmla="*/ 309457 h 2084191"/>
              <a:gd name="connsiteX1083" fmla="*/ 1998255 w 2051041"/>
              <a:gd name="connsiteY1083" fmla="*/ 267555 h 2084191"/>
              <a:gd name="connsiteX1084" fmla="*/ 2000976 w 2051041"/>
              <a:gd name="connsiteY1084" fmla="*/ 263746 h 2084191"/>
              <a:gd name="connsiteX1085" fmla="*/ 1995534 w 2051041"/>
              <a:gd name="connsiteY1085" fmla="*/ 263746 h 2084191"/>
              <a:gd name="connsiteX1086" fmla="*/ 1941117 w 2051041"/>
              <a:gd name="connsiteY1086" fmla="*/ 263202 h 2084191"/>
              <a:gd name="connsiteX1087" fmla="*/ 417425 w 2051041"/>
              <a:gd name="connsiteY1087" fmla="*/ 262291 h 2084191"/>
              <a:gd name="connsiteX1088" fmla="*/ 445178 w 2051041"/>
              <a:gd name="connsiteY1088" fmla="*/ 288956 h 2084191"/>
              <a:gd name="connsiteX1089" fmla="*/ 417969 w 2051041"/>
              <a:gd name="connsiteY1089" fmla="*/ 317253 h 2084191"/>
              <a:gd name="connsiteX1090" fmla="*/ 390216 w 2051041"/>
              <a:gd name="connsiteY1090" fmla="*/ 290044 h 2084191"/>
              <a:gd name="connsiteX1091" fmla="*/ 417425 w 2051041"/>
              <a:gd name="connsiteY1091" fmla="*/ 262291 h 2084191"/>
              <a:gd name="connsiteX1092" fmla="*/ 580678 w 2051041"/>
              <a:gd name="connsiteY1092" fmla="*/ 256304 h 2084191"/>
              <a:gd name="connsiteX1093" fmla="*/ 613872 w 2051041"/>
              <a:gd name="connsiteY1093" fmla="*/ 288955 h 2084191"/>
              <a:gd name="connsiteX1094" fmla="*/ 581222 w 2051041"/>
              <a:gd name="connsiteY1094" fmla="*/ 322150 h 2084191"/>
              <a:gd name="connsiteX1095" fmla="*/ 548027 w 2051041"/>
              <a:gd name="connsiteY1095" fmla="*/ 289499 h 2084191"/>
              <a:gd name="connsiteX1096" fmla="*/ 580678 w 2051041"/>
              <a:gd name="connsiteY1096" fmla="*/ 256304 h 2084191"/>
              <a:gd name="connsiteX1097" fmla="*/ 743930 w 2051041"/>
              <a:gd name="connsiteY1097" fmla="*/ 251951 h 2084191"/>
              <a:gd name="connsiteX1098" fmla="*/ 782022 w 2051041"/>
              <a:gd name="connsiteY1098" fmla="*/ 289499 h 2084191"/>
              <a:gd name="connsiteX1099" fmla="*/ 744474 w 2051041"/>
              <a:gd name="connsiteY1099" fmla="*/ 326503 h 2084191"/>
              <a:gd name="connsiteX1100" fmla="*/ 707470 w 2051041"/>
              <a:gd name="connsiteY1100" fmla="*/ 289499 h 2084191"/>
              <a:gd name="connsiteX1101" fmla="*/ 743930 w 2051041"/>
              <a:gd name="connsiteY1101" fmla="*/ 251951 h 2084191"/>
              <a:gd name="connsiteX1102" fmla="*/ 907183 w 2051041"/>
              <a:gd name="connsiteY1102" fmla="*/ 249775 h 2084191"/>
              <a:gd name="connsiteX1103" fmla="*/ 947452 w 2051041"/>
              <a:gd name="connsiteY1103" fmla="*/ 289500 h 2084191"/>
              <a:gd name="connsiteX1104" fmla="*/ 908271 w 2051041"/>
              <a:gd name="connsiteY1104" fmla="*/ 329225 h 2084191"/>
              <a:gd name="connsiteX1105" fmla="*/ 867458 w 2051041"/>
              <a:gd name="connsiteY1105" fmla="*/ 290044 h 2084191"/>
              <a:gd name="connsiteX1106" fmla="*/ 907183 w 2051041"/>
              <a:gd name="connsiteY1106" fmla="*/ 249775 h 2084191"/>
              <a:gd name="connsiteX1107" fmla="*/ 1070435 w 2051041"/>
              <a:gd name="connsiteY1107" fmla="*/ 245965 h 2084191"/>
              <a:gd name="connsiteX1108" fmla="*/ 1114513 w 2051041"/>
              <a:gd name="connsiteY1108" fmla="*/ 290043 h 2084191"/>
              <a:gd name="connsiteX1109" fmla="*/ 1069347 w 2051041"/>
              <a:gd name="connsiteY1109" fmla="*/ 333578 h 2084191"/>
              <a:gd name="connsiteX1110" fmla="*/ 1026357 w 2051041"/>
              <a:gd name="connsiteY1110" fmla="*/ 288955 h 2084191"/>
              <a:gd name="connsiteX1111" fmla="*/ 1070435 w 2051041"/>
              <a:gd name="connsiteY1111" fmla="*/ 245965 h 2084191"/>
              <a:gd name="connsiteX1112" fmla="*/ 1233689 w 2051041"/>
              <a:gd name="connsiteY1112" fmla="*/ 241613 h 2084191"/>
              <a:gd name="connsiteX1113" fmla="*/ 1282120 w 2051041"/>
              <a:gd name="connsiteY1113" fmla="*/ 288412 h 2084191"/>
              <a:gd name="connsiteX1114" fmla="*/ 1235321 w 2051041"/>
              <a:gd name="connsiteY1114" fmla="*/ 335755 h 2084191"/>
              <a:gd name="connsiteX1115" fmla="*/ 1187434 w 2051041"/>
              <a:gd name="connsiteY1115" fmla="*/ 289500 h 2084191"/>
              <a:gd name="connsiteX1116" fmla="*/ 1233689 w 2051041"/>
              <a:gd name="connsiteY1116" fmla="*/ 241613 h 2084191"/>
              <a:gd name="connsiteX1117" fmla="*/ 1397485 w 2051041"/>
              <a:gd name="connsiteY1117" fmla="*/ 238891 h 2084191"/>
              <a:gd name="connsiteX1118" fmla="*/ 1448094 w 2051041"/>
              <a:gd name="connsiteY1118" fmla="*/ 288955 h 2084191"/>
              <a:gd name="connsiteX1119" fmla="*/ 1398029 w 2051041"/>
              <a:gd name="connsiteY1119" fmla="*/ 338475 h 2084191"/>
              <a:gd name="connsiteX1120" fmla="*/ 1348509 w 2051041"/>
              <a:gd name="connsiteY1120" fmla="*/ 289499 h 2084191"/>
              <a:gd name="connsiteX1121" fmla="*/ 1397485 w 2051041"/>
              <a:gd name="connsiteY1121" fmla="*/ 238891 h 2084191"/>
              <a:gd name="connsiteX1122" fmla="*/ 1559650 w 2051041"/>
              <a:gd name="connsiteY1122" fmla="*/ 237258 h 2084191"/>
              <a:gd name="connsiteX1123" fmla="*/ 1613523 w 2051041"/>
              <a:gd name="connsiteY1123" fmla="*/ 288955 h 2084191"/>
              <a:gd name="connsiteX1124" fmla="*/ 1560738 w 2051041"/>
              <a:gd name="connsiteY1124" fmla="*/ 342829 h 2084191"/>
              <a:gd name="connsiteX1125" fmla="*/ 1507953 w 2051041"/>
              <a:gd name="connsiteY1125" fmla="*/ 289499 h 2084191"/>
              <a:gd name="connsiteX1126" fmla="*/ 1559650 w 2051041"/>
              <a:gd name="connsiteY1126" fmla="*/ 237258 h 2084191"/>
              <a:gd name="connsiteX1127" fmla="*/ 9837 w 2051041"/>
              <a:gd name="connsiteY1127" fmla="*/ 198078 h 2084191"/>
              <a:gd name="connsiteX1128" fmla="*/ 19632 w 2051041"/>
              <a:gd name="connsiteY1128" fmla="*/ 207873 h 2084191"/>
              <a:gd name="connsiteX1129" fmla="*/ 10381 w 2051041"/>
              <a:gd name="connsiteY1129" fmla="*/ 218213 h 2084191"/>
              <a:gd name="connsiteX1130" fmla="*/ 42 w 2051041"/>
              <a:gd name="connsiteY1130" fmla="*/ 207873 h 2084191"/>
              <a:gd name="connsiteX1131" fmla="*/ 9837 w 2051041"/>
              <a:gd name="connsiteY1131" fmla="*/ 198078 h 2084191"/>
              <a:gd name="connsiteX1132" fmla="*/ 173090 w 2051041"/>
              <a:gd name="connsiteY1132" fmla="*/ 187739 h 2084191"/>
              <a:gd name="connsiteX1133" fmla="*/ 192136 w 2051041"/>
              <a:gd name="connsiteY1133" fmla="*/ 207329 h 2084191"/>
              <a:gd name="connsiteX1134" fmla="*/ 172546 w 2051041"/>
              <a:gd name="connsiteY1134" fmla="*/ 227464 h 2084191"/>
              <a:gd name="connsiteX1135" fmla="*/ 154044 w 2051041"/>
              <a:gd name="connsiteY1135" fmla="*/ 208418 h 2084191"/>
              <a:gd name="connsiteX1136" fmla="*/ 173090 w 2051041"/>
              <a:gd name="connsiteY1136" fmla="*/ 187739 h 2084191"/>
              <a:gd name="connsiteX1137" fmla="*/ 336887 w 2051041"/>
              <a:gd name="connsiteY1137" fmla="*/ 182297 h 2084191"/>
              <a:gd name="connsiteX1138" fmla="*/ 363007 w 2051041"/>
              <a:gd name="connsiteY1138" fmla="*/ 207329 h 2084191"/>
              <a:gd name="connsiteX1139" fmla="*/ 336887 w 2051041"/>
              <a:gd name="connsiteY1139" fmla="*/ 233994 h 2084191"/>
              <a:gd name="connsiteX1140" fmla="*/ 310766 w 2051041"/>
              <a:gd name="connsiteY1140" fmla="*/ 208961 h 2084191"/>
              <a:gd name="connsiteX1141" fmla="*/ 336887 w 2051041"/>
              <a:gd name="connsiteY1141" fmla="*/ 182297 h 2084191"/>
              <a:gd name="connsiteX1142" fmla="*/ 1856225 w 2051041"/>
              <a:gd name="connsiteY1142" fmla="*/ 180487 h 2084191"/>
              <a:gd name="connsiteX1143" fmla="*/ 1855681 w 2051041"/>
              <a:gd name="connsiteY1143" fmla="*/ 185929 h 2084191"/>
              <a:gd name="connsiteX1144" fmla="*/ 1851872 w 2051041"/>
              <a:gd name="connsiteY1144" fmla="*/ 244700 h 2084191"/>
              <a:gd name="connsiteX1145" fmla="*/ 1851328 w 2051041"/>
              <a:gd name="connsiteY1145" fmla="*/ 247965 h 2084191"/>
              <a:gd name="connsiteX1146" fmla="*/ 1854593 w 2051041"/>
              <a:gd name="connsiteY1146" fmla="*/ 247421 h 2084191"/>
              <a:gd name="connsiteX1147" fmla="*/ 1899215 w 2051041"/>
              <a:gd name="connsiteY1147" fmla="*/ 238714 h 2084191"/>
              <a:gd name="connsiteX1148" fmla="*/ 1913908 w 2051041"/>
              <a:gd name="connsiteY1148" fmla="*/ 243067 h 2084191"/>
              <a:gd name="connsiteX1149" fmla="*/ 1918806 w 2051041"/>
              <a:gd name="connsiteY1149" fmla="*/ 242523 h 2084191"/>
              <a:gd name="connsiteX1150" fmla="*/ 1918261 w 2051041"/>
              <a:gd name="connsiteY1150" fmla="*/ 238170 h 2084191"/>
              <a:gd name="connsiteX1151" fmla="*/ 1917173 w 2051041"/>
              <a:gd name="connsiteY1151" fmla="*/ 185929 h 2084191"/>
              <a:gd name="connsiteX1152" fmla="*/ 1918261 w 2051041"/>
              <a:gd name="connsiteY1152" fmla="*/ 181576 h 2084191"/>
              <a:gd name="connsiteX1153" fmla="*/ 1913908 w 2051041"/>
              <a:gd name="connsiteY1153" fmla="*/ 182664 h 2084191"/>
              <a:gd name="connsiteX1154" fmla="*/ 1860579 w 2051041"/>
              <a:gd name="connsiteY1154" fmla="*/ 180487 h 2084191"/>
              <a:gd name="connsiteX1155" fmla="*/ 1856225 w 2051041"/>
              <a:gd name="connsiteY1155" fmla="*/ 180487 h 2084191"/>
              <a:gd name="connsiteX1156" fmla="*/ 499595 w 2051041"/>
              <a:gd name="connsiteY1156" fmla="*/ 175767 h 2084191"/>
              <a:gd name="connsiteX1157" fmla="*/ 531158 w 2051041"/>
              <a:gd name="connsiteY1157" fmla="*/ 207874 h 2084191"/>
              <a:gd name="connsiteX1158" fmla="*/ 498507 w 2051041"/>
              <a:gd name="connsiteY1158" fmla="*/ 238347 h 2084191"/>
              <a:gd name="connsiteX1159" fmla="*/ 468033 w 2051041"/>
              <a:gd name="connsiteY1159" fmla="*/ 207329 h 2084191"/>
              <a:gd name="connsiteX1160" fmla="*/ 499595 w 2051041"/>
              <a:gd name="connsiteY1160" fmla="*/ 175767 h 2084191"/>
              <a:gd name="connsiteX1161" fmla="*/ 662304 w 2051041"/>
              <a:gd name="connsiteY1161" fmla="*/ 173046 h 2084191"/>
              <a:gd name="connsiteX1162" fmla="*/ 697676 w 2051041"/>
              <a:gd name="connsiteY1162" fmla="*/ 207873 h 2084191"/>
              <a:gd name="connsiteX1163" fmla="*/ 662304 w 2051041"/>
              <a:gd name="connsiteY1163" fmla="*/ 242156 h 2084191"/>
              <a:gd name="connsiteX1164" fmla="*/ 628021 w 2051041"/>
              <a:gd name="connsiteY1164" fmla="*/ 207873 h 2084191"/>
              <a:gd name="connsiteX1165" fmla="*/ 662304 w 2051041"/>
              <a:gd name="connsiteY1165" fmla="*/ 173046 h 2084191"/>
              <a:gd name="connsiteX1166" fmla="*/ 826645 w 2051041"/>
              <a:gd name="connsiteY1166" fmla="*/ 168148 h 2084191"/>
              <a:gd name="connsiteX1167" fmla="*/ 864737 w 2051041"/>
              <a:gd name="connsiteY1167" fmla="*/ 207329 h 2084191"/>
              <a:gd name="connsiteX1168" fmla="*/ 826100 w 2051041"/>
              <a:gd name="connsiteY1168" fmla="*/ 247054 h 2084191"/>
              <a:gd name="connsiteX1169" fmla="*/ 787464 w 2051041"/>
              <a:gd name="connsiteY1169" fmla="*/ 207873 h 2084191"/>
              <a:gd name="connsiteX1170" fmla="*/ 826645 w 2051041"/>
              <a:gd name="connsiteY1170" fmla="*/ 168148 h 2084191"/>
              <a:gd name="connsiteX1171" fmla="*/ 987721 w 2051041"/>
              <a:gd name="connsiteY1171" fmla="*/ 164883 h 2084191"/>
              <a:gd name="connsiteX1172" fmla="*/ 1031799 w 2051041"/>
              <a:gd name="connsiteY1172" fmla="*/ 207329 h 2084191"/>
              <a:gd name="connsiteX1173" fmla="*/ 988809 w 2051041"/>
              <a:gd name="connsiteY1173" fmla="*/ 250319 h 2084191"/>
              <a:gd name="connsiteX1174" fmla="*/ 945819 w 2051041"/>
              <a:gd name="connsiteY1174" fmla="*/ 208417 h 2084191"/>
              <a:gd name="connsiteX1175" fmla="*/ 987721 w 2051041"/>
              <a:gd name="connsiteY1175" fmla="*/ 164883 h 2084191"/>
              <a:gd name="connsiteX1176" fmla="*/ 1153150 w 2051041"/>
              <a:gd name="connsiteY1176" fmla="*/ 162707 h 2084191"/>
              <a:gd name="connsiteX1177" fmla="*/ 1197772 w 2051041"/>
              <a:gd name="connsiteY1177" fmla="*/ 207874 h 2084191"/>
              <a:gd name="connsiteX1178" fmla="*/ 1151517 w 2051041"/>
              <a:gd name="connsiteY1178" fmla="*/ 253584 h 2084191"/>
              <a:gd name="connsiteX1179" fmla="*/ 1107439 w 2051041"/>
              <a:gd name="connsiteY1179" fmla="*/ 207329 h 2084191"/>
              <a:gd name="connsiteX1180" fmla="*/ 1153150 w 2051041"/>
              <a:gd name="connsiteY1180" fmla="*/ 162707 h 2084191"/>
              <a:gd name="connsiteX1181" fmla="*/ 1315315 w 2051041"/>
              <a:gd name="connsiteY1181" fmla="*/ 158353 h 2084191"/>
              <a:gd name="connsiteX1182" fmla="*/ 1365379 w 2051041"/>
              <a:gd name="connsiteY1182" fmla="*/ 206785 h 2084191"/>
              <a:gd name="connsiteX1183" fmla="*/ 1315859 w 2051041"/>
              <a:gd name="connsiteY1183" fmla="*/ 256305 h 2084191"/>
              <a:gd name="connsiteX1184" fmla="*/ 1266883 w 2051041"/>
              <a:gd name="connsiteY1184" fmla="*/ 207873 h 2084191"/>
              <a:gd name="connsiteX1185" fmla="*/ 1315315 w 2051041"/>
              <a:gd name="connsiteY1185" fmla="*/ 158353 h 2084191"/>
              <a:gd name="connsiteX1186" fmla="*/ 1478567 w 2051041"/>
              <a:gd name="connsiteY1186" fmla="*/ 156721 h 2084191"/>
              <a:gd name="connsiteX1187" fmla="*/ 1529720 w 2051041"/>
              <a:gd name="connsiteY1187" fmla="*/ 207329 h 2084191"/>
              <a:gd name="connsiteX1188" fmla="*/ 1478567 w 2051041"/>
              <a:gd name="connsiteY1188" fmla="*/ 258482 h 2084191"/>
              <a:gd name="connsiteX1189" fmla="*/ 1427959 w 2051041"/>
              <a:gd name="connsiteY1189" fmla="*/ 207874 h 2084191"/>
              <a:gd name="connsiteX1190" fmla="*/ 1478567 w 2051041"/>
              <a:gd name="connsiteY1190" fmla="*/ 156721 h 2084191"/>
              <a:gd name="connsiteX1191" fmla="*/ 1644541 w 2051041"/>
              <a:gd name="connsiteY1191" fmla="*/ 153456 h 2084191"/>
              <a:gd name="connsiteX1192" fmla="*/ 1697326 w 2051041"/>
              <a:gd name="connsiteY1192" fmla="*/ 209506 h 2084191"/>
              <a:gd name="connsiteX1193" fmla="*/ 1641276 w 2051041"/>
              <a:gd name="connsiteY1193" fmla="*/ 262835 h 2084191"/>
              <a:gd name="connsiteX1194" fmla="*/ 1587947 w 2051041"/>
              <a:gd name="connsiteY1194" fmla="*/ 206785 h 2084191"/>
              <a:gd name="connsiteX1195" fmla="*/ 1644541 w 2051041"/>
              <a:gd name="connsiteY1195" fmla="*/ 153456 h 2084191"/>
              <a:gd name="connsiteX1196" fmla="*/ 91463 w 2051041"/>
              <a:gd name="connsiteY1196" fmla="*/ 109922 h 2084191"/>
              <a:gd name="connsiteX1197" fmla="*/ 107244 w 2051041"/>
              <a:gd name="connsiteY1197" fmla="*/ 126247 h 2084191"/>
              <a:gd name="connsiteX1198" fmla="*/ 91463 w 2051041"/>
              <a:gd name="connsiteY1198" fmla="*/ 142028 h 2084191"/>
              <a:gd name="connsiteX1199" fmla="*/ 75682 w 2051041"/>
              <a:gd name="connsiteY1199" fmla="*/ 126247 h 2084191"/>
              <a:gd name="connsiteX1200" fmla="*/ 91463 w 2051041"/>
              <a:gd name="connsiteY1200" fmla="*/ 109922 h 2084191"/>
              <a:gd name="connsiteX1201" fmla="*/ 1942341 w 2051041"/>
              <a:gd name="connsiteY1201" fmla="*/ 104915 h 2084191"/>
              <a:gd name="connsiteX1202" fmla="*/ 1942205 w 2051041"/>
              <a:gd name="connsiteY1202" fmla="*/ 111377 h 2084191"/>
              <a:gd name="connsiteX1203" fmla="*/ 1946559 w 2051041"/>
              <a:gd name="connsiteY1203" fmla="*/ 131511 h 2084191"/>
              <a:gd name="connsiteX1204" fmla="*/ 1939484 w 2051041"/>
              <a:gd name="connsiteY1204" fmla="*/ 157088 h 2084191"/>
              <a:gd name="connsiteX1205" fmla="*/ 1941117 w 2051041"/>
              <a:gd name="connsiteY1205" fmla="*/ 160353 h 2084191"/>
              <a:gd name="connsiteX1206" fmla="*/ 1986828 w 2051041"/>
              <a:gd name="connsiteY1206" fmla="*/ 157088 h 2084191"/>
              <a:gd name="connsiteX1207" fmla="*/ 1987916 w 2051041"/>
              <a:gd name="connsiteY1207" fmla="*/ 157088 h 2084191"/>
              <a:gd name="connsiteX1208" fmla="*/ 1993902 w 2051041"/>
              <a:gd name="connsiteY1208" fmla="*/ 150013 h 2084191"/>
              <a:gd name="connsiteX1209" fmla="*/ 1993902 w 2051041"/>
              <a:gd name="connsiteY1209" fmla="*/ 109744 h 2084191"/>
              <a:gd name="connsiteX1210" fmla="*/ 1989004 w 2051041"/>
              <a:gd name="connsiteY1210" fmla="*/ 105391 h 2084191"/>
              <a:gd name="connsiteX1211" fmla="*/ 1948191 w 2051041"/>
              <a:gd name="connsiteY1211" fmla="*/ 105391 h 2084191"/>
              <a:gd name="connsiteX1212" fmla="*/ 1942341 w 2051041"/>
              <a:gd name="connsiteY1212" fmla="*/ 104915 h 2084191"/>
              <a:gd name="connsiteX1213" fmla="*/ 255804 w 2051041"/>
              <a:gd name="connsiteY1213" fmla="*/ 103392 h 2084191"/>
              <a:gd name="connsiteX1214" fmla="*/ 277571 w 2051041"/>
              <a:gd name="connsiteY1214" fmla="*/ 126791 h 2084191"/>
              <a:gd name="connsiteX1215" fmla="*/ 254172 w 2051041"/>
              <a:gd name="connsiteY1215" fmla="*/ 148014 h 2084191"/>
              <a:gd name="connsiteX1216" fmla="*/ 232405 w 2051041"/>
              <a:gd name="connsiteY1216" fmla="*/ 125159 h 2084191"/>
              <a:gd name="connsiteX1217" fmla="*/ 255804 w 2051041"/>
              <a:gd name="connsiteY1217" fmla="*/ 103392 h 2084191"/>
              <a:gd name="connsiteX1218" fmla="*/ 1773511 w 2051041"/>
              <a:gd name="connsiteY1218" fmla="*/ 99405 h 2084191"/>
              <a:gd name="connsiteX1219" fmla="*/ 1773511 w 2051041"/>
              <a:gd name="connsiteY1219" fmla="*/ 107023 h 2084191"/>
              <a:gd name="connsiteX1220" fmla="*/ 1780585 w 2051041"/>
              <a:gd name="connsiteY1220" fmla="*/ 130423 h 2084191"/>
              <a:gd name="connsiteX1221" fmla="*/ 1773511 w 2051041"/>
              <a:gd name="connsiteY1221" fmla="*/ 155999 h 2084191"/>
              <a:gd name="connsiteX1222" fmla="*/ 1774055 w 2051041"/>
              <a:gd name="connsiteY1222" fmla="*/ 161985 h 2084191"/>
              <a:gd name="connsiteX1223" fmla="*/ 1780041 w 2051041"/>
              <a:gd name="connsiteY1223" fmla="*/ 162529 h 2084191"/>
              <a:gd name="connsiteX1224" fmla="*/ 1811059 w 2051041"/>
              <a:gd name="connsiteY1224" fmla="*/ 157632 h 2084191"/>
              <a:gd name="connsiteX1225" fmla="*/ 1829561 w 2051041"/>
              <a:gd name="connsiteY1225" fmla="*/ 161985 h 2084191"/>
              <a:gd name="connsiteX1226" fmla="*/ 1836635 w 2051041"/>
              <a:gd name="connsiteY1226" fmla="*/ 161985 h 2084191"/>
              <a:gd name="connsiteX1227" fmla="*/ 1833914 w 2051041"/>
              <a:gd name="connsiteY1227" fmla="*/ 157088 h 2084191"/>
              <a:gd name="connsiteX1228" fmla="*/ 1834458 w 2051041"/>
              <a:gd name="connsiteY1228" fmla="*/ 104303 h 2084191"/>
              <a:gd name="connsiteX1229" fmla="*/ 1835547 w 2051041"/>
              <a:gd name="connsiteY1229" fmla="*/ 99405 h 2084191"/>
              <a:gd name="connsiteX1230" fmla="*/ 1831193 w 2051041"/>
              <a:gd name="connsiteY1230" fmla="*/ 101038 h 2084191"/>
              <a:gd name="connsiteX1231" fmla="*/ 1780041 w 2051041"/>
              <a:gd name="connsiteY1231" fmla="*/ 101582 h 2084191"/>
              <a:gd name="connsiteX1232" fmla="*/ 1773511 w 2051041"/>
              <a:gd name="connsiteY1232" fmla="*/ 99405 h 2084191"/>
              <a:gd name="connsiteX1233" fmla="*/ 417424 w 2051041"/>
              <a:gd name="connsiteY1233" fmla="*/ 97950 h 2084191"/>
              <a:gd name="connsiteX1234" fmla="*/ 445721 w 2051041"/>
              <a:gd name="connsiteY1234" fmla="*/ 126247 h 2084191"/>
              <a:gd name="connsiteX1235" fmla="*/ 417424 w 2051041"/>
              <a:gd name="connsiteY1235" fmla="*/ 153456 h 2084191"/>
              <a:gd name="connsiteX1236" fmla="*/ 390215 w 2051041"/>
              <a:gd name="connsiteY1236" fmla="*/ 125159 h 2084191"/>
              <a:gd name="connsiteX1237" fmla="*/ 417424 w 2051041"/>
              <a:gd name="connsiteY1237" fmla="*/ 97950 h 2084191"/>
              <a:gd name="connsiteX1238" fmla="*/ 580677 w 2051041"/>
              <a:gd name="connsiteY1238" fmla="*/ 92508 h 2084191"/>
              <a:gd name="connsiteX1239" fmla="*/ 614960 w 2051041"/>
              <a:gd name="connsiteY1239" fmla="*/ 125159 h 2084191"/>
              <a:gd name="connsiteX1240" fmla="*/ 581766 w 2051041"/>
              <a:gd name="connsiteY1240" fmla="*/ 158353 h 2084191"/>
              <a:gd name="connsiteX1241" fmla="*/ 548571 w 2051041"/>
              <a:gd name="connsiteY1241" fmla="*/ 125703 h 2084191"/>
              <a:gd name="connsiteX1242" fmla="*/ 580677 w 2051041"/>
              <a:gd name="connsiteY1242" fmla="*/ 92508 h 2084191"/>
              <a:gd name="connsiteX1243" fmla="*/ 745019 w 2051041"/>
              <a:gd name="connsiteY1243" fmla="*/ 88154 h 2084191"/>
              <a:gd name="connsiteX1244" fmla="*/ 782567 w 2051041"/>
              <a:gd name="connsiteY1244" fmla="*/ 126791 h 2084191"/>
              <a:gd name="connsiteX1245" fmla="*/ 743930 w 2051041"/>
              <a:gd name="connsiteY1245" fmla="*/ 164339 h 2084191"/>
              <a:gd name="connsiteX1246" fmla="*/ 706382 w 2051041"/>
              <a:gd name="connsiteY1246" fmla="*/ 125702 h 2084191"/>
              <a:gd name="connsiteX1247" fmla="*/ 745019 w 2051041"/>
              <a:gd name="connsiteY1247" fmla="*/ 88154 h 2084191"/>
              <a:gd name="connsiteX1248" fmla="*/ 1685898 w 2051041"/>
              <a:gd name="connsiteY1248" fmla="*/ 84712 h 2084191"/>
              <a:gd name="connsiteX1249" fmla="*/ 1685681 w 2051041"/>
              <a:gd name="connsiteY1249" fmla="*/ 85147 h 2084191"/>
              <a:gd name="connsiteX1250" fmla="*/ 1685354 w 2051041"/>
              <a:gd name="connsiteY1250" fmla="*/ 85256 h 2084191"/>
              <a:gd name="connsiteX1251" fmla="*/ 1685898 w 2051041"/>
              <a:gd name="connsiteY1251" fmla="*/ 84712 h 2084191"/>
              <a:gd name="connsiteX1252" fmla="*/ 907183 w 2051041"/>
              <a:gd name="connsiteY1252" fmla="*/ 84345 h 2084191"/>
              <a:gd name="connsiteX1253" fmla="*/ 934935 w 2051041"/>
              <a:gd name="connsiteY1253" fmla="*/ 95228 h 2084191"/>
              <a:gd name="connsiteX1254" fmla="*/ 949628 w 2051041"/>
              <a:gd name="connsiteY1254" fmla="*/ 125158 h 2084191"/>
              <a:gd name="connsiteX1255" fmla="*/ 908271 w 2051041"/>
              <a:gd name="connsiteY1255" fmla="*/ 167060 h 2084191"/>
              <a:gd name="connsiteX1256" fmla="*/ 866369 w 2051041"/>
              <a:gd name="connsiteY1256" fmla="*/ 125702 h 2084191"/>
              <a:gd name="connsiteX1257" fmla="*/ 907183 w 2051041"/>
              <a:gd name="connsiteY1257" fmla="*/ 84345 h 2084191"/>
              <a:gd name="connsiteX1258" fmla="*/ 1070979 w 2051041"/>
              <a:gd name="connsiteY1258" fmla="*/ 82169 h 2084191"/>
              <a:gd name="connsiteX1259" fmla="*/ 1115602 w 2051041"/>
              <a:gd name="connsiteY1259" fmla="*/ 126247 h 2084191"/>
              <a:gd name="connsiteX1260" fmla="*/ 1071524 w 2051041"/>
              <a:gd name="connsiteY1260" fmla="*/ 170325 h 2084191"/>
              <a:gd name="connsiteX1261" fmla="*/ 1026357 w 2051041"/>
              <a:gd name="connsiteY1261" fmla="*/ 125703 h 2084191"/>
              <a:gd name="connsiteX1262" fmla="*/ 1070979 w 2051041"/>
              <a:gd name="connsiteY1262" fmla="*/ 82169 h 2084191"/>
              <a:gd name="connsiteX1263" fmla="*/ 1684811 w 2051041"/>
              <a:gd name="connsiteY1263" fmla="*/ 82168 h 2084191"/>
              <a:gd name="connsiteX1264" fmla="*/ 1684266 w 2051041"/>
              <a:gd name="connsiteY1264" fmla="*/ 82713 h 2084191"/>
              <a:gd name="connsiteX1265" fmla="*/ 1684469 w 2051041"/>
              <a:gd name="connsiteY1265" fmla="*/ 82365 h 2084191"/>
              <a:gd name="connsiteX1266" fmla="*/ 1234777 w 2051041"/>
              <a:gd name="connsiteY1266" fmla="*/ 78360 h 2084191"/>
              <a:gd name="connsiteX1267" fmla="*/ 1282664 w 2051041"/>
              <a:gd name="connsiteY1267" fmla="*/ 126791 h 2084191"/>
              <a:gd name="connsiteX1268" fmla="*/ 1234232 w 2051041"/>
              <a:gd name="connsiteY1268" fmla="*/ 174135 h 2084191"/>
              <a:gd name="connsiteX1269" fmla="*/ 1186889 w 2051041"/>
              <a:gd name="connsiteY1269" fmla="*/ 126791 h 2084191"/>
              <a:gd name="connsiteX1270" fmla="*/ 1234777 w 2051041"/>
              <a:gd name="connsiteY1270" fmla="*/ 78360 h 2084191"/>
              <a:gd name="connsiteX1271" fmla="*/ 1398574 w 2051041"/>
              <a:gd name="connsiteY1271" fmla="*/ 76182 h 2084191"/>
              <a:gd name="connsiteX1272" fmla="*/ 1448094 w 2051041"/>
              <a:gd name="connsiteY1272" fmla="*/ 127335 h 2084191"/>
              <a:gd name="connsiteX1273" fmla="*/ 1396941 w 2051041"/>
              <a:gd name="connsiteY1273" fmla="*/ 175766 h 2084191"/>
              <a:gd name="connsiteX1274" fmla="*/ 1347421 w 2051041"/>
              <a:gd name="connsiteY1274" fmla="*/ 125702 h 2084191"/>
              <a:gd name="connsiteX1275" fmla="*/ 1398574 w 2051041"/>
              <a:gd name="connsiteY1275" fmla="*/ 76182 h 2084191"/>
              <a:gd name="connsiteX1276" fmla="*/ 1561282 w 2051041"/>
              <a:gd name="connsiteY1276" fmla="*/ 72373 h 2084191"/>
              <a:gd name="connsiteX1277" fmla="*/ 1614611 w 2051041"/>
              <a:gd name="connsiteY1277" fmla="*/ 126247 h 2084191"/>
              <a:gd name="connsiteX1278" fmla="*/ 1560738 w 2051041"/>
              <a:gd name="connsiteY1278" fmla="*/ 179576 h 2084191"/>
              <a:gd name="connsiteX1279" fmla="*/ 1507409 w 2051041"/>
              <a:gd name="connsiteY1279" fmla="*/ 126247 h 2084191"/>
              <a:gd name="connsiteX1280" fmla="*/ 1561282 w 2051041"/>
              <a:gd name="connsiteY1280" fmla="*/ 72373 h 2084191"/>
              <a:gd name="connsiteX1281" fmla="*/ 10381 w 2051041"/>
              <a:gd name="connsiteY1281" fmla="*/ 33737 h 2084191"/>
              <a:gd name="connsiteX1282" fmla="*/ 20720 w 2051041"/>
              <a:gd name="connsiteY1282" fmla="*/ 45165 h 2084191"/>
              <a:gd name="connsiteX1283" fmla="*/ 9292 w 2051041"/>
              <a:gd name="connsiteY1283" fmla="*/ 54960 h 2084191"/>
              <a:gd name="connsiteX1284" fmla="*/ 41 w 2051041"/>
              <a:gd name="connsiteY1284" fmla="*/ 44621 h 2084191"/>
              <a:gd name="connsiteX1285" fmla="*/ 10381 w 2051041"/>
              <a:gd name="connsiteY1285" fmla="*/ 33737 h 2084191"/>
              <a:gd name="connsiteX1286" fmla="*/ 172546 w 2051041"/>
              <a:gd name="connsiteY1286" fmla="*/ 23942 h 2084191"/>
              <a:gd name="connsiteX1287" fmla="*/ 193224 w 2051041"/>
              <a:gd name="connsiteY1287" fmla="*/ 44621 h 2084191"/>
              <a:gd name="connsiteX1288" fmla="*/ 173090 w 2051041"/>
              <a:gd name="connsiteY1288" fmla="*/ 64755 h 2084191"/>
              <a:gd name="connsiteX1289" fmla="*/ 152411 w 2051041"/>
              <a:gd name="connsiteY1289" fmla="*/ 44621 h 2084191"/>
              <a:gd name="connsiteX1290" fmla="*/ 172546 w 2051041"/>
              <a:gd name="connsiteY1290" fmla="*/ 23942 h 2084191"/>
              <a:gd name="connsiteX1291" fmla="*/ 1861123 w 2051041"/>
              <a:gd name="connsiteY1291" fmla="*/ 22132 h 2084191"/>
              <a:gd name="connsiteX1292" fmla="*/ 1861123 w 2051041"/>
              <a:gd name="connsiteY1292" fmla="*/ 35737 h 2084191"/>
              <a:gd name="connsiteX1293" fmla="*/ 1861123 w 2051041"/>
              <a:gd name="connsiteY1293" fmla="*/ 61313 h 2084191"/>
              <a:gd name="connsiteX1294" fmla="*/ 1858946 w 2051041"/>
              <a:gd name="connsiteY1294" fmla="*/ 72740 h 2084191"/>
              <a:gd name="connsiteX1295" fmla="*/ 1866021 w 2051041"/>
              <a:gd name="connsiteY1295" fmla="*/ 76550 h 2084191"/>
              <a:gd name="connsiteX1296" fmla="*/ 1873639 w 2051041"/>
              <a:gd name="connsiteY1296" fmla="*/ 74917 h 2084191"/>
              <a:gd name="connsiteX1297" fmla="*/ 1900304 w 2051041"/>
              <a:gd name="connsiteY1297" fmla="*/ 74373 h 2084191"/>
              <a:gd name="connsiteX1298" fmla="*/ 1907922 w 2051041"/>
              <a:gd name="connsiteY1298" fmla="*/ 76006 h 2084191"/>
              <a:gd name="connsiteX1299" fmla="*/ 1912820 w 2051041"/>
              <a:gd name="connsiteY1299" fmla="*/ 70020 h 2084191"/>
              <a:gd name="connsiteX1300" fmla="*/ 1912820 w 2051041"/>
              <a:gd name="connsiteY1300" fmla="*/ 27030 h 2084191"/>
              <a:gd name="connsiteX1301" fmla="*/ 1908466 w 2051041"/>
              <a:gd name="connsiteY1301" fmla="*/ 22132 h 2084191"/>
              <a:gd name="connsiteX1302" fmla="*/ 1902480 w 2051041"/>
              <a:gd name="connsiteY1302" fmla="*/ 24309 h 2084191"/>
              <a:gd name="connsiteX1303" fmla="*/ 1873095 w 2051041"/>
              <a:gd name="connsiteY1303" fmla="*/ 24309 h 2084191"/>
              <a:gd name="connsiteX1304" fmla="*/ 1861123 w 2051041"/>
              <a:gd name="connsiteY1304" fmla="*/ 22132 h 2084191"/>
              <a:gd name="connsiteX1305" fmla="*/ 336886 w 2051041"/>
              <a:gd name="connsiteY1305" fmla="*/ 17412 h 2084191"/>
              <a:gd name="connsiteX1306" fmla="*/ 363007 w 2051041"/>
              <a:gd name="connsiteY1306" fmla="*/ 44077 h 2084191"/>
              <a:gd name="connsiteX1307" fmla="*/ 337431 w 2051041"/>
              <a:gd name="connsiteY1307" fmla="*/ 71285 h 2084191"/>
              <a:gd name="connsiteX1308" fmla="*/ 310222 w 2051041"/>
              <a:gd name="connsiteY1308" fmla="*/ 45165 h 2084191"/>
              <a:gd name="connsiteX1309" fmla="*/ 336886 w 2051041"/>
              <a:gd name="connsiteY1309" fmla="*/ 17412 h 2084191"/>
              <a:gd name="connsiteX1310" fmla="*/ 498507 w 2051041"/>
              <a:gd name="connsiteY1310" fmla="*/ 13059 h 2084191"/>
              <a:gd name="connsiteX1311" fmla="*/ 531702 w 2051041"/>
              <a:gd name="connsiteY1311" fmla="*/ 44621 h 2084191"/>
              <a:gd name="connsiteX1312" fmla="*/ 499595 w 2051041"/>
              <a:gd name="connsiteY1312" fmla="*/ 76727 h 2084191"/>
              <a:gd name="connsiteX1313" fmla="*/ 467489 w 2051041"/>
              <a:gd name="connsiteY1313" fmla="*/ 45165 h 2084191"/>
              <a:gd name="connsiteX1314" fmla="*/ 498507 w 2051041"/>
              <a:gd name="connsiteY1314" fmla="*/ 13059 h 2084191"/>
              <a:gd name="connsiteX1315" fmla="*/ 662303 w 2051041"/>
              <a:gd name="connsiteY1315" fmla="*/ 7616 h 2084191"/>
              <a:gd name="connsiteX1316" fmla="*/ 698763 w 2051041"/>
              <a:gd name="connsiteY1316" fmla="*/ 44076 h 2084191"/>
              <a:gd name="connsiteX1317" fmla="*/ 662303 w 2051041"/>
              <a:gd name="connsiteY1317" fmla="*/ 81080 h 2084191"/>
              <a:gd name="connsiteX1318" fmla="*/ 626932 w 2051041"/>
              <a:gd name="connsiteY1318" fmla="*/ 44076 h 2084191"/>
              <a:gd name="connsiteX1319" fmla="*/ 662303 w 2051041"/>
              <a:gd name="connsiteY1319" fmla="*/ 7616 h 2084191"/>
              <a:gd name="connsiteX1320" fmla="*/ 825557 w 2051041"/>
              <a:gd name="connsiteY1320" fmla="*/ 5440 h 2084191"/>
              <a:gd name="connsiteX1321" fmla="*/ 865281 w 2051041"/>
              <a:gd name="connsiteY1321" fmla="*/ 44621 h 2084191"/>
              <a:gd name="connsiteX1322" fmla="*/ 826101 w 2051041"/>
              <a:gd name="connsiteY1322" fmla="*/ 83257 h 2084191"/>
              <a:gd name="connsiteX1323" fmla="*/ 786920 w 2051041"/>
              <a:gd name="connsiteY1323" fmla="*/ 44621 h 2084191"/>
              <a:gd name="connsiteX1324" fmla="*/ 825557 w 2051041"/>
              <a:gd name="connsiteY1324" fmla="*/ 5440 h 2084191"/>
              <a:gd name="connsiteX1325" fmla="*/ 989353 w 2051041"/>
              <a:gd name="connsiteY1325" fmla="*/ 1086 h 2084191"/>
              <a:gd name="connsiteX1326" fmla="*/ 1032343 w 2051041"/>
              <a:gd name="connsiteY1326" fmla="*/ 43532 h 2084191"/>
              <a:gd name="connsiteX1327" fmla="*/ 989897 w 2051041"/>
              <a:gd name="connsiteY1327" fmla="*/ 87610 h 2084191"/>
              <a:gd name="connsiteX1328" fmla="*/ 945819 w 2051041"/>
              <a:gd name="connsiteY1328" fmla="*/ 44620 h 2084191"/>
              <a:gd name="connsiteX1329" fmla="*/ 989353 w 2051041"/>
              <a:gd name="connsiteY1329" fmla="*/ 1086 h 2084191"/>
              <a:gd name="connsiteX1330" fmla="*/ 1614056 w 2051041"/>
              <a:gd name="connsiteY1330" fmla="*/ 0 h 2084191"/>
              <a:gd name="connsiteX1331" fmla="*/ 1675529 w 2051041"/>
              <a:gd name="connsiteY1331" fmla="*/ 0 h 2084191"/>
              <a:gd name="connsiteX1332" fmla="*/ 1682905 w 2051041"/>
              <a:gd name="connsiteY1332" fmla="*/ 4720 h 2084191"/>
              <a:gd name="connsiteX1333" fmla="*/ 1933639 w 2051041"/>
              <a:gd name="connsiteY1333" fmla="*/ 4720 h 2084191"/>
              <a:gd name="connsiteX1334" fmla="*/ 2016655 w 2051041"/>
              <a:gd name="connsiteY1334" fmla="*/ 39107 h 2084191"/>
              <a:gd name="connsiteX1335" fmla="*/ 2028934 w 2051041"/>
              <a:gd name="connsiteY1335" fmla="*/ 57318 h 2084191"/>
              <a:gd name="connsiteX1336" fmla="*/ 2026008 w 2051041"/>
              <a:gd name="connsiteY1336" fmla="*/ 71108 h 2084191"/>
              <a:gd name="connsiteX1337" fmla="*/ 2030906 w 2051041"/>
              <a:gd name="connsiteY1337" fmla="*/ 75461 h 2084191"/>
              <a:gd name="connsiteX1338" fmla="*/ 2039929 w 2051041"/>
              <a:gd name="connsiteY1338" fmla="*/ 73627 h 2084191"/>
              <a:gd name="connsiteX1339" fmla="*/ 2041815 w 2051041"/>
              <a:gd name="connsiteY1339" fmla="*/ 76424 h 2084191"/>
              <a:gd name="connsiteX1340" fmla="*/ 2051041 w 2051041"/>
              <a:gd name="connsiteY1340" fmla="*/ 122122 h 2084191"/>
              <a:gd name="connsiteX1341" fmla="*/ 2051041 w 2051041"/>
              <a:gd name="connsiteY1341" fmla="*/ 186473 h 2084191"/>
              <a:gd name="connsiteX1342" fmla="*/ 2029818 w 2051041"/>
              <a:gd name="connsiteY1342" fmla="*/ 186473 h 2084191"/>
              <a:gd name="connsiteX1343" fmla="*/ 2023287 w 2051041"/>
              <a:gd name="connsiteY1343" fmla="*/ 192459 h 2084191"/>
              <a:gd name="connsiteX1344" fmla="*/ 2023832 w 2051041"/>
              <a:gd name="connsiteY1344" fmla="*/ 196268 h 2084191"/>
              <a:gd name="connsiteX1345" fmla="*/ 2019478 w 2051041"/>
              <a:gd name="connsiteY1345" fmla="*/ 239258 h 2084191"/>
              <a:gd name="connsiteX1346" fmla="*/ 2020022 w 2051041"/>
              <a:gd name="connsiteY1346" fmla="*/ 242523 h 2084191"/>
              <a:gd name="connsiteX1347" fmla="*/ 2023287 w 2051041"/>
              <a:gd name="connsiteY1347" fmla="*/ 243067 h 2084191"/>
              <a:gd name="connsiteX1348" fmla="*/ 2050224 w 2051041"/>
              <a:gd name="connsiteY1348" fmla="*/ 237150 h 2084191"/>
              <a:gd name="connsiteX1349" fmla="*/ 2051041 w 2051041"/>
              <a:gd name="connsiteY1349" fmla="*/ 237329 h 2084191"/>
              <a:gd name="connsiteX1350" fmla="*/ 2051041 w 2051041"/>
              <a:gd name="connsiteY1350" fmla="*/ 348996 h 2084191"/>
              <a:gd name="connsiteX1351" fmla="*/ 2036552 w 2051041"/>
              <a:gd name="connsiteY1351" fmla="*/ 347754 h 2084191"/>
              <a:gd name="connsiteX1352" fmla="*/ 2021111 w 2051041"/>
              <a:gd name="connsiteY1352" fmla="*/ 341019 h 2084191"/>
              <a:gd name="connsiteX1353" fmla="*/ 2016757 w 2051041"/>
              <a:gd name="connsiteY1353" fmla="*/ 338842 h 2084191"/>
              <a:gd name="connsiteX1354" fmla="*/ 2017301 w 2051041"/>
              <a:gd name="connsiteY1354" fmla="*/ 344284 h 2084191"/>
              <a:gd name="connsiteX1355" fmla="*/ 2025464 w 2051041"/>
              <a:gd name="connsiteY1355" fmla="*/ 376391 h 2084191"/>
              <a:gd name="connsiteX1356" fmla="*/ 1994446 w 2051041"/>
              <a:gd name="connsiteY1356" fmla="*/ 424278 h 2084191"/>
              <a:gd name="connsiteX1357" fmla="*/ 1933498 w 2051041"/>
              <a:gd name="connsiteY1357" fmla="*/ 416115 h 2084191"/>
              <a:gd name="connsiteX1358" fmla="*/ 1920438 w 2051041"/>
              <a:gd name="connsiteY1358" fmla="*/ 352447 h 2084191"/>
              <a:gd name="connsiteX1359" fmla="*/ 1925336 w 2051041"/>
              <a:gd name="connsiteY1359" fmla="*/ 338298 h 2084191"/>
              <a:gd name="connsiteX1360" fmla="*/ 1911731 w 2051041"/>
              <a:gd name="connsiteY1360" fmla="*/ 343196 h 2084191"/>
              <a:gd name="connsiteX1361" fmla="*/ 1898671 w 2051041"/>
              <a:gd name="connsiteY1361" fmla="*/ 347005 h 2084191"/>
              <a:gd name="connsiteX1362" fmla="*/ 1854593 w 2051041"/>
              <a:gd name="connsiteY1362" fmla="*/ 336666 h 2084191"/>
              <a:gd name="connsiteX1363" fmla="*/ 1847690 w 2051041"/>
              <a:gd name="connsiteY1363" fmla="*/ 333480 h 2084191"/>
              <a:gd name="connsiteX1364" fmla="*/ 1852961 w 2051041"/>
              <a:gd name="connsiteY1364" fmla="*/ 344461 h 2084191"/>
              <a:gd name="connsiteX1365" fmla="*/ 1826840 w 2051041"/>
              <a:gd name="connsiteY1365" fmla="*/ 420646 h 2084191"/>
              <a:gd name="connsiteX1366" fmla="*/ 1765893 w 2051041"/>
              <a:gd name="connsiteY1366" fmla="*/ 408130 h 2084191"/>
              <a:gd name="connsiteX1367" fmla="*/ 1759362 w 2051041"/>
              <a:gd name="connsiteY1367" fmla="*/ 342829 h 2084191"/>
              <a:gd name="connsiteX1368" fmla="*/ 1815991 w 2051041"/>
              <a:gd name="connsiteY1368" fmla="*/ 317193 h 2084191"/>
              <a:gd name="connsiteX1369" fmla="*/ 1834459 w 2051041"/>
              <a:gd name="connsiteY1369" fmla="*/ 325415 h 2084191"/>
              <a:gd name="connsiteX1370" fmla="*/ 1845023 w 2051041"/>
              <a:gd name="connsiteY1370" fmla="*/ 330169 h 2084191"/>
              <a:gd name="connsiteX1371" fmla="*/ 1840444 w 2051041"/>
              <a:gd name="connsiteY1371" fmla="*/ 321429 h 2084191"/>
              <a:gd name="connsiteX1372" fmla="*/ 1834458 w 2051041"/>
              <a:gd name="connsiteY1372" fmla="*/ 275174 h 2084191"/>
              <a:gd name="connsiteX1373" fmla="*/ 1840988 w 2051041"/>
              <a:gd name="connsiteY1373" fmla="*/ 259937 h 2084191"/>
              <a:gd name="connsiteX1374" fmla="*/ 1842077 w 2051041"/>
              <a:gd name="connsiteY1374" fmla="*/ 255584 h 2084191"/>
              <a:gd name="connsiteX1375" fmla="*/ 1837723 w 2051041"/>
              <a:gd name="connsiteY1375" fmla="*/ 257216 h 2084191"/>
              <a:gd name="connsiteX1376" fmla="*/ 1817589 w 2051041"/>
              <a:gd name="connsiteY1376" fmla="*/ 264834 h 2084191"/>
              <a:gd name="connsiteX1377" fmla="*/ 1768069 w 2051041"/>
              <a:gd name="connsiteY1377" fmla="*/ 251774 h 2084191"/>
              <a:gd name="connsiteX1378" fmla="*/ 1764740 w 2051041"/>
              <a:gd name="connsiteY1378" fmla="*/ 250110 h 2084191"/>
              <a:gd name="connsiteX1379" fmla="*/ 1773510 w 2051041"/>
              <a:gd name="connsiteY1379" fmla="*/ 267189 h 2084191"/>
              <a:gd name="connsiteX1380" fmla="*/ 1750655 w 2051041"/>
              <a:gd name="connsiteY1380" fmla="*/ 336843 h 2084191"/>
              <a:gd name="connsiteX1381" fmla="*/ 1673926 w 2051041"/>
              <a:gd name="connsiteY1381" fmla="*/ 310723 h 2084191"/>
              <a:gd name="connsiteX1382" fmla="*/ 1681545 w 2051041"/>
              <a:gd name="connsiteY1382" fmla="*/ 254673 h 2084191"/>
              <a:gd name="connsiteX1383" fmla="*/ 1733786 w 2051041"/>
              <a:gd name="connsiteY1383" fmla="*/ 235083 h 2084191"/>
              <a:gd name="connsiteX1384" fmla="*/ 1751743 w 2051041"/>
              <a:gd name="connsiteY1384" fmla="*/ 242157 h 2084191"/>
              <a:gd name="connsiteX1385" fmla="*/ 1762506 w 2051041"/>
              <a:gd name="connsiteY1385" fmla="*/ 246769 h 2084191"/>
              <a:gd name="connsiteX1386" fmla="*/ 1757185 w 2051041"/>
              <a:gd name="connsiteY1386" fmla="*/ 236537 h 2084191"/>
              <a:gd name="connsiteX1387" fmla="*/ 1756097 w 2051041"/>
              <a:gd name="connsiteY1387" fmla="*/ 185929 h 2084191"/>
              <a:gd name="connsiteX1388" fmla="*/ 1757185 w 2051041"/>
              <a:gd name="connsiteY1388" fmla="*/ 177766 h 2084191"/>
              <a:gd name="connsiteX1389" fmla="*/ 1749023 w 2051041"/>
              <a:gd name="connsiteY1389" fmla="*/ 178311 h 2084191"/>
              <a:gd name="connsiteX1390" fmla="*/ 1676103 w 2051041"/>
              <a:gd name="connsiteY1390" fmla="*/ 154911 h 2084191"/>
              <a:gd name="connsiteX1391" fmla="*/ 1681001 w 2051041"/>
              <a:gd name="connsiteY1391" fmla="*/ 94507 h 2084191"/>
              <a:gd name="connsiteX1392" fmla="*/ 1685681 w 2051041"/>
              <a:gd name="connsiteY1392" fmla="*/ 85147 h 2084191"/>
              <a:gd name="connsiteX1393" fmla="*/ 1693517 w 2051041"/>
              <a:gd name="connsiteY1393" fmla="*/ 82536 h 2084191"/>
              <a:gd name="connsiteX1394" fmla="*/ 1747934 w 2051041"/>
              <a:gd name="connsiteY1394" fmla="*/ 77638 h 2084191"/>
              <a:gd name="connsiteX1395" fmla="*/ 1756641 w 2051041"/>
              <a:gd name="connsiteY1395" fmla="*/ 79271 h 2084191"/>
              <a:gd name="connsiteX1396" fmla="*/ 1754464 w 2051041"/>
              <a:gd name="connsiteY1396" fmla="*/ 71652 h 2084191"/>
              <a:gd name="connsiteX1397" fmla="*/ 1752832 w 2051041"/>
              <a:gd name="connsiteY1397" fmla="*/ 68387 h 2084191"/>
              <a:gd name="connsiteX1398" fmla="*/ 1756097 w 2051041"/>
              <a:gd name="connsiteY1398" fmla="*/ 20500 h 2084191"/>
              <a:gd name="connsiteX1399" fmla="*/ 1756641 w 2051041"/>
              <a:gd name="connsiteY1399" fmla="*/ 16146 h 2084191"/>
              <a:gd name="connsiteX1400" fmla="*/ 1751744 w 2051041"/>
              <a:gd name="connsiteY1400" fmla="*/ 15058 h 2084191"/>
              <a:gd name="connsiteX1401" fmla="*/ 1741404 w 2051041"/>
              <a:gd name="connsiteY1401" fmla="*/ 19955 h 2084191"/>
              <a:gd name="connsiteX1402" fmla="*/ 1691884 w 2051041"/>
              <a:gd name="connsiteY1402" fmla="*/ 11249 h 2084191"/>
              <a:gd name="connsiteX1403" fmla="*/ 1685645 w 2051041"/>
              <a:gd name="connsiteY1403" fmla="*/ 8369 h 2084191"/>
              <a:gd name="connsiteX1404" fmla="*/ 1688620 w 2051041"/>
              <a:gd name="connsiteY1404" fmla="*/ 14691 h 2084191"/>
              <a:gd name="connsiteX1405" fmla="*/ 1691885 w 2051041"/>
              <a:gd name="connsiteY1405" fmla="*/ 69652 h 2084191"/>
              <a:gd name="connsiteX1406" fmla="*/ 1684469 w 2051041"/>
              <a:gd name="connsiteY1406" fmla="*/ 82365 h 2084191"/>
              <a:gd name="connsiteX1407" fmla="*/ 1663044 w 2051041"/>
              <a:gd name="connsiteY1407" fmla="*/ 94684 h 2084191"/>
              <a:gd name="connsiteX1408" fmla="*/ 1626584 w 2051041"/>
              <a:gd name="connsiteY1408" fmla="*/ 96861 h 2084191"/>
              <a:gd name="connsiteX1409" fmla="*/ 1590124 w 2051041"/>
              <a:gd name="connsiteY1409" fmla="*/ 60401 h 2084191"/>
              <a:gd name="connsiteX1410" fmla="*/ 1591757 w 2051041"/>
              <a:gd name="connsiteY1410" fmla="*/ 25030 h 2084191"/>
              <a:gd name="connsiteX1411" fmla="*/ 1460066 w 2051041"/>
              <a:gd name="connsiteY1411" fmla="*/ 0 h 2084191"/>
              <a:gd name="connsiteX1412" fmla="*/ 1498513 w 2051041"/>
              <a:gd name="connsiteY1412" fmla="*/ 0 h 2084191"/>
              <a:gd name="connsiteX1413" fmla="*/ 1517204 w 2051041"/>
              <a:gd name="connsiteY1413" fmla="*/ 8092 h 2084191"/>
              <a:gd name="connsiteX1414" fmla="*/ 1531896 w 2051041"/>
              <a:gd name="connsiteY1414" fmla="*/ 45164 h 2084191"/>
              <a:gd name="connsiteX1415" fmla="*/ 1479111 w 2051041"/>
              <a:gd name="connsiteY1415" fmla="*/ 97949 h 2084191"/>
              <a:gd name="connsiteX1416" fmla="*/ 1426870 w 2051041"/>
              <a:gd name="connsiteY1416" fmla="*/ 45164 h 2084191"/>
              <a:gd name="connsiteX1417" fmla="*/ 1441631 w 2051041"/>
              <a:gd name="connsiteY1417" fmla="*/ 7684 h 2084191"/>
              <a:gd name="connsiteX1418" fmla="*/ 1296749 w 2051041"/>
              <a:gd name="connsiteY1418" fmla="*/ 0 h 2084191"/>
              <a:gd name="connsiteX1419" fmla="*/ 1335755 w 2051041"/>
              <a:gd name="connsiteY1419" fmla="*/ 0 h 2084191"/>
              <a:gd name="connsiteX1420" fmla="*/ 1350278 w 2051041"/>
              <a:gd name="connsiteY1420" fmla="*/ 10270 h 2084191"/>
              <a:gd name="connsiteX1421" fmla="*/ 1365923 w 2051041"/>
              <a:gd name="connsiteY1421" fmla="*/ 45165 h 2084191"/>
              <a:gd name="connsiteX1422" fmla="*/ 1315315 w 2051041"/>
              <a:gd name="connsiteY1422" fmla="*/ 93052 h 2084191"/>
              <a:gd name="connsiteX1423" fmla="*/ 1266339 w 2051041"/>
              <a:gd name="connsiteY1423" fmla="*/ 44076 h 2084191"/>
              <a:gd name="connsiteX1424" fmla="*/ 1282732 w 2051041"/>
              <a:gd name="connsiteY1424" fmla="*/ 9317 h 2084191"/>
              <a:gd name="connsiteX1425" fmla="*/ 1148085 w 2051041"/>
              <a:gd name="connsiteY1425" fmla="*/ 0 h 2084191"/>
              <a:gd name="connsiteX1426" fmla="*/ 1161802 w 2051041"/>
              <a:gd name="connsiteY1426" fmla="*/ 0 h 2084191"/>
              <a:gd name="connsiteX1427" fmla="*/ 1169637 w 2051041"/>
              <a:gd name="connsiteY1427" fmla="*/ 1315 h 2084191"/>
              <a:gd name="connsiteX1428" fmla="*/ 1199405 w 2051041"/>
              <a:gd name="connsiteY1428" fmla="*/ 45164 h 2084191"/>
              <a:gd name="connsiteX1429" fmla="*/ 1151518 w 2051041"/>
              <a:gd name="connsiteY1429" fmla="*/ 91419 h 2084191"/>
              <a:gd name="connsiteX1430" fmla="*/ 1105807 w 2051041"/>
              <a:gd name="connsiteY1430" fmla="*/ 44620 h 2084191"/>
              <a:gd name="connsiteX1431" fmla="*/ 1119139 w 2051041"/>
              <a:gd name="connsiteY1431" fmla="*/ 11902 h 20841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Lst>
            <a:rect l="l" t="t" r="r" b="b"/>
            <a:pathLst>
              <a:path w="2051041" h="2084191">
                <a:moveTo>
                  <a:pt x="2051041" y="2080382"/>
                </a:moveTo>
                <a:lnTo>
                  <a:pt x="2051041" y="2083967"/>
                </a:lnTo>
                <a:lnTo>
                  <a:pt x="2047231" y="2084191"/>
                </a:lnTo>
                <a:cubicBezTo>
                  <a:pt x="2046687" y="2084191"/>
                  <a:pt x="2046143" y="2082559"/>
                  <a:pt x="2045599" y="2081470"/>
                </a:cubicBezTo>
                <a:close/>
                <a:moveTo>
                  <a:pt x="1478568" y="1997668"/>
                </a:moveTo>
                <a:cubicBezTo>
                  <a:pt x="1484010" y="1997668"/>
                  <a:pt x="1485642" y="2000933"/>
                  <a:pt x="1484554" y="2004743"/>
                </a:cubicBezTo>
                <a:cubicBezTo>
                  <a:pt x="1484010" y="2006919"/>
                  <a:pt x="1480745" y="2008551"/>
                  <a:pt x="1478568" y="2009096"/>
                </a:cubicBezTo>
                <a:cubicBezTo>
                  <a:pt x="1474759" y="2009640"/>
                  <a:pt x="1473126" y="2007463"/>
                  <a:pt x="1473126" y="2003654"/>
                </a:cubicBezTo>
                <a:cubicBezTo>
                  <a:pt x="1473126" y="1998756"/>
                  <a:pt x="1475303" y="1997124"/>
                  <a:pt x="1478568" y="1997668"/>
                </a:cubicBezTo>
                <a:close/>
                <a:moveTo>
                  <a:pt x="1641820" y="1993859"/>
                </a:moveTo>
                <a:cubicBezTo>
                  <a:pt x="1646718" y="1993314"/>
                  <a:pt x="1652160" y="1999300"/>
                  <a:pt x="1652160" y="2003654"/>
                </a:cubicBezTo>
                <a:cubicBezTo>
                  <a:pt x="1652160" y="2008551"/>
                  <a:pt x="1646718" y="2013449"/>
                  <a:pt x="1641820" y="2013449"/>
                </a:cubicBezTo>
                <a:cubicBezTo>
                  <a:pt x="1636923" y="2013449"/>
                  <a:pt x="1632025" y="2008007"/>
                  <a:pt x="1632025" y="2003654"/>
                </a:cubicBezTo>
                <a:cubicBezTo>
                  <a:pt x="1632025" y="1999300"/>
                  <a:pt x="1638011" y="1993859"/>
                  <a:pt x="1641820" y="1993859"/>
                </a:cubicBezTo>
                <a:close/>
                <a:moveTo>
                  <a:pt x="1969414" y="1992226"/>
                </a:moveTo>
                <a:cubicBezTo>
                  <a:pt x="1976488" y="1992226"/>
                  <a:pt x="1979753" y="1996035"/>
                  <a:pt x="1979753" y="2003654"/>
                </a:cubicBezTo>
                <a:cubicBezTo>
                  <a:pt x="1979753" y="2011272"/>
                  <a:pt x="1975944" y="2014537"/>
                  <a:pt x="1968325" y="2014537"/>
                </a:cubicBezTo>
                <a:cubicBezTo>
                  <a:pt x="1960707" y="2014537"/>
                  <a:pt x="1957442" y="2010728"/>
                  <a:pt x="1957986" y="2003110"/>
                </a:cubicBezTo>
                <a:cubicBezTo>
                  <a:pt x="1957986" y="1994947"/>
                  <a:pt x="1961251" y="1992226"/>
                  <a:pt x="1969414" y="1992226"/>
                </a:cubicBezTo>
                <a:close/>
                <a:moveTo>
                  <a:pt x="1805073" y="1992226"/>
                </a:moveTo>
                <a:cubicBezTo>
                  <a:pt x="1811058" y="1992226"/>
                  <a:pt x="1815956" y="1996035"/>
                  <a:pt x="1815956" y="2002565"/>
                </a:cubicBezTo>
                <a:cubicBezTo>
                  <a:pt x="1816500" y="2009096"/>
                  <a:pt x="1812147" y="2014537"/>
                  <a:pt x="1805073" y="2014537"/>
                </a:cubicBezTo>
                <a:cubicBezTo>
                  <a:pt x="1799087" y="2014537"/>
                  <a:pt x="1794189" y="2010184"/>
                  <a:pt x="1794189" y="2004198"/>
                </a:cubicBezTo>
                <a:cubicBezTo>
                  <a:pt x="1794189" y="1997668"/>
                  <a:pt x="1799087" y="1992770"/>
                  <a:pt x="1805073" y="1992226"/>
                </a:cubicBezTo>
                <a:close/>
                <a:moveTo>
                  <a:pt x="1234233" y="1916042"/>
                </a:moveTo>
                <a:cubicBezTo>
                  <a:pt x="1238586" y="1915497"/>
                  <a:pt x="1240763" y="1917674"/>
                  <a:pt x="1240219" y="1923660"/>
                </a:cubicBezTo>
                <a:cubicBezTo>
                  <a:pt x="1239674" y="1924204"/>
                  <a:pt x="1237498" y="1926381"/>
                  <a:pt x="1236953" y="1926381"/>
                </a:cubicBezTo>
                <a:cubicBezTo>
                  <a:pt x="1234233" y="1924204"/>
                  <a:pt x="1231512" y="1921483"/>
                  <a:pt x="1229335" y="1918762"/>
                </a:cubicBezTo>
                <a:cubicBezTo>
                  <a:pt x="1230968" y="1917674"/>
                  <a:pt x="1232600" y="1916586"/>
                  <a:pt x="1234233" y="1916042"/>
                </a:cubicBezTo>
                <a:close/>
                <a:moveTo>
                  <a:pt x="1397486" y="1911144"/>
                </a:moveTo>
                <a:cubicBezTo>
                  <a:pt x="1402927" y="1911144"/>
                  <a:pt x="1408369" y="1916041"/>
                  <a:pt x="1408369" y="1921483"/>
                </a:cubicBezTo>
                <a:cubicBezTo>
                  <a:pt x="1408369" y="1926925"/>
                  <a:pt x="1404016" y="1931279"/>
                  <a:pt x="1399118" y="1931823"/>
                </a:cubicBezTo>
                <a:cubicBezTo>
                  <a:pt x="1392588" y="1932367"/>
                  <a:pt x="1387146" y="1928013"/>
                  <a:pt x="1387146" y="1922028"/>
                </a:cubicBezTo>
                <a:cubicBezTo>
                  <a:pt x="1386602" y="1916586"/>
                  <a:pt x="1391500" y="1911144"/>
                  <a:pt x="1397486" y="1911144"/>
                </a:cubicBezTo>
                <a:close/>
                <a:moveTo>
                  <a:pt x="1560194" y="1906790"/>
                </a:moveTo>
                <a:cubicBezTo>
                  <a:pt x="1566180" y="1906790"/>
                  <a:pt x="1574342" y="1914953"/>
                  <a:pt x="1574342" y="1921482"/>
                </a:cubicBezTo>
                <a:cubicBezTo>
                  <a:pt x="1574342" y="1928013"/>
                  <a:pt x="1566724" y="1936175"/>
                  <a:pt x="1560738" y="1935631"/>
                </a:cubicBezTo>
                <a:cubicBezTo>
                  <a:pt x="1554752" y="1935631"/>
                  <a:pt x="1547678" y="1928557"/>
                  <a:pt x="1547134" y="1922027"/>
                </a:cubicBezTo>
                <a:cubicBezTo>
                  <a:pt x="1546589" y="1915497"/>
                  <a:pt x="1554208" y="1907334"/>
                  <a:pt x="1560194" y="1906790"/>
                </a:cubicBezTo>
                <a:close/>
                <a:moveTo>
                  <a:pt x="2049952" y="1905702"/>
                </a:moveTo>
                <a:lnTo>
                  <a:pt x="2051041" y="1906027"/>
                </a:lnTo>
                <a:lnTo>
                  <a:pt x="2051041" y="1938133"/>
                </a:lnTo>
                <a:lnTo>
                  <a:pt x="2050496" y="1938353"/>
                </a:lnTo>
                <a:cubicBezTo>
                  <a:pt x="2039613" y="1937808"/>
                  <a:pt x="2034715" y="1933455"/>
                  <a:pt x="2034171" y="1922572"/>
                </a:cubicBezTo>
                <a:cubicBezTo>
                  <a:pt x="2034171" y="1911144"/>
                  <a:pt x="2039069" y="1905702"/>
                  <a:pt x="2049952" y="1905702"/>
                </a:cubicBezTo>
                <a:close/>
                <a:moveTo>
                  <a:pt x="1723447" y="1905702"/>
                </a:moveTo>
                <a:cubicBezTo>
                  <a:pt x="1730521" y="1905702"/>
                  <a:pt x="1739772" y="1914409"/>
                  <a:pt x="1739772" y="1920939"/>
                </a:cubicBezTo>
                <a:cubicBezTo>
                  <a:pt x="1740316" y="1929101"/>
                  <a:pt x="1732698" y="1936720"/>
                  <a:pt x="1724535" y="1937264"/>
                </a:cubicBezTo>
                <a:cubicBezTo>
                  <a:pt x="1716373" y="1937264"/>
                  <a:pt x="1708754" y="1930190"/>
                  <a:pt x="1708210" y="1922027"/>
                </a:cubicBezTo>
                <a:cubicBezTo>
                  <a:pt x="1708210" y="1914953"/>
                  <a:pt x="1716373" y="1905702"/>
                  <a:pt x="1723447" y="1905702"/>
                </a:cubicBezTo>
                <a:close/>
                <a:moveTo>
                  <a:pt x="1887787" y="1905158"/>
                </a:moveTo>
                <a:cubicBezTo>
                  <a:pt x="1898671" y="1905158"/>
                  <a:pt x="1904113" y="1911144"/>
                  <a:pt x="1904113" y="1922028"/>
                </a:cubicBezTo>
                <a:cubicBezTo>
                  <a:pt x="1904113" y="1932367"/>
                  <a:pt x="1898127" y="1937809"/>
                  <a:pt x="1886699" y="1937809"/>
                </a:cubicBezTo>
                <a:cubicBezTo>
                  <a:pt x="1876360" y="1937809"/>
                  <a:pt x="1870918" y="1931823"/>
                  <a:pt x="1870918" y="1921483"/>
                </a:cubicBezTo>
                <a:cubicBezTo>
                  <a:pt x="1870918" y="1910600"/>
                  <a:pt x="1876904" y="1904614"/>
                  <a:pt x="1887787" y="1905158"/>
                </a:cubicBezTo>
                <a:close/>
                <a:moveTo>
                  <a:pt x="1152606" y="1831693"/>
                </a:moveTo>
                <a:cubicBezTo>
                  <a:pt x="1155871" y="1832782"/>
                  <a:pt x="1160769" y="1836591"/>
                  <a:pt x="1161313" y="1839312"/>
                </a:cubicBezTo>
                <a:cubicBezTo>
                  <a:pt x="1160769" y="1843121"/>
                  <a:pt x="1156959" y="1846931"/>
                  <a:pt x="1153694" y="1852916"/>
                </a:cubicBezTo>
                <a:cubicBezTo>
                  <a:pt x="1149341" y="1847475"/>
                  <a:pt x="1146076" y="1844754"/>
                  <a:pt x="1144988" y="1841489"/>
                </a:cubicBezTo>
                <a:cubicBezTo>
                  <a:pt x="1143355" y="1837135"/>
                  <a:pt x="1148797" y="1830605"/>
                  <a:pt x="1152606" y="1831693"/>
                </a:cubicBezTo>
                <a:close/>
                <a:moveTo>
                  <a:pt x="1315315" y="1825708"/>
                </a:moveTo>
                <a:cubicBezTo>
                  <a:pt x="1321301" y="1825164"/>
                  <a:pt x="1331096" y="1834415"/>
                  <a:pt x="1330552" y="1840401"/>
                </a:cubicBezTo>
                <a:cubicBezTo>
                  <a:pt x="1330552" y="1845298"/>
                  <a:pt x="1321301" y="1854549"/>
                  <a:pt x="1316404" y="1854549"/>
                </a:cubicBezTo>
                <a:cubicBezTo>
                  <a:pt x="1310962" y="1855094"/>
                  <a:pt x="1302255" y="1846387"/>
                  <a:pt x="1301711" y="1840945"/>
                </a:cubicBezTo>
                <a:cubicBezTo>
                  <a:pt x="1301167" y="1834959"/>
                  <a:pt x="1309329" y="1826252"/>
                  <a:pt x="1315315" y="1825708"/>
                </a:cubicBezTo>
                <a:close/>
                <a:moveTo>
                  <a:pt x="1479656" y="1822987"/>
                </a:moveTo>
                <a:cubicBezTo>
                  <a:pt x="1489995" y="1823531"/>
                  <a:pt x="1495981" y="1830061"/>
                  <a:pt x="1495981" y="1840401"/>
                </a:cubicBezTo>
                <a:cubicBezTo>
                  <a:pt x="1495981" y="1851284"/>
                  <a:pt x="1490539" y="1856726"/>
                  <a:pt x="1478567" y="1856182"/>
                </a:cubicBezTo>
                <a:cubicBezTo>
                  <a:pt x="1467140" y="1856182"/>
                  <a:pt x="1462242" y="1850740"/>
                  <a:pt x="1462242" y="1839312"/>
                </a:cubicBezTo>
                <a:cubicBezTo>
                  <a:pt x="1462242" y="1828429"/>
                  <a:pt x="1468772" y="1822443"/>
                  <a:pt x="1479656" y="1822987"/>
                </a:cubicBezTo>
                <a:close/>
                <a:moveTo>
                  <a:pt x="1642365" y="1821355"/>
                </a:moveTo>
                <a:cubicBezTo>
                  <a:pt x="1653248" y="1821355"/>
                  <a:pt x="1661955" y="1829518"/>
                  <a:pt x="1660867" y="1840401"/>
                </a:cubicBezTo>
                <a:cubicBezTo>
                  <a:pt x="1659778" y="1853461"/>
                  <a:pt x="1653792" y="1857270"/>
                  <a:pt x="1642365" y="1857270"/>
                </a:cubicBezTo>
                <a:cubicBezTo>
                  <a:pt x="1630937" y="1857270"/>
                  <a:pt x="1624407" y="1850740"/>
                  <a:pt x="1624407" y="1839857"/>
                </a:cubicBezTo>
                <a:cubicBezTo>
                  <a:pt x="1624407" y="1828973"/>
                  <a:pt x="1632025" y="1821355"/>
                  <a:pt x="1642365" y="1821355"/>
                </a:cubicBezTo>
                <a:close/>
                <a:moveTo>
                  <a:pt x="1806162" y="1819723"/>
                </a:moveTo>
                <a:cubicBezTo>
                  <a:pt x="1816501" y="1819723"/>
                  <a:pt x="1827385" y="1831150"/>
                  <a:pt x="1826840" y="1840945"/>
                </a:cubicBezTo>
                <a:cubicBezTo>
                  <a:pt x="1826296" y="1850740"/>
                  <a:pt x="1813780" y="1862168"/>
                  <a:pt x="1804529" y="1861080"/>
                </a:cubicBezTo>
                <a:cubicBezTo>
                  <a:pt x="1795278" y="1860536"/>
                  <a:pt x="1783851" y="1847476"/>
                  <a:pt x="1784395" y="1839313"/>
                </a:cubicBezTo>
                <a:cubicBezTo>
                  <a:pt x="1784939" y="1828973"/>
                  <a:pt x="1796367" y="1819178"/>
                  <a:pt x="1806162" y="1819723"/>
                </a:cubicBezTo>
                <a:close/>
                <a:moveTo>
                  <a:pt x="1968870" y="1819178"/>
                </a:moveTo>
                <a:cubicBezTo>
                  <a:pt x="1980298" y="1819178"/>
                  <a:pt x="1990093" y="1828973"/>
                  <a:pt x="1990093" y="1840401"/>
                </a:cubicBezTo>
                <a:cubicBezTo>
                  <a:pt x="1990093" y="1851285"/>
                  <a:pt x="1980298" y="1861624"/>
                  <a:pt x="1968870" y="1861624"/>
                </a:cubicBezTo>
                <a:cubicBezTo>
                  <a:pt x="1957986" y="1861624"/>
                  <a:pt x="1947647" y="1851285"/>
                  <a:pt x="1947647" y="1840401"/>
                </a:cubicBezTo>
                <a:cubicBezTo>
                  <a:pt x="1947647" y="1828973"/>
                  <a:pt x="1957986" y="1819178"/>
                  <a:pt x="1968870" y="1819178"/>
                </a:cubicBezTo>
                <a:close/>
                <a:moveTo>
                  <a:pt x="1070436" y="1747347"/>
                </a:moveTo>
                <a:cubicBezTo>
                  <a:pt x="1078598" y="1747347"/>
                  <a:pt x="1081863" y="1750612"/>
                  <a:pt x="1081863" y="1758231"/>
                </a:cubicBezTo>
                <a:cubicBezTo>
                  <a:pt x="1081863" y="1766393"/>
                  <a:pt x="1078598" y="1769658"/>
                  <a:pt x="1070980" y="1769658"/>
                </a:cubicBezTo>
                <a:cubicBezTo>
                  <a:pt x="1063361" y="1769658"/>
                  <a:pt x="1060096" y="1766393"/>
                  <a:pt x="1059552" y="1758775"/>
                </a:cubicBezTo>
                <a:cubicBezTo>
                  <a:pt x="1059552" y="1751156"/>
                  <a:pt x="1062817" y="1747347"/>
                  <a:pt x="1070436" y="1747347"/>
                </a:cubicBezTo>
                <a:close/>
                <a:moveTo>
                  <a:pt x="1233688" y="1742449"/>
                </a:moveTo>
                <a:cubicBezTo>
                  <a:pt x="1242939" y="1741904"/>
                  <a:pt x="1250558" y="1750067"/>
                  <a:pt x="1250558" y="1758774"/>
                </a:cubicBezTo>
                <a:cubicBezTo>
                  <a:pt x="1250558" y="1767481"/>
                  <a:pt x="1242939" y="1775099"/>
                  <a:pt x="1233688" y="1775099"/>
                </a:cubicBezTo>
                <a:cubicBezTo>
                  <a:pt x="1224981" y="1775099"/>
                  <a:pt x="1218451" y="1768025"/>
                  <a:pt x="1217907" y="1759318"/>
                </a:cubicBezTo>
                <a:cubicBezTo>
                  <a:pt x="1217907" y="1750067"/>
                  <a:pt x="1224981" y="1742449"/>
                  <a:pt x="1233688" y="1742449"/>
                </a:cubicBezTo>
                <a:close/>
                <a:moveTo>
                  <a:pt x="1399662" y="1739728"/>
                </a:moveTo>
                <a:cubicBezTo>
                  <a:pt x="1410002" y="1740817"/>
                  <a:pt x="1418164" y="1750068"/>
                  <a:pt x="1417076" y="1760407"/>
                </a:cubicBezTo>
                <a:cubicBezTo>
                  <a:pt x="1415988" y="1769114"/>
                  <a:pt x="1404560" y="1779997"/>
                  <a:pt x="1396941" y="1779453"/>
                </a:cubicBezTo>
                <a:cubicBezTo>
                  <a:pt x="1388779" y="1778909"/>
                  <a:pt x="1376807" y="1765305"/>
                  <a:pt x="1377895" y="1757686"/>
                </a:cubicBezTo>
                <a:cubicBezTo>
                  <a:pt x="1379528" y="1746803"/>
                  <a:pt x="1389867" y="1738640"/>
                  <a:pt x="1399662" y="1739728"/>
                </a:cubicBezTo>
                <a:close/>
                <a:moveTo>
                  <a:pt x="1723991" y="1735919"/>
                </a:moveTo>
                <a:cubicBezTo>
                  <a:pt x="1738140" y="1735919"/>
                  <a:pt x="1746847" y="1744626"/>
                  <a:pt x="1746847" y="1758774"/>
                </a:cubicBezTo>
                <a:cubicBezTo>
                  <a:pt x="1746847" y="1772379"/>
                  <a:pt x="1738140" y="1781086"/>
                  <a:pt x="1723991" y="1781086"/>
                </a:cubicBezTo>
                <a:cubicBezTo>
                  <a:pt x="1709299" y="1781086"/>
                  <a:pt x="1701680" y="1773467"/>
                  <a:pt x="1701680" y="1758774"/>
                </a:cubicBezTo>
                <a:cubicBezTo>
                  <a:pt x="1701680" y="1744626"/>
                  <a:pt x="1709843" y="1735919"/>
                  <a:pt x="1723991" y="1735919"/>
                </a:cubicBezTo>
                <a:close/>
                <a:moveTo>
                  <a:pt x="1560194" y="1735919"/>
                </a:moveTo>
                <a:cubicBezTo>
                  <a:pt x="1572710" y="1736463"/>
                  <a:pt x="1582505" y="1746258"/>
                  <a:pt x="1582505" y="1758230"/>
                </a:cubicBezTo>
                <a:cubicBezTo>
                  <a:pt x="1582505" y="1770202"/>
                  <a:pt x="1572710" y="1779997"/>
                  <a:pt x="1560738" y="1779997"/>
                </a:cubicBezTo>
                <a:cubicBezTo>
                  <a:pt x="1549855" y="1779997"/>
                  <a:pt x="1538427" y="1769114"/>
                  <a:pt x="1538427" y="1758230"/>
                </a:cubicBezTo>
                <a:cubicBezTo>
                  <a:pt x="1538427" y="1746803"/>
                  <a:pt x="1548766" y="1735919"/>
                  <a:pt x="1560194" y="1735919"/>
                </a:cubicBezTo>
                <a:close/>
                <a:moveTo>
                  <a:pt x="2051041" y="1734831"/>
                </a:moveTo>
                <a:lnTo>
                  <a:pt x="2051041" y="1781438"/>
                </a:lnTo>
                <a:lnTo>
                  <a:pt x="2050496" y="1781630"/>
                </a:lnTo>
                <a:cubicBezTo>
                  <a:pt x="2033627" y="1782174"/>
                  <a:pt x="2027097" y="1772379"/>
                  <a:pt x="2027097" y="1758775"/>
                </a:cubicBezTo>
                <a:cubicBezTo>
                  <a:pt x="2027097" y="1744082"/>
                  <a:pt x="2033627" y="1734831"/>
                  <a:pt x="2051041" y="1734831"/>
                </a:cubicBezTo>
                <a:close/>
                <a:moveTo>
                  <a:pt x="1887788" y="1734831"/>
                </a:moveTo>
                <a:cubicBezTo>
                  <a:pt x="1902481" y="1735375"/>
                  <a:pt x="1910099" y="1742994"/>
                  <a:pt x="1910099" y="1758775"/>
                </a:cubicBezTo>
                <a:cubicBezTo>
                  <a:pt x="1910099" y="1771835"/>
                  <a:pt x="1903025" y="1782718"/>
                  <a:pt x="1886699" y="1781086"/>
                </a:cubicBezTo>
                <a:cubicBezTo>
                  <a:pt x="1872551" y="1782174"/>
                  <a:pt x="1863844" y="1770203"/>
                  <a:pt x="1863844" y="1757687"/>
                </a:cubicBezTo>
                <a:cubicBezTo>
                  <a:pt x="1863844" y="1742994"/>
                  <a:pt x="1874728" y="1734287"/>
                  <a:pt x="1887788" y="1734831"/>
                </a:cubicBezTo>
                <a:close/>
                <a:moveTo>
                  <a:pt x="826100" y="1671706"/>
                </a:moveTo>
                <a:cubicBezTo>
                  <a:pt x="830454" y="1670618"/>
                  <a:pt x="832086" y="1673338"/>
                  <a:pt x="832086" y="1677692"/>
                </a:cubicBezTo>
                <a:cubicBezTo>
                  <a:pt x="832086" y="1681501"/>
                  <a:pt x="829365" y="1683134"/>
                  <a:pt x="825556" y="1683134"/>
                </a:cubicBezTo>
                <a:cubicBezTo>
                  <a:pt x="821203" y="1683134"/>
                  <a:pt x="819570" y="1679869"/>
                  <a:pt x="820658" y="1676603"/>
                </a:cubicBezTo>
                <a:cubicBezTo>
                  <a:pt x="821203" y="1674427"/>
                  <a:pt x="823924" y="1672250"/>
                  <a:pt x="826100" y="1671706"/>
                </a:cubicBezTo>
                <a:close/>
                <a:moveTo>
                  <a:pt x="989354" y="1661912"/>
                </a:moveTo>
                <a:cubicBezTo>
                  <a:pt x="994251" y="1661912"/>
                  <a:pt x="1004046" y="1671707"/>
                  <a:pt x="1004046" y="1676604"/>
                </a:cubicBezTo>
                <a:cubicBezTo>
                  <a:pt x="1004046" y="1682590"/>
                  <a:pt x="996428" y="1690209"/>
                  <a:pt x="989354" y="1690209"/>
                </a:cubicBezTo>
                <a:cubicBezTo>
                  <a:pt x="982823" y="1690209"/>
                  <a:pt x="975749" y="1683679"/>
                  <a:pt x="975205" y="1677693"/>
                </a:cubicBezTo>
                <a:cubicBezTo>
                  <a:pt x="974661" y="1671707"/>
                  <a:pt x="983912" y="1661367"/>
                  <a:pt x="989354" y="1661912"/>
                </a:cubicBezTo>
                <a:close/>
                <a:moveTo>
                  <a:pt x="1153151" y="1659734"/>
                </a:moveTo>
                <a:cubicBezTo>
                  <a:pt x="1162946" y="1658646"/>
                  <a:pt x="1171108" y="1667353"/>
                  <a:pt x="1170564" y="1677692"/>
                </a:cubicBezTo>
                <a:cubicBezTo>
                  <a:pt x="1170020" y="1688575"/>
                  <a:pt x="1162946" y="1694562"/>
                  <a:pt x="1152062" y="1694562"/>
                </a:cubicBezTo>
                <a:cubicBezTo>
                  <a:pt x="1141179" y="1694017"/>
                  <a:pt x="1135737" y="1688031"/>
                  <a:pt x="1135737" y="1677148"/>
                </a:cubicBezTo>
                <a:cubicBezTo>
                  <a:pt x="1135737" y="1664632"/>
                  <a:pt x="1141179" y="1659190"/>
                  <a:pt x="1153151" y="1659734"/>
                </a:cubicBezTo>
                <a:close/>
                <a:moveTo>
                  <a:pt x="1315315" y="1655381"/>
                </a:moveTo>
                <a:cubicBezTo>
                  <a:pt x="1327287" y="1654836"/>
                  <a:pt x="1337082" y="1664088"/>
                  <a:pt x="1337082" y="1676603"/>
                </a:cubicBezTo>
                <a:cubicBezTo>
                  <a:pt x="1337082" y="1688575"/>
                  <a:pt x="1326743" y="1698915"/>
                  <a:pt x="1315315" y="1698915"/>
                </a:cubicBezTo>
                <a:cubicBezTo>
                  <a:pt x="1304976" y="1698915"/>
                  <a:pt x="1294092" y="1687487"/>
                  <a:pt x="1294092" y="1677148"/>
                </a:cubicBezTo>
                <a:cubicBezTo>
                  <a:pt x="1294092" y="1666264"/>
                  <a:pt x="1304431" y="1655925"/>
                  <a:pt x="1315315" y="1655381"/>
                </a:cubicBezTo>
                <a:close/>
                <a:moveTo>
                  <a:pt x="1479111" y="1654293"/>
                </a:moveTo>
                <a:cubicBezTo>
                  <a:pt x="1495437" y="1653204"/>
                  <a:pt x="1501967" y="1664632"/>
                  <a:pt x="1501967" y="1677692"/>
                </a:cubicBezTo>
                <a:cubicBezTo>
                  <a:pt x="1501967" y="1689664"/>
                  <a:pt x="1492716" y="1700548"/>
                  <a:pt x="1479111" y="1700548"/>
                </a:cubicBezTo>
                <a:cubicBezTo>
                  <a:pt x="1466596" y="1700548"/>
                  <a:pt x="1455712" y="1690208"/>
                  <a:pt x="1455712" y="1676604"/>
                </a:cubicBezTo>
                <a:cubicBezTo>
                  <a:pt x="1456256" y="1663544"/>
                  <a:pt x="1464963" y="1653204"/>
                  <a:pt x="1479111" y="1654293"/>
                </a:cubicBezTo>
                <a:close/>
                <a:moveTo>
                  <a:pt x="1643452" y="1650483"/>
                </a:moveTo>
                <a:cubicBezTo>
                  <a:pt x="1654880" y="1651027"/>
                  <a:pt x="1667940" y="1664087"/>
                  <a:pt x="1668484" y="1676603"/>
                </a:cubicBezTo>
                <a:cubicBezTo>
                  <a:pt x="1669029" y="1689120"/>
                  <a:pt x="1655968" y="1702724"/>
                  <a:pt x="1643452" y="1703268"/>
                </a:cubicBezTo>
                <a:cubicBezTo>
                  <a:pt x="1631480" y="1703812"/>
                  <a:pt x="1617332" y="1690208"/>
                  <a:pt x="1617332" y="1677692"/>
                </a:cubicBezTo>
                <a:cubicBezTo>
                  <a:pt x="1616788" y="1664632"/>
                  <a:pt x="1630392" y="1650483"/>
                  <a:pt x="1643452" y="1650483"/>
                </a:cubicBezTo>
                <a:close/>
                <a:moveTo>
                  <a:pt x="1968326" y="1649940"/>
                </a:moveTo>
                <a:cubicBezTo>
                  <a:pt x="1983019" y="1649395"/>
                  <a:pt x="1997167" y="1664088"/>
                  <a:pt x="1995535" y="1676604"/>
                </a:cubicBezTo>
                <a:cubicBezTo>
                  <a:pt x="1997167" y="1689664"/>
                  <a:pt x="1982474" y="1704901"/>
                  <a:pt x="1968870" y="1704357"/>
                </a:cubicBezTo>
                <a:cubicBezTo>
                  <a:pt x="1954177" y="1703813"/>
                  <a:pt x="1942205" y="1691841"/>
                  <a:pt x="1941661" y="1677148"/>
                </a:cubicBezTo>
                <a:cubicBezTo>
                  <a:pt x="1941117" y="1662456"/>
                  <a:pt x="1956354" y="1649940"/>
                  <a:pt x="1968326" y="1649940"/>
                </a:cubicBezTo>
                <a:close/>
                <a:moveTo>
                  <a:pt x="1805617" y="1649939"/>
                </a:moveTo>
                <a:cubicBezTo>
                  <a:pt x="1819222" y="1648851"/>
                  <a:pt x="1832826" y="1664088"/>
                  <a:pt x="1832826" y="1677148"/>
                </a:cubicBezTo>
                <a:cubicBezTo>
                  <a:pt x="1832282" y="1690752"/>
                  <a:pt x="1819222" y="1703812"/>
                  <a:pt x="1805073" y="1704357"/>
                </a:cubicBezTo>
                <a:cubicBezTo>
                  <a:pt x="1792557" y="1704901"/>
                  <a:pt x="1777864" y="1688031"/>
                  <a:pt x="1778409" y="1677148"/>
                </a:cubicBezTo>
                <a:cubicBezTo>
                  <a:pt x="1779497" y="1662999"/>
                  <a:pt x="1791469" y="1649939"/>
                  <a:pt x="1805617" y="1649939"/>
                </a:cubicBezTo>
                <a:close/>
                <a:moveTo>
                  <a:pt x="744474" y="1588992"/>
                </a:moveTo>
                <a:cubicBezTo>
                  <a:pt x="748827" y="1588992"/>
                  <a:pt x="751004" y="1590624"/>
                  <a:pt x="751004" y="1594978"/>
                </a:cubicBezTo>
                <a:cubicBezTo>
                  <a:pt x="751004" y="1598787"/>
                  <a:pt x="749916" y="1601508"/>
                  <a:pt x="745562" y="1602052"/>
                </a:cubicBezTo>
                <a:cubicBezTo>
                  <a:pt x="740665" y="1602052"/>
                  <a:pt x="738488" y="1600420"/>
                  <a:pt x="738488" y="1594978"/>
                </a:cubicBezTo>
                <a:cubicBezTo>
                  <a:pt x="737944" y="1590624"/>
                  <a:pt x="740121" y="1588992"/>
                  <a:pt x="744474" y="1588992"/>
                </a:cubicBezTo>
                <a:close/>
                <a:moveTo>
                  <a:pt x="907183" y="1579741"/>
                </a:moveTo>
                <a:cubicBezTo>
                  <a:pt x="913169" y="1579197"/>
                  <a:pt x="923508" y="1588992"/>
                  <a:pt x="923508" y="1594978"/>
                </a:cubicBezTo>
                <a:cubicBezTo>
                  <a:pt x="923508" y="1600964"/>
                  <a:pt x="915345" y="1610215"/>
                  <a:pt x="908815" y="1610759"/>
                </a:cubicBezTo>
                <a:cubicBezTo>
                  <a:pt x="901197" y="1611303"/>
                  <a:pt x="892490" y="1603685"/>
                  <a:pt x="892490" y="1595522"/>
                </a:cubicBezTo>
                <a:cubicBezTo>
                  <a:pt x="892490" y="1588448"/>
                  <a:pt x="900653" y="1579741"/>
                  <a:pt x="907183" y="1579741"/>
                </a:cubicBezTo>
                <a:close/>
                <a:moveTo>
                  <a:pt x="1071524" y="1574843"/>
                </a:moveTo>
                <a:cubicBezTo>
                  <a:pt x="1081319" y="1575387"/>
                  <a:pt x="1091114" y="1585726"/>
                  <a:pt x="1091114" y="1595522"/>
                </a:cubicBezTo>
                <a:cubicBezTo>
                  <a:pt x="1091114" y="1605317"/>
                  <a:pt x="1080231" y="1615656"/>
                  <a:pt x="1070980" y="1615656"/>
                </a:cubicBezTo>
                <a:cubicBezTo>
                  <a:pt x="1062273" y="1615656"/>
                  <a:pt x="1050845" y="1604228"/>
                  <a:pt x="1050301" y="1595522"/>
                </a:cubicBezTo>
                <a:cubicBezTo>
                  <a:pt x="1050301" y="1586270"/>
                  <a:pt x="1062273" y="1574299"/>
                  <a:pt x="1071524" y="1574843"/>
                </a:cubicBezTo>
                <a:close/>
                <a:moveTo>
                  <a:pt x="1233688" y="1573210"/>
                </a:moveTo>
                <a:cubicBezTo>
                  <a:pt x="1247837" y="1573210"/>
                  <a:pt x="1256544" y="1581373"/>
                  <a:pt x="1256544" y="1595522"/>
                </a:cubicBezTo>
                <a:cubicBezTo>
                  <a:pt x="1256544" y="1609670"/>
                  <a:pt x="1247837" y="1618377"/>
                  <a:pt x="1233688" y="1618377"/>
                </a:cubicBezTo>
                <a:cubicBezTo>
                  <a:pt x="1221172" y="1618377"/>
                  <a:pt x="1212465" y="1608582"/>
                  <a:pt x="1211377" y="1596610"/>
                </a:cubicBezTo>
                <a:cubicBezTo>
                  <a:pt x="1210289" y="1584638"/>
                  <a:pt x="1222261" y="1571034"/>
                  <a:pt x="1233688" y="1573210"/>
                </a:cubicBezTo>
                <a:close/>
                <a:moveTo>
                  <a:pt x="1398030" y="1569402"/>
                </a:moveTo>
                <a:cubicBezTo>
                  <a:pt x="1411634" y="1569946"/>
                  <a:pt x="1423606" y="1582462"/>
                  <a:pt x="1423062" y="1595522"/>
                </a:cubicBezTo>
                <a:cubicBezTo>
                  <a:pt x="1423062" y="1608582"/>
                  <a:pt x="1410546" y="1621099"/>
                  <a:pt x="1397485" y="1621099"/>
                </a:cubicBezTo>
                <a:cubicBezTo>
                  <a:pt x="1384969" y="1621099"/>
                  <a:pt x="1371365" y="1608038"/>
                  <a:pt x="1371365" y="1595522"/>
                </a:cubicBezTo>
                <a:cubicBezTo>
                  <a:pt x="1371365" y="1582462"/>
                  <a:pt x="1384969" y="1568857"/>
                  <a:pt x="1398030" y="1569402"/>
                </a:cubicBezTo>
                <a:close/>
                <a:moveTo>
                  <a:pt x="1560194" y="1568313"/>
                </a:moveTo>
                <a:cubicBezTo>
                  <a:pt x="1574342" y="1566680"/>
                  <a:pt x="1587403" y="1581373"/>
                  <a:pt x="1587947" y="1594433"/>
                </a:cubicBezTo>
                <a:cubicBezTo>
                  <a:pt x="1588491" y="1608582"/>
                  <a:pt x="1574887" y="1622730"/>
                  <a:pt x="1560194" y="1622730"/>
                </a:cubicBezTo>
                <a:cubicBezTo>
                  <a:pt x="1547134" y="1622730"/>
                  <a:pt x="1532985" y="1608582"/>
                  <a:pt x="1532985" y="1594977"/>
                </a:cubicBezTo>
                <a:cubicBezTo>
                  <a:pt x="1532985" y="1581917"/>
                  <a:pt x="1547134" y="1566680"/>
                  <a:pt x="1560194" y="1568313"/>
                </a:cubicBezTo>
                <a:close/>
                <a:moveTo>
                  <a:pt x="1887244" y="1567225"/>
                </a:moveTo>
                <a:cubicBezTo>
                  <a:pt x="1905202" y="1567225"/>
                  <a:pt x="1915541" y="1578109"/>
                  <a:pt x="1915541" y="1594978"/>
                </a:cubicBezTo>
                <a:cubicBezTo>
                  <a:pt x="1915541" y="1612392"/>
                  <a:pt x="1903569" y="1624363"/>
                  <a:pt x="1886699" y="1623819"/>
                </a:cubicBezTo>
                <a:cubicBezTo>
                  <a:pt x="1872551" y="1623819"/>
                  <a:pt x="1857314" y="1613480"/>
                  <a:pt x="1858947" y="1594978"/>
                </a:cubicBezTo>
                <a:cubicBezTo>
                  <a:pt x="1857858" y="1577564"/>
                  <a:pt x="1870918" y="1567225"/>
                  <a:pt x="1887244" y="1567225"/>
                </a:cubicBezTo>
                <a:close/>
                <a:moveTo>
                  <a:pt x="1724535" y="1567225"/>
                </a:moveTo>
                <a:cubicBezTo>
                  <a:pt x="1743037" y="1567225"/>
                  <a:pt x="1752288" y="1581373"/>
                  <a:pt x="1752288" y="1594978"/>
                </a:cubicBezTo>
                <a:cubicBezTo>
                  <a:pt x="1752288" y="1609127"/>
                  <a:pt x="1741949" y="1623275"/>
                  <a:pt x="1724535" y="1623275"/>
                </a:cubicBezTo>
                <a:cubicBezTo>
                  <a:pt x="1710930" y="1623819"/>
                  <a:pt x="1694605" y="1613480"/>
                  <a:pt x="1696238" y="1594978"/>
                </a:cubicBezTo>
                <a:cubicBezTo>
                  <a:pt x="1694605" y="1577564"/>
                  <a:pt x="1708754" y="1567225"/>
                  <a:pt x="1724535" y="1567225"/>
                </a:cubicBezTo>
                <a:close/>
                <a:moveTo>
                  <a:pt x="2050496" y="1566680"/>
                </a:moveTo>
                <a:lnTo>
                  <a:pt x="2051041" y="1566888"/>
                </a:lnTo>
                <a:lnTo>
                  <a:pt x="2051041" y="1623794"/>
                </a:lnTo>
                <a:lnTo>
                  <a:pt x="2049408" y="1624363"/>
                </a:lnTo>
                <a:cubicBezTo>
                  <a:pt x="2033083" y="1623818"/>
                  <a:pt x="2021111" y="1611302"/>
                  <a:pt x="2021655" y="1594977"/>
                </a:cubicBezTo>
                <a:cubicBezTo>
                  <a:pt x="2022199" y="1575931"/>
                  <a:pt x="2033627" y="1567224"/>
                  <a:pt x="2050496" y="1566680"/>
                </a:cubicBezTo>
                <a:close/>
                <a:moveTo>
                  <a:pt x="663392" y="1505188"/>
                </a:moveTo>
                <a:cubicBezTo>
                  <a:pt x="666113" y="1505188"/>
                  <a:pt x="669922" y="1510086"/>
                  <a:pt x="674819" y="1513895"/>
                </a:cubicBezTo>
                <a:cubicBezTo>
                  <a:pt x="669378" y="1517704"/>
                  <a:pt x="665569" y="1522602"/>
                  <a:pt x="662848" y="1522058"/>
                </a:cubicBezTo>
                <a:cubicBezTo>
                  <a:pt x="659583" y="1521513"/>
                  <a:pt x="654685" y="1516072"/>
                  <a:pt x="654685" y="1513351"/>
                </a:cubicBezTo>
                <a:cubicBezTo>
                  <a:pt x="654685" y="1510086"/>
                  <a:pt x="660127" y="1505188"/>
                  <a:pt x="663392" y="1505188"/>
                </a:cubicBezTo>
                <a:close/>
                <a:moveTo>
                  <a:pt x="826101" y="1497570"/>
                </a:moveTo>
                <a:cubicBezTo>
                  <a:pt x="834263" y="1497025"/>
                  <a:pt x="842426" y="1505188"/>
                  <a:pt x="842970" y="1513351"/>
                </a:cubicBezTo>
                <a:cubicBezTo>
                  <a:pt x="842970" y="1522058"/>
                  <a:pt x="835352" y="1529676"/>
                  <a:pt x="826645" y="1529676"/>
                </a:cubicBezTo>
                <a:cubicBezTo>
                  <a:pt x="818482" y="1529676"/>
                  <a:pt x="810864" y="1523146"/>
                  <a:pt x="810319" y="1514983"/>
                </a:cubicBezTo>
                <a:cubicBezTo>
                  <a:pt x="809775" y="1506276"/>
                  <a:pt x="817394" y="1498114"/>
                  <a:pt x="826101" y="1497570"/>
                </a:cubicBezTo>
                <a:close/>
                <a:moveTo>
                  <a:pt x="988265" y="1492128"/>
                </a:moveTo>
                <a:cubicBezTo>
                  <a:pt x="998605" y="1492128"/>
                  <a:pt x="1010577" y="1501379"/>
                  <a:pt x="1010577" y="1513351"/>
                </a:cubicBezTo>
                <a:cubicBezTo>
                  <a:pt x="1010577" y="1524234"/>
                  <a:pt x="1000237" y="1534574"/>
                  <a:pt x="989354" y="1534574"/>
                </a:cubicBezTo>
                <a:cubicBezTo>
                  <a:pt x="979559" y="1534574"/>
                  <a:pt x="968675" y="1523690"/>
                  <a:pt x="968131" y="1513895"/>
                </a:cubicBezTo>
                <a:cubicBezTo>
                  <a:pt x="968131" y="1503556"/>
                  <a:pt x="977926" y="1492672"/>
                  <a:pt x="988265" y="1492128"/>
                </a:cubicBezTo>
                <a:close/>
                <a:moveTo>
                  <a:pt x="1152606" y="1490496"/>
                </a:moveTo>
                <a:cubicBezTo>
                  <a:pt x="1167299" y="1489407"/>
                  <a:pt x="1176006" y="1498658"/>
                  <a:pt x="1176006" y="1513351"/>
                </a:cubicBezTo>
                <a:cubicBezTo>
                  <a:pt x="1176006" y="1530764"/>
                  <a:pt x="1166755" y="1537295"/>
                  <a:pt x="1152606" y="1537839"/>
                </a:cubicBezTo>
                <a:cubicBezTo>
                  <a:pt x="1139546" y="1537839"/>
                  <a:pt x="1129207" y="1530764"/>
                  <a:pt x="1129207" y="1514984"/>
                </a:cubicBezTo>
                <a:cubicBezTo>
                  <a:pt x="1129207" y="1498114"/>
                  <a:pt x="1138458" y="1491040"/>
                  <a:pt x="1152606" y="1490496"/>
                </a:cubicBezTo>
                <a:close/>
                <a:moveTo>
                  <a:pt x="1316403" y="1487231"/>
                </a:moveTo>
                <a:cubicBezTo>
                  <a:pt x="1331095" y="1487775"/>
                  <a:pt x="1342523" y="1499203"/>
                  <a:pt x="1342523" y="1513896"/>
                </a:cubicBezTo>
                <a:cubicBezTo>
                  <a:pt x="1342523" y="1528588"/>
                  <a:pt x="1330551" y="1540560"/>
                  <a:pt x="1315314" y="1540560"/>
                </a:cubicBezTo>
                <a:cubicBezTo>
                  <a:pt x="1303887" y="1542193"/>
                  <a:pt x="1288106" y="1527500"/>
                  <a:pt x="1288650" y="1513896"/>
                </a:cubicBezTo>
                <a:cubicBezTo>
                  <a:pt x="1289194" y="1498659"/>
                  <a:pt x="1301166" y="1486687"/>
                  <a:pt x="1316403" y="1487231"/>
                </a:cubicBezTo>
                <a:close/>
                <a:moveTo>
                  <a:pt x="1479656" y="1485054"/>
                </a:moveTo>
                <a:cubicBezTo>
                  <a:pt x="1495437" y="1485598"/>
                  <a:pt x="1508497" y="1496482"/>
                  <a:pt x="1507409" y="1513895"/>
                </a:cubicBezTo>
                <a:cubicBezTo>
                  <a:pt x="1508497" y="1527500"/>
                  <a:pt x="1498158" y="1542192"/>
                  <a:pt x="1479112" y="1541648"/>
                </a:cubicBezTo>
                <a:cubicBezTo>
                  <a:pt x="1462787" y="1541648"/>
                  <a:pt x="1451359" y="1529676"/>
                  <a:pt x="1451359" y="1513351"/>
                </a:cubicBezTo>
                <a:cubicBezTo>
                  <a:pt x="1451359" y="1493761"/>
                  <a:pt x="1466596" y="1485054"/>
                  <a:pt x="1479656" y="1485054"/>
                </a:cubicBezTo>
                <a:close/>
                <a:moveTo>
                  <a:pt x="1641820" y="1482334"/>
                </a:moveTo>
                <a:cubicBezTo>
                  <a:pt x="1657057" y="1481789"/>
                  <a:pt x="1672838" y="1496482"/>
                  <a:pt x="1673382" y="1512807"/>
                </a:cubicBezTo>
                <a:cubicBezTo>
                  <a:pt x="1673927" y="1528044"/>
                  <a:pt x="1658145" y="1544370"/>
                  <a:pt x="1642909" y="1544370"/>
                </a:cubicBezTo>
                <a:cubicBezTo>
                  <a:pt x="1626039" y="1542193"/>
                  <a:pt x="1612979" y="1532942"/>
                  <a:pt x="1612435" y="1513351"/>
                </a:cubicBezTo>
                <a:cubicBezTo>
                  <a:pt x="1611890" y="1497571"/>
                  <a:pt x="1626583" y="1483422"/>
                  <a:pt x="1641820" y="1482334"/>
                </a:cubicBezTo>
                <a:close/>
                <a:moveTo>
                  <a:pt x="1804529" y="1481788"/>
                </a:moveTo>
                <a:cubicBezTo>
                  <a:pt x="1820855" y="1481244"/>
                  <a:pt x="1836091" y="1494304"/>
                  <a:pt x="1837180" y="1513351"/>
                </a:cubicBezTo>
                <a:cubicBezTo>
                  <a:pt x="1838812" y="1528043"/>
                  <a:pt x="1825208" y="1544913"/>
                  <a:pt x="1805617" y="1545457"/>
                </a:cubicBezTo>
                <a:cubicBezTo>
                  <a:pt x="1787660" y="1544913"/>
                  <a:pt x="1774055" y="1532397"/>
                  <a:pt x="1773511" y="1514983"/>
                </a:cubicBezTo>
                <a:cubicBezTo>
                  <a:pt x="1772967" y="1494849"/>
                  <a:pt x="1788204" y="1482333"/>
                  <a:pt x="1804529" y="1481788"/>
                </a:cubicBezTo>
                <a:close/>
                <a:moveTo>
                  <a:pt x="1968870" y="1480700"/>
                </a:moveTo>
                <a:cubicBezTo>
                  <a:pt x="1984651" y="1480700"/>
                  <a:pt x="2000977" y="1495937"/>
                  <a:pt x="2000977" y="1513351"/>
                </a:cubicBezTo>
                <a:cubicBezTo>
                  <a:pt x="2001521" y="1529132"/>
                  <a:pt x="1987916" y="1546001"/>
                  <a:pt x="1968870" y="1545457"/>
                </a:cubicBezTo>
                <a:cubicBezTo>
                  <a:pt x="1949824" y="1545457"/>
                  <a:pt x="1936764" y="1530764"/>
                  <a:pt x="1936764" y="1513351"/>
                </a:cubicBezTo>
                <a:cubicBezTo>
                  <a:pt x="1936764" y="1493760"/>
                  <a:pt x="1953633" y="1480700"/>
                  <a:pt x="1968870" y="1480700"/>
                </a:cubicBezTo>
                <a:close/>
                <a:moveTo>
                  <a:pt x="581221" y="1423562"/>
                </a:moveTo>
                <a:cubicBezTo>
                  <a:pt x="586663" y="1423562"/>
                  <a:pt x="589384" y="1427371"/>
                  <a:pt x="588840" y="1431725"/>
                </a:cubicBezTo>
                <a:cubicBezTo>
                  <a:pt x="588840" y="1434990"/>
                  <a:pt x="585030" y="1438255"/>
                  <a:pt x="581765" y="1443153"/>
                </a:cubicBezTo>
                <a:cubicBezTo>
                  <a:pt x="577412" y="1438255"/>
                  <a:pt x="574147" y="1436078"/>
                  <a:pt x="573059" y="1432813"/>
                </a:cubicBezTo>
                <a:cubicBezTo>
                  <a:pt x="571426" y="1429004"/>
                  <a:pt x="576868" y="1423562"/>
                  <a:pt x="581221" y="1423562"/>
                </a:cubicBezTo>
                <a:close/>
                <a:moveTo>
                  <a:pt x="745562" y="1414855"/>
                </a:moveTo>
                <a:cubicBezTo>
                  <a:pt x="754269" y="1415399"/>
                  <a:pt x="761344" y="1423018"/>
                  <a:pt x="761344" y="1432269"/>
                </a:cubicBezTo>
                <a:cubicBezTo>
                  <a:pt x="761344" y="1442064"/>
                  <a:pt x="754813" y="1448050"/>
                  <a:pt x="745018" y="1448050"/>
                </a:cubicBezTo>
                <a:cubicBezTo>
                  <a:pt x="734679" y="1448050"/>
                  <a:pt x="728693" y="1442064"/>
                  <a:pt x="728693" y="1431725"/>
                </a:cubicBezTo>
                <a:cubicBezTo>
                  <a:pt x="728693" y="1421386"/>
                  <a:pt x="735223" y="1414311"/>
                  <a:pt x="745562" y="1414855"/>
                </a:cubicBezTo>
                <a:close/>
                <a:moveTo>
                  <a:pt x="908815" y="1409958"/>
                </a:moveTo>
                <a:cubicBezTo>
                  <a:pt x="920243" y="1410502"/>
                  <a:pt x="930038" y="1420297"/>
                  <a:pt x="930038" y="1431725"/>
                </a:cubicBezTo>
                <a:cubicBezTo>
                  <a:pt x="929494" y="1443697"/>
                  <a:pt x="919155" y="1454036"/>
                  <a:pt x="907183" y="1453492"/>
                </a:cubicBezTo>
                <a:cubicBezTo>
                  <a:pt x="896844" y="1453492"/>
                  <a:pt x="885960" y="1442064"/>
                  <a:pt x="885960" y="1431725"/>
                </a:cubicBezTo>
                <a:cubicBezTo>
                  <a:pt x="885960" y="1420297"/>
                  <a:pt x="897388" y="1409414"/>
                  <a:pt x="908815" y="1409958"/>
                </a:cubicBezTo>
                <a:close/>
                <a:moveTo>
                  <a:pt x="1070436" y="1406693"/>
                </a:moveTo>
                <a:cubicBezTo>
                  <a:pt x="1084584" y="1406693"/>
                  <a:pt x="1096012" y="1418121"/>
                  <a:pt x="1096012" y="1432269"/>
                </a:cubicBezTo>
                <a:cubicBezTo>
                  <a:pt x="1096012" y="1445329"/>
                  <a:pt x="1082952" y="1458390"/>
                  <a:pt x="1070436" y="1457846"/>
                </a:cubicBezTo>
                <a:cubicBezTo>
                  <a:pt x="1058464" y="1457301"/>
                  <a:pt x="1044860" y="1443153"/>
                  <a:pt x="1045404" y="1431181"/>
                </a:cubicBezTo>
                <a:cubicBezTo>
                  <a:pt x="1045948" y="1418665"/>
                  <a:pt x="1057920" y="1406693"/>
                  <a:pt x="1070436" y="1406693"/>
                </a:cubicBezTo>
                <a:close/>
                <a:moveTo>
                  <a:pt x="1235865" y="1404516"/>
                </a:moveTo>
                <a:cubicBezTo>
                  <a:pt x="1252191" y="1405605"/>
                  <a:pt x="1262530" y="1415944"/>
                  <a:pt x="1261986" y="1433358"/>
                </a:cubicBezTo>
                <a:cubicBezTo>
                  <a:pt x="1261442" y="1449683"/>
                  <a:pt x="1251102" y="1459478"/>
                  <a:pt x="1233689" y="1459478"/>
                </a:cubicBezTo>
                <a:cubicBezTo>
                  <a:pt x="1218452" y="1461655"/>
                  <a:pt x="1206480" y="1445329"/>
                  <a:pt x="1206480" y="1432269"/>
                </a:cubicBezTo>
                <a:cubicBezTo>
                  <a:pt x="1206480" y="1417032"/>
                  <a:pt x="1220084" y="1403428"/>
                  <a:pt x="1235865" y="1404516"/>
                </a:cubicBezTo>
                <a:close/>
                <a:moveTo>
                  <a:pt x="1397485" y="1400162"/>
                </a:moveTo>
                <a:cubicBezTo>
                  <a:pt x="1412178" y="1400162"/>
                  <a:pt x="1427959" y="1416487"/>
                  <a:pt x="1427959" y="1431724"/>
                </a:cubicBezTo>
                <a:cubicBezTo>
                  <a:pt x="1428503" y="1446961"/>
                  <a:pt x="1413810" y="1462198"/>
                  <a:pt x="1398029" y="1463287"/>
                </a:cubicBezTo>
                <a:cubicBezTo>
                  <a:pt x="1384425" y="1464375"/>
                  <a:pt x="1367555" y="1448049"/>
                  <a:pt x="1366467" y="1432813"/>
                </a:cubicBezTo>
                <a:cubicBezTo>
                  <a:pt x="1365923" y="1418120"/>
                  <a:pt x="1382792" y="1400162"/>
                  <a:pt x="1397485" y="1400162"/>
                </a:cubicBezTo>
                <a:close/>
                <a:moveTo>
                  <a:pt x="1561282" y="1399618"/>
                </a:moveTo>
                <a:cubicBezTo>
                  <a:pt x="1575975" y="1399618"/>
                  <a:pt x="1593388" y="1415943"/>
                  <a:pt x="1593388" y="1432269"/>
                </a:cubicBezTo>
                <a:cubicBezTo>
                  <a:pt x="1593388" y="1446961"/>
                  <a:pt x="1578696" y="1464919"/>
                  <a:pt x="1560738" y="1464375"/>
                </a:cubicBezTo>
                <a:cubicBezTo>
                  <a:pt x="1542236" y="1463831"/>
                  <a:pt x="1529176" y="1450226"/>
                  <a:pt x="1528631" y="1432813"/>
                </a:cubicBezTo>
                <a:cubicBezTo>
                  <a:pt x="1528087" y="1414311"/>
                  <a:pt x="1545501" y="1399618"/>
                  <a:pt x="1561282" y="1399618"/>
                </a:cubicBezTo>
                <a:close/>
                <a:moveTo>
                  <a:pt x="1723446" y="1399074"/>
                </a:moveTo>
                <a:cubicBezTo>
                  <a:pt x="1741948" y="1399074"/>
                  <a:pt x="1757185" y="1413767"/>
                  <a:pt x="1757185" y="1432269"/>
                </a:cubicBezTo>
                <a:cubicBezTo>
                  <a:pt x="1757185" y="1451315"/>
                  <a:pt x="1743037" y="1463831"/>
                  <a:pt x="1723991" y="1465464"/>
                </a:cubicBezTo>
                <a:cubicBezTo>
                  <a:pt x="1707121" y="1466552"/>
                  <a:pt x="1690252" y="1448594"/>
                  <a:pt x="1691340" y="1433357"/>
                </a:cubicBezTo>
                <a:cubicBezTo>
                  <a:pt x="1692428" y="1412678"/>
                  <a:pt x="1704400" y="1399074"/>
                  <a:pt x="1723446" y="1399074"/>
                </a:cubicBezTo>
                <a:close/>
                <a:moveTo>
                  <a:pt x="1886700" y="1398530"/>
                </a:moveTo>
                <a:cubicBezTo>
                  <a:pt x="1904113" y="1396898"/>
                  <a:pt x="1922071" y="1415944"/>
                  <a:pt x="1920439" y="1432269"/>
                </a:cubicBezTo>
                <a:cubicBezTo>
                  <a:pt x="1919350" y="1451315"/>
                  <a:pt x="1907378" y="1464920"/>
                  <a:pt x="1887788" y="1464920"/>
                </a:cubicBezTo>
                <a:cubicBezTo>
                  <a:pt x="1867109" y="1464920"/>
                  <a:pt x="1854049" y="1452948"/>
                  <a:pt x="1854049" y="1433358"/>
                </a:cubicBezTo>
                <a:cubicBezTo>
                  <a:pt x="1854049" y="1412679"/>
                  <a:pt x="1867109" y="1400163"/>
                  <a:pt x="1886700" y="1398530"/>
                </a:cubicBezTo>
                <a:close/>
                <a:moveTo>
                  <a:pt x="2051041" y="1398217"/>
                </a:moveTo>
                <a:lnTo>
                  <a:pt x="2051041" y="1464535"/>
                </a:lnTo>
                <a:lnTo>
                  <a:pt x="2049953" y="1464920"/>
                </a:lnTo>
                <a:cubicBezTo>
                  <a:pt x="2032539" y="1467096"/>
                  <a:pt x="2017302" y="1450771"/>
                  <a:pt x="2017302" y="1431725"/>
                </a:cubicBezTo>
                <a:cubicBezTo>
                  <a:pt x="2017302" y="1422746"/>
                  <a:pt x="2021383" y="1414311"/>
                  <a:pt x="2027709" y="1408121"/>
                </a:cubicBezTo>
                <a:close/>
                <a:moveTo>
                  <a:pt x="500139" y="1341936"/>
                </a:moveTo>
                <a:cubicBezTo>
                  <a:pt x="503404" y="1343568"/>
                  <a:pt x="506125" y="1346833"/>
                  <a:pt x="511023" y="1350643"/>
                </a:cubicBezTo>
                <a:cubicBezTo>
                  <a:pt x="506125" y="1354452"/>
                  <a:pt x="502860" y="1357717"/>
                  <a:pt x="499595" y="1358261"/>
                </a:cubicBezTo>
                <a:cubicBezTo>
                  <a:pt x="495241" y="1359349"/>
                  <a:pt x="490888" y="1353908"/>
                  <a:pt x="491432" y="1349010"/>
                </a:cubicBezTo>
                <a:cubicBezTo>
                  <a:pt x="491976" y="1344112"/>
                  <a:pt x="495241" y="1340848"/>
                  <a:pt x="500139" y="1341936"/>
                </a:cubicBezTo>
                <a:close/>
                <a:moveTo>
                  <a:pt x="662848" y="1333773"/>
                </a:moveTo>
                <a:cubicBezTo>
                  <a:pt x="673187" y="1333773"/>
                  <a:pt x="679173" y="1340303"/>
                  <a:pt x="679173" y="1350643"/>
                </a:cubicBezTo>
                <a:cubicBezTo>
                  <a:pt x="679173" y="1359894"/>
                  <a:pt x="672099" y="1366424"/>
                  <a:pt x="662848" y="1366424"/>
                </a:cubicBezTo>
                <a:cubicBezTo>
                  <a:pt x="653053" y="1366424"/>
                  <a:pt x="647067" y="1359894"/>
                  <a:pt x="647067" y="1350098"/>
                </a:cubicBezTo>
                <a:cubicBezTo>
                  <a:pt x="647067" y="1339759"/>
                  <a:pt x="653053" y="1333773"/>
                  <a:pt x="662848" y="1333773"/>
                </a:cubicBezTo>
                <a:close/>
                <a:moveTo>
                  <a:pt x="826645" y="1328331"/>
                </a:moveTo>
                <a:cubicBezTo>
                  <a:pt x="838617" y="1328331"/>
                  <a:pt x="848412" y="1338670"/>
                  <a:pt x="847868" y="1350642"/>
                </a:cubicBezTo>
                <a:cubicBezTo>
                  <a:pt x="847868" y="1362070"/>
                  <a:pt x="836984" y="1372409"/>
                  <a:pt x="825556" y="1372409"/>
                </a:cubicBezTo>
                <a:cubicBezTo>
                  <a:pt x="814673" y="1372409"/>
                  <a:pt x="803789" y="1360982"/>
                  <a:pt x="804334" y="1349554"/>
                </a:cubicBezTo>
                <a:cubicBezTo>
                  <a:pt x="804334" y="1337582"/>
                  <a:pt x="814673" y="1328331"/>
                  <a:pt x="826645" y="1328331"/>
                </a:cubicBezTo>
                <a:close/>
                <a:moveTo>
                  <a:pt x="989353" y="1323978"/>
                </a:moveTo>
                <a:cubicBezTo>
                  <a:pt x="1002957" y="1324522"/>
                  <a:pt x="1014385" y="1334861"/>
                  <a:pt x="1015473" y="1350098"/>
                </a:cubicBezTo>
                <a:cubicBezTo>
                  <a:pt x="1014929" y="1363702"/>
                  <a:pt x="1004046" y="1376219"/>
                  <a:pt x="989353" y="1376763"/>
                </a:cubicBezTo>
                <a:cubicBezTo>
                  <a:pt x="976293" y="1376763"/>
                  <a:pt x="963777" y="1364791"/>
                  <a:pt x="963777" y="1350642"/>
                </a:cubicBezTo>
                <a:cubicBezTo>
                  <a:pt x="963233" y="1334861"/>
                  <a:pt x="977925" y="1323434"/>
                  <a:pt x="989353" y="1323978"/>
                </a:cubicBezTo>
                <a:close/>
                <a:moveTo>
                  <a:pt x="1152606" y="1322889"/>
                </a:moveTo>
                <a:cubicBezTo>
                  <a:pt x="1170564" y="1320712"/>
                  <a:pt x="1180903" y="1335405"/>
                  <a:pt x="1181447" y="1350098"/>
                </a:cubicBezTo>
                <a:cubicBezTo>
                  <a:pt x="1181447" y="1364791"/>
                  <a:pt x="1171108" y="1379483"/>
                  <a:pt x="1152606" y="1379483"/>
                </a:cubicBezTo>
                <a:cubicBezTo>
                  <a:pt x="1137913" y="1379483"/>
                  <a:pt x="1124853" y="1367511"/>
                  <a:pt x="1124853" y="1350642"/>
                </a:cubicBezTo>
                <a:cubicBezTo>
                  <a:pt x="1124309" y="1333228"/>
                  <a:pt x="1137913" y="1320712"/>
                  <a:pt x="1152606" y="1322889"/>
                </a:cubicBezTo>
                <a:close/>
                <a:moveTo>
                  <a:pt x="1315315" y="1318536"/>
                </a:moveTo>
                <a:cubicBezTo>
                  <a:pt x="1334361" y="1318536"/>
                  <a:pt x="1345789" y="1331596"/>
                  <a:pt x="1347966" y="1350098"/>
                </a:cubicBezTo>
                <a:cubicBezTo>
                  <a:pt x="1345245" y="1369144"/>
                  <a:pt x="1334905" y="1382205"/>
                  <a:pt x="1315315" y="1381661"/>
                </a:cubicBezTo>
                <a:cubicBezTo>
                  <a:pt x="1296813" y="1381116"/>
                  <a:pt x="1284841" y="1369144"/>
                  <a:pt x="1284297" y="1350098"/>
                </a:cubicBezTo>
                <a:cubicBezTo>
                  <a:pt x="1284297" y="1331052"/>
                  <a:pt x="1297357" y="1319080"/>
                  <a:pt x="1315315" y="1318536"/>
                </a:cubicBezTo>
                <a:close/>
                <a:moveTo>
                  <a:pt x="1480744" y="1317448"/>
                </a:moveTo>
                <a:cubicBezTo>
                  <a:pt x="1499246" y="1317992"/>
                  <a:pt x="1512851" y="1332140"/>
                  <a:pt x="1512306" y="1351731"/>
                </a:cubicBezTo>
                <a:cubicBezTo>
                  <a:pt x="1511762" y="1370233"/>
                  <a:pt x="1497070" y="1383837"/>
                  <a:pt x="1477479" y="1383293"/>
                </a:cubicBezTo>
                <a:cubicBezTo>
                  <a:pt x="1458977" y="1382749"/>
                  <a:pt x="1447550" y="1368600"/>
                  <a:pt x="1446461" y="1349554"/>
                </a:cubicBezTo>
                <a:cubicBezTo>
                  <a:pt x="1445373" y="1333773"/>
                  <a:pt x="1463331" y="1314727"/>
                  <a:pt x="1480744" y="1317448"/>
                </a:cubicBezTo>
                <a:close/>
                <a:moveTo>
                  <a:pt x="1642908" y="1315815"/>
                </a:moveTo>
                <a:cubicBezTo>
                  <a:pt x="1663043" y="1315815"/>
                  <a:pt x="1677735" y="1333229"/>
                  <a:pt x="1676647" y="1351731"/>
                </a:cubicBezTo>
                <a:cubicBezTo>
                  <a:pt x="1675559" y="1371865"/>
                  <a:pt x="1661954" y="1384381"/>
                  <a:pt x="1640732" y="1383837"/>
                </a:cubicBezTo>
                <a:cubicBezTo>
                  <a:pt x="1620597" y="1384381"/>
                  <a:pt x="1608081" y="1368056"/>
                  <a:pt x="1608081" y="1349554"/>
                </a:cubicBezTo>
                <a:cubicBezTo>
                  <a:pt x="1608081" y="1329964"/>
                  <a:pt x="1623318" y="1315815"/>
                  <a:pt x="1642908" y="1315815"/>
                </a:cubicBezTo>
                <a:close/>
                <a:moveTo>
                  <a:pt x="1968870" y="1314183"/>
                </a:moveTo>
                <a:cubicBezTo>
                  <a:pt x="1989548" y="1314727"/>
                  <a:pt x="2004785" y="1329420"/>
                  <a:pt x="2005329" y="1351187"/>
                </a:cubicBezTo>
                <a:cubicBezTo>
                  <a:pt x="2004785" y="1370233"/>
                  <a:pt x="1985739" y="1388735"/>
                  <a:pt x="1967781" y="1388191"/>
                </a:cubicBezTo>
                <a:cubicBezTo>
                  <a:pt x="1949823" y="1387647"/>
                  <a:pt x="1931322" y="1367512"/>
                  <a:pt x="1931866" y="1350098"/>
                </a:cubicBezTo>
                <a:cubicBezTo>
                  <a:pt x="1932410" y="1331596"/>
                  <a:pt x="1950912" y="1313094"/>
                  <a:pt x="1968870" y="1314183"/>
                </a:cubicBezTo>
                <a:close/>
                <a:moveTo>
                  <a:pt x="1806161" y="1313639"/>
                </a:moveTo>
                <a:cubicBezTo>
                  <a:pt x="1825207" y="1314183"/>
                  <a:pt x="1843165" y="1332141"/>
                  <a:pt x="1841533" y="1351187"/>
                </a:cubicBezTo>
                <a:cubicBezTo>
                  <a:pt x="1840988" y="1360438"/>
                  <a:pt x="1838267" y="1370233"/>
                  <a:pt x="1830105" y="1376763"/>
                </a:cubicBezTo>
                <a:cubicBezTo>
                  <a:pt x="1822486" y="1383293"/>
                  <a:pt x="1813235" y="1387102"/>
                  <a:pt x="1803984" y="1387102"/>
                </a:cubicBezTo>
                <a:cubicBezTo>
                  <a:pt x="1786027" y="1387102"/>
                  <a:pt x="1768613" y="1367512"/>
                  <a:pt x="1768613" y="1350098"/>
                </a:cubicBezTo>
                <a:cubicBezTo>
                  <a:pt x="1769157" y="1331596"/>
                  <a:pt x="1788203" y="1313094"/>
                  <a:pt x="1806161" y="1313639"/>
                </a:cubicBezTo>
                <a:close/>
                <a:moveTo>
                  <a:pt x="419057" y="1262486"/>
                </a:moveTo>
                <a:cubicBezTo>
                  <a:pt x="423410" y="1262486"/>
                  <a:pt x="425587" y="1265207"/>
                  <a:pt x="424499" y="1269016"/>
                </a:cubicBezTo>
                <a:cubicBezTo>
                  <a:pt x="423410" y="1271737"/>
                  <a:pt x="421234" y="1273914"/>
                  <a:pt x="417969" y="1278811"/>
                </a:cubicBezTo>
                <a:cubicBezTo>
                  <a:pt x="414704" y="1273914"/>
                  <a:pt x="412527" y="1271737"/>
                  <a:pt x="411983" y="1269016"/>
                </a:cubicBezTo>
                <a:cubicBezTo>
                  <a:pt x="410894" y="1264118"/>
                  <a:pt x="414159" y="1262486"/>
                  <a:pt x="419057" y="1262486"/>
                </a:cubicBezTo>
                <a:close/>
                <a:moveTo>
                  <a:pt x="581221" y="1252147"/>
                </a:moveTo>
                <a:cubicBezTo>
                  <a:pt x="591016" y="1252691"/>
                  <a:pt x="598091" y="1260310"/>
                  <a:pt x="597547" y="1269017"/>
                </a:cubicBezTo>
                <a:cubicBezTo>
                  <a:pt x="597547" y="1278268"/>
                  <a:pt x="589928" y="1284798"/>
                  <a:pt x="580133" y="1284254"/>
                </a:cubicBezTo>
                <a:cubicBezTo>
                  <a:pt x="570882" y="1283709"/>
                  <a:pt x="564896" y="1277179"/>
                  <a:pt x="564896" y="1268472"/>
                </a:cubicBezTo>
                <a:cubicBezTo>
                  <a:pt x="564896" y="1259222"/>
                  <a:pt x="571970" y="1252147"/>
                  <a:pt x="581221" y="1252147"/>
                </a:cubicBezTo>
                <a:close/>
                <a:moveTo>
                  <a:pt x="745018" y="1246705"/>
                </a:moveTo>
                <a:cubicBezTo>
                  <a:pt x="757534" y="1246705"/>
                  <a:pt x="766785" y="1257044"/>
                  <a:pt x="766241" y="1269560"/>
                </a:cubicBezTo>
                <a:cubicBezTo>
                  <a:pt x="765697" y="1280988"/>
                  <a:pt x="755358" y="1290783"/>
                  <a:pt x="744474" y="1290783"/>
                </a:cubicBezTo>
                <a:cubicBezTo>
                  <a:pt x="733046" y="1290783"/>
                  <a:pt x="722707" y="1279900"/>
                  <a:pt x="722707" y="1267928"/>
                </a:cubicBezTo>
                <a:cubicBezTo>
                  <a:pt x="722707" y="1255956"/>
                  <a:pt x="733046" y="1246705"/>
                  <a:pt x="745018" y="1246705"/>
                </a:cubicBezTo>
                <a:close/>
                <a:moveTo>
                  <a:pt x="907727" y="1241807"/>
                </a:moveTo>
                <a:cubicBezTo>
                  <a:pt x="921331" y="1241807"/>
                  <a:pt x="934391" y="1257044"/>
                  <a:pt x="933847" y="1269016"/>
                </a:cubicBezTo>
                <a:cubicBezTo>
                  <a:pt x="933847" y="1282620"/>
                  <a:pt x="920787" y="1295680"/>
                  <a:pt x="907183" y="1295136"/>
                </a:cubicBezTo>
                <a:cubicBezTo>
                  <a:pt x="893578" y="1294592"/>
                  <a:pt x="880518" y="1280988"/>
                  <a:pt x="880518" y="1267927"/>
                </a:cubicBezTo>
                <a:cubicBezTo>
                  <a:pt x="881062" y="1254323"/>
                  <a:pt x="894122" y="1242351"/>
                  <a:pt x="907727" y="1241807"/>
                </a:cubicBezTo>
                <a:close/>
                <a:moveTo>
                  <a:pt x="1070979" y="1240719"/>
                </a:moveTo>
                <a:cubicBezTo>
                  <a:pt x="1091114" y="1240175"/>
                  <a:pt x="1099276" y="1252691"/>
                  <a:pt x="1099821" y="1268472"/>
                </a:cubicBezTo>
                <a:cubicBezTo>
                  <a:pt x="1099821" y="1285886"/>
                  <a:pt x="1088393" y="1297858"/>
                  <a:pt x="1070435" y="1297858"/>
                </a:cubicBezTo>
                <a:cubicBezTo>
                  <a:pt x="1053566" y="1297858"/>
                  <a:pt x="1042138" y="1286430"/>
                  <a:pt x="1042138" y="1269560"/>
                </a:cubicBezTo>
                <a:cubicBezTo>
                  <a:pt x="1042138" y="1250514"/>
                  <a:pt x="1053566" y="1240719"/>
                  <a:pt x="1070979" y="1240719"/>
                </a:cubicBezTo>
                <a:close/>
                <a:moveTo>
                  <a:pt x="1234233" y="1235821"/>
                </a:moveTo>
                <a:cubicBezTo>
                  <a:pt x="1250558" y="1235821"/>
                  <a:pt x="1267972" y="1252691"/>
                  <a:pt x="1266883" y="1269016"/>
                </a:cubicBezTo>
                <a:cubicBezTo>
                  <a:pt x="1266339" y="1285885"/>
                  <a:pt x="1251646" y="1301122"/>
                  <a:pt x="1234233" y="1300578"/>
                </a:cubicBezTo>
                <a:cubicBezTo>
                  <a:pt x="1216275" y="1300578"/>
                  <a:pt x="1201582" y="1286430"/>
                  <a:pt x="1201582" y="1267383"/>
                </a:cubicBezTo>
                <a:cubicBezTo>
                  <a:pt x="1201582" y="1249425"/>
                  <a:pt x="1217907" y="1235821"/>
                  <a:pt x="1234233" y="1235821"/>
                </a:cubicBezTo>
                <a:close/>
                <a:moveTo>
                  <a:pt x="1396397" y="1234733"/>
                </a:moveTo>
                <a:cubicBezTo>
                  <a:pt x="1413810" y="1233645"/>
                  <a:pt x="1433945" y="1250514"/>
                  <a:pt x="1431224" y="1268472"/>
                </a:cubicBezTo>
                <a:cubicBezTo>
                  <a:pt x="1433401" y="1286430"/>
                  <a:pt x="1415443" y="1303299"/>
                  <a:pt x="1396941" y="1302755"/>
                </a:cubicBezTo>
                <a:cubicBezTo>
                  <a:pt x="1381160" y="1302211"/>
                  <a:pt x="1363202" y="1290783"/>
                  <a:pt x="1363746" y="1269016"/>
                </a:cubicBezTo>
                <a:cubicBezTo>
                  <a:pt x="1364290" y="1248881"/>
                  <a:pt x="1376806" y="1235821"/>
                  <a:pt x="1396397" y="1234733"/>
                </a:cubicBezTo>
                <a:close/>
                <a:moveTo>
                  <a:pt x="1559649" y="1232557"/>
                </a:moveTo>
                <a:cubicBezTo>
                  <a:pt x="1580328" y="1232013"/>
                  <a:pt x="1595021" y="1246705"/>
                  <a:pt x="1597742" y="1268472"/>
                </a:cubicBezTo>
                <a:cubicBezTo>
                  <a:pt x="1598286" y="1286974"/>
                  <a:pt x="1580872" y="1304932"/>
                  <a:pt x="1561826" y="1305476"/>
                </a:cubicBezTo>
                <a:cubicBezTo>
                  <a:pt x="1543868" y="1306564"/>
                  <a:pt x="1524822" y="1288063"/>
                  <a:pt x="1523734" y="1269561"/>
                </a:cubicBezTo>
                <a:cubicBezTo>
                  <a:pt x="1522645" y="1252147"/>
                  <a:pt x="1541147" y="1232557"/>
                  <a:pt x="1559649" y="1232557"/>
                </a:cubicBezTo>
                <a:close/>
                <a:moveTo>
                  <a:pt x="1723990" y="1231468"/>
                </a:moveTo>
                <a:cubicBezTo>
                  <a:pt x="1743037" y="1231468"/>
                  <a:pt x="1761539" y="1249426"/>
                  <a:pt x="1762083" y="1268472"/>
                </a:cubicBezTo>
                <a:cubicBezTo>
                  <a:pt x="1762627" y="1290239"/>
                  <a:pt x="1741404" y="1306020"/>
                  <a:pt x="1724535" y="1307109"/>
                </a:cubicBezTo>
                <a:cubicBezTo>
                  <a:pt x="1706033" y="1306564"/>
                  <a:pt x="1687531" y="1290239"/>
                  <a:pt x="1686442" y="1270105"/>
                </a:cubicBezTo>
                <a:cubicBezTo>
                  <a:pt x="1685354" y="1254323"/>
                  <a:pt x="1701679" y="1231468"/>
                  <a:pt x="1723990" y="1231468"/>
                </a:cubicBezTo>
                <a:close/>
                <a:moveTo>
                  <a:pt x="1888332" y="1230924"/>
                </a:moveTo>
                <a:cubicBezTo>
                  <a:pt x="1905745" y="1229836"/>
                  <a:pt x="1928056" y="1250514"/>
                  <a:pt x="1925336" y="1269561"/>
                </a:cubicBezTo>
                <a:cubicBezTo>
                  <a:pt x="1925336" y="1289695"/>
                  <a:pt x="1907378" y="1306564"/>
                  <a:pt x="1887243" y="1307653"/>
                </a:cubicBezTo>
                <a:cubicBezTo>
                  <a:pt x="1870918" y="1308197"/>
                  <a:pt x="1847519" y="1288063"/>
                  <a:pt x="1849151" y="1267928"/>
                </a:cubicBezTo>
                <a:cubicBezTo>
                  <a:pt x="1850239" y="1247794"/>
                  <a:pt x="1867653" y="1231468"/>
                  <a:pt x="1888332" y="1230924"/>
                </a:cubicBezTo>
                <a:close/>
                <a:moveTo>
                  <a:pt x="2049952" y="1230380"/>
                </a:moveTo>
                <a:lnTo>
                  <a:pt x="2051041" y="1230805"/>
                </a:lnTo>
                <a:lnTo>
                  <a:pt x="2051041" y="1307109"/>
                </a:lnTo>
                <a:cubicBezTo>
                  <a:pt x="2033627" y="1309830"/>
                  <a:pt x="2011316" y="1286974"/>
                  <a:pt x="2012404" y="1268472"/>
                </a:cubicBezTo>
                <a:cubicBezTo>
                  <a:pt x="2013493" y="1247794"/>
                  <a:pt x="2029274" y="1230380"/>
                  <a:pt x="2049952" y="1230380"/>
                </a:cubicBezTo>
                <a:close/>
                <a:moveTo>
                  <a:pt x="337431" y="1181404"/>
                </a:moveTo>
                <a:cubicBezTo>
                  <a:pt x="339608" y="1182493"/>
                  <a:pt x="341240" y="1184669"/>
                  <a:pt x="345050" y="1187934"/>
                </a:cubicBezTo>
                <a:cubicBezTo>
                  <a:pt x="340696" y="1190111"/>
                  <a:pt x="338519" y="1192288"/>
                  <a:pt x="336343" y="1192288"/>
                </a:cubicBezTo>
                <a:cubicBezTo>
                  <a:pt x="331445" y="1192832"/>
                  <a:pt x="330901" y="1189567"/>
                  <a:pt x="330901" y="1185758"/>
                </a:cubicBezTo>
                <a:cubicBezTo>
                  <a:pt x="330901" y="1181404"/>
                  <a:pt x="334166" y="1180860"/>
                  <a:pt x="337431" y="1181404"/>
                </a:cubicBezTo>
                <a:close/>
                <a:moveTo>
                  <a:pt x="499051" y="1171065"/>
                </a:moveTo>
                <a:cubicBezTo>
                  <a:pt x="506125" y="1170521"/>
                  <a:pt x="516465" y="1179772"/>
                  <a:pt x="516465" y="1187390"/>
                </a:cubicBezTo>
                <a:cubicBezTo>
                  <a:pt x="515921" y="1193920"/>
                  <a:pt x="507214" y="1202627"/>
                  <a:pt x="500140" y="1202627"/>
                </a:cubicBezTo>
                <a:cubicBezTo>
                  <a:pt x="493065" y="1202627"/>
                  <a:pt x="484358" y="1195008"/>
                  <a:pt x="483814" y="1187390"/>
                </a:cubicBezTo>
                <a:cubicBezTo>
                  <a:pt x="483270" y="1180316"/>
                  <a:pt x="491977" y="1171065"/>
                  <a:pt x="499051" y="1171065"/>
                </a:cubicBezTo>
                <a:close/>
                <a:moveTo>
                  <a:pt x="662848" y="1165623"/>
                </a:moveTo>
                <a:cubicBezTo>
                  <a:pt x="675364" y="1165623"/>
                  <a:pt x="684615" y="1174874"/>
                  <a:pt x="684615" y="1187390"/>
                </a:cubicBezTo>
                <a:cubicBezTo>
                  <a:pt x="684615" y="1199362"/>
                  <a:pt x="674820" y="1209157"/>
                  <a:pt x="662848" y="1209157"/>
                </a:cubicBezTo>
                <a:cubicBezTo>
                  <a:pt x="651420" y="1209157"/>
                  <a:pt x="641081" y="1198274"/>
                  <a:pt x="641081" y="1186846"/>
                </a:cubicBezTo>
                <a:cubicBezTo>
                  <a:pt x="641081" y="1175418"/>
                  <a:pt x="651420" y="1165623"/>
                  <a:pt x="662848" y="1165623"/>
                </a:cubicBezTo>
                <a:close/>
                <a:moveTo>
                  <a:pt x="825556" y="1160725"/>
                </a:moveTo>
                <a:cubicBezTo>
                  <a:pt x="840249" y="1161270"/>
                  <a:pt x="851677" y="1171609"/>
                  <a:pt x="852765" y="1186846"/>
                </a:cubicBezTo>
                <a:cubicBezTo>
                  <a:pt x="853309" y="1199906"/>
                  <a:pt x="840249" y="1213511"/>
                  <a:pt x="826645" y="1213511"/>
                </a:cubicBezTo>
                <a:cubicBezTo>
                  <a:pt x="813585" y="1214055"/>
                  <a:pt x="799980" y="1200995"/>
                  <a:pt x="798892" y="1188479"/>
                </a:cubicBezTo>
                <a:cubicBezTo>
                  <a:pt x="797803" y="1173241"/>
                  <a:pt x="814129" y="1160181"/>
                  <a:pt x="825556" y="1160725"/>
                </a:cubicBezTo>
                <a:close/>
                <a:moveTo>
                  <a:pt x="989353" y="1158004"/>
                </a:moveTo>
                <a:cubicBezTo>
                  <a:pt x="1007855" y="1159092"/>
                  <a:pt x="1018739" y="1168888"/>
                  <a:pt x="1018195" y="1187934"/>
                </a:cubicBezTo>
                <a:cubicBezTo>
                  <a:pt x="1017651" y="1206436"/>
                  <a:pt x="1007311" y="1216231"/>
                  <a:pt x="988809" y="1216775"/>
                </a:cubicBezTo>
                <a:cubicBezTo>
                  <a:pt x="972484" y="1217319"/>
                  <a:pt x="960512" y="1203715"/>
                  <a:pt x="959968" y="1187934"/>
                </a:cubicBezTo>
                <a:cubicBezTo>
                  <a:pt x="959968" y="1170520"/>
                  <a:pt x="972484" y="1158004"/>
                  <a:pt x="989353" y="1158004"/>
                </a:cubicBezTo>
                <a:close/>
                <a:moveTo>
                  <a:pt x="1152062" y="1153651"/>
                </a:moveTo>
                <a:cubicBezTo>
                  <a:pt x="1166755" y="1152562"/>
                  <a:pt x="1186345" y="1171065"/>
                  <a:pt x="1185801" y="1186301"/>
                </a:cubicBezTo>
                <a:cubicBezTo>
                  <a:pt x="1184713" y="1205348"/>
                  <a:pt x="1171652" y="1218952"/>
                  <a:pt x="1153150" y="1219496"/>
                </a:cubicBezTo>
                <a:cubicBezTo>
                  <a:pt x="1135193" y="1221129"/>
                  <a:pt x="1119412" y="1204259"/>
                  <a:pt x="1119956" y="1187390"/>
                </a:cubicBezTo>
                <a:cubicBezTo>
                  <a:pt x="1120500" y="1168888"/>
                  <a:pt x="1134648" y="1154739"/>
                  <a:pt x="1152062" y="1153651"/>
                </a:cubicBezTo>
                <a:close/>
                <a:moveTo>
                  <a:pt x="1315315" y="1152018"/>
                </a:moveTo>
                <a:cubicBezTo>
                  <a:pt x="1336537" y="1151474"/>
                  <a:pt x="1351230" y="1169432"/>
                  <a:pt x="1351230" y="1186845"/>
                </a:cubicBezTo>
                <a:cubicBezTo>
                  <a:pt x="1350686" y="1205891"/>
                  <a:pt x="1338714" y="1222217"/>
                  <a:pt x="1315859" y="1221673"/>
                </a:cubicBezTo>
                <a:cubicBezTo>
                  <a:pt x="1294092" y="1221128"/>
                  <a:pt x="1282120" y="1209157"/>
                  <a:pt x="1281576" y="1187390"/>
                </a:cubicBezTo>
                <a:cubicBezTo>
                  <a:pt x="1281031" y="1167255"/>
                  <a:pt x="1295724" y="1152562"/>
                  <a:pt x="1315315" y="1152018"/>
                </a:cubicBezTo>
                <a:close/>
                <a:moveTo>
                  <a:pt x="1479656" y="1149298"/>
                </a:moveTo>
                <a:cubicBezTo>
                  <a:pt x="1500878" y="1149842"/>
                  <a:pt x="1517204" y="1168888"/>
                  <a:pt x="1516660" y="1188479"/>
                </a:cubicBezTo>
                <a:cubicBezTo>
                  <a:pt x="1515027" y="1210246"/>
                  <a:pt x="1495981" y="1224938"/>
                  <a:pt x="1478023" y="1224394"/>
                </a:cubicBezTo>
                <a:cubicBezTo>
                  <a:pt x="1457889" y="1223850"/>
                  <a:pt x="1439931" y="1205892"/>
                  <a:pt x="1441563" y="1185758"/>
                </a:cubicBezTo>
                <a:cubicBezTo>
                  <a:pt x="1442652" y="1166167"/>
                  <a:pt x="1458977" y="1149298"/>
                  <a:pt x="1479656" y="1149298"/>
                </a:cubicBezTo>
                <a:close/>
                <a:moveTo>
                  <a:pt x="1642365" y="1148209"/>
                </a:moveTo>
                <a:cubicBezTo>
                  <a:pt x="1659779" y="1147121"/>
                  <a:pt x="1681001" y="1166711"/>
                  <a:pt x="1681001" y="1187390"/>
                </a:cubicBezTo>
                <a:cubicBezTo>
                  <a:pt x="1681001" y="1208613"/>
                  <a:pt x="1658690" y="1226026"/>
                  <a:pt x="1641821" y="1226026"/>
                </a:cubicBezTo>
                <a:cubicBezTo>
                  <a:pt x="1624407" y="1226026"/>
                  <a:pt x="1601007" y="1205348"/>
                  <a:pt x="1603728" y="1186846"/>
                </a:cubicBezTo>
                <a:cubicBezTo>
                  <a:pt x="1603728" y="1165623"/>
                  <a:pt x="1621686" y="1149298"/>
                  <a:pt x="1642365" y="1148209"/>
                </a:cubicBezTo>
                <a:close/>
                <a:moveTo>
                  <a:pt x="1969414" y="1147665"/>
                </a:moveTo>
                <a:cubicBezTo>
                  <a:pt x="1991725" y="1146032"/>
                  <a:pt x="2009139" y="1165623"/>
                  <a:pt x="2009139" y="1187934"/>
                </a:cubicBezTo>
                <a:cubicBezTo>
                  <a:pt x="2008595" y="1209157"/>
                  <a:pt x="1990093" y="1227114"/>
                  <a:pt x="1968870" y="1227114"/>
                </a:cubicBezTo>
                <a:cubicBezTo>
                  <a:pt x="1949824" y="1227114"/>
                  <a:pt x="1928601" y="1209701"/>
                  <a:pt x="1929145" y="1186301"/>
                </a:cubicBezTo>
                <a:cubicBezTo>
                  <a:pt x="1929145" y="1165623"/>
                  <a:pt x="1948191" y="1145488"/>
                  <a:pt x="1969414" y="1147665"/>
                </a:cubicBezTo>
                <a:close/>
                <a:moveTo>
                  <a:pt x="1805617" y="1147665"/>
                </a:moveTo>
                <a:cubicBezTo>
                  <a:pt x="1825752" y="1147665"/>
                  <a:pt x="1845342" y="1165078"/>
                  <a:pt x="1844798" y="1187934"/>
                </a:cubicBezTo>
                <a:cubicBezTo>
                  <a:pt x="1844254" y="1208612"/>
                  <a:pt x="1824664" y="1227115"/>
                  <a:pt x="1805073" y="1226571"/>
                </a:cubicBezTo>
                <a:cubicBezTo>
                  <a:pt x="1787115" y="1226571"/>
                  <a:pt x="1764260" y="1209701"/>
                  <a:pt x="1766981" y="1186845"/>
                </a:cubicBezTo>
                <a:cubicBezTo>
                  <a:pt x="1764804" y="1165623"/>
                  <a:pt x="1786027" y="1147665"/>
                  <a:pt x="1805617" y="1147665"/>
                </a:cubicBezTo>
                <a:close/>
                <a:moveTo>
                  <a:pt x="417425" y="1090527"/>
                </a:moveTo>
                <a:cubicBezTo>
                  <a:pt x="423955" y="1090527"/>
                  <a:pt x="433206" y="1099234"/>
                  <a:pt x="432662" y="1105764"/>
                </a:cubicBezTo>
                <a:cubicBezTo>
                  <a:pt x="432662" y="1111206"/>
                  <a:pt x="423955" y="1119912"/>
                  <a:pt x="417969" y="1120457"/>
                </a:cubicBezTo>
                <a:cubicBezTo>
                  <a:pt x="411439" y="1121001"/>
                  <a:pt x="402188" y="1111750"/>
                  <a:pt x="402732" y="1105219"/>
                </a:cubicBezTo>
                <a:cubicBezTo>
                  <a:pt x="402732" y="1099234"/>
                  <a:pt x="411439" y="1090527"/>
                  <a:pt x="417425" y="1090527"/>
                </a:cubicBezTo>
                <a:close/>
                <a:moveTo>
                  <a:pt x="580677" y="1083996"/>
                </a:moveTo>
                <a:cubicBezTo>
                  <a:pt x="592105" y="1083996"/>
                  <a:pt x="601900" y="1093791"/>
                  <a:pt x="602444" y="1105219"/>
                </a:cubicBezTo>
                <a:cubicBezTo>
                  <a:pt x="602988" y="1116647"/>
                  <a:pt x="593193" y="1126986"/>
                  <a:pt x="581221" y="1127530"/>
                </a:cubicBezTo>
                <a:cubicBezTo>
                  <a:pt x="570338" y="1127530"/>
                  <a:pt x="558910" y="1116102"/>
                  <a:pt x="558910" y="1105219"/>
                </a:cubicBezTo>
                <a:cubicBezTo>
                  <a:pt x="558910" y="1094880"/>
                  <a:pt x="570338" y="1083996"/>
                  <a:pt x="580677" y="1083996"/>
                </a:cubicBezTo>
                <a:close/>
                <a:moveTo>
                  <a:pt x="743386" y="1079099"/>
                </a:moveTo>
                <a:cubicBezTo>
                  <a:pt x="756991" y="1079099"/>
                  <a:pt x="769507" y="1088894"/>
                  <a:pt x="770595" y="1105219"/>
                </a:cubicBezTo>
                <a:cubicBezTo>
                  <a:pt x="771683" y="1116103"/>
                  <a:pt x="760800" y="1131340"/>
                  <a:pt x="745019" y="1132428"/>
                </a:cubicBezTo>
                <a:cubicBezTo>
                  <a:pt x="734135" y="1134061"/>
                  <a:pt x="717810" y="1118280"/>
                  <a:pt x="717810" y="1106308"/>
                </a:cubicBezTo>
                <a:cubicBezTo>
                  <a:pt x="717810" y="1091071"/>
                  <a:pt x="731414" y="1079099"/>
                  <a:pt x="743386" y="1079099"/>
                </a:cubicBezTo>
                <a:close/>
                <a:moveTo>
                  <a:pt x="907727" y="1076378"/>
                </a:moveTo>
                <a:cubicBezTo>
                  <a:pt x="926773" y="1076378"/>
                  <a:pt x="937112" y="1087262"/>
                  <a:pt x="937112" y="1105219"/>
                </a:cubicBezTo>
                <a:cubicBezTo>
                  <a:pt x="937112" y="1121545"/>
                  <a:pt x="928950" y="1134061"/>
                  <a:pt x="908271" y="1134061"/>
                </a:cubicBezTo>
                <a:cubicBezTo>
                  <a:pt x="888681" y="1134605"/>
                  <a:pt x="878341" y="1122633"/>
                  <a:pt x="878885" y="1105764"/>
                </a:cubicBezTo>
                <a:cubicBezTo>
                  <a:pt x="878341" y="1086173"/>
                  <a:pt x="892490" y="1076378"/>
                  <a:pt x="907727" y="1076378"/>
                </a:cubicBezTo>
                <a:close/>
                <a:moveTo>
                  <a:pt x="1071524" y="1072569"/>
                </a:moveTo>
                <a:cubicBezTo>
                  <a:pt x="1089482" y="1072569"/>
                  <a:pt x="1104174" y="1087806"/>
                  <a:pt x="1104174" y="1105220"/>
                </a:cubicBezTo>
                <a:cubicBezTo>
                  <a:pt x="1104174" y="1123722"/>
                  <a:pt x="1090026" y="1137870"/>
                  <a:pt x="1070435" y="1137870"/>
                </a:cubicBezTo>
                <a:cubicBezTo>
                  <a:pt x="1054110" y="1140047"/>
                  <a:pt x="1037241" y="1121545"/>
                  <a:pt x="1038329" y="1105764"/>
                </a:cubicBezTo>
                <a:cubicBezTo>
                  <a:pt x="1039417" y="1086173"/>
                  <a:pt x="1052478" y="1072569"/>
                  <a:pt x="1071524" y="1072569"/>
                </a:cubicBezTo>
                <a:close/>
                <a:moveTo>
                  <a:pt x="1235865" y="1068760"/>
                </a:moveTo>
                <a:cubicBezTo>
                  <a:pt x="1254912" y="1070392"/>
                  <a:pt x="1272325" y="1088894"/>
                  <a:pt x="1271237" y="1106852"/>
                </a:cubicBezTo>
                <a:cubicBezTo>
                  <a:pt x="1270149" y="1124810"/>
                  <a:pt x="1252735" y="1142223"/>
                  <a:pt x="1234777" y="1142223"/>
                </a:cubicBezTo>
                <a:cubicBezTo>
                  <a:pt x="1215187" y="1142223"/>
                  <a:pt x="1197773" y="1124265"/>
                  <a:pt x="1198861" y="1105219"/>
                </a:cubicBezTo>
                <a:cubicBezTo>
                  <a:pt x="1199406" y="1085629"/>
                  <a:pt x="1217908" y="1067127"/>
                  <a:pt x="1235865" y="1068760"/>
                </a:cubicBezTo>
                <a:close/>
                <a:moveTo>
                  <a:pt x="1396397" y="1067127"/>
                </a:moveTo>
                <a:cubicBezTo>
                  <a:pt x="1416532" y="1065494"/>
                  <a:pt x="1437755" y="1087806"/>
                  <a:pt x="1435578" y="1105219"/>
                </a:cubicBezTo>
                <a:cubicBezTo>
                  <a:pt x="1437210" y="1125898"/>
                  <a:pt x="1413267" y="1144400"/>
                  <a:pt x="1396941" y="1143856"/>
                </a:cubicBezTo>
                <a:cubicBezTo>
                  <a:pt x="1377895" y="1143856"/>
                  <a:pt x="1358305" y="1122633"/>
                  <a:pt x="1358849" y="1105763"/>
                </a:cubicBezTo>
                <a:cubicBezTo>
                  <a:pt x="1359393" y="1085629"/>
                  <a:pt x="1376807" y="1068759"/>
                  <a:pt x="1396397" y="1067127"/>
                </a:cubicBezTo>
                <a:close/>
                <a:moveTo>
                  <a:pt x="1560738" y="1066582"/>
                </a:moveTo>
                <a:cubicBezTo>
                  <a:pt x="1581961" y="1063862"/>
                  <a:pt x="1599919" y="1083452"/>
                  <a:pt x="1599919" y="1105763"/>
                </a:cubicBezTo>
                <a:cubicBezTo>
                  <a:pt x="1599919" y="1127530"/>
                  <a:pt x="1581417" y="1144400"/>
                  <a:pt x="1560738" y="1144400"/>
                </a:cubicBezTo>
                <a:cubicBezTo>
                  <a:pt x="1538971" y="1144400"/>
                  <a:pt x="1521557" y="1125898"/>
                  <a:pt x="1521013" y="1105763"/>
                </a:cubicBezTo>
                <a:cubicBezTo>
                  <a:pt x="1521013" y="1085629"/>
                  <a:pt x="1538971" y="1063862"/>
                  <a:pt x="1560738" y="1066582"/>
                </a:cubicBezTo>
                <a:close/>
                <a:moveTo>
                  <a:pt x="1723447" y="1064406"/>
                </a:moveTo>
                <a:cubicBezTo>
                  <a:pt x="1744126" y="1063862"/>
                  <a:pt x="1763716" y="1076378"/>
                  <a:pt x="1764260" y="1104675"/>
                </a:cubicBezTo>
                <a:cubicBezTo>
                  <a:pt x="1764804" y="1130796"/>
                  <a:pt x="1745758" y="1145488"/>
                  <a:pt x="1724535" y="1146032"/>
                </a:cubicBezTo>
                <a:cubicBezTo>
                  <a:pt x="1703313" y="1147121"/>
                  <a:pt x="1683722" y="1130796"/>
                  <a:pt x="1683178" y="1105764"/>
                </a:cubicBezTo>
                <a:cubicBezTo>
                  <a:pt x="1684266" y="1082364"/>
                  <a:pt x="1698415" y="1064950"/>
                  <a:pt x="1723447" y="1064406"/>
                </a:cubicBezTo>
                <a:close/>
                <a:moveTo>
                  <a:pt x="2051041" y="1063318"/>
                </a:moveTo>
                <a:lnTo>
                  <a:pt x="2051041" y="1147740"/>
                </a:lnTo>
                <a:lnTo>
                  <a:pt x="2049952" y="1148210"/>
                </a:lnTo>
                <a:cubicBezTo>
                  <a:pt x="2028730" y="1147121"/>
                  <a:pt x="2008051" y="1128619"/>
                  <a:pt x="2008051" y="1105764"/>
                </a:cubicBezTo>
                <a:cubicBezTo>
                  <a:pt x="2008595" y="1081276"/>
                  <a:pt x="2027641" y="1063862"/>
                  <a:pt x="2051041" y="1063318"/>
                </a:cubicBezTo>
                <a:close/>
                <a:moveTo>
                  <a:pt x="1887787" y="1062773"/>
                </a:moveTo>
                <a:cubicBezTo>
                  <a:pt x="1909554" y="1063862"/>
                  <a:pt x="1930233" y="1084540"/>
                  <a:pt x="1929145" y="1105763"/>
                </a:cubicBezTo>
                <a:cubicBezTo>
                  <a:pt x="1928056" y="1130251"/>
                  <a:pt x="1908466" y="1147121"/>
                  <a:pt x="1886699" y="1147665"/>
                </a:cubicBezTo>
                <a:cubicBezTo>
                  <a:pt x="1862755" y="1145488"/>
                  <a:pt x="1845886" y="1127530"/>
                  <a:pt x="1844798" y="1105219"/>
                </a:cubicBezTo>
                <a:cubicBezTo>
                  <a:pt x="1844253" y="1083996"/>
                  <a:pt x="1867109" y="1061685"/>
                  <a:pt x="1887787" y="1062773"/>
                </a:cubicBezTo>
                <a:close/>
                <a:moveTo>
                  <a:pt x="335798" y="1011621"/>
                </a:moveTo>
                <a:cubicBezTo>
                  <a:pt x="343960" y="1011621"/>
                  <a:pt x="347770" y="1014886"/>
                  <a:pt x="348314" y="1023049"/>
                </a:cubicBezTo>
                <a:cubicBezTo>
                  <a:pt x="348314" y="1031755"/>
                  <a:pt x="344505" y="1036109"/>
                  <a:pt x="336886" y="1036109"/>
                </a:cubicBezTo>
                <a:cubicBezTo>
                  <a:pt x="329268" y="1036109"/>
                  <a:pt x="324914" y="1032300"/>
                  <a:pt x="324370" y="1024681"/>
                </a:cubicBezTo>
                <a:cubicBezTo>
                  <a:pt x="323826" y="1015974"/>
                  <a:pt x="327635" y="1011621"/>
                  <a:pt x="335798" y="1011621"/>
                </a:cubicBezTo>
                <a:close/>
                <a:moveTo>
                  <a:pt x="499051" y="1002914"/>
                </a:moveTo>
                <a:cubicBezTo>
                  <a:pt x="508846" y="1002370"/>
                  <a:pt x="520818" y="1014342"/>
                  <a:pt x="520818" y="1024137"/>
                </a:cubicBezTo>
                <a:cubicBezTo>
                  <a:pt x="520818" y="1032844"/>
                  <a:pt x="508846" y="1045360"/>
                  <a:pt x="499595" y="1045360"/>
                </a:cubicBezTo>
                <a:cubicBezTo>
                  <a:pt x="490888" y="1045360"/>
                  <a:pt x="478372" y="1032844"/>
                  <a:pt x="478372" y="1024137"/>
                </a:cubicBezTo>
                <a:cubicBezTo>
                  <a:pt x="478372" y="1014886"/>
                  <a:pt x="489800" y="1002914"/>
                  <a:pt x="499051" y="1002914"/>
                </a:cubicBezTo>
                <a:close/>
                <a:moveTo>
                  <a:pt x="663392" y="997473"/>
                </a:moveTo>
                <a:cubicBezTo>
                  <a:pt x="675908" y="998561"/>
                  <a:pt x="688968" y="1011622"/>
                  <a:pt x="688424" y="1024138"/>
                </a:cubicBezTo>
                <a:cubicBezTo>
                  <a:pt x="687880" y="1039374"/>
                  <a:pt x="676452" y="1050802"/>
                  <a:pt x="661759" y="1050258"/>
                </a:cubicBezTo>
                <a:cubicBezTo>
                  <a:pt x="647066" y="1049170"/>
                  <a:pt x="637271" y="1036109"/>
                  <a:pt x="636727" y="1023593"/>
                </a:cubicBezTo>
                <a:cubicBezTo>
                  <a:pt x="637271" y="1010533"/>
                  <a:pt x="651420" y="996929"/>
                  <a:pt x="663392" y="997473"/>
                </a:cubicBezTo>
                <a:close/>
                <a:moveTo>
                  <a:pt x="826645" y="995840"/>
                </a:moveTo>
                <a:cubicBezTo>
                  <a:pt x="845147" y="995296"/>
                  <a:pt x="855486" y="1007267"/>
                  <a:pt x="854942" y="1024137"/>
                </a:cubicBezTo>
                <a:cubicBezTo>
                  <a:pt x="855486" y="1039374"/>
                  <a:pt x="845147" y="1052978"/>
                  <a:pt x="825557" y="1052978"/>
                </a:cubicBezTo>
                <a:cubicBezTo>
                  <a:pt x="808143" y="1052434"/>
                  <a:pt x="796715" y="1041006"/>
                  <a:pt x="797260" y="1023593"/>
                </a:cubicBezTo>
                <a:cubicBezTo>
                  <a:pt x="797260" y="1005635"/>
                  <a:pt x="808687" y="995840"/>
                  <a:pt x="826645" y="995840"/>
                </a:cubicBezTo>
                <a:close/>
                <a:moveTo>
                  <a:pt x="990441" y="990942"/>
                </a:moveTo>
                <a:cubicBezTo>
                  <a:pt x="1008943" y="990942"/>
                  <a:pt x="1023092" y="1006179"/>
                  <a:pt x="1022548" y="1025225"/>
                </a:cubicBezTo>
                <a:cubicBezTo>
                  <a:pt x="1022004" y="1043183"/>
                  <a:pt x="1007311" y="1056243"/>
                  <a:pt x="988809" y="1056787"/>
                </a:cubicBezTo>
                <a:cubicBezTo>
                  <a:pt x="973028" y="1057332"/>
                  <a:pt x="956702" y="1041551"/>
                  <a:pt x="956702" y="1023593"/>
                </a:cubicBezTo>
                <a:cubicBezTo>
                  <a:pt x="956158" y="1006723"/>
                  <a:pt x="973572" y="988221"/>
                  <a:pt x="990441" y="990942"/>
                </a:cubicBezTo>
                <a:close/>
                <a:moveTo>
                  <a:pt x="1150974" y="987678"/>
                </a:moveTo>
                <a:cubicBezTo>
                  <a:pt x="1170020" y="986045"/>
                  <a:pt x="1189066" y="1004547"/>
                  <a:pt x="1189610" y="1023593"/>
                </a:cubicBezTo>
                <a:cubicBezTo>
                  <a:pt x="1190154" y="1042095"/>
                  <a:pt x="1170564" y="1061685"/>
                  <a:pt x="1152062" y="1061685"/>
                </a:cubicBezTo>
                <a:cubicBezTo>
                  <a:pt x="1134104" y="1061685"/>
                  <a:pt x="1115602" y="1042639"/>
                  <a:pt x="1115058" y="1024682"/>
                </a:cubicBezTo>
                <a:cubicBezTo>
                  <a:pt x="1115058" y="1006724"/>
                  <a:pt x="1133016" y="988222"/>
                  <a:pt x="1150974" y="987678"/>
                </a:cubicBezTo>
                <a:close/>
                <a:moveTo>
                  <a:pt x="1315314" y="985501"/>
                </a:moveTo>
                <a:cubicBezTo>
                  <a:pt x="1335993" y="983868"/>
                  <a:pt x="1354495" y="1005635"/>
                  <a:pt x="1354495" y="1023593"/>
                </a:cubicBezTo>
                <a:cubicBezTo>
                  <a:pt x="1355039" y="1042639"/>
                  <a:pt x="1333816" y="1065495"/>
                  <a:pt x="1315858" y="1062230"/>
                </a:cubicBezTo>
                <a:cubicBezTo>
                  <a:pt x="1294636" y="1062230"/>
                  <a:pt x="1277222" y="1045360"/>
                  <a:pt x="1277222" y="1024137"/>
                </a:cubicBezTo>
                <a:cubicBezTo>
                  <a:pt x="1277222" y="1002914"/>
                  <a:pt x="1294091" y="986589"/>
                  <a:pt x="1315314" y="985501"/>
                </a:cubicBezTo>
                <a:close/>
                <a:moveTo>
                  <a:pt x="1479656" y="984412"/>
                </a:moveTo>
                <a:cubicBezTo>
                  <a:pt x="1503055" y="984412"/>
                  <a:pt x="1519925" y="1000737"/>
                  <a:pt x="1519380" y="1025225"/>
                </a:cubicBezTo>
                <a:cubicBezTo>
                  <a:pt x="1518836" y="1045904"/>
                  <a:pt x="1502511" y="1065494"/>
                  <a:pt x="1478567" y="1063318"/>
                </a:cubicBezTo>
                <a:cubicBezTo>
                  <a:pt x="1454624" y="1064950"/>
                  <a:pt x="1438842" y="1044816"/>
                  <a:pt x="1439387" y="1023593"/>
                </a:cubicBezTo>
                <a:cubicBezTo>
                  <a:pt x="1439931" y="1000193"/>
                  <a:pt x="1455712" y="983868"/>
                  <a:pt x="1479656" y="984412"/>
                </a:cubicBezTo>
                <a:close/>
                <a:moveTo>
                  <a:pt x="1641820" y="981691"/>
                </a:moveTo>
                <a:cubicBezTo>
                  <a:pt x="1665220" y="981691"/>
                  <a:pt x="1683178" y="999649"/>
                  <a:pt x="1684810" y="1023592"/>
                </a:cubicBezTo>
                <a:cubicBezTo>
                  <a:pt x="1683722" y="1048625"/>
                  <a:pt x="1665220" y="1066038"/>
                  <a:pt x="1642909" y="1066038"/>
                </a:cubicBezTo>
                <a:cubicBezTo>
                  <a:pt x="1618421" y="1066038"/>
                  <a:pt x="1599919" y="1047536"/>
                  <a:pt x="1599919" y="1023592"/>
                </a:cubicBezTo>
                <a:cubicBezTo>
                  <a:pt x="1599919" y="1001281"/>
                  <a:pt x="1616788" y="982235"/>
                  <a:pt x="1641820" y="981691"/>
                </a:cubicBezTo>
                <a:close/>
                <a:moveTo>
                  <a:pt x="1806161" y="980603"/>
                </a:moveTo>
                <a:cubicBezTo>
                  <a:pt x="1829561" y="980603"/>
                  <a:pt x="1848607" y="1000737"/>
                  <a:pt x="1849151" y="1023592"/>
                </a:cubicBezTo>
                <a:cubicBezTo>
                  <a:pt x="1849151" y="1046992"/>
                  <a:pt x="1827928" y="1068215"/>
                  <a:pt x="1805617" y="1067127"/>
                </a:cubicBezTo>
                <a:cubicBezTo>
                  <a:pt x="1781673" y="1068215"/>
                  <a:pt x="1762083" y="1044815"/>
                  <a:pt x="1762083" y="1023592"/>
                </a:cubicBezTo>
                <a:cubicBezTo>
                  <a:pt x="1762083" y="1002370"/>
                  <a:pt x="1781673" y="980058"/>
                  <a:pt x="1806161" y="980603"/>
                </a:cubicBezTo>
                <a:close/>
                <a:moveTo>
                  <a:pt x="1969414" y="980059"/>
                </a:moveTo>
                <a:cubicBezTo>
                  <a:pt x="1993358" y="980603"/>
                  <a:pt x="2012404" y="1001282"/>
                  <a:pt x="2012404" y="1024137"/>
                </a:cubicBezTo>
                <a:cubicBezTo>
                  <a:pt x="2012404" y="1046449"/>
                  <a:pt x="1991726" y="1069304"/>
                  <a:pt x="1968870" y="1067127"/>
                </a:cubicBezTo>
                <a:cubicBezTo>
                  <a:pt x="1946015" y="1068760"/>
                  <a:pt x="1925336" y="1044272"/>
                  <a:pt x="1924792" y="1024137"/>
                </a:cubicBezTo>
                <a:cubicBezTo>
                  <a:pt x="1924792" y="1002914"/>
                  <a:pt x="1944382" y="980059"/>
                  <a:pt x="1969414" y="980059"/>
                </a:cubicBezTo>
                <a:close/>
                <a:moveTo>
                  <a:pt x="254171" y="931083"/>
                </a:moveTo>
                <a:cubicBezTo>
                  <a:pt x="260701" y="931083"/>
                  <a:pt x="265599" y="935437"/>
                  <a:pt x="265599" y="941967"/>
                </a:cubicBezTo>
                <a:cubicBezTo>
                  <a:pt x="265599" y="948497"/>
                  <a:pt x="260701" y="952850"/>
                  <a:pt x="254171" y="952850"/>
                </a:cubicBezTo>
                <a:cubicBezTo>
                  <a:pt x="247641" y="952850"/>
                  <a:pt x="243832" y="948497"/>
                  <a:pt x="243832" y="941967"/>
                </a:cubicBezTo>
                <a:cubicBezTo>
                  <a:pt x="243832" y="935437"/>
                  <a:pt x="247641" y="931627"/>
                  <a:pt x="254171" y="931083"/>
                </a:cubicBezTo>
                <a:close/>
                <a:moveTo>
                  <a:pt x="417968" y="922377"/>
                </a:moveTo>
                <a:cubicBezTo>
                  <a:pt x="427219" y="921833"/>
                  <a:pt x="437559" y="932716"/>
                  <a:pt x="437559" y="942511"/>
                </a:cubicBezTo>
                <a:cubicBezTo>
                  <a:pt x="437559" y="951762"/>
                  <a:pt x="427219" y="961557"/>
                  <a:pt x="417968" y="961557"/>
                </a:cubicBezTo>
                <a:cubicBezTo>
                  <a:pt x="409262" y="961557"/>
                  <a:pt x="397290" y="949585"/>
                  <a:pt x="397834" y="941423"/>
                </a:cubicBezTo>
                <a:cubicBezTo>
                  <a:pt x="398378" y="933260"/>
                  <a:pt x="409806" y="922377"/>
                  <a:pt x="417968" y="922377"/>
                </a:cubicBezTo>
                <a:close/>
                <a:moveTo>
                  <a:pt x="581222" y="916934"/>
                </a:moveTo>
                <a:cubicBezTo>
                  <a:pt x="593738" y="916934"/>
                  <a:pt x="607342" y="931082"/>
                  <a:pt x="606798" y="943054"/>
                </a:cubicBezTo>
                <a:cubicBezTo>
                  <a:pt x="606254" y="955570"/>
                  <a:pt x="593738" y="967542"/>
                  <a:pt x="581222" y="967542"/>
                </a:cubicBezTo>
                <a:cubicBezTo>
                  <a:pt x="567617" y="966454"/>
                  <a:pt x="557278" y="958291"/>
                  <a:pt x="556190" y="943054"/>
                </a:cubicBezTo>
                <a:cubicBezTo>
                  <a:pt x="555101" y="929994"/>
                  <a:pt x="568161" y="916934"/>
                  <a:pt x="581222" y="916934"/>
                </a:cubicBezTo>
                <a:close/>
                <a:moveTo>
                  <a:pt x="744474" y="913669"/>
                </a:moveTo>
                <a:cubicBezTo>
                  <a:pt x="765153" y="913669"/>
                  <a:pt x="773860" y="927273"/>
                  <a:pt x="773315" y="942510"/>
                </a:cubicBezTo>
                <a:cubicBezTo>
                  <a:pt x="772771" y="959924"/>
                  <a:pt x="761344" y="971352"/>
                  <a:pt x="743930" y="970807"/>
                </a:cubicBezTo>
                <a:cubicBezTo>
                  <a:pt x="727061" y="970807"/>
                  <a:pt x="716177" y="959380"/>
                  <a:pt x="716177" y="941966"/>
                </a:cubicBezTo>
                <a:cubicBezTo>
                  <a:pt x="716177" y="923464"/>
                  <a:pt x="727605" y="914213"/>
                  <a:pt x="744474" y="913669"/>
                </a:cubicBezTo>
                <a:close/>
                <a:moveTo>
                  <a:pt x="908271" y="908772"/>
                </a:moveTo>
                <a:cubicBezTo>
                  <a:pt x="927317" y="910405"/>
                  <a:pt x="940922" y="924553"/>
                  <a:pt x="940377" y="944144"/>
                </a:cubicBezTo>
                <a:cubicBezTo>
                  <a:pt x="939833" y="962101"/>
                  <a:pt x="925141" y="975162"/>
                  <a:pt x="906094" y="975162"/>
                </a:cubicBezTo>
                <a:cubicBezTo>
                  <a:pt x="890313" y="975162"/>
                  <a:pt x="873988" y="959925"/>
                  <a:pt x="874532" y="940879"/>
                </a:cubicBezTo>
                <a:cubicBezTo>
                  <a:pt x="874532" y="925641"/>
                  <a:pt x="891402" y="907684"/>
                  <a:pt x="908271" y="908772"/>
                </a:cubicBezTo>
                <a:close/>
                <a:moveTo>
                  <a:pt x="1072068" y="906051"/>
                </a:moveTo>
                <a:cubicBezTo>
                  <a:pt x="1093291" y="907683"/>
                  <a:pt x="1105807" y="921832"/>
                  <a:pt x="1107984" y="942511"/>
                </a:cubicBezTo>
                <a:cubicBezTo>
                  <a:pt x="1107984" y="961013"/>
                  <a:pt x="1088938" y="979515"/>
                  <a:pt x="1070980" y="979515"/>
                </a:cubicBezTo>
                <a:cubicBezTo>
                  <a:pt x="1053022" y="979515"/>
                  <a:pt x="1034520" y="960469"/>
                  <a:pt x="1034520" y="942511"/>
                </a:cubicBezTo>
                <a:cubicBezTo>
                  <a:pt x="1034520" y="923465"/>
                  <a:pt x="1053566" y="904419"/>
                  <a:pt x="1072068" y="906051"/>
                </a:cubicBezTo>
                <a:close/>
                <a:moveTo>
                  <a:pt x="1235321" y="903874"/>
                </a:moveTo>
                <a:cubicBezTo>
                  <a:pt x="1257088" y="903874"/>
                  <a:pt x="1272325" y="920199"/>
                  <a:pt x="1272325" y="943054"/>
                </a:cubicBezTo>
                <a:cubicBezTo>
                  <a:pt x="1275045" y="962645"/>
                  <a:pt x="1251646" y="982779"/>
                  <a:pt x="1233688" y="981147"/>
                </a:cubicBezTo>
                <a:cubicBezTo>
                  <a:pt x="1211921" y="979514"/>
                  <a:pt x="1195052" y="963189"/>
                  <a:pt x="1195596" y="940878"/>
                </a:cubicBezTo>
                <a:cubicBezTo>
                  <a:pt x="1196140" y="919111"/>
                  <a:pt x="1212465" y="903330"/>
                  <a:pt x="1235321" y="903874"/>
                </a:cubicBezTo>
                <a:close/>
                <a:moveTo>
                  <a:pt x="1397486" y="901153"/>
                </a:moveTo>
                <a:cubicBezTo>
                  <a:pt x="1420885" y="901698"/>
                  <a:pt x="1437755" y="917479"/>
                  <a:pt x="1438299" y="942511"/>
                </a:cubicBezTo>
                <a:cubicBezTo>
                  <a:pt x="1437210" y="966999"/>
                  <a:pt x="1420341" y="983324"/>
                  <a:pt x="1396941" y="983324"/>
                </a:cubicBezTo>
                <a:cubicBezTo>
                  <a:pt x="1371909" y="983324"/>
                  <a:pt x="1355584" y="963190"/>
                  <a:pt x="1356128" y="941967"/>
                </a:cubicBezTo>
                <a:cubicBezTo>
                  <a:pt x="1356128" y="919655"/>
                  <a:pt x="1373542" y="900609"/>
                  <a:pt x="1397486" y="901153"/>
                </a:cubicBezTo>
                <a:close/>
                <a:moveTo>
                  <a:pt x="1560738" y="898977"/>
                </a:moveTo>
                <a:cubicBezTo>
                  <a:pt x="1584138" y="899521"/>
                  <a:pt x="1603728" y="917479"/>
                  <a:pt x="1603728" y="942511"/>
                </a:cubicBezTo>
                <a:cubicBezTo>
                  <a:pt x="1603728" y="966999"/>
                  <a:pt x="1581961" y="985501"/>
                  <a:pt x="1560738" y="985501"/>
                </a:cubicBezTo>
                <a:cubicBezTo>
                  <a:pt x="1537883" y="985501"/>
                  <a:pt x="1516660" y="963734"/>
                  <a:pt x="1517204" y="941423"/>
                </a:cubicBezTo>
                <a:cubicBezTo>
                  <a:pt x="1517748" y="919656"/>
                  <a:pt x="1535706" y="898977"/>
                  <a:pt x="1560738" y="898977"/>
                </a:cubicBezTo>
                <a:close/>
                <a:moveTo>
                  <a:pt x="1723990" y="897888"/>
                </a:moveTo>
                <a:cubicBezTo>
                  <a:pt x="1747934" y="897888"/>
                  <a:pt x="1769701" y="919111"/>
                  <a:pt x="1768069" y="942510"/>
                </a:cubicBezTo>
                <a:cubicBezTo>
                  <a:pt x="1770245" y="965366"/>
                  <a:pt x="1746302" y="987133"/>
                  <a:pt x="1723990" y="986589"/>
                </a:cubicBezTo>
                <a:cubicBezTo>
                  <a:pt x="1701679" y="986589"/>
                  <a:pt x="1679912" y="964278"/>
                  <a:pt x="1679912" y="941422"/>
                </a:cubicBezTo>
                <a:cubicBezTo>
                  <a:pt x="1680456" y="919655"/>
                  <a:pt x="1700047" y="897888"/>
                  <a:pt x="1723990" y="897888"/>
                </a:cubicBezTo>
                <a:close/>
                <a:moveTo>
                  <a:pt x="2050497" y="897344"/>
                </a:moveTo>
                <a:lnTo>
                  <a:pt x="2051041" y="897453"/>
                </a:lnTo>
                <a:lnTo>
                  <a:pt x="2051041" y="986917"/>
                </a:lnTo>
                <a:lnTo>
                  <a:pt x="2049952" y="987133"/>
                </a:lnTo>
                <a:cubicBezTo>
                  <a:pt x="2026553" y="987133"/>
                  <a:pt x="2004786" y="965366"/>
                  <a:pt x="2005330" y="941422"/>
                </a:cubicBezTo>
                <a:cubicBezTo>
                  <a:pt x="2005874" y="918023"/>
                  <a:pt x="2026009" y="897344"/>
                  <a:pt x="2050497" y="897344"/>
                </a:cubicBezTo>
                <a:close/>
                <a:moveTo>
                  <a:pt x="1887243" y="897344"/>
                </a:moveTo>
                <a:cubicBezTo>
                  <a:pt x="1910099" y="897344"/>
                  <a:pt x="1931866" y="916390"/>
                  <a:pt x="1931866" y="942511"/>
                </a:cubicBezTo>
                <a:cubicBezTo>
                  <a:pt x="1931866" y="965910"/>
                  <a:pt x="1910099" y="986589"/>
                  <a:pt x="1887243" y="986589"/>
                </a:cubicBezTo>
                <a:cubicBezTo>
                  <a:pt x="1864932" y="987133"/>
                  <a:pt x="1839900" y="965910"/>
                  <a:pt x="1843165" y="941422"/>
                </a:cubicBezTo>
                <a:cubicBezTo>
                  <a:pt x="1840444" y="918567"/>
                  <a:pt x="1863299" y="897344"/>
                  <a:pt x="1887243" y="897344"/>
                </a:cubicBezTo>
                <a:close/>
                <a:moveTo>
                  <a:pt x="172545" y="854354"/>
                </a:moveTo>
                <a:cubicBezTo>
                  <a:pt x="176899" y="854354"/>
                  <a:pt x="179619" y="855442"/>
                  <a:pt x="179619" y="860884"/>
                </a:cubicBezTo>
                <a:cubicBezTo>
                  <a:pt x="180164" y="864693"/>
                  <a:pt x="177987" y="866870"/>
                  <a:pt x="173634" y="866870"/>
                </a:cubicBezTo>
                <a:cubicBezTo>
                  <a:pt x="169824" y="866870"/>
                  <a:pt x="166559" y="866870"/>
                  <a:pt x="166015" y="861973"/>
                </a:cubicBezTo>
                <a:cubicBezTo>
                  <a:pt x="165471" y="857075"/>
                  <a:pt x="167103" y="854354"/>
                  <a:pt x="172545" y="854354"/>
                </a:cubicBezTo>
                <a:close/>
                <a:moveTo>
                  <a:pt x="336342" y="843471"/>
                </a:moveTo>
                <a:cubicBezTo>
                  <a:pt x="346681" y="844015"/>
                  <a:pt x="353211" y="849457"/>
                  <a:pt x="353211" y="860340"/>
                </a:cubicBezTo>
                <a:cubicBezTo>
                  <a:pt x="353211" y="872312"/>
                  <a:pt x="348858" y="876665"/>
                  <a:pt x="336886" y="877210"/>
                </a:cubicBezTo>
                <a:cubicBezTo>
                  <a:pt x="324370" y="877210"/>
                  <a:pt x="320561" y="872856"/>
                  <a:pt x="320017" y="860884"/>
                </a:cubicBezTo>
                <a:cubicBezTo>
                  <a:pt x="319473" y="851089"/>
                  <a:pt x="327635" y="842927"/>
                  <a:pt x="336342" y="843471"/>
                </a:cubicBezTo>
                <a:close/>
                <a:moveTo>
                  <a:pt x="500139" y="837485"/>
                </a:moveTo>
                <a:cubicBezTo>
                  <a:pt x="514832" y="837485"/>
                  <a:pt x="522994" y="846735"/>
                  <a:pt x="522994" y="861428"/>
                </a:cubicBezTo>
                <a:cubicBezTo>
                  <a:pt x="522994" y="876121"/>
                  <a:pt x="513743" y="884284"/>
                  <a:pt x="499595" y="884284"/>
                </a:cubicBezTo>
                <a:cubicBezTo>
                  <a:pt x="485446" y="883740"/>
                  <a:pt x="475651" y="875033"/>
                  <a:pt x="476739" y="860340"/>
                </a:cubicBezTo>
                <a:cubicBezTo>
                  <a:pt x="476195" y="842926"/>
                  <a:pt x="489256" y="836940"/>
                  <a:pt x="500139" y="837485"/>
                </a:cubicBezTo>
                <a:close/>
                <a:moveTo>
                  <a:pt x="662848" y="832587"/>
                </a:moveTo>
                <a:cubicBezTo>
                  <a:pt x="677541" y="832587"/>
                  <a:pt x="691689" y="842926"/>
                  <a:pt x="690057" y="860340"/>
                </a:cubicBezTo>
                <a:cubicBezTo>
                  <a:pt x="691689" y="876121"/>
                  <a:pt x="679718" y="888637"/>
                  <a:pt x="662848" y="888637"/>
                </a:cubicBezTo>
                <a:cubicBezTo>
                  <a:pt x="644890" y="888637"/>
                  <a:pt x="634551" y="874489"/>
                  <a:pt x="634551" y="861428"/>
                </a:cubicBezTo>
                <a:cubicBezTo>
                  <a:pt x="634551" y="842926"/>
                  <a:pt x="647611" y="832587"/>
                  <a:pt x="662848" y="832587"/>
                </a:cubicBezTo>
                <a:close/>
                <a:moveTo>
                  <a:pt x="826101" y="827146"/>
                </a:moveTo>
                <a:cubicBezTo>
                  <a:pt x="840249" y="826602"/>
                  <a:pt x="859840" y="843471"/>
                  <a:pt x="859295" y="860885"/>
                </a:cubicBezTo>
                <a:cubicBezTo>
                  <a:pt x="858751" y="875033"/>
                  <a:pt x="844603" y="894624"/>
                  <a:pt x="825556" y="892991"/>
                </a:cubicBezTo>
                <a:cubicBezTo>
                  <a:pt x="808687" y="894079"/>
                  <a:pt x="793450" y="877754"/>
                  <a:pt x="793450" y="860885"/>
                </a:cubicBezTo>
                <a:cubicBezTo>
                  <a:pt x="793994" y="842927"/>
                  <a:pt x="808143" y="828234"/>
                  <a:pt x="826101" y="827146"/>
                </a:cubicBezTo>
                <a:close/>
                <a:moveTo>
                  <a:pt x="988809" y="824424"/>
                </a:moveTo>
                <a:cubicBezTo>
                  <a:pt x="1010576" y="825512"/>
                  <a:pt x="1024180" y="839661"/>
                  <a:pt x="1025813" y="860339"/>
                </a:cubicBezTo>
                <a:cubicBezTo>
                  <a:pt x="1026901" y="878842"/>
                  <a:pt x="1008399" y="896799"/>
                  <a:pt x="989897" y="897344"/>
                </a:cubicBezTo>
                <a:cubicBezTo>
                  <a:pt x="971939" y="897344"/>
                  <a:pt x="953982" y="880474"/>
                  <a:pt x="953437" y="861972"/>
                </a:cubicBezTo>
                <a:cubicBezTo>
                  <a:pt x="951805" y="842926"/>
                  <a:pt x="969763" y="824968"/>
                  <a:pt x="988809" y="824424"/>
                </a:cubicBezTo>
                <a:close/>
                <a:moveTo>
                  <a:pt x="1153695" y="821704"/>
                </a:moveTo>
                <a:cubicBezTo>
                  <a:pt x="1175462" y="822248"/>
                  <a:pt x="1191243" y="839118"/>
                  <a:pt x="1191243" y="861429"/>
                </a:cubicBezTo>
                <a:cubicBezTo>
                  <a:pt x="1193964" y="882107"/>
                  <a:pt x="1169476" y="900610"/>
                  <a:pt x="1152606" y="899521"/>
                </a:cubicBezTo>
                <a:cubicBezTo>
                  <a:pt x="1130839" y="898433"/>
                  <a:pt x="1114514" y="882107"/>
                  <a:pt x="1114514" y="859252"/>
                </a:cubicBezTo>
                <a:cubicBezTo>
                  <a:pt x="1115058" y="837485"/>
                  <a:pt x="1131928" y="821704"/>
                  <a:pt x="1153695" y="821704"/>
                </a:cubicBezTo>
                <a:close/>
                <a:moveTo>
                  <a:pt x="1316403" y="818982"/>
                </a:moveTo>
                <a:cubicBezTo>
                  <a:pt x="1341979" y="820071"/>
                  <a:pt x="1356128" y="838573"/>
                  <a:pt x="1357216" y="860884"/>
                </a:cubicBezTo>
                <a:cubicBezTo>
                  <a:pt x="1356128" y="884828"/>
                  <a:pt x="1337626" y="901697"/>
                  <a:pt x="1315315" y="901697"/>
                </a:cubicBezTo>
                <a:cubicBezTo>
                  <a:pt x="1293003" y="901697"/>
                  <a:pt x="1273957" y="884284"/>
                  <a:pt x="1274501" y="860340"/>
                </a:cubicBezTo>
                <a:cubicBezTo>
                  <a:pt x="1275046" y="835852"/>
                  <a:pt x="1291915" y="818438"/>
                  <a:pt x="1316403" y="818982"/>
                </a:cubicBezTo>
                <a:close/>
                <a:moveTo>
                  <a:pt x="1479112" y="816806"/>
                </a:moveTo>
                <a:cubicBezTo>
                  <a:pt x="1501423" y="816806"/>
                  <a:pt x="1523190" y="835852"/>
                  <a:pt x="1522646" y="860340"/>
                </a:cubicBezTo>
                <a:cubicBezTo>
                  <a:pt x="1523735" y="885372"/>
                  <a:pt x="1499791" y="904419"/>
                  <a:pt x="1479656" y="904419"/>
                </a:cubicBezTo>
                <a:cubicBezTo>
                  <a:pt x="1457889" y="904419"/>
                  <a:pt x="1436122" y="883740"/>
                  <a:pt x="1435578" y="860884"/>
                </a:cubicBezTo>
                <a:cubicBezTo>
                  <a:pt x="1435578" y="838573"/>
                  <a:pt x="1455713" y="816806"/>
                  <a:pt x="1479112" y="816806"/>
                </a:cubicBezTo>
                <a:close/>
                <a:moveTo>
                  <a:pt x="1642909" y="815718"/>
                </a:moveTo>
                <a:cubicBezTo>
                  <a:pt x="1665764" y="816262"/>
                  <a:pt x="1686987" y="835852"/>
                  <a:pt x="1686987" y="860885"/>
                </a:cubicBezTo>
                <a:cubicBezTo>
                  <a:pt x="1686987" y="884284"/>
                  <a:pt x="1666308" y="906051"/>
                  <a:pt x="1641276" y="905507"/>
                </a:cubicBezTo>
                <a:cubicBezTo>
                  <a:pt x="1619509" y="905507"/>
                  <a:pt x="1595021" y="884284"/>
                  <a:pt x="1597742" y="860340"/>
                </a:cubicBezTo>
                <a:cubicBezTo>
                  <a:pt x="1595021" y="836941"/>
                  <a:pt x="1619509" y="815174"/>
                  <a:pt x="1642909" y="815718"/>
                </a:cubicBezTo>
                <a:close/>
                <a:moveTo>
                  <a:pt x="1806161" y="815173"/>
                </a:moveTo>
                <a:cubicBezTo>
                  <a:pt x="1832282" y="815717"/>
                  <a:pt x="1854593" y="836396"/>
                  <a:pt x="1852416" y="860884"/>
                </a:cubicBezTo>
                <a:cubicBezTo>
                  <a:pt x="1850240" y="885372"/>
                  <a:pt x="1837179" y="906050"/>
                  <a:pt x="1805617" y="906594"/>
                </a:cubicBezTo>
                <a:cubicBezTo>
                  <a:pt x="1776776" y="906594"/>
                  <a:pt x="1759362" y="885916"/>
                  <a:pt x="1759906" y="860884"/>
                </a:cubicBezTo>
                <a:cubicBezTo>
                  <a:pt x="1759906" y="834219"/>
                  <a:pt x="1776776" y="815717"/>
                  <a:pt x="1806161" y="815173"/>
                </a:cubicBezTo>
                <a:close/>
                <a:moveTo>
                  <a:pt x="1968326" y="812453"/>
                </a:moveTo>
                <a:cubicBezTo>
                  <a:pt x="1979754" y="812453"/>
                  <a:pt x="1991726" y="817351"/>
                  <a:pt x="2000977" y="826057"/>
                </a:cubicBezTo>
                <a:cubicBezTo>
                  <a:pt x="2010772" y="835308"/>
                  <a:pt x="2016214" y="847280"/>
                  <a:pt x="2015670" y="859796"/>
                </a:cubicBezTo>
                <a:cubicBezTo>
                  <a:pt x="2014581" y="884828"/>
                  <a:pt x="2000977" y="904963"/>
                  <a:pt x="1969415" y="907684"/>
                </a:cubicBezTo>
                <a:cubicBezTo>
                  <a:pt x="1942206" y="906051"/>
                  <a:pt x="1923704" y="890270"/>
                  <a:pt x="1922071" y="860885"/>
                </a:cubicBezTo>
                <a:cubicBezTo>
                  <a:pt x="1920983" y="836397"/>
                  <a:pt x="1943294" y="812453"/>
                  <a:pt x="1968326" y="812453"/>
                </a:cubicBezTo>
                <a:close/>
                <a:moveTo>
                  <a:pt x="255260" y="762932"/>
                </a:moveTo>
                <a:cubicBezTo>
                  <a:pt x="261790" y="763476"/>
                  <a:pt x="271041" y="773271"/>
                  <a:pt x="270497" y="779802"/>
                </a:cubicBezTo>
                <a:cubicBezTo>
                  <a:pt x="270497" y="786332"/>
                  <a:pt x="261246" y="795038"/>
                  <a:pt x="254172" y="795038"/>
                </a:cubicBezTo>
                <a:cubicBezTo>
                  <a:pt x="246553" y="795038"/>
                  <a:pt x="238391" y="786332"/>
                  <a:pt x="238935" y="778713"/>
                </a:cubicBezTo>
                <a:cubicBezTo>
                  <a:pt x="239479" y="771095"/>
                  <a:pt x="248186" y="762388"/>
                  <a:pt x="255260" y="762932"/>
                </a:cubicBezTo>
                <a:close/>
                <a:moveTo>
                  <a:pt x="416881" y="756402"/>
                </a:moveTo>
                <a:cubicBezTo>
                  <a:pt x="430485" y="756402"/>
                  <a:pt x="439736" y="765109"/>
                  <a:pt x="440280" y="778713"/>
                </a:cubicBezTo>
                <a:cubicBezTo>
                  <a:pt x="440280" y="791229"/>
                  <a:pt x="431573" y="801024"/>
                  <a:pt x="419057" y="801024"/>
                </a:cubicBezTo>
                <a:cubicBezTo>
                  <a:pt x="405997" y="801569"/>
                  <a:pt x="396202" y="792317"/>
                  <a:pt x="396202" y="779257"/>
                </a:cubicBezTo>
                <a:cubicBezTo>
                  <a:pt x="396202" y="766741"/>
                  <a:pt x="404909" y="756946"/>
                  <a:pt x="416881" y="756402"/>
                </a:cubicBezTo>
                <a:close/>
                <a:moveTo>
                  <a:pt x="581766" y="751505"/>
                </a:moveTo>
                <a:cubicBezTo>
                  <a:pt x="598091" y="752594"/>
                  <a:pt x="607887" y="762933"/>
                  <a:pt x="608975" y="779802"/>
                </a:cubicBezTo>
                <a:cubicBezTo>
                  <a:pt x="608975" y="792318"/>
                  <a:pt x="596459" y="808644"/>
                  <a:pt x="580678" y="806467"/>
                </a:cubicBezTo>
                <a:cubicBezTo>
                  <a:pt x="565985" y="808100"/>
                  <a:pt x="553469" y="792318"/>
                  <a:pt x="553469" y="778714"/>
                </a:cubicBezTo>
                <a:cubicBezTo>
                  <a:pt x="553469" y="764021"/>
                  <a:pt x="567618" y="750417"/>
                  <a:pt x="581766" y="751505"/>
                </a:cubicBezTo>
                <a:close/>
                <a:moveTo>
                  <a:pt x="746107" y="746607"/>
                </a:moveTo>
                <a:cubicBezTo>
                  <a:pt x="762432" y="747695"/>
                  <a:pt x="778213" y="765653"/>
                  <a:pt x="777125" y="780346"/>
                </a:cubicBezTo>
                <a:cubicBezTo>
                  <a:pt x="776581" y="795038"/>
                  <a:pt x="762432" y="811908"/>
                  <a:pt x="742842" y="811364"/>
                </a:cubicBezTo>
                <a:cubicBezTo>
                  <a:pt x="725428" y="810276"/>
                  <a:pt x="712368" y="795583"/>
                  <a:pt x="712368" y="778713"/>
                </a:cubicBezTo>
                <a:cubicBezTo>
                  <a:pt x="712368" y="760755"/>
                  <a:pt x="730870" y="745519"/>
                  <a:pt x="746107" y="746607"/>
                </a:cubicBezTo>
                <a:close/>
                <a:moveTo>
                  <a:pt x="907727" y="741710"/>
                </a:moveTo>
                <a:cubicBezTo>
                  <a:pt x="925684" y="741710"/>
                  <a:pt x="944187" y="760756"/>
                  <a:pt x="944187" y="778714"/>
                </a:cubicBezTo>
                <a:cubicBezTo>
                  <a:pt x="944187" y="796672"/>
                  <a:pt x="926229" y="815174"/>
                  <a:pt x="907727" y="815174"/>
                </a:cubicBezTo>
                <a:cubicBezTo>
                  <a:pt x="889225" y="815174"/>
                  <a:pt x="872899" y="798848"/>
                  <a:pt x="872355" y="779258"/>
                </a:cubicBezTo>
                <a:cubicBezTo>
                  <a:pt x="871811" y="759668"/>
                  <a:pt x="888136" y="742254"/>
                  <a:pt x="907727" y="741710"/>
                </a:cubicBezTo>
                <a:close/>
                <a:moveTo>
                  <a:pt x="1070979" y="740621"/>
                </a:moveTo>
                <a:cubicBezTo>
                  <a:pt x="1091114" y="737357"/>
                  <a:pt x="1110704" y="761300"/>
                  <a:pt x="1110160" y="779258"/>
                </a:cubicBezTo>
                <a:cubicBezTo>
                  <a:pt x="1110160" y="798304"/>
                  <a:pt x="1089481" y="817894"/>
                  <a:pt x="1070979" y="817894"/>
                </a:cubicBezTo>
                <a:cubicBezTo>
                  <a:pt x="1049757" y="817894"/>
                  <a:pt x="1031255" y="797216"/>
                  <a:pt x="1031799" y="778714"/>
                </a:cubicBezTo>
                <a:cubicBezTo>
                  <a:pt x="1033431" y="756947"/>
                  <a:pt x="1049212" y="740621"/>
                  <a:pt x="1070979" y="740621"/>
                </a:cubicBezTo>
                <a:close/>
                <a:moveTo>
                  <a:pt x="1233688" y="736268"/>
                </a:moveTo>
                <a:cubicBezTo>
                  <a:pt x="1254367" y="735723"/>
                  <a:pt x="1276134" y="756402"/>
                  <a:pt x="1276134" y="777625"/>
                </a:cubicBezTo>
                <a:cubicBezTo>
                  <a:pt x="1276134" y="801025"/>
                  <a:pt x="1258720" y="819526"/>
                  <a:pt x="1235320" y="820615"/>
                </a:cubicBezTo>
                <a:cubicBezTo>
                  <a:pt x="1211377" y="821159"/>
                  <a:pt x="1193419" y="802657"/>
                  <a:pt x="1192331" y="779258"/>
                </a:cubicBezTo>
                <a:cubicBezTo>
                  <a:pt x="1190698" y="758579"/>
                  <a:pt x="1213009" y="736812"/>
                  <a:pt x="1233688" y="736268"/>
                </a:cubicBezTo>
                <a:close/>
                <a:moveTo>
                  <a:pt x="1397485" y="735724"/>
                </a:moveTo>
                <a:cubicBezTo>
                  <a:pt x="1421973" y="734091"/>
                  <a:pt x="1441564" y="757491"/>
                  <a:pt x="1441019" y="779802"/>
                </a:cubicBezTo>
                <a:cubicBezTo>
                  <a:pt x="1441019" y="803746"/>
                  <a:pt x="1418708" y="823336"/>
                  <a:pt x="1396397" y="823336"/>
                </a:cubicBezTo>
                <a:cubicBezTo>
                  <a:pt x="1374630" y="823336"/>
                  <a:pt x="1352863" y="802113"/>
                  <a:pt x="1352863" y="779258"/>
                </a:cubicBezTo>
                <a:cubicBezTo>
                  <a:pt x="1353407" y="758579"/>
                  <a:pt x="1372453" y="733547"/>
                  <a:pt x="1397485" y="735724"/>
                </a:cubicBezTo>
                <a:close/>
                <a:moveTo>
                  <a:pt x="1562371" y="734636"/>
                </a:moveTo>
                <a:cubicBezTo>
                  <a:pt x="1586314" y="732459"/>
                  <a:pt x="1605905" y="754226"/>
                  <a:pt x="1605905" y="779802"/>
                </a:cubicBezTo>
                <a:cubicBezTo>
                  <a:pt x="1605361" y="805923"/>
                  <a:pt x="1585226" y="823881"/>
                  <a:pt x="1560194" y="823881"/>
                </a:cubicBezTo>
                <a:cubicBezTo>
                  <a:pt x="1535706" y="823881"/>
                  <a:pt x="1515027" y="803202"/>
                  <a:pt x="1515572" y="777626"/>
                </a:cubicBezTo>
                <a:cubicBezTo>
                  <a:pt x="1516116" y="755859"/>
                  <a:pt x="1535162" y="731371"/>
                  <a:pt x="1562371" y="734636"/>
                </a:cubicBezTo>
                <a:close/>
                <a:moveTo>
                  <a:pt x="1724535" y="730827"/>
                </a:moveTo>
                <a:cubicBezTo>
                  <a:pt x="1748478" y="731371"/>
                  <a:pt x="1772422" y="755314"/>
                  <a:pt x="1772422" y="779258"/>
                </a:cubicBezTo>
                <a:cubicBezTo>
                  <a:pt x="1771878" y="804290"/>
                  <a:pt x="1748478" y="826602"/>
                  <a:pt x="1723446" y="826602"/>
                </a:cubicBezTo>
                <a:cubicBezTo>
                  <a:pt x="1696238" y="823881"/>
                  <a:pt x="1677736" y="807011"/>
                  <a:pt x="1676647" y="778714"/>
                </a:cubicBezTo>
                <a:cubicBezTo>
                  <a:pt x="1676103" y="753138"/>
                  <a:pt x="1699503" y="730282"/>
                  <a:pt x="1724535" y="730827"/>
                </a:cubicBezTo>
                <a:close/>
                <a:moveTo>
                  <a:pt x="1886699" y="730826"/>
                </a:moveTo>
                <a:cubicBezTo>
                  <a:pt x="1914452" y="730826"/>
                  <a:pt x="1934587" y="749872"/>
                  <a:pt x="1935131" y="778713"/>
                </a:cubicBezTo>
                <a:cubicBezTo>
                  <a:pt x="1936219" y="804834"/>
                  <a:pt x="1916085" y="826601"/>
                  <a:pt x="1887244" y="827145"/>
                </a:cubicBezTo>
                <a:cubicBezTo>
                  <a:pt x="1860579" y="826601"/>
                  <a:pt x="1838812" y="805922"/>
                  <a:pt x="1838812" y="778713"/>
                </a:cubicBezTo>
                <a:cubicBezTo>
                  <a:pt x="1839356" y="750416"/>
                  <a:pt x="1860035" y="730282"/>
                  <a:pt x="1886699" y="730826"/>
                </a:cubicBezTo>
                <a:close/>
                <a:moveTo>
                  <a:pt x="2050496" y="730282"/>
                </a:moveTo>
                <a:lnTo>
                  <a:pt x="2051041" y="730396"/>
                </a:lnTo>
                <a:lnTo>
                  <a:pt x="2051041" y="826942"/>
                </a:lnTo>
                <a:lnTo>
                  <a:pt x="2049952" y="827145"/>
                </a:lnTo>
                <a:cubicBezTo>
                  <a:pt x="2023832" y="827145"/>
                  <a:pt x="2001521" y="804290"/>
                  <a:pt x="2002065" y="778169"/>
                </a:cubicBezTo>
                <a:cubicBezTo>
                  <a:pt x="2002609" y="751505"/>
                  <a:pt x="2024376" y="730282"/>
                  <a:pt x="2050496" y="730282"/>
                </a:cubicBezTo>
                <a:close/>
                <a:moveTo>
                  <a:pt x="173634" y="685660"/>
                </a:moveTo>
                <a:cubicBezTo>
                  <a:pt x="181253" y="685660"/>
                  <a:pt x="185062" y="690013"/>
                  <a:pt x="184518" y="698176"/>
                </a:cubicBezTo>
                <a:cubicBezTo>
                  <a:pt x="183973" y="705250"/>
                  <a:pt x="180164" y="709059"/>
                  <a:pt x="172546" y="709059"/>
                </a:cubicBezTo>
                <a:cubicBezTo>
                  <a:pt x="164383" y="709059"/>
                  <a:pt x="160574" y="705250"/>
                  <a:pt x="161118" y="697088"/>
                </a:cubicBezTo>
                <a:cubicBezTo>
                  <a:pt x="161662" y="688925"/>
                  <a:pt x="164927" y="685660"/>
                  <a:pt x="173634" y="685660"/>
                </a:cubicBezTo>
                <a:close/>
                <a:moveTo>
                  <a:pt x="335798" y="675320"/>
                </a:moveTo>
                <a:cubicBezTo>
                  <a:pt x="345593" y="675320"/>
                  <a:pt x="357565" y="685115"/>
                  <a:pt x="357565" y="696543"/>
                </a:cubicBezTo>
                <a:cubicBezTo>
                  <a:pt x="357565" y="707426"/>
                  <a:pt x="346682" y="718854"/>
                  <a:pt x="336342" y="718854"/>
                </a:cubicBezTo>
                <a:cubicBezTo>
                  <a:pt x="327091" y="718854"/>
                  <a:pt x="315664" y="707426"/>
                  <a:pt x="315120" y="697631"/>
                </a:cubicBezTo>
                <a:cubicBezTo>
                  <a:pt x="314575" y="687292"/>
                  <a:pt x="325459" y="675864"/>
                  <a:pt x="335798" y="675320"/>
                </a:cubicBezTo>
                <a:close/>
                <a:moveTo>
                  <a:pt x="499051" y="670423"/>
                </a:moveTo>
                <a:cubicBezTo>
                  <a:pt x="512111" y="669335"/>
                  <a:pt x="526804" y="684027"/>
                  <a:pt x="526804" y="697088"/>
                </a:cubicBezTo>
                <a:cubicBezTo>
                  <a:pt x="526804" y="711236"/>
                  <a:pt x="513744" y="724296"/>
                  <a:pt x="499595" y="724296"/>
                </a:cubicBezTo>
                <a:cubicBezTo>
                  <a:pt x="486535" y="724296"/>
                  <a:pt x="472930" y="711236"/>
                  <a:pt x="472930" y="697632"/>
                </a:cubicBezTo>
                <a:cubicBezTo>
                  <a:pt x="472386" y="684027"/>
                  <a:pt x="485446" y="670423"/>
                  <a:pt x="499051" y="670423"/>
                </a:cubicBezTo>
                <a:close/>
                <a:moveTo>
                  <a:pt x="662848" y="665525"/>
                </a:moveTo>
                <a:cubicBezTo>
                  <a:pt x="678629" y="665525"/>
                  <a:pt x="694410" y="681306"/>
                  <a:pt x="694954" y="697087"/>
                </a:cubicBezTo>
                <a:cubicBezTo>
                  <a:pt x="695499" y="712868"/>
                  <a:pt x="679173" y="729194"/>
                  <a:pt x="663392" y="729194"/>
                </a:cubicBezTo>
                <a:cubicBezTo>
                  <a:pt x="647611" y="729194"/>
                  <a:pt x="632374" y="713957"/>
                  <a:pt x="632374" y="698176"/>
                </a:cubicBezTo>
                <a:cubicBezTo>
                  <a:pt x="631286" y="681850"/>
                  <a:pt x="647067" y="665525"/>
                  <a:pt x="662848" y="665525"/>
                </a:cubicBezTo>
                <a:close/>
                <a:moveTo>
                  <a:pt x="825013" y="663349"/>
                </a:moveTo>
                <a:cubicBezTo>
                  <a:pt x="844603" y="662260"/>
                  <a:pt x="861472" y="676953"/>
                  <a:pt x="860384" y="697632"/>
                </a:cubicBezTo>
                <a:cubicBezTo>
                  <a:pt x="861472" y="716134"/>
                  <a:pt x="846780" y="731915"/>
                  <a:pt x="826101" y="731915"/>
                </a:cubicBezTo>
                <a:cubicBezTo>
                  <a:pt x="806511" y="731915"/>
                  <a:pt x="791818" y="719399"/>
                  <a:pt x="791818" y="698176"/>
                </a:cubicBezTo>
                <a:cubicBezTo>
                  <a:pt x="791818" y="676409"/>
                  <a:pt x="805967" y="663893"/>
                  <a:pt x="825013" y="663349"/>
                </a:cubicBezTo>
                <a:close/>
                <a:moveTo>
                  <a:pt x="988809" y="658995"/>
                </a:moveTo>
                <a:cubicBezTo>
                  <a:pt x="1008400" y="657362"/>
                  <a:pt x="1028534" y="679129"/>
                  <a:pt x="1027446" y="697087"/>
                </a:cubicBezTo>
                <a:cubicBezTo>
                  <a:pt x="1026902" y="718310"/>
                  <a:pt x="1010576" y="735723"/>
                  <a:pt x="989353" y="735723"/>
                </a:cubicBezTo>
                <a:cubicBezTo>
                  <a:pt x="968675" y="735723"/>
                  <a:pt x="950717" y="718310"/>
                  <a:pt x="950717" y="697631"/>
                </a:cubicBezTo>
                <a:cubicBezTo>
                  <a:pt x="950717" y="676408"/>
                  <a:pt x="968131" y="660627"/>
                  <a:pt x="988809" y="658995"/>
                </a:cubicBezTo>
                <a:close/>
                <a:moveTo>
                  <a:pt x="1152607" y="655729"/>
                </a:moveTo>
                <a:cubicBezTo>
                  <a:pt x="1173829" y="654097"/>
                  <a:pt x="1194508" y="675864"/>
                  <a:pt x="1195052" y="697087"/>
                </a:cubicBezTo>
                <a:cubicBezTo>
                  <a:pt x="1195596" y="717766"/>
                  <a:pt x="1173829" y="739533"/>
                  <a:pt x="1153151" y="739533"/>
                </a:cubicBezTo>
                <a:cubicBezTo>
                  <a:pt x="1132472" y="740077"/>
                  <a:pt x="1110705" y="718310"/>
                  <a:pt x="1110705" y="697631"/>
                </a:cubicBezTo>
                <a:cubicBezTo>
                  <a:pt x="1112882" y="674231"/>
                  <a:pt x="1127574" y="657362"/>
                  <a:pt x="1152607" y="655729"/>
                </a:cubicBezTo>
                <a:close/>
                <a:moveTo>
                  <a:pt x="1316948" y="653554"/>
                </a:moveTo>
                <a:cubicBezTo>
                  <a:pt x="1340347" y="654098"/>
                  <a:pt x="1359937" y="674777"/>
                  <a:pt x="1359937" y="697632"/>
                </a:cubicBezTo>
                <a:cubicBezTo>
                  <a:pt x="1359937" y="718855"/>
                  <a:pt x="1339803" y="743343"/>
                  <a:pt x="1315315" y="740622"/>
                </a:cubicBezTo>
                <a:cubicBezTo>
                  <a:pt x="1293004" y="742799"/>
                  <a:pt x="1271237" y="718311"/>
                  <a:pt x="1271781" y="696544"/>
                </a:cubicBezTo>
                <a:cubicBezTo>
                  <a:pt x="1271781" y="675321"/>
                  <a:pt x="1292460" y="653010"/>
                  <a:pt x="1316948" y="653554"/>
                </a:cubicBezTo>
                <a:close/>
                <a:moveTo>
                  <a:pt x="1479112" y="651921"/>
                </a:moveTo>
                <a:cubicBezTo>
                  <a:pt x="1506321" y="651377"/>
                  <a:pt x="1524823" y="669335"/>
                  <a:pt x="1524823" y="697088"/>
                </a:cubicBezTo>
                <a:cubicBezTo>
                  <a:pt x="1524823" y="722664"/>
                  <a:pt x="1506865" y="743343"/>
                  <a:pt x="1479112" y="742254"/>
                </a:cubicBezTo>
                <a:cubicBezTo>
                  <a:pt x="1450815" y="743343"/>
                  <a:pt x="1433401" y="721031"/>
                  <a:pt x="1433945" y="697088"/>
                </a:cubicBezTo>
                <a:cubicBezTo>
                  <a:pt x="1434490" y="670423"/>
                  <a:pt x="1451903" y="652465"/>
                  <a:pt x="1479112" y="651921"/>
                </a:cubicBezTo>
                <a:close/>
                <a:moveTo>
                  <a:pt x="1642909" y="649744"/>
                </a:moveTo>
                <a:cubicBezTo>
                  <a:pt x="1671750" y="650288"/>
                  <a:pt x="1690252" y="668790"/>
                  <a:pt x="1690796" y="697087"/>
                </a:cubicBezTo>
                <a:cubicBezTo>
                  <a:pt x="1691340" y="723752"/>
                  <a:pt x="1672294" y="743342"/>
                  <a:pt x="1642909" y="745519"/>
                </a:cubicBezTo>
                <a:cubicBezTo>
                  <a:pt x="1614067" y="743887"/>
                  <a:pt x="1594477" y="725384"/>
                  <a:pt x="1594477" y="697632"/>
                </a:cubicBezTo>
                <a:cubicBezTo>
                  <a:pt x="1594477" y="668790"/>
                  <a:pt x="1614611" y="649200"/>
                  <a:pt x="1642909" y="649744"/>
                </a:cubicBezTo>
                <a:close/>
                <a:moveTo>
                  <a:pt x="1805617" y="648112"/>
                </a:moveTo>
                <a:cubicBezTo>
                  <a:pt x="1829561" y="648112"/>
                  <a:pt x="1857314" y="672055"/>
                  <a:pt x="1854593" y="698176"/>
                </a:cubicBezTo>
                <a:cubicBezTo>
                  <a:pt x="1856770" y="719399"/>
                  <a:pt x="1832826" y="747151"/>
                  <a:pt x="1805073" y="746607"/>
                </a:cubicBezTo>
                <a:cubicBezTo>
                  <a:pt x="1779497" y="746063"/>
                  <a:pt x="1756097" y="721575"/>
                  <a:pt x="1756097" y="697087"/>
                </a:cubicBezTo>
                <a:cubicBezTo>
                  <a:pt x="1756097" y="670423"/>
                  <a:pt x="1782218" y="647567"/>
                  <a:pt x="1805617" y="648112"/>
                </a:cubicBezTo>
                <a:close/>
                <a:moveTo>
                  <a:pt x="1969414" y="647023"/>
                </a:moveTo>
                <a:cubicBezTo>
                  <a:pt x="1992814" y="647023"/>
                  <a:pt x="2020567" y="672055"/>
                  <a:pt x="2018934" y="698176"/>
                </a:cubicBezTo>
                <a:cubicBezTo>
                  <a:pt x="2017302" y="725384"/>
                  <a:pt x="1996623" y="746063"/>
                  <a:pt x="1968326" y="746063"/>
                </a:cubicBezTo>
                <a:cubicBezTo>
                  <a:pt x="1941661" y="748784"/>
                  <a:pt x="1919350" y="721031"/>
                  <a:pt x="1918806" y="697087"/>
                </a:cubicBezTo>
                <a:cubicBezTo>
                  <a:pt x="1918806" y="669878"/>
                  <a:pt x="1945471" y="647023"/>
                  <a:pt x="1969414" y="647023"/>
                </a:cubicBezTo>
                <a:close/>
                <a:moveTo>
                  <a:pt x="90919" y="606754"/>
                </a:moveTo>
                <a:cubicBezTo>
                  <a:pt x="94728" y="608386"/>
                  <a:pt x="99626" y="612195"/>
                  <a:pt x="99626" y="615460"/>
                </a:cubicBezTo>
                <a:cubicBezTo>
                  <a:pt x="100170" y="618181"/>
                  <a:pt x="95816" y="621990"/>
                  <a:pt x="92007" y="627976"/>
                </a:cubicBezTo>
                <a:cubicBezTo>
                  <a:pt x="87654" y="623079"/>
                  <a:pt x="84389" y="619814"/>
                  <a:pt x="82756" y="616005"/>
                </a:cubicBezTo>
                <a:cubicBezTo>
                  <a:pt x="81668" y="613284"/>
                  <a:pt x="88198" y="605665"/>
                  <a:pt x="90919" y="606754"/>
                </a:cubicBezTo>
                <a:close/>
                <a:moveTo>
                  <a:pt x="254172" y="598047"/>
                </a:moveTo>
                <a:cubicBezTo>
                  <a:pt x="265599" y="597503"/>
                  <a:pt x="273218" y="606210"/>
                  <a:pt x="272674" y="614917"/>
                </a:cubicBezTo>
                <a:cubicBezTo>
                  <a:pt x="272674" y="625800"/>
                  <a:pt x="266688" y="632874"/>
                  <a:pt x="255260" y="633419"/>
                </a:cubicBezTo>
                <a:cubicBezTo>
                  <a:pt x="244376" y="633963"/>
                  <a:pt x="237302" y="626889"/>
                  <a:pt x="236758" y="616005"/>
                </a:cubicBezTo>
                <a:cubicBezTo>
                  <a:pt x="236758" y="605122"/>
                  <a:pt x="243832" y="598047"/>
                  <a:pt x="254172" y="598047"/>
                </a:cubicBezTo>
                <a:close/>
                <a:moveTo>
                  <a:pt x="418513" y="590429"/>
                </a:moveTo>
                <a:cubicBezTo>
                  <a:pt x="431029" y="590429"/>
                  <a:pt x="442457" y="601857"/>
                  <a:pt x="443001" y="614917"/>
                </a:cubicBezTo>
                <a:cubicBezTo>
                  <a:pt x="443545" y="627977"/>
                  <a:pt x="432118" y="640493"/>
                  <a:pt x="419058" y="640493"/>
                </a:cubicBezTo>
                <a:cubicBezTo>
                  <a:pt x="404365" y="640493"/>
                  <a:pt x="394570" y="630698"/>
                  <a:pt x="392937" y="616005"/>
                </a:cubicBezTo>
                <a:cubicBezTo>
                  <a:pt x="391849" y="604033"/>
                  <a:pt x="405997" y="590429"/>
                  <a:pt x="418513" y="590429"/>
                </a:cubicBezTo>
                <a:close/>
                <a:moveTo>
                  <a:pt x="581222" y="587163"/>
                </a:moveTo>
                <a:cubicBezTo>
                  <a:pt x="600812" y="588252"/>
                  <a:pt x="610063" y="598047"/>
                  <a:pt x="610063" y="616549"/>
                </a:cubicBezTo>
                <a:cubicBezTo>
                  <a:pt x="610063" y="634507"/>
                  <a:pt x="599179" y="644846"/>
                  <a:pt x="580677" y="645390"/>
                </a:cubicBezTo>
                <a:cubicBezTo>
                  <a:pt x="565440" y="644846"/>
                  <a:pt x="551836" y="634507"/>
                  <a:pt x="551836" y="615461"/>
                </a:cubicBezTo>
                <a:cubicBezTo>
                  <a:pt x="551836" y="594782"/>
                  <a:pt x="567073" y="586075"/>
                  <a:pt x="581222" y="587163"/>
                </a:cubicBezTo>
                <a:close/>
                <a:moveTo>
                  <a:pt x="743930" y="582266"/>
                </a:moveTo>
                <a:cubicBezTo>
                  <a:pt x="761344" y="581178"/>
                  <a:pt x="779301" y="599136"/>
                  <a:pt x="779301" y="616005"/>
                </a:cubicBezTo>
                <a:cubicBezTo>
                  <a:pt x="779301" y="632874"/>
                  <a:pt x="762976" y="649744"/>
                  <a:pt x="745563" y="649744"/>
                </a:cubicBezTo>
                <a:cubicBezTo>
                  <a:pt x="728149" y="649200"/>
                  <a:pt x="710191" y="635595"/>
                  <a:pt x="711824" y="616549"/>
                </a:cubicBezTo>
                <a:cubicBezTo>
                  <a:pt x="711824" y="596415"/>
                  <a:pt x="724340" y="583355"/>
                  <a:pt x="743930" y="582266"/>
                </a:cubicBezTo>
                <a:close/>
                <a:moveTo>
                  <a:pt x="907183" y="577913"/>
                </a:moveTo>
                <a:cubicBezTo>
                  <a:pt x="927318" y="576825"/>
                  <a:pt x="947452" y="598592"/>
                  <a:pt x="945276" y="615461"/>
                </a:cubicBezTo>
                <a:cubicBezTo>
                  <a:pt x="945276" y="635596"/>
                  <a:pt x="927318" y="653554"/>
                  <a:pt x="907727" y="654098"/>
                </a:cubicBezTo>
                <a:cubicBezTo>
                  <a:pt x="890314" y="654642"/>
                  <a:pt x="869091" y="635052"/>
                  <a:pt x="869091" y="616006"/>
                </a:cubicBezTo>
                <a:cubicBezTo>
                  <a:pt x="869635" y="595871"/>
                  <a:pt x="887049" y="578457"/>
                  <a:pt x="907183" y="577913"/>
                </a:cubicBezTo>
                <a:close/>
                <a:moveTo>
                  <a:pt x="1069891" y="574648"/>
                </a:moveTo>
                <a:cubicBezTo>
                  <a:pt x="1092202" y="574648"/>
                  <a:pt x="1111793" y="589885"/>
                  <a:pt x="1111248" y="615461"/>
                </a:cubicBezTo>
                <a:cubicBezTo>
                  <a:pt x="1111793" y="639405"/>
                  <a:pt x="1093835" y="656274"/>
                  <a:pt x="1070435" y="656274"/>
                </a:cubicBezTo>
                <a:cubicBezTo>
                  <a:pt x="1045403" y="656274"/>
                  <a:pt x="1029622" y="635052"/>
                  <a:pt x="1029622" y="614917"/>
                </a:cubicBezTo>
                <a:cubicBezTo>
                  <a:pt x="1030166" y="593150"/>
                  <a:pt x="1046491" y="574648"/>
                  <a:pt x="1069891" y="574648"/>
                </a:cubicBezTo>
                <a:close/>
                <a:moveTo>
                  <a:pt x="1235321" y="572472"/>
                </a:moveTo>
                <a:cubicBezTo>
                  <a:pt x="1256543" y="572472"/>
                  <a:pt x="1279399" y="590973"/>
                  <a:pt x="1277222" y="616550"/>
                </a:cubicBezTo>
                <a:cubicBezTo>
                  <a:pt x="1278855" y="639949"/>
                  <a:pt x="1255455" y="660084"/>
                  <a:pt x="1233688" y="660084"/>
                </a:cubicBezTo>
                <a:cubicBezTo>
                  <a:pt x="1211377" y="660084"/>
                  <a:pt x="1189610" y="637773"/>
                  <a:pt x="1190154" y="614917"/>
                </a:cubicBezTo>
                <a:cubicBezTo>
                  <a:pt x="1190698" y="594783"/>
                  <a:pt x="1209200" y="571927"/>
                  <a:pt x="1235321" y="572472"/>
                </a:cubicBezTo>
                <a:close/>
                <a:moveTo>
                  <a:pt x="1397485" y="569206"/>
                </a:moveTo>
                <a:cubicBezTo>
                  <a:pt x="1423606" y="569750"/>
                  <a:pt x="1443196" y="587708"/>
                  <a:pt x="1443196" y="616005"/>
                </a:cubicBezTo>
                <a:cubicBezTo>
                  <a:pt x="1443196" y="642670"/>
                  <a:pt x="1424150" y="661716"/>
                  <a:pt x="1396941" y="661172"/>
                </a:cubicBezTo>
                <a:cubicBezTo>
                  <a:pt x="1369188" y="661172"/>
                  <a:pt x="1350686" y="638860"/>
                  <a:pt x="1351775" y="614373"/>
                </a:cubicBezTo>
                <a:cubicBezTo>
                  <a:pt x="1352319" y="587164"/>
                  <a:pt x="1371365" y="569206"/>
                  <a:pt x="1397485" y="569206"/>
                </a:cubicBezTo>
                <a:close/>
                <a:moveTo>
                  <a:pt x="1560738" y="567029"/>
                </a:moveTo>
                <a:cubicBezTo>
                  <a:pt x="1586859" y="567029"/>
                  <a:pt x="1608082" y="587708"/>
                  <a:pt x="1609714" y="615461"/>
                </a:cubicBezTo>
                <a:cubicBezTo>
                  <a:pt x="1608082" y="641581"/>
                  <a:pt x="1589580" y="663892"/>
                  <a:pt x="1561283" y="663892"/>
                </a:cubicBezTo>
                <a:cubicBezTo>
                  <a:pt x="1534074" y="663892"/>
                  <a:pt x="1512851" y="642669"/>
                  <a:pt x="1512851" y="616005"/>
                </a:cubicBezTo>
                <a:cubicBezTo>
                  <a:pt x="1512851" y="587163"/>
                  <a:pt x="1535706" y="567029"/>
                  <a:pt x="1560738" y="567029"/>
                </a:cubicBezTo>
                <a:close/>
                <a:moveTo>
                  <a:pt x="1725624" y="565397"/>
                </a:moveTo>
                <a:cubicBezTo>
                  <a:pt x="1747935" y="565941"/>
                  <a:pt x="1775144" y="590429"/>
                  <a:pt x="1774599" y="616005"/>
                </a:cubicBezTo>
                <a:cubicBezTo>
                  <a:pt x="1774055" y="638317"/>
                  <a:pt x="1751744" y="668246"/>
                  <a:pt x="1723447" y="664981"/>
                </a:cubicBezTo>
                <a:cubicBezTo>
                  <a:pt x="1700592" y="667158"/>
                  <a:pt x="1674471" y="643758"/>
                  <a:pt x="1674471" y="615461"/>
                </a:cubicBezTo>
                <a:cubicBezTo>
                  <a:pt x="1674471" y="588797"/>
                  <a:pt x="1700592" y="565397"/>
                  <a:pt x="1725624" y="565397"/>
                </a:cubicBezTo>
                <a:close/>
                <a:moveTo>
                  <a:pt x="1886699" y="564853"/>
                </a:moveTo>
                <a:cubicBezTo>
                  <a:pt x="1914996" y="564309"/>
                  <a:pt x="1938396" y="589341"/>
                  <a:pt x="1938396" y="614917"/>
                </a:cubicBezTo>
                <a:cubicBezTo>
                  <a:pt x="1938396" y="640493"/>
                  <a:pt x="1917717" y="667702"/>
                  <a:pt x="1887787" y="665525"/>
                </a:cubicBezTo>
                <a:cubicBezTo>
                  <a:pt x="1860034" y="667702"/>
                  <a:pt x="1837723" y="644302"/>
                  <a:pt x="1837179" y="615461"/>
                </a:cubicBezTo>
                <a:cubicBezTo>
                  <a:pt x="1837179" y="586620"/>
                  <a:pt x="1861667" y="565397"/>
                  <a:pt x="1886699" y="564853"/>
                </a:cubicBezTo>
                <a:close/>
                <a:moveTo>
                  <a:pt x="2050496" y="564852"/>
                </a:moveTo>
                <a:lnTo>
                  <a:pt x="2051041" y="564962"/>
                </a:lnTo>
                <a:lnTo>
                  <a:pt x="2051041" y="665899"/>
                </a:lnTo>
                <a:lnTo>
                  <a:pt x="2049952" y="666069"/>
                </a:lnTo>
                <a:cubicBezTo>
                  <a:pt x="2018934" y="667157"/>
                  <a:pt x="1999344" y="642669"/>
                  <a:pt x="1999344" y="615460"/>
                </a:cubicBezTo>
                <a:cubicBezTo>
                  <a:pt x="1999344" y="587163"/>
                  <a:pt x="2021655" y="564852"/>
                  <a:pt x="2050496" y="564852"/>
                </a:cubicBezTo>
                <a:close/>
                <a:moveTo>
                  <a:pt x="173090" y="517509"/>
                </a:moveTo>
                <a:cubicBezTo>
                  <a:pt x="181252" y="517509"/>
                  <a:pt x="189415" y="525672"/>
                  <a:pt x="189959" y="533834"/>
                </a:cubicBezTo>
                <a:cubicBezTo>
                  <a:pt x="189959" y="542541"/>
                  <a:pt x="182341" y="550160"/>
                  <a:pt x="173634" y="550160"/>
                </a:cubicBezTo>
                <a:cubicBezTo>
                  <a:pt x="165471" y="550160"/>
                  <a:pt x="157853" y="543085"/>
                  <a:pt x="157308" y="534923"/>
                </a:cubicBezTo>
                <a:cubicBezTo>
                  <a:pt x="156764" y="526216"/>
                  <a:pt x="164383" y="518053"/>
                  <a:pt x="173090" y="517509"/>
                </a:cubicBezTo>
                <a:close/>
                <a:moveTo>
                  <a:pt x="335798" y="511523"/>
                </a:moveTo>
                <a:cubicBezTo>
                  <a:pt x="349947" y="512067"/>
                  <a:pt x="357565" y="519686"/>
                  <a:pt x="358654" y="533834"/>
                </a:cubicBezTo>
                <a:cubicBezTo>
                  <a:pt x="359742" y="547439"/>
                  <a:pt x="348314" y="557778"/>
                  <a:pt x="336343" y="556689"/>
                </a:cubicBezTo>
                <a:cubicBezTo>
                  <a:pt x="324371" y="558322"/>
                  <a:pt x="312943" y="545806"/>
                  <a:pt x="312943" y="534378"/>
                </a:cubicBezTo>
                <a:cubicBezTo>
                  <a:pt x="312943" y="522951"/>
                  <a:pt x="322738" y="510979"/>
                  <a:pt x="335798" y="511523"/>
                </a:cubicBezTo>
                <a:close/>
                <a:moveTo>
                  <a:pt x="500139" y="506626"/>
                </a:moveTo>
                <a:cubicBezTo>
                  <a:pt x="517553" y="507170"/>
                  <a:pt x="527892" y="517509"/>
                  <a:pt x="527348" y="535467"/>
                </a:cubicBezTo>
                <a:cubicBezTo>
                  <a:pt x="526804" y="552880"/>
                  <a:pt x="515920" y="562131"/>
                  <a:pt x="497963" y="561587"/>
                </a:cubicBezTo>
                <a:cubicBezTo>
                  <a:pt x="481093" y="561043"/>
                  <a:pt x="472386" y="550704"/>
                  <a:pt x="471842" y="533290"/>
                </a:cubicBezTo>
                <a:cubicBezTo>
                  <a:pt x="471298" y="516965"/>
                  <a:pt x="485447" y="506081"/>
                  <a:pt x="500139" y="506626"/>
                </a:cubicBezTo>
                <a:close/>
                <a:moveTo>
                  <a:pt x="662304" y="500639"/>
                </a:moveTo>
                <a:cubicBezTo>
                  <a:pt x="677540" y="497919"/>
                  <a:pt x="696587" y="518597"/>
                  <a:pt x="696042" y="533290"/>
                </a:cubicBezTo>
                <a:cubicBezTo>
                  <a:pt x="694954" y="551792"/>
                  <a:pt x="681894" y="565396"/>
                  <a:pt x="663392" y="566485"/>
                </a:cubicBezTo>
                <a:cubicBezTo>
                  <a:pt x="643802" y="567573"/>
                  <a:pt x="629653" y="549615"/>
                  <a:pt x="630197" y="534378"/>
                </a:cubicBezTo>
                <a:cubicBezTo>
                  <a:pt x="630741" y="515876"/>
                  <a:pt x="644346" y="501184"/>
                  <a:pt x="662304" y="500639"/>
                </a:cubicBezTo>
                <a:close/>
                <a:moveTo>
                  <a:pt x="825557" y="496830"/>
                </a:moveTo>
                <a:cubicBezTo>
                  <a:pt x="846780" y="496286"/>
                  <a:pt x="862561" y="513700"/>
                  <a:pt x="863649" y="534923"/>
                </a:cubicBezTo>
                <a:cubicBezTo>
                  <a:pt x="862017" y="556690"/>
                  <a:pt x="845147" y="571927"/>
                  <a:pt x="825557" y="571383"/>
                </a:cubicBezTo>
                <a:cubicBezTo>
                  <a:pt x="805422" y="570838"/>
                  <a:pt x="788553" y="555057"/>
                  <a:pt x="788553" y="534379"/>
                </a:cubicBezTo>
                <a:cubicBezTo>
                  <a:pt x="788553" y="514244"/>
                  <a:pt x="804334" y="497375"/>
                  <a:pt x="825557" y="496830"/>
                </a:cubicBezTo>
                <a:close/>
                <a:moveTo>
                  <a:pt x="989898" y="494110"/>
                </a:moveTo>
                <a:cubicBezTo>
                  <a:pt x="1012209" y="494654"/>
                  <a:pt x="1029622" y="513156"/>
                  <a:pt x="1029078" y="534923"/>
                </a:cubicBezTo>
                <a:cubicBezTo>
                  <a:pt x="1028534" y="556146"/>
                  <a:pt x="1010576" y="574104"/>
                  <a:pt x="989353" y="574104"/>
                </a:cubicBezTo>
                <a:cubicBezTo>
                  <a:pt x="969763" y="574648"/>
                  <a:pt x="947452" y="556690"/>
                  <a:pt x="949629" y="533835"/>
                </a:cubicBezTo>
                <a:cubicBezTo>
                  <a:pt x="947996" y="512068"/>
                  <a:pt x="968675" y="494110"/>
                  <a:pt x="989898" y="494110"/>
                </a:cubicBezTo>
                <a:close/>
                <a:moveTo>
                  <a:pt x="1152062" y="490301"/>
                </a:moveTo>
                <a:cubicBezTo>
                  <a:pt x="1174917" y="490301"/>
                  <a:pt x="1196140" y="509347"/>
                  <a:pt x="1196140" y="533835"/>
                </a:cubicBezTo>
                <a:cubicBezTo>
                  <a:pt x="1197228" y="558867"/>
                  <a:pt x="1173829" y="577913"/>
                  <a:pt x="1152606" y="577369"/>
                </a:cubicBezTo>
                <a:cubicBezTo>
                  <a:pt x="1130839" y="577369"/>
                  <a:pt x="1109616" y="556690"/>
                  <a:pt x="1109072" y="534379"/>
                </a:cubicBezTo>
                <a:cubicBezTo>
                  <a:pt x="1108528" y="510980"/>
                  <a:pt x="1128662" y="490301"/>
                  <a:pt x="1152062" y="490301"/>
                </a:cubicBezTo>
                <a:close/>
                <a:moveTo>
                  <a:pt x="1316947" y="489212"/>
                </a:moveTo>
                <a:cubicBezTo>
                  <a:pt x="1343612" y="489756"/>
                  <a:pt x="1361570" y="510435"/>
                  <a:pt x="1361570" y="534923"/>
                </a:cubicBezTo>
                <a:cubicBezTo>
                  <a:pt x="1361570" y="560499"/>
                  <a:pt x="1341980" y="580090"/>
                  <a:pt x="1315859" y="580090"/>
                </a:cubicBezTo>
                <a:cubicBezTo>
                  <a:pt x="1291915" y="580090"/>
                  <a:pt x="1269060" y="560499"/>
                  <a:pt x="1270693" y="533835"/>
                </a:cubicBezTo>
                <a:cubicBezTo>
                  <a:pt x="1269604" y="508258"/>
                  <a:pt x="1291371" y="488124"/>
                  <a:pt x="1316947" y="489212"/>
                </a:cubicBezTo>
                <a:close/>
                <a:moveTo>
                  <a:pt x="1479112" y="484315"/>
                </a:moveTo>
                <a:cubicBezTo>
                  <a:pt x="1503599" y="484315"/>
                  <a:pt x="1528087" y="508259"/>
                  <a:pt x="1528087" y="533835"/>
                </a:cubicBezTo>
                <a:cubicBezTo>
                  <a:pt x="1528087" y="558867"/>
                  <a:pt x="1506865" y="582267"/>
                  <a:pt x="1479656" y="582267"/>
                </a:cubicBezTo>
                <a:cubicBezTo>
                  <a:pt x="1453535" y="582267"/>
                  <a:pt x="1431224" y="560500"/>
                  <a:pt x="1431224" y="533835"/>
                </a:cubicBezTo>
                <a:cubicBezTo>
                  <a:pt x="1430680" y="506626"/>
                  <a:pt x="1454624" y="485403"/>
                  <a:pt x="1479112" y="484315"/>
                </a:cubicBezTo>
                <a:close/>
                <a:moveTo>
                  <a:pt x="1643452" y="484314"/>
                </a:moveTo>
                <a:cubicBezTo>
                  <a:pt x="1667396" y="481049"/>
                  <a:pt x="1693517" y="509891"/>
                  <a:pt x="1692973" y="534923"/>
                </a:cubicBezTo>
                <a:cubicBezTo>
                  <a:pt x="1692428" y="558867"/>
                  <a:pt x="1669573" y="584987"/>
                  <a:pt x="1641276" y="583898"/>
                </a:cubicBezTo>
                <a:cubicBezTo>
                  <a:pt x="1616788" y="583354"/>
                  <a:pt x="1592300" y="562676"/>
                  <a:pt x="1592300" y="532202"/>
                </a:cubicBezTo>
                <a:cubicBezTo>
                  <a:pt x="1592300" y="509891"/>
                  <a:pt x="1615155" y="481049"/>
                  <a:pt x="1643452" y="484314"/>
                </a:cubicBezTo>
                <a:close/>
                <a:moveTo>
                  <a:pt x="1806162" y="481594"/>
                </a:moveTo>
                <a:cubicBezTo>
                  <a:pt x="1839901" y="484859"/>
                  <a:pt x="1858947" y="504993"/>
                  <a:pt x="1857858" y="536011"/>
                </a:cubicBezTo>
                <a:cubicBezTo>
                  <a:pt x="1855682" y="568662"/>
                  <a:pt x="1834459" y="584987"/>
                  <a:pt x="1803441" y="586075"/>
                </a:cubicBezTo>
                <a:cubicBezTo>
                  <a:pt x="1775144" y="584443"/>
                  <a:pt x="1751744" y="559955"/>
                  <a:pt x="1753377" y="533290"/>
                </a:cubicBezTo>
                <a:cubicBezTo>
                  <a:pt x="1755009" y="504993"/>
                  <a:pt x="1780041" y="479417"/>
                  <a:pt x="1806162" y="481594"/>
                </a:cubicBezTo>
                <a:close/>
                <a:moveTo>
                  <a:pt x="1968326" y="480505"/>
                </a:moveTo>
                <a:cubicBezTo>
                  <a:pt x="1998256" y="483226"/>
                  <a:pt x="2020023" y="501728"/>
                  <a:pt x="2022200" y="534379"/>
                </a:cubicBezTo>
                <a:cubicBezTo>
                  <a:pt x="2023832" y="560499"/>
                  <a:pt x="1996079" y="588252"/>
                  <a:pt x="1969415" y="588252"/>
                </a:cubicBezTo>
                <a:cubicBezTo>
                  <a:pt x="1943294" y="588796"/>
                  <a:pt x="1916085" y="561587"/>
                  <a:pt x="1915541" y="534923"/>
                </a:cubicBezTo>
                <a:cubicBezTo>
                  <a:pt x="1914453" y="508258"/>
                  <a:pt x="1941117" y="480505"/>
                  <a:pt x="1968326" y="480505"/>
                </a:cubicBezTo>
                <a:close/>
                <a:moveTo>
                  <a:pt x="91464" y="440780"/>
                </a:moveTo>
                <a:cubicBezTo>
                  <a:pt x="99082" y="440780"/>
                  <a:pt x="102347" y="443501"/>
                  <a:pt x="102891" y="451664"/>
                </a:cubicBezTo>
                <a:cubicBezTo>
                  <a:pt x="102891" y="460915"/>
                  <a:pt x="100171" y="464179"/>
                  <a:pt x="92008" y="464179"/>
                </a:cubicBezTo>
                <a:cubicBezTo>
                  <a:pt x="83301" y="464179"/>
                  <a:pt x="80036" y="461459"/>
                  <a:pt x="80036" y="452752"/>
                </a:cubicBezTo>
                <a:cubicBezTo>
                  <a:pt x="80036" y="444045"/>
                  <a:pt x="83301" y="440780"/>
                  <a:pt x="91464" y="440780"/>
                </a:cubicBezTo>
                <a:close/>
                <a:moveTo>
                  <a:pt x="254172" y="430441"/>
                </a:moveTo>
                <a:cubicBezTo>
                  <a:pt x="263967" y="430441"/>
                  <a:pt x="276483" y="440236"/>
                  <a:pt x="275939" y="452208"/>
                </a:cubicBezTo>
                <a:cubicBezTo>
                  <a:pt x="275939" y="463092"/>
                  <a:pt x="265600" y="473975"/>
                  <a:pt x="254716" y="473975"/>
                </a:cubicBezTo>
                <a:cubicBezTo>
                  <a:pt x="244377" y="473975"/>
                  <a:pt x="232949" y="463092"/>
                  <a:pt x="232405" y="452752"/>
                </a:cubicBezTo>
                <a:cubicBezTo>
                  <a:pt x="232405" y="442413"/>
                  <a:pt x="243833" y="430985"/>
                  <a:pt x="254172" y="430441"/>
                </a:cubicBezTo>
                <a:close/>
                <a:moveTo>
                  <a:pt x="417969" y="424999"/>
                </a:moveTo>
                <a:cubicBezTo>
                  <a:pt x="432118" y="424999"/>
                  <a:pt x="444634" y="438059"/>
                  <a:pt x="444634" y="452752"/>
                </a:cubicBezTo>
                <a:cubicBezTo>
                  <a:pt x="445178" y="464180"/>
                  <a:pt x="432662" y="481049"/>
                  <a:pt x="417425" y="479417"/>
                </a:cubicBezTo>
                <a:cubicBezTo>
                  <a:pt x="405453" y="481049"/>
                  <a:pt x="389672" y="465268"/>
                  <a:pt x="390760" y="452208"/>
                </a:cubicBezTo>
                <a:cubicBezTo>
                  <a:pt x="391849" y="437515"/>
                  <a:pt x="403276" y="424999"/>
                  <a:pt x="417969" y="424999"/>
                </a:cubicBezTo>
                <a:close/>
                <a:moveTo>
                  <a:pt x="580677" y="419558"/>
                </a:moveTo>
                <a:cubicBezTo>
                  <a:pt x="596458" y="419013"/>
                  <a:pt x="612783" y="434795"/>
                  <a:pt x="612783" y="452208"/>
                </a:cubicBezTo>
                <a:cubicBezTo>
                  <a:pt x="612783" y="469622"/>
                  <a:pt x="599723" y="483226"/>
                  <a:pt x="581221" y="484315"/>
                </a:cubicBezTo>
                <a:cubicBezTo>
                  <a:pt x="561087" y="482138"/>
                  <a:pt x="549659" y="470710"/>
                  <a:pt x="549115" y="452208"/>
                </a:cubicBezTo>
                <a:cubicBezTo>
                  <a:pt x="548571" y="433162"/>
                  <a:pt x="564352" y="420102"/>
                  <a:pt x="580677" y="419558"/>
                </a:cubicBezTo>
                <a:close/>
                <a:moveTo>
                  <a:pt x="743931" y="415748"/>
                </a:moveTo>
                <a:cubicBezTo>
                  <a:pt x="761888" y="414660"/>
                  <a:pt x="779846" y="432618"/>
                  <a:pt x="780390" y="452208"/>
                </a:cubicBezTo>
                <a:cubicBezTo>
                  <a:pt x="780934" y="471254"/>
                  <a:pt x="764065" y="488668"/>
                  <a:pt x="744475" y="489212"/>
                </a:cubicBezTo>
                <a:cubicBezTo>
                  <a:pt x="727061" y="489212"/>
                  <a:pt x="709103" y="472342"/>
                  <a:pt x="708559" y="453840"/>
                </a:cubicBezTo>
                <a:cubicBezTo>
                  <a:pt x="707471" y="435883"/>
                  <a:pt x="725428" y="416836"/>
                  <a:pt x="743931" y="415748"/>
                </a:cubicBezTo>
                <a:close/>
                <a:moveTo>
                  <a:pt x="908271" y="414116"/>
                </a:moveTo>
                <a:cubicBezTo>
                  <a:pt x="927861" y="411395"/>
                  <a:pt x="946907" y="431529"/>
                  <a:pt x="946363" y="453296"/>
                </a:cubicBezTo>
                <a:cubicBezTo>
                  <a:pt x="946363" y="473975"/>
                  <a:pt x="927317" y="491933"/>
                  <a:pt x="906638" y="491933"/>
                </a:cubicBezTo>
                <a:cubicBezTo>
                  <a:pt x="887048" y="491933"/>
                  <a:pt x="866913" y="473431"/>
                  <a:pt x="868546" y="452208"/>
                </a:cubicBezTo>
                <a:cubicBezTo>
                  <a:pt x="870179" y="428808"/>
                  <a:pt x="884871" y="413571"/>
                  <a:pt x="908271" y="414116"/>
                </a:cubicBezTo>
                <a:close/>
                <a:moveTo>
                  <a:pt x="1072068" y="409218"/>
                </a:moveTo>
                <a:cubicBezTo>
                  <a:pt x="1097100" y="410307"/>
                  <a:pt x="1113970" y="427720"/>
                  <a:pt x="1113970" y="452752"/>
                </a:cubicBezTo>
                <a:cubicBezTo>
                  <a:pt x="1113970" y="478329"/>
                  <a:pt x="1092203" y="495198"/>
                  <a:pt x="1070436" y="495198"/>
                </a:cubicBezTo>
                <a:cubicBezTo>
                  <a:pt x="1048124" y="494654"/>
                  <a:pt x="1027446" y="475063"/>
                  <a:pt x="1028534" y="451120"/>
                </a:cubicBezTo>
                <a:cubicBezTo>
                  <a:pt x="1029622" y="427720"/>
                  <a:pt x="1048669" y="408130"/>
                  <a:pt x="1072068" y="409218"/>
                </a:cubicBezTo>
                <a:close/>
                <a:moveTo>
                  <a:pt x="1235865" y="408130"/>
                </a:moveTo>
                <a:cubicBezTo>
                  <a:pt x="1258721" y="405953"/>
                  <a:pt x="1279400" y="427176"/>
                  <a:pt x="1279400" y="453296"/>
                </a:cubicBezTo>
                <a:cubicBezTo>
                  <a:pt x="1278855" y="478328"/>
                  <a:pt x="1258177" y="497374"/>
                  <a:pt x="1233689" y="497374"/>
                </a:cubicBezTo>
                <a:cubicBezTo>
                  <a:pt x="1209745" y="496830"/>
                  <a:pt x="1189066" y="476151"/>
                  <a:pt x="1189611" y="451664"/>
                </a:cubicBezTo>
                <a:cubicBezTo>
                  <a:pt x="1189611" y="429352"/>
                  <a:pt x="1209201" y="404864"/>
                  <a:pt x="1235865" y="408130"/>
                </a:cubicBezTo>
                <a:close/>
                <a:moveTo>
                  <a:pt x="1396941" y="403776"/>
                </a:moveTo>
                <a:cubicBezTo>
                  <a:pt x="1425238" y="403232"/>
                  <a:pt x="1445373" y="423911"/>
                  <a:pt x="1446461" y="450575"/>
                </a:cubicBezTo>
                <a:cubicBezTo>
                  <a:pt x="1447005" y="476696"/>
                  <a:pt x="1426327" y="500096"/>
                  <a:pt x="1399118" y="500640"/>
                </a:cubicBezTo>
                <a:cubicBezTo>
                  <a:pt x="1372453" y="501184"/>
                  <a:pt x="1349598" y="479961"/>
                  <a:pt x="1349598" y="453296"/>
                </a:cubicBezTo>
                <a:cubicBezTo>
                  <a:pt x="1349598" y="424999"/>
                  <a:pt x="1370277" y="404865"/>
                  <a:pt x="1396941" y="403776"/>
                </a:cubicBezTo>
                <a:close/>
                <a:moveTo>
                  <a:pt x="1560738" y="402144"/>
                </a:moveTo>
                <a:cubicBezTo>
                  <a:pt x="1588491" y="402144"/>
                  <a:pt x="1611347" y="427176"/>
                  <a:pt x="1611347" y="453297"/>
                </a:cubicBezTo>
                <a:cubicBezTo>
                  <a:pt x="1610803" y="476152"/>
                  <a:pt x="1590668" y="502817"/>
                  <a:pt x="1560194" y="502272"/>
                </a:cubicBezTo>
                <a:cubicBezTo>
                  <a:pt x="1534074" y="501728"/>
                  <a:pt x="1508498" y="479961"/>
                  <a:pt x="1511218" y="451664"/>
                </a:cubicBezTo>
                <a:cubicBezTo>
                  <a:pt x="1508498" y="425544"/>
                  <a:pt x="1534618" y="402144"/>
                  <a:pt x="1560738" y="402144"/>
                </a:cubicBezTo>
                <a:close/>
                <a:moveTo>
                  <a:pt x="1723991" y="399423"/>
                </a:moveTo>
                <a:cubicBezTo>
                  <a:pt x="1756097" y="402688"/>
                  <a:pt x="1777320" y="422278"/>
                  <a:pt x="1776776" y="452752"/>
                </a:cubicBezTo>
                <a:cubicBezTo>
                  <a:pt x="1776232" y="483226"/>
                  <a:pt x="1757730" y="501728"/>
                  <a:pt x="1725079" y="504993"/>
                </a:cubicBezTo>
                <a:cubicBezTo>
                  <a:pt x="1697870" y="507714"/>
                  <a:pt x="1670117" y="479961"/>
                  <a:pt x="1671750" y="452752"/>
                </a:cubicBezTo>
                <a:cubicBezTo>
                  <a:pt x="1673382" y="420102"/>
                  <a:pt x="1692428" y="403232"/>
                  <a:pt x="1723991" y="399423"/>
                </a:cubicBezTo>
                <a:close/>
                <a:moveTo>
                  <a:pt x="2051040" y="398335"/>
                </a:moveTo>
                <a:lnTo>
                  <a:pt x="2051041" y="398335"/>
                </a:lnTo>
                <a:lnTo>
                  <a:pt x="2051041" y="506936"/>
                </a:lnTo>
                <a:lnTo>
                  <a:pt x="2049952" y="507170"/>
                </a:lnTo>
                <a:cubicBezTo>
                  <a:pt x="2020566" y="506626"/>
                  <a:pt x="1995534" y="481593"/>
                  <a:pt x="1995534" y="452208"/>
                </a:cubicBezTo>
                <a:cubicBezTo>
                  <a:pt x="1996078" y="424455"/>
                  <a:pt x="2021655" y="397246"/>
                  <a:pt x="2051040" y="398335"/>
                </a:cubicBezTo>
                <a:close/>
                <a:moveTo>
                  <a:pt x="1888332" y="398335"/>
                </a:moveTo>
                <a:cubicBezTo>
                  <a:pt x="1915541" y="398879"/>
                  <a:pt x="1941661" y="423911"/>
                  <a:pt x="1941661" y="452208"/>
                </a:cubicBezTo>
                <a:cubicBezTo>
                  <a:pt x="1941661" y="481594"/>
                  <a:pt x="1916085" y="507170"/>
                  <a:pt x="1886699" y="506082"/>
                </a:cubicBezTo>
                <a:cubicBezTo>
                  <a:pt x="1857314" y="505538"/>
                  <a:pt x="1833914" y="481594"/>
                  <a:pt x="1833370" y="452208"/>
                </a:cubicBezTo>
                <a:cubicBezTo>
                  <a:pt x="1833370" y="423911"/>
                  <a:pt x="1860035" y="398335"/>
                  <a:pt x="1888332" y="398335"/>
                </a:cubicBezTo>
                <a:close/>
                <a:moveTo>
                  <a:pt x="12014" y="364052"/>
                </a:moveTo>
                <a:cubicBezTo>
                  <a:pt x="13102" y="365140"/>
                  <a:pt x="15279" y="367317"/>
                  <a:pt x="15823" y="370038"/>
                </a:cubicBezTo>
                <a:cubicBezTo>
                  <a:pt x="16911" y="374391"/>
                  <a:pt x="14191" y="377656"/>
                  <a:pt x="9293" y="377656"/>
                </a:cubicBezTo>
                <a:cubicBezTo>
                  <a:pt x="4940" y="377656"/>
                  <a:pt x="3307" y="374936"/>
                  <a:pt x="3307" y="371126"/>
                </a:cubicBezTo>
                <a:cubicBezTo>
                  <a:pt x="3307" y="367317"/>
                  <a:pt x="4940" y="364052"/>
                  <a:pt x="12014" y="364052"/>
                </a:cubicBezTo>
                <a:close/>
                <a:moveTo>
                  <a:pt x="172545" y="353713"/>
                </a:moveTo>
                <a:cubicBezTo>
                  <a:pt x="184517" y="353713"/>
                  <a:pt x="190503" y="359154"/>
                  <a:pt x="190503" y="370582"/>
                </a:cubicBezTo>
                <a:cubicBezTo>
                  <a:pt x="190503" y="381466"/>
                  <a:pt x="184517" y="387996"/>
                  <a:pt x="173090" y="387996"/>
                </a:cubicBezTo>
                <a:cubicBezTo>
                  <a:pt x="163839" y="388540"/>
                  <a:pt x="155676" y="381466"/>
                  <a:pt x="155676" y="371126"/>
                </a:cubicBezTo>
                <a:cubicBezTo>
                  <a:pt x="155676" y="362419"/>
                  <a:pt x="161662" y="352080"/>
                  <a:pt x="172545" y="353713"/>
                </a:cubicBezTo>
                <a:close/>
                <a:moveTo>
                  <a:pt x="336886" y="345550"/>
                </a:moveTo>
                <a:cubicBezTo>
                  <a:pt x="350490" y="346094"/>
                  <a:pt x="362462" y="358610"/>
                  <a:pt x="361374" y="371670"/>
                </a:cubicBezTo>
                <a:cubicBezTo>
                  <a:pt x="360286" y="385275"/>
                  <a:pt x="348858" y="395614"/>
                  <a:pt x="335798" y="395070"/>
                </a:cubicBezTo>
                <a:cubicBezTo>
                  <a:pt x="319472" y="394526"/>
                  <a:pt x="311854" y="381466"/>
                  <a:pt x="311854" y="370038"/>
                </a:cubicBezTo>
                <a:cubicBezTo>
                  <a:pt x="311854" y="356978"/>
                  <a:pt x="324370" y="345550"/>
                  <a:pt x="336886" y="345550"/>
                </a:cubicBezTo>
                <a:close/>
                <a:moveTo>
                  <a:pt x="499596" y="342284"/>
                </a:moveTo>
                <a:cubicBezTo>
                  <a:pt x="518642" y="341196"/>
                  <a:pt x="528437" y="354256"/>
                  <a:pt x="528437" y="370582"/>
                </a:cubicBezTo>
                <a:cubicBezTo>
                  <a:pt x="528437" y="386363"/>
                  <a:pt x="518642" y="399967"/>
                  <a:pt x="499051" y="399423"/>
                </a:cubicBezTo>
                <a:cubicBezTo>
                  <a:pt x="481094" y="399423"/>
                  <a:pt x="470210" y="387995"/>
                  <a:pt x="470210" y="370037"/>
                </a:cubicBezTo>
                <a:cubicBezTo>
                  <a:pt x="470754" y="352624"/>
                  <a:pt x="481638" y="341740"/>
                  <a:pt x="499596" y="342284"/>
                </a:cubicBezTo>
                <a:close/>
                <a:moveTo>
                  <a:pt x="663392" y="337387"/>
                </a:moveTo>
                <a:cubicBezTo>
                  <a:pt x="680262" y="337387"/>
                  <a:pt x="697675" y="354801"/>
                  <a:pt x="697131" y="371126"/>
                </a:cubicBezTo>
                <a:cubicBezTo>
                  <a:pt x="696043" y="390172"/>
                  <a:pt x="682982" y="404321"/>
                  <a:pt x="662304" y="404321"/>
                </a:cubicBezTo>
                <a:cubicBezTo>
                  <a:pt x="643258" y="405953"/>
                  <a:pt x="629109" y="389084"/>
                  <a:pt x="629109" y="371126"/>
                </a:cubicBezTo>
                <a:cubicBezTo>
                  <a:pt x="629109" y="352624"/>
                  <a:pt x="645434" y="337387"/>
                  <a:pt x="663392" y="337387"/>
                </a:cubicBezTo>
                <a:close/>
                <a:moveTo>
                  <a:pt x="825556" y="332489"/>
                </a:moveTo>
                <a:cubicBezTo>
                  <a:pt x="847323" y="333577"/>
                  <a:pt x="864193" y="349358"/>
                  <a:pt x="864737" y="370037"/>
                </a:cubicBezTo>
                <a:cubicBezTo>
                  <a:pt x="864193" y="391260"/>
                  <a:pt x="847323" y="409218"/>
                  <a:pt x="826645" y="409218"/>
                </a:cubicBezTo>
                <a:cubicBezTo>
                  <a:pt x="808687" y="412483"/>
                  <a:pt x="788008" y="387995"/>
                  <a:pt x="787464" y="371126"/>
                </a:cubicBezTo>
                <a:cubicBezTo>
                  <a:pt x="787464" y="353712"/>
                  <a:pt x="808687" y="331945"/>
                  <a:pt x="825556" y="332489"/>
                </a:cubicBezTo>
                <a:close/>
                <a:moveTo>
                  <a:pt x="989898" y="328680"/>
                </a:moveTo>
                <a:cubicBezTo>
                  <a:pt x="1013297" y="329224"/>
                  <a:pt x="1030167" y="347182"/>
                  <a:pt x="1031255" y="371126"/>
                </a:cubicBezTo>
                <a:cubicBezTo>
                  <a:pt x="1029623" y="396702"/>
                  <a:pt x="1010576" y="413027"/>
                  <a:pt x="989354" y="413027"/>
                </a:cubicBezTo>
                <a:cubicBezTo>
                  <a:pt x="964866" y="412483"/>
                  <a:pt x="946908" y="393981"/>
                  <a:pt x="947452" y="370037"/>
                </a:cubicBezTo>
                <a:cubicBezTo>
                  <a:pt x="947996" y="346094"/>
                  <a:pt x="964866" y="328680"/>
                  <a:pt x="989898" y="328680"/>
                </a:cubicBezTo>
                <a:close/>
                <a:moveTo>
                  <a:pt x="1153150" y="326504"/>
                </a:moveTo>
                <a:cubicBezTo>
                  <a:pt x="1177094" y="326504"/>
                  <a:pt x="1197228" y="347727"/>
                  <a:pt x="1197228" y="370582"/>
                </a:cubicBezTo>
                <a:cubicBezTo>
                  <a:pt x="1197228" y="392894"/>
                  <a:pt x="1176550" y="417925"/>
                  <a:pt x="1152606" y="414661"/>
                </a:cubicBezTo>
                <a:cubicBezTo>
                  <a:pt x="1130295" y="417925"/>
                  <a:pt x="1107984" y="393982"/>
                  <a:pt x="1108528" y="370038"/>
                </a:cubicBezTo>
                <a:cubicBezTo>
                  <a:pt x="1109072" y="347727"/>
                  <a:pt x="1129751" y="326504"/>
                  <a:pt x="1153150" y="326504"/>
                </a:cubicBezTo>
                <a:close/>
                <a:moveTo>
                  <a:pt x="1317492" y="323239"/>
                </a:moveTo>
                <a:cubicBezTo>
                  <a:pt x="1341979" y="322151"/>
                  <a:pt x="1367012" y="348271"/>
                  <a:pt x="1364835" y="372215"/>
                </a:cubicBezTo>
                <a:cubicBezTo>
                  <a:pt x="1361026" y="399968"/>
                  <a:pt x="1344700" y="416837"/>
                  <a:pt x="1314771" y="419014"/>
                </a:cubicBezTo>
                <a:cubicBezTo>
                  <a:pt x="1286474" y="415205"/>
                  <a:pt x="1267972" y="398879"/>
                  <a:pt x="1268516" y="370582"/>
                </a:cubicBezTo>
                <a:cubicBezTo>
                  <a:pt x="1268516" y="341197"/>
                  <a:pt x="1288650" y="324327"/>
                  <a:pt x="1317492" y="323239"/>
                </a:cubicBezTo>
                <a:close/>
                <a:moveTo>
                  <a:pt x="1479112" y="320517"/>
                </a:moveTo>
                <a:cubicBezTo>
                  <a:pt x="1503600" y="319973"/>
                  <a:pt x="1530265" y="343917"/>
                  <a:pt x="1529720" y="371670"/>
                </a:cubicBezTo>
                <a:cubicBezTo>
                  <a:pt x="1528632" y="395069"/>
                  <a:pt x="1506321" y="423366"/>
                  <a:pt x="1478568" y="420101"/>
                </a:cubicBezTo>
                <a:cubicBezTo>
                  <a:pt x="1452447" y="422822"/>
                  <a:pt x="1429592" y="397246"/>
                  <a:pt x="1429592" y="370037"/>
                </a:cubicBezTo>
                <a:cubicBezTo>
                  <a:pt x="1429592" y="342284"/>
                  <a:pt x="1455713" y="320517"/>
                  <a:pt x="1479112" y="320517"/>
                </a:cubicBezTo>
                <a:close/>
                <a:moveTo>
                  <a:pt x="1642364" y="318341"/>
                </a:moveTo>
                <a:cubicBezTo>
                  <a:pt x="1670661" y="318341"/>
                  <a:pt x="1692973" y="339020"/>
                  <a:pt x="1695694" y="370582"/>
                </a:cubicBezTo>
                <a:cubicBezTo>
                  <a:pt x="1696238" y="397791"/>
                  <a:pt x="1671206" y="423367"/>
                  <a:pt x="1643453" y="424455"/>
                </a:cubicBezTo>
                <a:cubicBezTo>
                  <a:pt x="1616788" y="425544"/>
                  <a:pt x="1589035" y="398335"/>
                  <a:pt x="1589035" y="371670"/>
                </a:cubicBezTo>
                <a:cubicBezTo>
                  <a:pt x="1589035" y="345006"/>
                  <a:pt x="1615155" y="317797"/>
                  <a:pt x="1642364" y="318341"/>
                </a:cubicBezTo>
                <a:close/>
                <a:moveTo>
                  <a:pt x="90919" y="273718"/>
                </a:moveTo>
                <a:cubicBezTo>
                  <a:pt x="96361" y="273174"/>
                  <a:pt x="106156" y="282425"/>
                  <a:pt x="106700" y="288411"/>
                </a:cubicBezTo>
                <a:cubicBezTo>
                  <a:pt x="106700" y="294941"/>
                  <a:pt x="97993" y="303648"/>
                  <a:pt x="91463" y="303648"/>
                </a:cubicBezTo>
                <a:cubicBezTo>
                  <a:pt x="84933" y="303648"/>
                  <a:pt x="76226" y="294941"/>
                  <a:pt x="76770" y="288411"/>
                </a:cubicBezTo>
                <a:cubicBezTo>
                  <a:pt x="76770" y="283513"/>
                  <a:pt x="86021" y="274262"/>
                  <a:pt x="90919" y="273718"/>
                </a:cubicBezTo>
                <a:close/>
                <a:moveTo>
                  <a:pt x="254716" y="267733"/>
                </a:moveTo>
                <a:cubicBezTo>
                  <a:pt x="267776" y="267733"/>
                  <a:pt x="276483" y="276440"/>
                  <a:pt x="276483" y="288956"/>
                </a:cubicBezTo>
                <a:cubicBezTo>
                  <a:pt x="276483" y="301472"/>
                  <a:pt x="266688" y="311811"/>
                  <a:pt x="254172" y="311811"/>
                </a:cubicBezTo>
                <a:cubicBezTo>
                  <a:pt x="243289" y="311811"/>
                  <a:pt x="232405" y="300384"/>
                  <a:pt x="232405" y="289500"/>
                </a:cubicBezTo>
                <a:cubicBezTo>
                  <a:pt x="232405" y="276984"/>
                  <a:pt x="242744" y="267733"/>
                  <a:pt x="254716" y="267733"/>
                </a:cubicBezTo>
                <a:close/>
                <a:moveTo>
                  <a:pt x="1941117" y="263202"/>
                </a:moveTo>
                <a:cubicBezTo>
                  <a:pt x="1937852" y="261570"/>
                  <a:pt x="1936219" y="263202"/>
                  <a:pt x="1936219" y="266467"/>
                </a:cubicBezTo>
                <a:cubicBezTo>
                  <a:pt x="1936763" y="268644"/>
                  <a:pt x="1937852" y="270276"/>
                  <a:pt x="1938396" y="272453"/>
                </a:cubicBezTo>
                <a:cubicBezTo>
                  <a:pt x="1944382" y="290955"/>
                  <a:pt x="1943838" y="308913"/>
                  <a:pt x="1932954" y="325782"/>
                </a:cubicBezTo>
                <a:cubicBezTo>
                  <a:pt x="1931866" y="327415"/>
                  <a:pt x="1931866" y="329047"/>
                  <a:pt x="1930777" y="331224"/>
                </a:cubicBezTo>
                <a:cubicBezTo>
                  <a:pt x="1932410" y="331224"/>
                  <a:pt x="1935131" y="331224"/>
                  <a:pt x="1936219" y="330136"/>
                </a:cubicBezTo>
                <a:cubicBezTo>
                  <a:pt x="1945470" y="323061"/>
                  <a:pt x="1955265" y="320885"/>
                  <a:pt x="1966693" y="320340"/>
                </a:cubicBezTo>
                <a:cubicBezTo>
                  <a:pt x="1978121" y="319796"/>
                  <a:pt x="1989004" y="323061"/>
                  <a:pt x="1998799" y="328503"/>
                </a:cubicBezTo>
                <a:cubicBezTo>
                  <a:pt x="2000432" y="329047"/>
                  <a:pt x="2001520" y="329592"/>
                  <a:pt x="2003153" y="330136"/>
                </a:cubicBezTo>
                <a:cubicBezTo>
                  <a:pt x="2002609" y="328503"/>
                  <a:pt x="2002609" y="326326"/>
                  <a:pt x="2001520" y="324694"/>
                </a:cubicBezTo>
                <a:cubicBezTo>
                  <a:pt x="1999344" y="319796"/>
                  <a:pt x="1995534" y="314899"/>
                  <a:pt x="1994446" y="309457"/>
                </a:cubicBezTo>
                <a:cubicBezTo>
                  <a:pt x="1992269" y="295308"/>
                  <a:pt x="1990093" y="281160"/>
                  <a:pt x="1998255" y="267555"/>
                </a:cubicBezTo>
                <a:cubicBezTo>
                  <a:pt x="2000432" y="267555"/>
                  <a:pt x="2000432" y="265923"/>
                  <a:pt x="2000976" y="263746"/>
                </a:cubicBezTo>
                <a:cubicBezTo>
                  <a:pt x="1998799" y="263746"/>
                  <a:pt x="1996623" y="262658"/>
                  <a:pt x="1995534" y="263746"/>
                </a:cubicBezTo>
                <a:cubicBezTo>
                  <a:pt x="1977577" y="272997"/>
                  <a:pt x="1959075" y="272997"/>
                  <a:pt x="1941117" y="263202"/>
                </a:cubicBezTo>
                <a:close/>
                <a:moveTo>
                  <a:pt x="417425" y="262291"/>
                </a:moveTo>
                <a:cubicBezTo>
                  <a:pt x="434839" y="262291"/>
                  <a:pt x="445178" y="272086"/>
                  <a:pt x="445178" y="288956"/>
                </a:cubicBezTo>
                <a:cubicBezTo>
                  <a:pt x="445178" y="305825"/>
                  <a:pt x="434839" y="316164"/>
                  <a:pt x="417969" y="317253"/>
                </a:cubicBezTo>
                <a:cubicBezTo>
                  <a:pt x="404909" y="317797"/>
                  <a:pt x="389672" y="306369"/>
                  <a:pt x="390216" y="290044"/>
                </a:cubicBezTo>
                <a:cubicBezTo>
                  <a:pt x="391305" y="272086"/>
                  <a:pt x="400011" y="262291"/>
                  <a:pt x="417425" y="262291"/>
                </a:cubicBezTo>
                <a:close/>
                <a:moveTo>
                  <a:pt x="580678" y="256304"/>
                </a:moveTo>
                <a:cubicBezTo>
                  <a:pt x="596459" y="255760"/>
                  <a:pt x="616049" y="273174"/>
                  <a:pt x="613872" y="288955"/>
                </a:cubicBezTo>
                <a:cubicBezTo>
                  <a:pt x="615505" y="304736"/>
                  <a:pt x="598635" y="322150"/>
                  <a:pt x="581222" y="322150"/>
                </a:cubicBezTo>
                <a:cubicBezTo>
                  <a:pt x="564352" y="322150"/>
                  <a:pt x="548571" y="308001"/>
                  <a:pt x="548027" y="289499"/>
                </a:cubicBezTo>
                <a:cubicBezTo>
                  <a:pt x="547483" y="272086"/>
                  <a:pt x="565441" y="256849"/>
                  <a:pt x="580678" y="256304"/>
                </a:cubicBezTo>
                <a:close/>
                <a:moveTo>
                  <a:pt x="743930" y="251951"/>
                </a:moveTo>
                <a:cubicBezTo>
                  <a:pt x="764609" y="251951"/>
                  <a:pt x="782566" y="268820"/>
                  <a:pt x="782022" y="289499"/>
                </a:cubicBezTo>
                <a:cubicBezTo>
                  <a:pt x="781478" y="311266"/>
                  <a:pt x="765153" y="326503"/>
                  <a:pt x="744474" y="326503"/>
                </a:cubicBezTo>
                <a:cubicBezTo>
                  <a:pt x="723795" y="326503"/>
                  <a:pt x="708014" y="311266"/>
                  <a:pt x="707470" y="289499"/>
                </a:cubicBezTo>
                <a:cubicBezTo>
                  <a:pt x="706926" y="271541"/>
                  <a:pt x="722163" y="252495"/>
                  <a:pt x="743930" y="251951"/>
                </a:cubicBezTo>
                <a:close/>
                <a:moveTo>
                  <a:pt x="907183" y="249775"/>
                </a:moveTo>
                <a:cubicBezTo>
                  <a:pt x="929494" y="249775"/>
                  <a:pt x="946908" y="263924"/>
                  <a:pt x="947452" y="289500"/>
                </a:cubicBezTo>
                <a:cubicBezTo>
                  <a:pt x="947996" y="311811"/>
                  <a:pt x="931127" y="330313"/>
                  <a:pt x="908271" y="329225"/>
                </a:cubicBezTo>
                <a:cubicBezTo>
                  <a:pt x="885960" y="330857"/>
                  <a:pt x="868002" y="312355"/>
                  <a:pt x="867458" y="290044"/>
                </a:cubicBezTo>
                <a:cubicBezTo>
                  <a:pt x="867458" y="266100"/>
                  <a:pt x="884872" y="249775"/>
                  <a:pt x="907183" y="249775"/>
                </a:cubicBezTo>
                <a:close/>
                <a:moveTo>
                  <a:pt x="1070435" y="245965"/>
                </a:moveTo>
                <a:cubicBezTo>
                  <a:pt x="1093291" y="245421"/>
                  <a:pt x="1116146" y="264467"/>
                  <a:pt x="1114513" y="290043"/>
                </a:cubicBezTo>
                <a:cubicBezTo>
                  <a:pt x="1115602" y="312899"/>
                  <a:pt x="1092202" y="334122"/>
                  <a:pt x="1069347" y="333578"/>
                </a:cubicBezTo>
                <a:cubicBezTo>
                  <a:pt x="1047036" y="333034"/>
                  <a:pt x="1026357" y="311266"/>
                  <a:pt x="1026357" y="288955"/>
                </a:cubicBezTo>
                <a:cubicBezTo>
                  <a:pt x="1026901" y="268276"/>
                  <a:pt x="1045403" y="245965"/>
                  <a:pt x="1070435" y="245965"/>
                </a:cubicBezTo>
                <a:close/>
                <a:moveTo>
                  <a:pt x="1233689" y="241613"/>
                </a:moveTo>
                <a:cubicBezTo>
                  <a:pt x="1257632" y="241068"/>
                  <a:pt x="1281032" y="263924"/>
                  <a:pt x="1282120" y="288412"/>
                </a:cubicBezTo>
                <a:cubicBezTo>
                  <a:pt x="1282665" y="312900"/>
                  <a:pt x="1260898" y="336299"/>
                  <a:pt x="1235321" y="335755"/>
                </a:cubicBezTo>
                <a:cubicBezTo>
                  <a:pt x="1206480" y="335211"/>
                  <a:pt x="1190155" y="318886"/>
                  <a:pt x="1187434" y="289500"/>
                </a:cubicBezTo>
                <a:cubicBezTo>
                  <a:pt x="1184713" y="266100"/>
                  <a:pt x="1208657" y="242701"/>
                  <a:pt x="1233689" y="241613"/>
                </a:cubicBezTo>
                <a:close/>
                <a:moveTo>
                  <a:pt x="1397485" y="238891"/>
                </a:moveTo>
                <a:cubicBezTo>
                  <a:pt x="1421973" y="237259"/>
                  <a:pt x="1448638" y="264467"/>
                  <a:pt x="1448094" y="288955"/>
                </a:cubicBezTo>
                <a:cubicBezTo>
                  <a:pt x="1447005" y="312355"/>
                  <a:pt x="1424150" y="341196"/>
                  <a:pt x="1398029" y="338475"/>
                </a:cubicBezTo>
                <a:cubicBezTo>
                  <a:pt x="1372453" y="340652"/>
                  <a:pt x="1347421" y="315620"/>
                  <a:pt x="1348509" y="289499"/>
                </a:cubicBezTo>
                <a:cubicBezTo>
                  <a:pt x="1349598" y="261202"/>
                  <a:pt x="1369732" y="240524"/>
                  <a:pt x="1397485" y="238891"/>
                </a:cubicBezTo>
                <a:close/>
                <a:moveTo>
                  <a:pt x="1559650" y="237258"/>
                </a:moveTo>
                <a:cubicBezTo>
                  <a:pt x="1590668" y="236170"/>
                  <a:pt x="1611891" y="259570"/>
                  <a:pt x="1613523" y="288955"/>
                </a:cubicBezTo>
                <a:cubicBezTo>
                  <a:pt x="1613523" y="316164"/>
                  <a:pt x="1587403" y="342829"/>
                  <a:pt x="1560738" y="342829"/>
                </a:cubicBezTo>
                <a:cubicBezTo>
                  <a:pt x="1534618" y="342829"/>
                  <a:pt x="1505776" y="315620"/>
                  <a:pt x="1507953" y="289499"/>
                </a:cubicBezTo>
                <a:cubicBezTo>
                  <a:pt x="1510130" y="261202"/>
                  <a:pt x="1526455" y="238347"/>
                  <a:pt x="1559650" y="237258"/>
                </a:cubicBezTo>
                <a:close/>
                <a:moveTo>
                  <a:pt x="9837" y="198078"/>
                </a:moveTo>
                <a:cubicBezTo>
                  <a:pt x="14190" y="198078"/>
                  <a:pt x="19632" y="202976"/>
                  <a:pt x="19632" y="207873"/>
                </a:cubicBezTo>
                <a:cubicBezTo>
                  <a:pt x="19632" y="212227"/>
                  <a:pt x="14190" y="217668"/>
                  <a:pt x="10381" y="218213"/>
                </a:cubicBezTo>
                <a:cubicBezTo>
                  <a:pt x="5483" y="218757"/>
                  <a:pt x="-503" y="212771"/>
                  <a:pt x="42" y="207873"/>
                </a:cubicBezTo>
                <a:cubicBezTo>
                  <a:pt x="42" y="202976"/>
                  <a:pt x="5483" y="198078"/>
                  <a:pt x="9837" y="198078"/>
                </a:cubicBezTo>
                <a:close/>
                <a:moveTo>
                  <a:pt x="173090" y="187739"/>
                </a:moveTo>
                <a:cubicBezTo>
                  <a:pt x="183429" y="188283"/>
                  <a:pt x="192136" y="196990"/>
                  <a:pt x="192136" y="207329"/>
                </a:cubicBezTo>
                <a:cubicBezTo>
                  <a:pt x="192136" y="217669"/>
                  <a:pt x="182341" y="228008"/>
                  <a:pt x="172546" y="227464"/>
                </a:cubicBezTo>
                <a:cubicBezTo>
                  <a:pt x="163839" y="226920"/>
                  <a:pt x="154588" y="217669"/>
                  <a:pt x="154044" y="208418"/>
                </a:cubicBezTo>
                <a:cubicBezTo>
                  <a:pt x="153500" y="198078"/>
                  <a:pt x="162751" y="187739"/>
                  <a:pt x="173090" y="187739"/>
                </a:cubicBezTo>
                <a:close/>
                <a:moveTo>
                  <a:pt x="336887" y="182297"/>
                </a:moveTo>
                <a:cubicBezTo>
                  <a:pt x="350491" y="182841"/>
                  <a:pt x="361919" y="191548"/>
                  <a:pt x="363007" y="207329"/>
                </a:cubicBezTo>
                <a:cubicBezTo>
                  <a:pt x="363551" y="219845"/>
                  <a:pt x="349947" y="233449"/>
                  <a:pt x="336887" y="233994"/>
                </a:cubicBezTo>
                <a:cubicBezTo>
                  <a:pt x="324371" y="233994"/>
                  <a:pt x="311311" y="221478"/>
                  <a:pt x="310766" y="208961"/>
                </a:cubicBezTo>
                <a:cubicBezTo>
                  <a:pt x="310222" y="195357"/>
                  <a:pt x="323282" y="181753"/>
                  <a:pt x="336887" y="182297"/>
                </a:cubicBezTo>
                <a:close/>
                <a:moveTo>
                  <a:pt x="1856225" y="180487"/>
                </a:moveTo>
                <a:cubicBezTo>
                  <a:pt x="1856225" y="182664"/>
                  <a:pt x="1855137" y="184841"/>
                  <a:pt x="1855681" y="185929"/>
                </a:cubicBezTo>
                <a:cubicBezTo>
                  <a:pt x="1863844" y="206064"/>
                  <a:pt x="1863844" y="226198"/>
                  <a:pt x="1851872" y="244700"/>
                </a:cubicBezTo>
                <a:cubicBezTo>
                  <a:pt x="1851328" y="245788"/>
                  <a:pt x="1851328" y="246877"/>
                  <a:pt x="1851328" y="247965"/>
                </a:cubicBezTo>
                <a:cubicBezTo>
                  <a:pt x="1852416" y="247965"/>
                  <a:pt x="1854049" y="247965"/>
                  <a:pt x="1854593" y="247421"/>
                </a:cubicBezTo>
                <a:cubicBezTo>
                  <a:pt x="1868197" y="237082"/>
                  <a:pt x="1883434" y="237082"/>
                  <a:pt x="1899215" y="238714"/>
                </a:cubicBezTo>
                <a:cubicBezTo>
                  <a:pt x="1904113" y="239258"/>
                  <a:pt x="1909010" y="241979"/>
                  <a:pt x="1913908" y="243067"/>
                </a:cubicBezTo>
                <a:cubicBezTo>
                  <a:pt x="1915541" y="243612"/>
                  <a:pt x="1917173" y="242523"/>
                  <a:pt x="1918806" y="242523"/>
                </a:cubicBezTo>
                <a:cubicBezTo>
                  <a:pt x="1918806" y="240891"/>
                  <a:pt x="1918806" y="239258"/>
                  <a:pt x="1918261" y="238170"/>
                </a:cubicBezTo>
                <a:cubicBezTo>
                  <a:pt x="1908466" y="220756"/>
                  <a:pt x="1910099" y="203887"/>
                  <a:pt x="1917173" y="185929"/>
                </a:cubicBezTo>
                <a:cubicBezTo>
                  <a:pt x="1917717" y="184297"/>
                  <a:pt x="1917717" y="183208"/>
                  <a:pt x="1918261" y="181576"/>
                </a:cubicBezTo>
                <a:cubicBezTo>
                  <a:pt x="1916629" y="182120"/>
                  <a:pt x="1914996" y="182120"/>
                  <a:pt x="1913908" y="182664"/>
                </a:cubicBezTo>
                <a:cubicBezTo>
                  <a:pt x="1895950" y="189738"/>
                  <a:pt x="1877992" y="190827"/>
                  <a:pt x="1860579" y="180487"/>
                </a:cubicBezTo>
                <a:cubicBezTo>
                  <a:pt x="1858946" y="181031"/>
                  <a:pt x="1857858" y="181031"/>
                  <a:pt x="1856225" y="180487"/>
                </a:cubicBezTo>
                <a:close/>
                <a:moveTo>
                  <a:pt x="499595" y="175767"/>
                </a:moveTo>
                <a:cubicBezTo>
                  <a:pt x="514832" y="175767"/>
                  <a:pt x="531702" y="193181"/>
                  <a:pt x="531158" y="207874"/>
                </a:cubicBezTo>
                <a:cubicBezTo>
                  <a:pt x="530613" y="223110"/>
                  <a:pt x="513744" y="239980"/>
                  <a:pt x="498507" y="238347"/>
                </a:cubicBezTo>
                <a:cubicBezTo>
                  <a:pt x="479461" y="236715"/>
                  <a:pt x="469666" y="224743"/>
                  <a:pt x="468033" y="207329"/>
                </a:cubicBezTo>
                <a:cubicBezTo>
                  <a:pt x="466945" y="192636"/>
                  <a:pt x="484903" y="175767"/>
                  <a:pt x="499595" y="175767"/>
                </a:cubicBezTo>
                <a:close/>
                <a:moveTo>
                  <a:pt x="662304" y="173046"/>
                </a:moveTo>
                <a:cubicBezTo>
                  <a:pt x="683527" y="171958"/>
                  <a:pt x="698220" y="189916"/>
                  <a:pt x="697676" y="207873"/>
                </a:cubicBezTo>
                <a:cubicBezTo>
                  <a:pt x="697131" y="227464"/>
                  <a:pt x="684615" y="243245"/>
                  <a:pt x="662304" y="242156"/>
                </a:cubicBezTo>
                <a:cubicBezTo>
                  <a:pt x="639993" y="241612"/>
                  <a:pt x="628565" y="229096"/>
                  <a:pt x="628021" y="207873"/>
                </a:cubicBezTo>
                <a:cubicBezTo>
                  <a:pt x="628021" y="187739"/>
                  <a:pt x="642714" y="172502"/>
                  <a:pt x="662304" y="173046"/>
                </a:cubicBezTo>
                <a:close/>
                <a:moveTo>
                  <a:pt x="826645" y="168148"/>
                </a:moveTo>
                <a:cubicBezTo>
                  <a:pt x="844602" y="168148"/>
                  <a:pt x="867458" y="187194"/>
                  <a:pt x="864737" y="207329"/>
                </a:cubicBezTo>
                <a:cubicBezTo>
                  <a:pt x="867458" y="229096"/>
                  <a:pt x="844058" y="247054"/>
                  <a:pt x="826100" y="247054"/>
                </a:cubicBezTo>
                <a:cubicBezTo>
                  <a:pt x="808687" y="247054"/>
                  <a:pt x="787464" y="228552"/>
                  <a:pt x="787464" y="207873"/>
                </a:cubicBezTo>
                <a:cubicBezTo>
                  <a:pt x="787464" y="187194"/>
                  <a:pt x="807054" y="168148"/>
                  <a:pt x="826645" y="168148"/>
                </a:cubicBezTo>
                <a:close/>
                <a:moveTo>
                  <a:pt x="987721" y="164883"/>
                </a:moveTo>
                <a:cubicBezTo>
                  <a:pt x="1012209" y="164339"/>
                  <a:pt x="1030711" y="181753"/>
                  <a:pt x="1031799" y="207329"/>
                </a:cubicBezTo>
                <a:cubicBezTo>
                  <a:pt x="1031255" y="232361"/>
                  <a:pt x="1011665" y="250319"/>
                  <a:pt x="988809" y="250319"/>
                </a:cubicBezTo>
                <a:cubicBezTo>
                  <a:pt x="965954" y="250319"/>
                  <a:pt x="946364" y="231273"/>
                  <a:pt x="945819" y="208417"/>
                </a:cubicBezTo>
                <a:cubicBezTo>
                  <a:pt x="945275" y="185018"/>
                  <a:pt x="962689" y="165428"/>
                  <a:pt x="987721" y="164883"/>
                </a:cubicBezTo>
                <a:close/>
                <a:moveTo>
                  <a:pt x="1153150" y="162707"/>
                </a:moveTo>
                <a:cubicBezTo>
                  <a:pt x="1177638" y="161619"/>
                  <a:pt x="1197772" y="180665"/>
                  <a:pt x="1197772" y="207874"/>
                </a:cubicBezTo>
                <a:cubicBezTo>
                  <a:pt x="1197772" y="235083"/>
                  <a:pt x="1176005" y="253584"/>
                  <a:pt x="1151517" y="253584"/>
                </a:cubicBezTo>
                <a:cubicBezTo>
                  <a:pt x="1128118" y="253040"/>
                  <a:pt x="1106895" y="234538"/>
                  <a:pt x="1107439" y="207329"/>
                </a:cubicBezTo>
                <a:cubicBezTo>
                  <a:pt x="1107983" y="179576"/>
                  <a:pt x="1129206" y="161075"/>
                  <a:pt x="1153150" y="162707"/>
                </a:cubicBezTo>
                <a:close/>
                <a:moveTo>
                  <a:pt x="1315315" y="158353"/>
                </a:moveTo>
                <a:cubicBezTo>
                  <a:pt x="1341435" y="156177"/>
                  <a:pt x="1365923" y="184474"/>
                  <a:pt x="1365379" y="206785"/>
                </a:cubicBezTo>
                <a:cubicBezTo>
                  <a:pt x="1365379" y="229640"/>
                  <a:pt x="1344156" y="256849"/>
                  <a:pt x="1315859" y="256305"/>
                </a:cubicBezTo>
                <a:cubicBezTo>
                  <a:pt x="1290283" y="256305"/>
                  <a:pt x="1267427" y="233994"/>
                  <a:pt x="1266883" y="207873"/>
                </a:cubicBezTo>
                <a:cubicBezTo>
                  <a:pt x="1265795" y="181209"/>
                  <a:pt x="1292460" y="157265"/>
                  <a:pt x="1315315" y="158353"/>
                </a:cubicBezTo>
                <a:close/>
                <a:moveTo>
                  <a:pt x="1478567" y="156721"/>
                </a:moveTo>
                <a:cubicBezTo>
                  <a:pt x="1510129" y="156721"/>
                  <a:pt x="1530264" y="180665"/>
                  <a:pt x="1529720" y="207329"/>
                </a:cubicBezTo>
                <a:cubicBezTo>
                  <a:pt x="1530264" y="236715"/>
                  <a:pt x="1510129" y="258482"/>
                  <a:pt x="1478567" y="258482"/>
                </a:cubicBezTo>
                <a:cubicBezTo>
                  <a:pt x="1449182" y="257938"/>
                  <a:pt x="1428503" y="238892"/>
                  <a:pt x="1427959" y="207874"/>
                </a:cubicBezTo>
                <a:cubicBezTo>
                  <a:pt x="1427415" y="179576"/>
                  <a:pt x="1447549" y="156721"/>
                  <a:pt x="1478567" y="156721"/>
                </a:cubicBezTo>
                <a:close/>
                <a:moveTo>
                  <a:pt x="1644541" y="153456"/>
                </a:moveTo>
                <a:cubicBezTo>
                  <a:pt x="1672294" y="154544"/>
                  <a:pt x="1697870" y="180665"/>
                  <a:pt x="1697326" y="209506"/>
                </a:cubicBezTo>
                <a:cubicBezTo>
                  <a:pt x="1696782" y="238347"/>
                  <a:pt x="1669573" y="263924"/>
                  <a:pt x="1641276" y="262835"/>
                </a:cubicBezTo>
                <a:cubicBezTo>
                  <a:pt x="1612979" y="261203"/>
                  <a:pt x="1587402" y="236715"/>
                  <a:pt x="1587947" y="206785"/>
                </a:cubicBezTo>
                <a:cubicBezTo>
                  <a:pt x="1587947" y="180121"/>
                  <a:pt x="1613523" y="152368"/>
                  <a:pt x="1644541" y="153456"/>
                </a:cubicBezTo>
                <a:close/>
                <a:moveTo>
                  <a:pt x="91463" y="109922"/>
                </a:moveTo>
                <a:cubicBezTo>
                  <a:pt x="97993" y="109922"/>
                  <a:pt x="107244" y="119173"/>
                  <a:pt x="107244" y="126247"/>
                </a:cubicBezTo>
                <a:cubicBezTo>
                  <a:pt x="107788" y="132777"/>
                  <a:pt x="98537" y="142028"/>
                  <a:pt x="91463" y="142028"/>
                </a:cubicBezTo>
                <a:cubicBezTo>
                  <a:pt x="83845" y="142028"/>
                  <a:pt x="75682" y="133866"/>
                  <a:pt x="75682" y="126247"/>
                </a:cubicBezTo>
                <a:cubicBezTo>
                  <a:pt x="75682" y="118629"/>
                  <a:pt x="84389" y="109922"/>
                  <a:pt x="91463" y="109922"/>
                </a:cubicBezTo>
                <a:close/>
                <a:moveTo>
                  <a:pt x="1942341" y="104915"/>
                </a:moveTo>
                <a:cubicBezTo>
                  <a:pt x="1941389" y="105799"/>
                  <a:pt x="1941389" y="107840"/>
                  <a:pt x="1942205" y="111377"/>
                </a:cubicBezTo>
                <a:cubicBezTo>
                  <a:pt x="1943294" y="118451"/>
                  <a:pt x="1944926" y="124437"/>
                  <a:pt x="1946559" y="131511"/>
                </a:cubicBezTo>
                <a:cubicBezTo>
                  <a:pt x="1944382" y="139674"/>
                  <a:pt x="1941661" y="148381"/>
                  <a:pt x="1939484" y="157088"/>
                </a:cubicBezTo>
                <a:cubicBezTo>
                  <a:pt x="1939484" y="158176"/>
                  <a:pt x="1941117" y="160353"/>
                  <a:pt x="1941117" y="160353"/>
                </a:cubicBezTo>
                <a:cubicBezTo>
                  <a:pt x="1955810" y="154367"/>
                  <a:pt x="1971046" y="150558"/>
                  <a:pt x="1986828" y="157088"/>
                </a:cubicBezTo>
                <a:cubicBezTo>
                  <a:pt x="1987372" y="157088"/>
                  <a:pt x="1987916" y="157088"/>
                  <a:pt x="1987916" y="157088"/>
                </a:cubicBezTo>
                <a:cubicBezTo>
                  <a:pt x="1994990" y="157632"/>
                  <a:pt x="1996623" y="155999"/>
                  <a:pt x="1993902" y="150013"/>
                </a:cubicBezTo>
                <a:cubicBezTo>
                  <a:pt x="1988460" y="136409"/>
                  <a:pt x="1988460" y="123349"/>
                  <a:pt x="1993902" y="109744"/>
                </a:cubicBezTo>
                <a:cubicBezTo>
                  <a:pt x="1995534" y="105935"/>
                  <a:pt x="1994446" y="103214"/>
                  <a:pt x="1989004" y="105391"/>
                </a:cubicBezTo>
                <a:cubicBezTo>
                  <a:pt x="1975400" y="109744"/>
                  <a:pt x="1961796" y="109744"/>
                  <a:pt x="1948191" y="105391"/>
                </a:cubicBezTo>
                <a:cubicBezTo>
                  <a:pt x="1945198" y="104303"/>
                  <a:pt x="1943294" y="104031"/>
                  <a:pt x="1942341" y="104915"/>
                </a:cubicBezTo>
                <a:close/>
                <a:moveTo>
                  <a:pt x="255804" y="103392"/>
                </a:moveTo>
                <a:cubicBezTo>
                  <a:pt x="269409" y="103392"/>
                  <a:pt x="277571" y="112643"/>
                  <a:pt x="277571" y="126791"/>
                </a:cubicBezTo>
                <a:cubicBezTo>
                  <a:pt x="277027" y="139852"/>
                  <a:pt x="267776" y="148558"/>
                  <a:pt x="254172" y="148014"/>
                </a:cubicBezTo>
                <a:cubicBezTo>
                  <a:pt x="241112" y="148014"/>
                  <a:pt x="231861" y="138763"/>
                  <a:pt x="232405" y="125159"/>
                </a:cubicBezTo>
                <a:cubicBezTo>
                  <a:pt x="232405" y="112099"/>
                  <a:pt x="242200" y="102848"/>
                  <a:pt x="255804" y="103392"/>
                </a:cubicBezTo>
                <a:close/>
                <a:moveTo>
                  <a:pt x="1773511" y="99405"/>
                </a:moveTo>
                <a:cubicBezTo>
                  <a:pt x="1773511" y="102126"/>
                  <a:pt x="1772966" y="104303"/>
                  <a:pt x="1773511" y="107023"/>
                </a:cubicBezTo>
                <a:cubicBezTo>
                  <a:pt x="1776232" y="114098"/>
                  <a:pt x="1778408" y="121716"/>
                  <a:pt x="1780585" y="130423"/>
                </a:cubicBezTo>
                <a:cubicBezTo>
                  <a:pt x="1778408" y="139130"/>
                  <a:pt x="1775687" y="147293"/>
                  <a:pt x="1773511" y="155999"/>
                </a:cubicBezTo>
                <a:cubicBezTo>
                  <a:pt x="1772966" y="157632"/>
                  <a:pt x="1772966" y="160897"/>
                  <a:pt x="1774055" y="161985"/>
                </a:cubicBezTo>
                <a:cubicBezTo>
                  <a:pt x="1775143" y="163074"/>
                  <a:pt x="1778408" y="163074"/>
                  <a:pt x="1780041" y="162529"/>
                </a:cubicBezTo>
                <a:cubicBezTo>
                  <a:pt x="1789836" y="155455"/>
                  <a:pt x="1800719" y="157632"/>
                  <a:pt x="1811059" y="157632"/>
                </a:cubicBezTo>
                <a:cubicBezTo>
                  <a:pt x="1817589" y="157632"/>
                  <a:pt x="1824119" y="156543"/>
                  <a:pt x="1829561" y="161985"/>
                </a:cubicBezTo>
                <a:cubicBezTo>
                  <a:pt x="1830649" y="163074"/>
                  <a:pt x="1834458" y="161985"/>
                  <a:pt x="1836635" y="161985"/>
                </a:cubicBezTo>
                <a:cubicBezTo>
                  <a:pt x="1835547" y="160353"/>
                  <a:pt x="1835002" y="158720"/>
                  <a:pt x="1833914" y="157088"/>
                </a:cubicBezTo>
                <a:cubicBezTo>
                  <a:pt x="1826840" y="139674"/>
                  <a:pt x="1826296" y="121716"/>
                  <a:pt x="1834458" y="104303"/>
                </a:cubicBezTo>
                <a:cubicBezTo>
                  <a:pt x="1835002" y="102670"/>
                  <a:pt x="1835547" y="101038"/>
                  <a:pt x="1835547" y="99405"/>
                </a:cubicBezTo>
                <a:cubicBezTo>
                  <a:pt x="1833914" y="99949"/>
                  <a:pt x="1832282" y="99949"/>
                  <a:pt x="1831193" y="101038"/>
                </a:cubicBezTo>
                <a:cubicBezTo>
                  <a:pt x="1814324" y="109200"/>
                  <a:pt x="1797454" y="109200"/>
                  <a:pt x="1780041" y="101582"/>
                </a:cubicBezTo>
                <a:cubicBezTo>
                  <a:pt x="1777864" y="100493"/>
                  <a:pt x="1775687" y="100493"/>
                  <a:pt x="1773511" y="99405"/>
                </a:cubicBezTo>
                <a:close/>
                <a:moveTo>
                  <a:pt x="417424" y="97950"/>
                </a:moveTo>
                <a:cubicBezTo>
                  <a:pt x="435382" y="97950"/>
                  <a:pt x="445721" y="108289"/>
                  <a:pt x="445721" y="126247"/>
                </a:cubicBezTo>
                <a:cubicBezTo>
                  <a:pt x="445721" y="143661"/>
                  <a:pt x="435382" y="153456"/>
                  <a:pt x="417424" y="153456"/>
                </a:cubicBezTo>
                <a:cubicBezTo>
                  <a:pt x="402187" y="155088"/>
                  <a:pt x="389127" y="141484"/>
                  <a:pt x="390215" y="125159"/>
                </a:cubicBezTo>
                <a:cubicBezTo>
                  <a:pt x="391304" y="107745"/>
                  <a:pt x="400555" y="97950"/>
                  <a:pt x="417424" y="97950"/>
                </a:cubicBezTo>
                <a:close/>
                <a:moveTo>
                  <a:pt x="580677" y="92508"/>
                </a:moveTo>
                <a:cubicBezTo>
                  <a:pt x="599724" y="92508"/>
                  <a:pt x="613328" y="106112"/>
                  <a:pt x="614960" y="125159"/>
                </a:cubicBezTo>
                <a:cubicBezTo>
                  <a:pt x="616049" y="141484"/>
                  <a:pt x="598091" y="161618"/>
                  <a:pt x="581766" y="158353"/>
                </a:cubicBezTo>
                <a:cubicBezTo>
                  <a:pt x="561631" y="158353"/>
                  <a:pt x="548571" y="145293"/>
                  <a:pt x="548571" y="125703"/>
                </a:cubicBezTo>
                <a:cubicBezTo>
                  <a:pt x="548571" y="106657"/>
                  <a:pt x="562175" y="92508"/>
                  <a:pt x="580677" y="92508"/>
                </a:cubicBezTo>
                <a:close/>
                <a:moveTo>
                  <a:pt x="745019" y="88154"/>
                </a:moveTo>
                <a:cubicBezTo>
                  <a:pt x="763521" y="87610"/>
                  <a:pt x="783111" y="107745"/>
                  <a:pt x="782567" y="126791"/>
                </a:cubicBezTo>
                <a:cubicBezTo>
                  <a:pt x="782023" y="147469"/>
                  <a:pt x="761344" y="164339"/>
                  <a:pt x="743930" y="164339"/>
                </a:cubicBezTo>
                <a:cubicBezTo>
                  <a:pt x="723796" y="163795"/>
                  <a:pt x="705838" y="144204"/>
                  <a:pt x="706382" y="125702"/>
                </a:cubicBezTo>
                <a:cubicBezTo>
                  <a:pt x="706926" y="109377"/>
                  <a:pt x="723252" y="87066"/>
                  <a:pt x="745019" y="88154"/>
                </a:cubicBezTo>
                <a:close/>
                <a:moveTo>
                  <a:pt x="1685898" y="84712"/>
                </a:moveTo>
                <a:lnTo>
                  <a:pt x="1685681" y="85147"/>
                </a:lnTo>
                <a:lnTo>
                  <a:pt x="1685354" y="85256"/>
                </a:lnTo>
                <a:cubicBezTo>
                  <a:pt x="1685354" y="85256"/>
                  <a:pt x="1685898" y="84712"/>
                  <a:pt x="1685898" y="84712"/>
                </a:cubicBezTo>
                <a:close/>
                <a:moveTo>
                  <a:pt x="907183" y="84345"/>
                </a:moveTo>
                <a:cubicBezTo>
                  <a:pt x="916978" y="84345"/>
                  <a:pt x="926773" y="87610"/>
                  <a:pt x="934935" y="95228"/>
                </a:cubicBezTo>
                <a:cubicBezTo>
                  <a:pt x="944187" y="103935"/>
                  <a:pt x="946907" y="114819"/>
                  <a:pt x="949628" y="125158"/>
                </a:cubicBezTo>
                <a:cubicBezTo>
                  <a:pt x="946907" y="150190"/>
                  <a:pt x="932759" y="166515"/>
                  <a:pt x="908271" y="167060"/>
                </a:cubicBezTo>
                <a:cubicBezTo>
                  <a:pt x="884871" y="167604"/>
                  <a:pt x="867458" y="150734"/>
                  <a:pt x="866369" y="125702"/>
                </a:cubicBezTo>
                <a:cubicBezTo>
                  <a:pt x="865825" y="103935"/>
                  <a:pt x="884871" y="83801"/>
                  <a:pt x="907183" y="84345"/>
                </a:cubicBezTo>
                <a:close/>
                <a:moveTo>
                  <a:pt x="1070979" y="82169"/>
                </a:moveTo>
                <a:cubicBezTo>
                  <a:pt x="1095467" y="79448"/>
                  <a:pt x="1115602" y="103936"/>
                  <a:pt x="1115602" y="126247"/>
                </a:cubicBezTo>
                <a:cubicBezTo>
                  <a:pt x="1115602" y="148014"/>
                  <a:pt x="1094923" y="170325"/>
                  <a:pt x="1071524" y="170325"/>
                </a:cubicBezTo>
                <a:cubicBezTo>
                  <a:pt x="1047580" y="170325"/>
                  <a:pt x="1026357" y="148558"/>
                  <a:pt x="1026357" y="125703"/>
                </a:cubicBezTo>
                <a:cubicBezTo>
                  <a:pt x="1026357" y="103936"/>
                  <a:pt x="1047036" y="79448"/>
                  <a:pt x="1070979" y="82169"/>
                </a:cubicBezTo>
                <a:close/>
                <a:moveTo>
                  <a:pt x="1684811" y="82168"/>
                </a:moveTo>
                <a:cubicBezTo>
                  <a:pt x="1684811" y="82168"/>
                  <a:pt x="1684266" y="82713"/>
                  <a:pt x="1684266" y="82713"/>
                </a:cubicBezTo>
                <a:lnTo>
                  <a:pt x="1684469" y="82365"/>
                </a:lnTo>
                <a:close/>
                <a:moveTo>
                  <a:pt x="1234777" y="78360"/>
                </a:moveTo>
                <a:cubicBezTo>
                  <a:pt x="1259809" y="76727"/>
                  <a:pt x="1284297" y="101759"/>
                  <a:pt x="1282664" y="126791"/>
                </a:cubicBezTo>
                <a:cubicBezTo>
                  <a:pt x="1280487" y="152912"/>
                  <a:pt x="1264162" y="171958"/>
                  <a:pt x="1234232" y="174135"/>
                </a:cubicBezTo>
                <a:cubicBezTo>
                  <a:pt x="1205935" y="172502"/>
                  <a:pt x="1186345" y="153456"/>
                  <a:pt x="1186889" y="126791"/>
                </a:cubicBezTo>
                <a:cubicBezTo>
                  <a:pt x="1187433" y="96318"/>
                  <a:pt x="1207024" y="79992"/>
                  <a:pt x="1234777" y="78360"/>
                </a:cubicBezTo>
                <a:close/>
                <a:moveTo>
                  <a:pt x="1398574" y="76182"/>
                </a:moveTo>
                <a:cubicBezTo>
                  <a:pt x="1424150" y="74006"/>
                  <a:pt x="1448638" y="99582"/>
                  <a:pt x="1448094" y="127335"/>
                </a:cubicBezTo>
                <a:cubicBezTo>
                  <a:pt x="1447549" y="151823"/>
                  <a:pt x="1426327" y="176311"/>
                  <a:pt x="1396941" y="175766"/>
                </a:cubicBezTo>
                <a:cubicBezTo>
                  <a:pt x="1367011" y="175222"/>
                  <a:pt x="1347421" y="151278"/>
                  <a:pt x="1347421" y="125702"/>
                </a:cubicBezTo>
                <a:cubicBezTo>
                  <a:pt x="1347421" y="99038"/>
                  <a:pt x="1369732" y="74006"/>
                  <a:pt x="1398574" y="76182"/>
                </a:cubicBezTo>
                <a:close/>
                <a:moveTo>
                  <a:pt x="1561282" y="72373"/>
                </a:moveTo>
                <a:cubicBezTo>
                  <a:pt x="1588491" y="72373"/>
                  <a:pt x="1614611" y="96861"/>
                  <a:pt x="1614611" y="126247"/>
                </a:cubicBezTo>
                <a:cubicBezTo>
                  <a:pt x="1614067" y="155632"/>
                  <a:pt x="1590667" y="180120"/>
                  <a:pt x="1560738" y="179576"/>
                </a:cubicBezTo>
                <a:cubicBezTo>
                  <a:pt x="1530808" y="179576"/>
                  <a:pt x="1507953" y="156176"/>
                  <a:pt x="1507409" y="126247"/>
                </a:cubicBezTo>
                <a:cubicBezTo>
                  <a:pt x="1506864" y="96861"/>
                  <a:pt x="1532441" y="72373"/>
                  <a:pt x="1561282" y="72373"/>
                </a:cubicBezTo>
                <a:close/>
                <a:moveTo>
                  <a:pt x="10381" y="33737"/>
                </a:moveTo>
                <a:cubicBezTo>
                  <a:pt x="15822" y="33737"/>
                  <a:pt x="20720" y="39179"/>
                  <a:pt x="20720" y="45165"/>
                </a:cubicBezTo>
                <a:cubicBezTo>
                  <a:pt x="20176" y="50606"/>
                  <a:pt x="14734" y="55504"/>
                  <a:pt x="9292" y="54960"/>
                </a:cubicBezTo>
                <a:cubicBezTo>
                  <a:pt x="4395" y="54416"/>
                  <a:pt x="41" y="49518"/>
                  <a:pt x="41" y="44621"/>
                </a:cubicBezTo>
                <a:cubicBezTo>
                  <a:pt x="-503" y="38635"/>
                  <a:pt x="4395" y="33737"/>
                  <a:pt x="10381" y="33737"/>
                </a:cubicBezTo>
                <a:close/>
                <a:moveTo>
                  <a:pt x="172546" y="23942"/>
                </a:moveTo>
                <a:cubicBezTo>
                  <a:pt x="181796" y="22854"/>
                  <a:pt x="193224" y="34826"/>
                  <a:pt x="193224" y="44621"/>
                </a:cubicBezTo>
                <a:cubicBezTo>
                  <a:pt x="193224" y="53872"/>
                  <a:pt x="182341" y="64755"/>
                  <a:pt x="173090" y="64755"/>
                </a:cubicBezTo>
                <a:cubicBezTo>
                  <a:pt x="164383" y="64755"/>
                  <a:pt x="152411" y="52784"/>
                  <a:pt x="152411" y="44621"/>
                </a:cubicBezTo>
                <a:cubicBezTo>
                  <a:pt x="152411" y="36458"/>
                  <a:pt x="164927" y="24486"/>
                  <a:pt x="172546" y="23942"/>
                </a:cubicBezTo>
                <a:close/>
                <a:moveTo>
                  <a:pt x="1861123" y="22132"/>
                </a:moveTo>
                <a:cubicBezTo>
                  <a:pt x="1861123" y="26485"/>
                  <a:pt x="1860035" y="31383"/>
                  <a:pt x="1861123" y="35737"/>
                </a:cubicBezTo>
                <a:cubicBezTo>
                  <a:pt x="1863844" y="44443"/>
                  <a:pt x="1864932" y="52606"/>
                  <a:pt x="1861123" y="61313"/>
                </a:cubicBezTo>
                <a:cubicBezTo>
                  <a:pt x="1860035" y="64034"/>
                  <a:pt x="1860035" y="67299"/>
                  <a:pt x="1858946" y="72740"/>
                </a:cubicBezTo>
                <a:cubicBezTo>
                  <a:pt x="1858402" y="76550"/>
                  <a:pt x="1861123" y="77638"/>
                  <a:pt x="1866021" y="76550"/>
                </a:cubicBezTo>
                <a:cubicBezTo>
                  <a:pt x="1868741" y="76006"/>
                  <a:pt x="1871462" y="76006"/>
                  <a:pt x="1873639" y="74917"/>
                </a:cubicBezTo>
                <a:cubicBezTo>
                  <a:pt x="1882346" y="71108"/>
                  <a:pt x="1891053" y="71108"/>
                  <a:pt x="1900304" y="74373"/>
                </a:cubicBezTo>
                <a:cubicBezTo>
                  <a:pt x="1902480" y="75461"/>
                  <a:pt x="1905201" y="76006"/>
                  <a:pt x="1907922" y="76006"/>
                </a:cubicBezTo>
                <a:cubicBezTo>
                  <a:pt x="1912276" y="76550"/>
                  <a:pt x="1914996" y="75461"/>
                  <a:pt x="1912820" y="70020"/>
                </a:cubicBezTo>
                <a:cubicBezTo>
                  <a:pt x="1907378" y="55871"/>
                  <a:pt x="1906834" y="41178"/>
                  <a:pt x="1912820" y="27030"/>
                </a:cubicBezTo>
                <a:cubicBezTo>
                  <a:pt x="1914996" y="22132"/>
                  <a:pt x="1911731" y="21588"/>
                  <a:pt x="1908466" y="22132"/>
                </a:cubicBezTo>
                <a:cubicBezTo>
                  <a:pt x="1906290" y="22676"/>
                  <a:pt x="1904657" y="24309"/>
                  <a:pt x="1902480" y="24309"/>
                </a:cubicBezTo>
                <a:cubicBezTo>
                  <a:pt x="1892685" y="24309"/>
                  <a:pt x="1882890" y="24853"/>
                  <a:pt x="1873095" y="24309"/>
                </a:cubicBezTo>
                <a:cubicBezTo>
                  <a:pt x="1868741" y="24309"/>
                  <a:pt x="1864932" y="22676"/>
                  <a:pt x="1861123" y="22132"/>
                </a:cubicBezTo>
                <a:close/>
                <a:moveTo>
                  <a:pt x="336886" y="17412"/>
                </a:moveTo>
                <a:cubicBezTo>
                  <a:pt x="347770" y="17412"/>
                  <a:pt x="363551" y="31016"/>
                  <a:pt x="363007" y="44077"/>
                </a:cubicBezTo>
                <a:cubicBezTo>
                  <a:pt x="363007" y="57681"/>
                  <a:pt x="350491" y="70741"/>
                  <a:pt x="337431" y="71285"/>
                </a:cubicBezTo>
                <a:cubicBezTo>
                  <a:pt x="324370" y="71830"/>
                  <a:pt x="310766" y="58769"/>
                  <a:pt x="310222" y="45165"/>
                </a:cubicBezTo>
                <a:cubicBezTo>
                  <a:pt x="309678" y="31016"/>
                  <a:pt x="323282" y="17956"/>
                  <a:pt x="336886" y="17412"/>
                </a:cubicBezTo>
                <a:close/>
                <a:moveTo>
                  <a:pt x="498507" y="13059"/>
                </a:moveTo>
                <a:cubicBezTo>
                  <a:pt x="514832" y="11970"/>
                  <a:pt x="531702" y="28296"/>
                  <a:pt x="531702" y="44621"/>
                </a:cubicBezTo>
                <a:cubicBezTo>
                  <a:pt x="531702" y="60402"/>
                  <a:pt x="515376" y="76183"/>
                  <a:pt x="499595" y="76727"/>
                </a:cubicBezTo>
                <a:cubicBezTo>
                  <a:pt x="483270" y="76727"/>
                  <a:pt x="467489" y="61490"/>
                  <a:pt x="467489" y="45165"/>
                </a:cubicBezTo>
                <a:cubicBezTo>
                  <a:pt x="467489" y="28840"/>
                  <a:pt x="482182" y="13059"/>
                  <a:pt x="498507" y="13059"/>
                </a:cubicBezTo>
                <a:close/>
                <a:moveTo>
                  <a:pt x="662303" y="7616"/>
                </a:moveTo>
                <a:cubicBezTo>
                  <a:pt x="680805" y="7072"/>
                  <a:pt x="698763" y="25030"/>
                  <a:pt x="698763" y="44076"/>
                </a:cubicBezTo>
                <a:cubicBezTo>
                  <a:pt x="698763" y="62578"/>
                  <a:pt x="680261" y="81624"/>
                  <a:pt x="662303" y="81080"/>
                </a:cubicBezTo>
                <a:cubicBezTo>
                  <a:pt x="644346" y="80536"/>
                  <a:pt x="626932" y="62578"/>
                  <a:pt x="626932" y="44076"/>
                </a:cubicBezTo>
                <a:cubicBezTo>
                  <a:pt x="626932" y="25574"/>
                  <a:pt x="643257" y="8160"/>
                  <a:pt x="662303" y="7616"/>
                </a:cubicBezTo>
                <a:close/>
                <a:moveTo>
                  <a:pt x="825557" y="5440"/>
                </a:moveTo>
                <a:cubicBezTo>
                  <a:pt x="847868" y="5440"/>
                  <a:pt x="865281" y="23942"/>
                  <a:pt x="865281" y="44621"/>
                </a:cubicBezTo>
                <a:cubicBezTo>
                  <a:pt x="865281" y="63667"/>
                  <a:pt x="847324" y="85978"/>
                  <a:pt x="826101" y="83257"/>
                </a:cubicBezTo>
                <a:cubicBezTo>
                  <a:pt x="805422" y="85978"/>
                  <a:pt x="786920" y="64211"/>
                  <a:pt x="786920" y="44621"/>
                </a:cubicBezTo>
                <a:cubicBezTo>
                  <a:pt x="786920" y="22854"/>
                  <a:pt x="805422" y="5440"/>
                  <a:pt x="825557" y="5440"/>
                </a:cubicBezTo>
                <a:close/>
                <a:moveTo>
                  <a:pt x="989353" y="1086"/>
                </a:moveTo>
                <a:cubicBezTo>
                  <a:pt x="1013297" y="1086"/>
                  <a:pt x="1032343" y="21220"/>
                  <a:pt x="1032343" y="43532"/>
                </a:cubicBezTo>
                <a:cubicBezTo>
                  <a:pt x="1032887" y="66931"/>
                  <a:pt x="1012753" y="88698"/>
                  <a:pt x="989897" y="87610"/>
                </a:cubicBezTo>
                <a:cubicBezTo>
                  <a:pt x="967042" y="88698"/>
                  <a:pt x="945819" y="65843"/>
                  <a:pt x="945819" y="44620"/>
                </a:cubicBezTo>
                <a:cubicBezTo>
                  <a:pt x="945819" y="23941"/>
                  <a:pt x="964321" y="1086"/>
                  <a:pt x="989353" y="1086"/>
                </a:cubicBezTo>
                <a:close/>
                <a:moveTo>
                  <a:pt x="1614056" y="0"/>
                </a:moveTo>
                <a:lnTo>
                  <a:pt x="1675529" y="0"/>
                </a:lnTo>
                <a:lnTo>
                  <a:pt x="1682905" y="4720"/>
                </a:lnTo>
                <a:lnTo>
                  <a:pt x="1933639" y="4720"/>
                </a:lnTo>
                <a:cubicBezTo>
                  <a:pt x="1966059" y="4720"/>
                  <a:pt x="1995409" y="17861"/>
                  <a:pt x="2016655" y="39107"/>
                </a:cubicBezTo>
                <a:lnTo>
                  <a:pt x="2028934" y="57318"/>
                </a:lnTo>
                <a:lnTo>
                  <a:pt x="2026008" y="71108"/>
                </a:lnTo>
                <a:cubicBezTo>
                  <a:pt x="2023832" y="74917"/>
                  <a:pt x="2026552" y="77094"/>
                  <a:pt x="2030906" y="75461"/>
                </a:cubicBezTo>
                <a:lnTo>
                  <a:pt x="2039929" y="73627"/>
                </a:lnTo>
                <a:lnTo>
                  <a:pt x="2041815" y="76424"/>
                </a:lnTo>
                <a:cubicBezTo>
                  <a:pt x="2047756" y="90470"/>
                  <a:pt x="2051041" y="105912"/>
                  <a:pt x="2051041" y="122122"/>
                </a:cubicBezTo>
                <a:lnTo>
                  <a:pt x="2051041" y="186473"/>
                </a:lnTo>
                <a:lnTo>
                  <a:pt x="2029818" y="186473"/>
                </a:lnTo>
                <a:cubicBezTo>
                  <a:pt x="2023832" y="184297"/>
                  <a:pt x="2022743" y="185929"/>
                  <a:pt x="2023287" y="192459"/>
                </a:cubicBezTo>
                <a:cubicBezTo>
                  <a:pt x="2023287" y="193548"/>
                  <a:pt x="2023287" y="195180"/>
                  <a:pt x="2023832" y="196268"/>
                </a:cubicBezTo>
                <a:cubicBezTo>
                  <a:pt x="2028185" y="210961"/>
                  <a:pt x="2026008" y="225110"/>
                  <a:pt x="2019478" y="239258"/>
                </a:cubicBezTo>
                <a:cubicBezTo>
                  <a:pt x="2018934" y="240347"/>
                  <a:pt x="2019478" y="241979"/>
                  <a:pt x="2020022" y="242523"/>
                </a:cubicBezTo>
                <a:cubicBezTo>
                  <a:pt x="2020566" y="243067"/>
                  <a:pt x="2022743" y="243612"/>
                  <a:pt x="2023287" y="243067"/>
                </a:cubicBezTo>
                <a:cubicBezTo>
                  <a:pt x="2032266" y="238986"/>
                  <a:pt x="2041245" y="237082"/>
                  <a:pt x="2050224" y="237150"/>
                </a:cubicBezTo>
                <a:lnTo>
                  <a:pt x="2051041" y="237329"/>
                </a:lnTo>
                <a:lnTo>
                  <a:pt x="2051041" y="348996"/>
                </a:lnTo>
                <a:lnTo>
                  <a:pt x="2036552" y="347754"/>
                </a:lnTo>
                <a:cubicBezTo>
                  <a:pt x="2031178" y="346733"/>
                  <a:pt x="2026009" y="344829"/>
                  <a:pt x="2021111" y="341019"/>
                </a:cubicBezTo>
                <a:cubicBezTo>
                  <a:pt x="2020022" y="339931"/>
                  <a:pt x="2018390" y="339387"/>
                  <a:pt x="2016757" y="338842"/>
                </a:cubicBezTo>
                <a:cubicBezTo>
                  <a:pt x="2016757" y="340475"/>
                  <a:pt x="2016757" y="343196"/>
                  <a:pt x="2017301" y="344284"/>
                </a:cubicBezTo>
                <a:cubicBezTo>
                  <a:pt x="2022743" y="354079"/>
                  <a:pt x="2026008" y="364419"/>
                  <a:pt x="2025464" y="376391"/>
                </a:cubicBezTo>
                <a:cubicBezTo>
                  <a:pt x="2024376" y="398702"/>
                  <a:pt x="2014580" y="413939"/>
                  <a:pt x="1994446" y="424278"/>
                </a:cubicBezTo>
                <a:cubicBezTo>
                  <a:pt x="1972135" y="435706"/>
                  <a:pt x="1950912" y="431352"/>
                  <a:pt x="1933498" y="416115"/>
                </a:cubicBezTo>
                <a:cubicBezTo>
                  <a:pt x="1917173" y="401967"/>
                  <a:pt x="1908466" y="378567"/>
                  <a:pt x="1920438" y="352447"/>
                </a:cubicBezTo>
                <a:cubicBezTo>
                  <a:pt x="1922615" y="348093"/>
                  <a:pt x="1923703" y="343196"/>
                  <a:pt x="1925336" y="338298"/>
                </a:cubicBezTo>
                <a:cubicBezTo>
                  <a:pt x="1920982" y="339931"/>
                  <a:pt x="1916085" y="341563"/>
                  <a:pt x="1911731" y="343196"/>
                </a:cubicBezTo>
                <a:cubicBezTo>
                  <a:pt x="1907378" y="344828"/>
                  <a:pt x="1903024" y="347005"/>
                  <a:pt x="1898671" y="347005"/>
                </a:cubicBezTo>
                <a:cubicBezTo>
                  <a:pt x="1882890" y="348638"/>
                  <a:pt x="1867653" y="348638"/>
                  <a:pt x="1854593" y="336666"/>
                </a:cubicBezTo>
                <a:lnTo>
                  <a:pt x="1847690" y="333480"/>
                </a:lnTo>
                <a:lnTo>
                  <a:pt x="1852961" y="344461"/>
                </a:lnTo>
                <a:cubicBezTo>
                  <a:pt x="1868742" y="372214"/>
                  <a:pt x="1855137" y="408674"/>
                  <a:pt x="1826840" y="420646"/>
                </a:cubicBezTo>
                <a:cubicBezTo>
                  <a:pt x="1803441" y="430985"/>
                  <a:pt x="1777864" y="422278"/>
                  <a:pt x="1765893" y="408130"/>
                </a:cubicBezTo>
                <a:cubicBezTo>
                  <a:pt x="1749567" y="388539"/>
                  <a:pt x="1744126" y="368405"/>
                  <a:pt x="1759362" y="342829"/>
                </a:cubicBezTo>
                <a:cubicBezTo>
                  <a:pt x="1771199" y="322422"/>
                  <a:pt x="1795584" y="313341"/>
                  <a:pt x="1815991" y="317193"/>
                </a:cubicBezTo>
                <a:cubicBezTo>
                  <a:pt x="1822793" y="318477"/>
                  <a:pt x="1829153" y="321198"/>
                  <a:pt x="1834459" y="325415"/>
                </a:cubicBezTo>
                <a:lnTo>
                  <a:pt x="1845023" y="330169"/>
                </a:lnTo>
                <a:lnTo>
                  <a:pt x="1840444" y="321429"/>
                </a:lnTo>
                <a:cubicBezTo>
                  <a:pt x="1831193" y="306736"/>
                  <a:pt x="1832282" y="290955"/>
                  <a:pt x="1834458" y="275174"/>
                </a:cubicBezTo>
                <a:cubicBezTo>
                  <a:pt x="1835002" y="269732"/>
                  <a:pt x="1838812" y="265379"/>
                  <a:pt x="1840988" y="259937"/>
                </a:cubicBezTo>
                <a:cubicBezTo>
                  <a:pt x="1841533" y="258849"/>
                  <a:pt x="1842077" y="257216"/>
                  <a:pt x="1842077" y="255584"/>
                </a:cubicBezTo>
                <a:cubicBezTo>
                  <a:pt x="1840444" y="256128"/>
                  <a:pt x="1838812" y="256672"/>
                  <a:pt x="1837723" y="257216"/>
                </a:cubicBezTo>
                <a:cubicBezTo>
                  <a:pt x="1831193" y="259937"/>
                  <a:pt x="1824663" y="263746"/>
                  <a:pt x="1817589" y="264834"/>
                </a:cubicBezTo>
                <a:cubicBezTo>
                  <a:pt x="1799631" y="268100"/>
                  <a:pt x="1782762" y="264290"/>
                  <a:pt x="1768069" y="251774"/>
                </a:cubicBezTo>
                <a:lnTo>
                  <a:pt x="1764740" y="250110"/>
                </a:lnTo>
                <a:lnTo>
                  <a:pt x="1773510" y="267189"/>
                </a:lnTo>
                <a:cubicBezTo>
                  <a:pt x="1786571" y="292765"/>
                  <a:pt x="1773510" y="323239"/>
                  <a:pt x="1750655" y="336843"/>
                </a:cubicBezTo>
                <a:cubicBezTo>
                  <a:pt x="1721270" y="354257"/>
                  <a:pt x="1685354" y="337388"/>
                  <a:pt x="1673926" y="310723"/>
                </a:cubicBezTo>
                <a:cubicBezTo>
                  <a:pt x="1664675" y="289500"/>
                  <a:pt x="1669029" y="271542"/>
                  <a:pt x="1681545" y="254673"/>
                </a:cubicBezTo>
                <a:cubicBezTo>
                  <a:pt x="1694605" y="237803"/>
                  <a:pt x="1712563" y="231817"/>
                  <a:pt x="1733786" y="235083"/>
                </a:cubicBezTo>
                <a:cubicBezTo>
                  <a:pt x="1739771" y="236171"/>
                  <a:pt x="1745757" y="239980"/>
                  <a:pt x="1751743" y="242157"/>
                </a:cubicBezTo>
                <a:lnTo>
                  <a:pt x="1762506" y="246769"/>
                </a:lnTo>
                <a:lnTo>
                  <a:pt x="1757185" y="236537"/>
                </a:lnTo>
                <a:cubicBezTo>
                  <a:pt x="1747934" y="219668"/>
                  <a:pt x="1747390" y="203343"/>
                  <a:pt x="1756097" y="185929"/>
                </a:cubicBezTo>
                <a:cubicBezTo>
                  <a:pt x="1757185" y="183752"/>
                  <a:pt x="1756641" y="180487"/>
                  <a:pt x="1757185" y="177766"/>
                </a:cubicBezTo>
                <a:cubicBezTo>
                  <a:pt x="1754464" y="177766"/>
                  <a:pt x="1751199" y="177222"/>
                  <a:pt x="1749023" y="178311"/>
                </a:cubicBezTo>
                <a:cubicBezTo>
                  <a:pt x="1722358" y="193003"/>
                  <a:pt x="1688075" y="178855"/>
                  <a:pt x="1676103" y="154911"/>
                </a:cubicBezTo>
                <a:cubicBezTo>
                  <a:pt x="1665220" y="133688"/>
                  <a:pt x="1667396" y="113554"/>
                  <a:pt x="1681001" y="94507"/>
                </a:cubicBezTo>
                <a:lnTo>
                  <a:pt x="1685681" y="85147"/>
                </a:lnTo>
                <a:lnTo>
                  <a:pt x="1693517" y="82536"/>
                </a:lnTo>
                <a:cubicBezTo>
                  <a:pt x="1710930" y="71108"/>
                  <a:pt x="1728888" y="71108"/>
                  <a:pt x="1747934" y="77638"/>
                </a:cubicBezTo>
                <a:cubicBezTo>
                  <a:pt x="1750655" y="78726"/>
                  <a:pt x="1753920" y="78726"/>
                  <a:pt x="1756641" y="79271"/>
                </a:cubicBezTo>
                <a:cubicBezTo>
                  <a:pt x="1756097" y="76550"/>
                  <a:pt x="1755553" y="74373"/>
                  <a:pt x="1754464" y="71652"/>
                </a:cubicBezTo>
                <a:cubicBezTo>
                  <a:pt x="1753920" y="70564"/>
                  <a:pt x="1753376" y="69475"/>
                  <a:pt x="1752832" y="68387"/>
                </a:cubicBezTo>
                <a:cubicBezTo>
                  <a:pt x="1747934" y="52062"/>
                  <a:pt x="1747390" y="35737"/>
                  <a:pt x="1756097" y="20500"/>
                </a:cubicBezTo>
                <a:cubicBezTo>
                  <a:pt x="1756641" y="19411"/>
                  <a:pt x="1757185" y="16690"/>
                  <a:pt x="1756641" y="16146"/>
                </a:cubicBezTo>
                <a:cubicBezTo>
                  <a:pt x="1755553" y="15058"/>
                  <a:pt x="1753376" y="14514"/>
                  <a:pt x="1751744" y="15058"/>
                </a:cubicBezTo>
                <a:cubicBezTo>
                  <a:pt x="1747934" y="16146"/>
                  <a:pt x="1744669" y="19411"/>
                  <a:pt x="1741404" y="19955"/>
                </a:cubicBezTo>
                <a:cubicBezTo>
                  <a:pt x="1724535" y="21588"/>
                  <a:pt x="1707121" y="23765"/>
                  <a:pt x="1691884" y="11249"/>
                </a:cubicBezTo>
                <a:lnTo>
                  <a:pt x="1685645" y="8369"/>
                </a:lnTo>
                <a:lnTo>
                  <a:pt x="1688620" y="14691"/>
                </a:lnTo>
                <a:cubicBezTo>
                  <a:pt x="1700048" y="32648"/>
                  <a:pt x="1700048" y="50606"/>
                  <a:pt x="1691885" y="69652"/>
                </a:cubicBezTo>
                <a:lnTo>
                  <a:pt x="1684469" y="82365"/>
                </a:lnTo>
                <a:lnTo>
                  <a:pt x="1663044" y="94684"/>
                </a:lnTo>
                <a:cubicBezTo>
                  <a:pt x="1651072" y="101759"/>
                  <a:pt x="1638556" y="100126"/>
                  <a:pt x="1626584" y="96861"/>
                </a:cubicBezTo>
                <a:cubicBezTo>
                  <a:pt x="1608082" y="91419"/>
                  <a:pt x="1595566" y="78359"/>
                  <a:pt x="1590124" y="60401"/>
                </a:cubicBezTo>
                <a:cubicBezTo>
                  <a:pt x="1586315" y="48974"/>
                  <a:pt x="1586315" y="37002"/>
                  <a:pt x="1591757" y="25030"/>
                </a:cubicBezTo>
                <a:close/>
                <a:moveTo>
                  <a:pt x="1460066" y="0"/>
                </a:moveTo>
                <a:lnTo>
                  <a:pt x="1498513" y="0"/>
                </a:lnTo>
                <a:lnTo>
                  <a:pt x="1517204" y="8092"/>
                </a:lnTo>
                <a:cubicBezTo>
                  <a:pt x="1526183" y="17411"/>
                  <a:pt x="1531352" y="30199"/>
                  <a:pt x="1531896" y="45164"/>
                </a:cubicBezTo>
                <a:cubicBezTo>
                  <a:pt x="1532985" y="71829"/>
                  <a:pt x="1505776" y="97949"/>
                  <a:pt x="1479111" y="97949"/>
                </a:cubicBezTo>
                <a:cubicBezTo>
                  <a:pt x="1451902" y="97949"/>
                  <a:pt x="1425238" y="71829"/>
                  <a:pt x="1426870" y="45164"/>
                </a:cubicBezTo>
                <a:cubicBezTo>
                  <a:pt x="1427687" y="29655"/>
                  <a:pt x="1432720" y="16867"/>
                  <a:pt x="1441631" y="7684"/>
                </a:cubicBezTo>
                <a:close/>
                <a:moveTo>
                  <a:pt x="1296749" y="0"/>
                </a:moveTo>
                <a:lnTo>
                  <a:pt x="1335755" y="0"/>
                </a:lnTo>
                <a:lnTo>
                  <a:pt x="1350278" y="10270"/>
                </a:lnTo>
                <a:cubicBezTo>
                  <a:pt x="1359937" y="19861"/>
                  <a:pt x="1366467" y="32649"/>
                  <a:pt x="1365923" y="45165"/>
                </a:cubicBezTo>
                <a:cubicBezTo>
                  <a:pt x="1364291" y="71829"/>
                  <a:pt x="1343068" y="93052"/>
                  <a:pt x="1315315" y="93052"/>
                </a:cubicBezTo>
                <a:cubicBezTo>
                  <a:pt x="1290283" y="95229"/>
                  <a:pt x="1266339" y="69109"/>
                  <a:pt x="1266339" y="44076"/>
                </a:cubicBezTo>
                <a:cubicBezTo>
                  <a:pt x="1266339" y="30472"/>
                  <a:pt x="1273141" y="18228"/>
                  <a:pt x="1282732" y="9317"/>
                </a:cubicBezTo>
                <a:close/>
                <a:moveTo>
                  <a:pt x="1148085" y="0"/>
                </a:moveTo>
                <a:lnTo>
                  <a:pt x="1161802" y="0"/>
                </a:lnTo>
                <a:lnTo>
                  <a:pt x="1169637" y="1315"/>
                </a:lnTo>
                <a:cubicBezTo>
                  <a:pt x="1186447" y="8432"/>
                  <a:pt x="1199813" y="26798"/>
                  <a:pt x="1199405" y="45164"/>
                </a:cubicBezTo>
                <a:cubicBezTo>
                  <a:pt x="1198861" y="69652"/>
                  <a:pt x="1175462" y="93596"/>
                  <a:pt x="1151518" y="91419"/>
                </a:cubicBezTo>
                <a:cubicBezTo>
                  <a:pt x="1123765" y="88154"/>
                  <a:pt x="1109072" y="72373"/>
                  <a:pt x="1105807" y="44620"/>
                </a:cubicBezTo>
                <a:cubicBezTo>
                  <a:pt x="1107440" y="30472"/>
                  <a:pt x="1111657" y="19588"/>
                  <a:pt x="1119139" y="11902"/>
                </a:cubicBezTo>
                <a:close/>
              </a:path>
            </a:pathLst>
          </a:custGeom>
          <a:solidFill>
            <a:srgbClr val="9AA8C5">
              <a:alpha val="17000"/>
            </a:srgbClr>
          </a:solidFill>
          <a:ln w="5432" cap="flat">
            <a:noFill/>
            <a:prstDash val="solid"/>
            <a:miter/>
          </a:ln>
        </p:spPr>
        <p:txBody>
          <a:bodyPr rtlCol="0" anchor="ctr"/>
          <a:lstStyle/>
          <a:p>
            <a:endParaRPr lang="en-IN"/>
          </a:p>
        </p:txBody>
      </p:sp>
    </p:spTree>
    <p:extLst>
      <p:ext uri="{BB962C8B-B14F-4D97-AF65-F5344CB8AC3E}">
        <p14:creationId xmlns:p14="http://schemas.microsoft.com/office/powerpoint/2010/main" val="60000257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3_Header 2">
    <p:spTree>
      <p:nvGrpSpPr>
        <p:cNvPr id="1" name=""/>
        <p:cNvGrpSpPr/>
        <p:nvPr/>
      </p:nvGrpSpPr>
      <p:grpSpPr>
        <a:xfrm>
          <a:off x="0" y="0"/>
          <a:ext cx="0" cy="0"/>
          <a:chOff x="0" y="0"/>
          <a:chExt cx="0" cy="0"/>
        </a:xfrm>
      </p:grpSpPr>
      <p:sp>
        <p:nvSpPr>
          <p:cNvPr id="12" name="Title 11">
            <a:extLst>
              <a:ext uri="{FF2B5EF4-FFF2-40B4-BE49-F238E27FC236}">
                <a16:creationId xmlns:a16="http://schemas.microsoft.com/office/drawing/2014/main" id="{42DBC9BA-C3A4-427D-94AA-551C24394CA8}"/>
              </a:ext>
            </a:extLst>
          </p:cNvPr>
          <p:cNvSpPr>
            <a:spLocks noGrp="1"/>
          </p:cNvSpPr>
          <p:nvPr>
            <p:ph type="title" hasCustomPrompt="1"/>
          </p:nvPr>
        </p:nvSpPr>
        <p:spPr>
          <a:xfrm>
            <a:off x="374011" y="185817"/>
            <a:ext cx="10515600" cy="608663"/>
          </a:xfrm>
          <a:prstGeom prst="rect">
            <a:avLst/>
          </a:prstGeom>
        </p:spPr>
        <p:txBody>
          <a:bodyPr/>
          <a:lstStyle>
            <a:lvl1pPr>
              <a:defRPr sz="2600" b="1">
                <a:solidFill>
                  <a:srgbClr val="334D8B"/>
                </a:solidFill>
                <a:latin typeface="+mn-lt"/>
              </a:defRPr>
            </a:lvl1pPr>
          </a:lstStyle>
          <a:p>
            <a:r>
              <a:rPr lang="en-US"/>
              <a:t>Write your Heading here</a:t>
            </a:r>
          </a:p>
        </p:txBody>
      </p:sp>
      <p:sp>
        <p:nvSpPr>
          <p:cNvPr id="11" name="Rectangle: Rounded Corners 29">
            <a:extLst>
              <a:ext uri="{FF2B5EF4-FFF2-40B4-BE49-F238E27FC236}">
                <a16:creationId xmlns:a16="http://schemas.microsoft.com/office/drawing/2014/main" id="{8C410F46-E2D7-C944-BDC6-0A3901C8C478}"/>
              </a:ext>
            </a:extLst>
          </p:cNvPr>
          <p:cNvSpPr/>
          <p:nvPr/>
        </p:nvSpPr>
        <p:spPr>
          <a:xfrm>
            <a:off x="386740" y="1117797"/>
            <a:ext cx="3600000" cy="1575248"/>
          </a:xfrm>
          <a:prstGeom prst="roundRect">
            <a:avLst>
              <a:gd name="adj" fmla="val 5129"/>
            </a:avLst>
          </a:prstGeom>
          <a:solidFill>
            <a:schemeClr val="bg1"/>
          </a:solidFill>
          <a:ln>
            <a:noFill/>
          </a:ln>
          <a:effectLst>
            <a:outerShdw blurRad="88900" sx="102000" sy="102000" algn="ctr"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latin typeface="+mj-lt"/>
            </a:endParaRPr>
          </a:p>
        </p:txBody>
      </p:sp>
      <p:sp>
        <p:nvSpPr>
          <p:cNvPr id="13" name="Rectangle: Rounded Corners 35">
            <a:extLst>
              <a:ext uri="{FF2B5EF4-FFF2-40B4-BE49-F238E27FC236}">
                <a16:creationId xmlns:a16="http://schemas.microsoft.com/office/drawing/2014/main" id="{A5532AA2-C2E0-164D-845E-B28A9D739A66}"/>
              </a:ext>
            </a:extLst>
          </p:cNvPr>
          <p:cNvSpPr/>
          <p:nvPr/>
        </p:nvSpPr>
        <p:spPr>
          <a:xfrm>
            <a:off x="387321" y="1017971"/>
            <a:ext cx="3599418" cy="381068"/>
          </a:xfrm>
          <a:prstGeom prst="roundRect">
            <a:avLst/>
          </a:prstGeom>
          <a:solidFill>
            <a:srgbClr val="33ADAD"/>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914400" rtl="0" eaLnBrk="0" fontAlgn="base" latinLnBrk="0" hangingPunct="0">
              <a:lnSpc>
                <a:spcPct val="100000"/>
              </a:lnSpc>
              <a:spcBef>
                <a:spcPts val="600"/>
              </a:spcBef>
              <a:spcAft>
                <a:spcPct val="0"/>
              </a:spcAft>
              <a:buClrTx/>
              <a:buSzTx/>
              <a:buFontTx/>
              <a:buNone/>
              <a:tabLst/>
              <a:defRPr/>
            </a:pPr>
            <a:r>
              <a:rPr kumimoji="0" lang="en-US" sz="1400" b="1" i="0" u="none" strike="noStrike" kern="1200" cap="none" spc="0" normalizeH="0" baseline="0" noProof="0">
                <a:ln>
                  <a:noFill/>
                </a:ln>
                <a:solidFill>
                  <a:prstClr val="white"/>
                </a:solidFill>
                <a:effectLst/>
                <a:uLnTx/>
                <a:uFillTx/>
                <a:latin typeface="Calibri"/>
                <a:ea typeface="+mn-ea"/>
                <a:cs typeface="+mn-cs"/>
              </a:rPr>
              <a:t> </a:t>
            </a:r>
          </a:p>
        </p:txBody>
      </p:sp>
      <p:sp>
        <p:nvSpPr>
          <p:cNvPr id="23" name="Rectangle: Rounded Corners 29">
            <a:extLst>
              <a:ext uri="{FF2B5EF4-FFF2-40B4-BE49-F238E27FC236}">
                <a16:creationId xmlns:a16="http://schemas.microsoft.com/office/drawing/2014/main" id="{E6C9E6B6-FB6C-0E4A-BE1A-C7969B9B527C}"/>
              </a:ext>
            </a:extLst>
          </p:cNvPr>
          <p:cNvSpPr/>
          <p:nvPr/>
        </p:nvSpPr>
        <p:spPr>
          <a:xfrm>
            <a:off x="386740" y="2933935"/>
            <a:ext cx="3600000" cy="1575249"/>
          </a:xfrm>
          <a:prstGeom prst="roundRect">
            <a:avLst>
              <a:gd name="adj" fmla="val 5129"/>
            </a:avLst>
          </a:prstGeom>
          <a:solidFill>
            <a:schemeClr val="bg1"/>
          </a:solidFill>
          <a:ln>
            <a:noFill/>
          </a:ln>
          <a:effectLst>
            <a:outerShdw blurRad="88900" sx="102000" sy="102000" algn="ctr"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latin typeface="+mj-lt"/>
            </a:endParaRPr>
          </a:p>
        </p:txBody>
      </p:sp>
      <p:sp>
        <p:nvSpPr>
          <p:cNvPr id="24" name="Rectangle: Rounded Corners 35">
            <a:extLst>
              <a:ext uri="{FF2B5EF4-FFF2-40B4-BE49-F238E27FC236}">
                <a16:creationId xmlns:a16="http://schemas.microsoft.com/office/drawing/2014/main" id="{A39DF50D-D815-0944-8CFD-07E410E8DD3C}"/>
              </a:ext>
            </a:extLst>
          </p:cNvPr>
          <p:cNvSpPr/>
          <p:nvPr/>
        </p:nvSpPr>
        <p:spPr>
          <a:xfrm>
            <a:off x="387321" y="2834109"/>
            <a:ext cx="3599418" cy="381068"/>
          </a:xfrm>
          <a:prstGeom prst="roundRect">
            <a:avLst/>
          </a:prstGeom>
          <a:solidFill>
            <a:srgbClr val="33ADAD"/>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914400" rtl="0" eaLnBrk="0" fontAlgn="base" latinLnBrk="0" hangingPunct="0">
              <a:lnSpc>
                <a:spcPct val="100000"/>
              </a:lnSpc>
              <a:spcBef>
                <a:spcPts val="600"/>
              </a:spcBef>
              <a:spcAft>
                <a:spcPct val="0"/>
              </a:spcAft>
              <a:buClrTx/>
              <a:buSzTx/>
              <a:buFontTx/>
              <a:buNone/>
              <a:tabLst/>
              <a:defRPr/>
            </a:pPr>
            <a:r>
              <a:rPr kumimoji="0" lang="en-US" sz="1400" b="1" i="0" u="none" strike="noStrike" kern="1200" cap="none" spc="0" normalizeH="0" baseline="0" noProof="0">
                <a:ln>
                  <a:noFill/>
                </a:ln>
                <a:solidFill>
                  <a:prstClr val="white"/>
                </a:solidFill>
                <a:effectLst/>
                <a:uLnTx/>
                <a:uFillTx/>
                <a:latin typeface="Calibri"/>
                <a:ea typeface="+mn-ea"/>
                <a:cs typeface="+mn-cs"/>
              </a:rPr>
              <a:t> </a:t>
            </a:r>
          </a:p>
        </p:txBody>
      </p:sp>
      <p:sp>
        <p:nvSpPr>
          <p:cNvPr id="32" name="Rectangle: Rounded Corners 29">
            <a:extLst>
              <a:ext uri="{FF2B5EF4-FFF2-40B4-BE49-F238E27FC236}">
                <a16:creationId xmlns:a16="http://schemas.microsoft.com/office/drawing/2014/main" id="{F3BEE0BF-6B05-7341-A5C7-3FB2DBF35D44}"/>
              </a:ext>
            </a:extLst>
          </p:cNvPr>
          <p:cNvSpPr/>
          <p:nvPr/>
        </p:nvSpPr>
        <p:spPr>
          <a:xfrm>
            <a:off x="386740" y="4753095"/>
            <a:ext cx="3600000" cy="1575250"/>
          </a:xfrm>
          <a:prstGeom prst="roundRect">
            <a:avLst>
              <a:gd name="adj" fmla="val 5129"/>
            </a:avLst>
          </a:prstGeom>
          <a:solidFill>
            <a:schemeClr val="bg1"/>
          </a:solidFill>
          <a:ln>
            <a:noFill/>
          </a:ln>
          <a:effectLst>
            <a:outerShdw blurRad="88900" sx="102000" sy="102000" algn="ctr"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latin typeface="+mj-lt"/>
            </a:endParaRPr>
          </a:p>
        </p:txBody>
      </p:sp>
      <p:sp>
        <p:nvSpPr>
          <p:cNvPr id="33" name="Rectangle: Rounded Corners 35">
            <a:extLst>
              <a:ext uri="{FF2B5EF4-FFF2-40B4-BE49-F238E27FC236}">
                <a16:creationId xmlns:a16="http://schemas.microsoft.com/office/drawing/2014/main" id="{22F9CE8F-AA3A-E749-9284-2E5B7394ADB0}"/>
              </a:ext>
            </a:extLst>
          </p:cNvPr>
          <p:cNvSpPr/>
          <p:nvPr/>
        </p:nvSpPr>
        <p:spPr>
          <a:xfrm>
            <a:off x="387321" y="4653269"/>
            <a:ext cx="3599418" cy="381068"/>
          </a:xfrm>
          <a:prstGeom prst="roundRect">
            <a:avLst/>
          </a:prstGeom>
          <a:solidFill>
            <a:srgbClr val="33ADAD"/>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914400" rtl="0" eaLnBrk="0" fontAlgn="base" latinLnBrk="0" hangingPunct="0">
              <a:lnSpc>
                <a:spcPct val="100000"/>
              </a:lnSpc>
              <a:spcBef>
                <a:spcPts val="600"/>
              </a:spcBef>
              <a:spcAft>
                <a:spcPct val="0"/>
              </a:spcAft>
              <a:buClrTx/>
              <a:buSzTx/>
              <a:buFontTx/>
              <a:buNone/>
              <a:tabLst/>
              <a:defRPr/>
            </a:pPr>
            <a:r>
              <a:rPr kumimoji="0" lang="en-US" sz="1400" b="1" i="0" u="none" strike="noStrike" kern="1200" cap="none" spc="0" normalizeH="0" baseline="0" noProof="0">
                <a:ln>
                  <a:noFill/>
                </a:ln>
                <a:solidFill>
                  <a:prstClr val="white"/>
                </a:solidFill>
                <a:effectLst/>
                <a:uLnTx/>
                <a:uFillTx/>
                <a:latin typeface="Calibri"/>
                <a:ea typeface="+mn-ea"/>
                <a:cs typeface="+mn-cs"/>
              </a:rPr>
              <a:t> </a:t>
            </a:r>
          </a:p>
        </p:txBody>
      </p:sp>
      <p:sp>
        <p:nvSpPr>
          <p:cNvPr id="17" name="Rectangle: Rounded Corners 29">
            <a:extLst>
              <a:ext uri="{FF2B5EF4-FFF2-40B4-BE49-F238E27FC236}">
                <a16:creationId xmlns:a16="http://schemas.microsoft.com/office/drawing/2014/main" id="{51DBD123-32D4-E143-8564-DCB9EB381CEB}"/>
              </a:ext>
            </a:extLst>
          </p:cNvPr>
          <p:cNvSpPr/>
          <p:nvPr/>
        </p:nvSpPr>
        <p:spPr>
          <a:xfrm>
            <a:off x="4291388" y="1118162"/>
            <a:ext cx="3600000" cy="1581009"/>
          </a:xfrm>
          <a:prstGeom prst="roundRect">
            <a:avLst>
              <a:gd name="adj" fmla="val 5129"/>
            </a:avLst>
          </a:prstGeom>
          <a:solidFill>
            <a:schemeClr val="bg1"/>
          </a:solidFill>
          <a:ln>
            <a:noFill/>
          </a:ln>
          <a:effectLst>
            <a:outerShdw blurRad="88900" sx="102000" sy="102000" algn="ctr"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latin typeface="+mj-lt"/>
            </a:endParaRPr>
          </a:p>
        </p:txBody>
      </p:sp>
      <p:sp>
        <p:nvSpPr>
          <p:cNvPr id="18" name="Rectangle: Rounded Corners 35">
            <a:extLst>
              <a:ext uri="{FF2B5EF4-FFF2-40B4-BE49-F238E27FC236}">
                <a16:creationId xmlns:a16="http://schemas.microsoft.com/office/drawing/2014/main" id="{29531FA8-410A-F149-84EE-9A526572893F}"/>
              </a:ext>
            </a:extLst>
          </p:cNvPr>
          <p:cNvSpPr/>
          <p:nvPr/>
        </p:nvSpPr>
        <p:spPr>
          <a:xfrm>
            <a:off x="4291969" y="1017971"/>
            <a:ext cx="3599418" cy="382461"/>
          </a:xfrm>
          <a:prstGeom prst="roundRect">
            <a:avLst/>
          </a:prstGeom>
          <a:solidFill>
            <a:srgbClr val="33ADAD"/>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914400" rtl="0" eaLnBrk="0" fontAlgn="base" latinLnBrk="0" hangingPunct="0">
              <a:lnSpc>
                <a:spcPct val="100000"/>
              </a:lnSpc>
              <a:spcBef>
                <a:spcPts val="600"/>
              </a:spcBef>
              <a:spcAft>
                <a:spcPct val="0"/>
              </a:spcAft>
              <a:buClrTx/>
              <a:buSzTx/>
              <a:buFontTx/>
              <a:buNone/>
              <a:tabLst/>
              <a:defRPr/>
            </a:pPr>
            <a:r>
              <a:rPr kumimoji="0" lang="en-US" sz="1400" b="1" i="0" u="none" strike="noStrike" kern="1200" cap="none" spc="0" normalizeH="0" baseline="0" noProof="0">
                <a:ln>
                  <a:noFill/>
                </a:ln>
                <a:solidFill>
                  <a:prstClr val="white"/>
                </a:solidFill>
                <a:effectLst/>
                <a:uLnTx/>
                <a:uFillTx/>
                <a:latin typeface="Calibri"/>
                <a:ea typeface="+mn-ea"/>
                <a:cs typeface="+mn-cs"/>
              </a:rPr>
              <a:t> </a:t>
            </a:r>
          </a:p>
        </p:txBody>
      </p:sp>
      <p:sp>
        <p:nvSpPr>
          <p:cNvPr id="26" name="Rectangle: Rounded Corners 29">
            <a:extLst>
              <a:ext uri="{FF2B5EF4-FFF2-40B4-BE49-F238E27FC236}">
                <a16:creationId xmlns:a16="http://schemas.microsoft.com/office/drawing/2014/main" id="{3C18CCA7-3907-944C-B8C8-272133A1D422}"/>
              </a:ext>
            </a:extLst>
          </p:cNvPr>
          <p:cNvSpPr/>
          <p:nvPr/>
        </p:nvSpPr>
        <p:spPr>
          <a:xfrm>
            <a:off x="4291388" y="2934198"/>
            <a:ext cx="3600000" cy="1579418"/>
          </a:xfrm>
          <a:prstGeom prst="roundRect">
            <a:avLst>
              <a:gd name="adj" fmla="val 5129"/>
            </a:avLst>
          </a:prstGeom>
          <a:solidFill>
            <a:schemeClr val="bg1"/>
          </a:solidFill>
          <a:ln>
            <a:noFill/>
          </a:ln>
          <a:effectLst>
            <a:outerShdw blurRad="88900" sx="102000" sy="102000" algn="ctr"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latin typeface="+mj-lt"/>
            </a:endParaRPr>
          </a:p>
        </p:txBody>
      </p:sp>
      <p:sp>
        <p:nvSpPr>
          <p:cNvPr id="27" name="Rectangle: Rounded Corners 35">
            <a:extLst>
              <a:ext uri="{FF2B5EF4-FFF2-40B4-BE49-F238E27FC236}">
                <a16:creationId xmlns:a16="http://schemas.microsoft.com/office/drawing/2014/main" id="{C00E4067-DA85-7741-AB40-F09BDB24170E}"/>
              </a:ext>
            </a:extLst>
          </p:cNvPr>
          <p:cNvSpPr/>
          <p:nvPr/>
        </p:nvSpPr>
        <p:spPr>
          <a:xfrm>
            <a:off x="4291969" y="2834108"/>
            <a:ext cx="3599418" cy="382076"/>
          </a:xfrm>
          <a:prstGeom prst="roundRect">
            <a:avLst/>
          </a:prstGeom>
          <a:solidFill>
            <a:srgbClr val="33ADAD"/>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914400" rtl="0" eaLnBrk="0" fontAlgn="base" latinLnBrk="0" hangingPunct="0">
              <a:lnSpc>
                <a:spcPct val="100000"/>
              </a:lnSpc>
              <a:spcBef>
                <a:spcPts val="600"/>
              </a:spcBef>
              <a:spcAft>
                <a:spcPct val="0"/>
              </a:spcAft>
              <a:buClrTx/>
              <a:buSzTx/>
              <a:buFontTx/>
              <a:buNone/>
              <a:tabLst/>
              <a:defRPr/>
            </a:pPr>
            <a:r>
              <a:rPr kumimoji="0" lang="en-US" sz="1400" b="1" i="0" u="none" strike="noStrike" kern="1200" cap="none" spc="0" normalizeH="0" baseline="0" noProof="0">
                <a:ln>
                  <a:noFill/>
                </a:ln>
                <a:solidFill>
                  <a:prstClr val="white"/>
                </a:solidFill>
                <a:effectLst/>
                <a:uLnTx/>
                <a:uFillTx/>
                <a:latin typeface="Calibri"/>
                <a:ea typeface="+mn-ea"/>
                <a:cs typeface="+mn-cs"/>
              </a:rPr>
              <a:t> </a:t>
            </a:r>
          </a:p>
        </p:txBody>
      </p:sp>
      <p:sp>
        <p:nvSpPr>
          <p:cNvPr id="35" name="Rectangle: Rounded Corners 29">
            <a:extLst>
              <a:ext uri="{FF2B5EF4-FFF2-40B4-BE49-F238E27FC236}">
                <a16:creationId xmlns:a16="http://schemas.microsoft.com/office/drawing/2014/main" id="{F7CE6502-6F16-F34F-B22A-6F280CE7CFF8}"/>
              </a:ext>
            </a:extLst>
          </p:cNvPr>
          <p:cNvSpPr/>
          <p:nvPr/>
        </p:nvSpPr>
        <p:spPr>
          <a:xfrm>
            <a:off x="4291388" y="4753359"/>
            <a:ext cx="3600000" cy="1579418"/>
          </a:xfrm>
          <a:prstGeom prst="roundRect">
            <a:avLst>
              <a:gd name="adj" fmla="val 5129"/>
            </a:avLst>
          </a:prstGeom>
          <a:solidFill>
            <a:schemeClr val="bg1"/>
          </a:solidFill>
          <a:ln>
            <a:noFill/>
          </a:ln>
          <a:effectLst>
            <a:outerShdw blurRad="88900" sx="102000" sy="102000" algn="ctr"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latin typeface="+mj-lt"/>
            </a:endParaRPr>
          </a:p>
        </p:txBody>
      </p:sp>
      <p:sp>
        <p:nvSpPr>
          <p:cNvPr id="36" name="Rectangle: Rounded Corners 35">
            <a:extLst>
              <a:ext uri="{FF2B5EF4-FFF2-40B4-BE49-F238E27FC236}">
                <a16:creationId xmlns:a16="http://schemas.microsoft.com/office/drawing/2014/main" id="{7B83E41F-E5D2-F346-9966-99FCE27F777E}"/>
              </a:ext>
            </a:extLst>
          </p:cNvPr>
          <p:cNvSpPr/>
          <p:nvPr/>
        </p:nvSpPr>
        <p:spPr>
          <a:xfrm>
            <a:off x="4291969" y="4653269"/>
            <a:ext cx="3599418" cy="382076"/>
          </a:xfrm>
          <a:prstGeom prst="roundRect">
            <a:avLst/>
          </a:prstGeom>
          <a:solidFill>
            <a:srgbClr val="33ADAD"/>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914400" rtl="0" eaLnBrk="0" fontAlgn="base" latinLnBrk="0" hangingPunct="0">
              <a:lnSpc>
                <a:spcPct val="100000"/>
              </a:lnSpc>
              <a:spcBef>
                <a:spcPts val="600"/>
              </a:spcBef>
              <a:spcAft>
                <a:spcPct val="0"/>
              </a:spcAft>
              <a:buClrTx/>
              <a:buSzTx/>
              <a:buFontTx/>
              <a:buNone/>
              <a:tabLst/>
              <a:defRPr/>
            </a:pPr>
            <a:r>
              <a:rPr kumimoji="0" lang="en-US" sz="1400" b="1" i="0" u="none" strike="noStrike" kern="1200" cap="none" spc="0" normalizeH="0" baseline="0" noProof="0">
                <a:ln>
                  <a:noFill/>
                </a:ln>
                <a:solidFill>
                  <a:prstClr val="white"/>
                </a:solidFill>
                <a:effectLst/>
                <a:uLnTx/>
                <a:uFillTx/>
                <a:latin typeface="Calibri"/>
                <a:ea typeface="+mn-ea"/>
                <a:cs typeface="+mn-cs"/>
              </a:rPr>
              <a:t> </a:t>
            </a:r>
          </a:p>
        </p:txBody>
      </p:sp>
      <p:sp>
        <p:nvSpPr>
          <p:cNvPr id="20" name="Rectangle: Rounded Corners 29">
            <a:extLst>
              <a:ext uri="{FF2B5EF4-FFF2-40B4-BE49-F238E27FC236}">
                <a16:creationId xmlns:a16="http://schemas.microsoft.com/office/drawing/2014/main" id="{30AF890F-B4D7-7845-9222-57DB4EBC0CA6}"/>
              </a:ext>
            </a:extLst>
          </p:cNvPr>
          <p:cNvSpPr/>
          <p:nvPr/>
        </p:nvSpPr>
        <p:spPr>
          <a:xfrm>
            <a:off x="8196036" y="1118161"/>
            <a:ext cx="3600000" cy="1581009"/>
          </a:xfrm>
          <a:prstGeom prst="roundRect">
            <a:avLst>
              <a:gd name="adj" fmla="val 5129"/>
            </a:avLst>
          </a:prstGeom>
          <a:solidFill>
            <a:schemeClr val="bg1"/>
          </a:solidFill>
          <a:ln>
            <a:noFill/>
          </a:ln>
          <a:effectLst>
            <a:outerShdw blurRad="88900" sx="102000" sy="102000" algn="ctr"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latin typeface="+mj-lt"/>
            </a:endParaRPr>
          </a:p>
        </p:txBody>
      </p:sp>
      <p:sp>
        <p:nvSpPr>
          <p:cNvPr id="21" name="Rectangle: Rounded Corners 35">
            <a:extLst>
              <a:ext uri="{FF2B5EF4-FFF2-40B4-BE49-F238E27FC236}">
                <a16:creationId xmlns:a16="http://schemas.microsoft.com/office/drawing/2014/main" id="{34484417-E25D-6340-8C2F-1C0EAB64EE47}"/>
              </a:ext>
            </a:extLst>
          </p:cNvPr>
          <p:cNvSpPr/>
          <p:nvPr/>
        </p:nvSpPr>
        <p:spPr>
          <a:xfrm>
            <a:off x="8196617" y="1017970"/>
            <a:ext cx="3599418" cy="382461"/>
          </a:xfrm>
          <a:prstGeom prst="roundRect">
            <a:avLst/>
          </a:prstGeom>
          <a:solidFill>
            <a:srgbClr val="33ADAD"/>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914400" rtl="0" eaLnBrk="0" fontAlgn="base" latinLnBrk="0" hangingPunct="0">
              <a:lnSpc>
                <a:spcPct val="100000"/>
              </a:lnSpc>
              <a:spcBef>
                <a:spcPts val="600"/>
              </a:spcBef>
              <a:spcAft>
                <a:spcPct val="0"/>
              </a:spcAft>
              <a:buClrTx/>
              <a:buSzTx/>
              <a:buFontTx/>
              <a:buNone/>
              <a:tabLst/>
              <a:defRPr/>
            </a:pPr>
            <a:r>
              <a:rPr kumimoji="0" lang="en-US" sz="1400" b="1" i="0" u="none" strike="noStrike" kern="1200" cap="none" spc="0" normalizeH="0" baseline="0" noProof="0">
                <a:ln>
                  <a:noFill/>
                </a:ln>
                <a:solidFill>
                  <a:prstClr val="white"/>
                </a:solidFill>
                <a:effectLst/>
                <a:uLnTx/>
                <a:uFillTx/>
                <a:latin typeface="Calibri"/>
                <a:ea typeface="+mn-ea"/>
                <a:cs typeface="+mn-cs"/>
              </a:rPr>
              <a:t> </a:t>
            </a:r>
          </a:p>
        </p:txBody>
      </p:sp>
      <p:sp>
        <p:nvSpPr>
          <p:cNvPr id="29" name="Rectangle: Rounded Corners 29">
            <a:extLst>
              <a:ext uri="{FF2B5EF4-FFF2-40B4-BE49-F238E27FC236}">
                <a16:creationId xmlns:a16="http://schemas.microsoft.com/office/drawing/2014/main" id="{C16C19C0-F18E-5143-8112-C69DD4032E4B}"/>
              </a:ext>
            </a:extLst>
          </p:cNvPr>
          <p:cNvSpPr/>
          <p:nvPr/>
        </p:nvSpPr>
        <p:spPr>
          <a:xfrm>
            <a:off x="8196036" y="2934298"/>
            <a:ext cx="3600000" cy="1581009"/>
          </a:xfrm>
          <a:prstGeom prst="roundRect">
            <a:avLst>
              <a:gd name="adj" fmla="val 5129"/>
            </a:avLst>
          </a:prstGeom>
          <a:solidFill>
            <a:schemeClr val="bg1"/>
          </a:solidFill>
          <a:ln>
            <a:noFill/>
          </a:ln>
          <a:effectLst>
            <a:outerShdw blurRad="88900" sx="102000" sy="102000" algn="ctr"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latin typeface="+mj-lt"/>
            </a:endParaRPr>
          </a:p>
        </p:txBody>
      </p:sp>
      <p:sp>
        <p:nvSpPr>
          <p:cNvPr id="30" name="Rectangle: Rounded Corners 35">
            <a:extLst>
              <a:ext uri="{FF2B5EF4-FFF2-40B4-BE49-F238E27FC236}">
                <a16:creationId xmlns:a16="http://schemas.microsoft.com/office/drawing/2014/main" id="{8ECF97B2-75D9-8145-ACF7-C67C8849C62D}"/>
              </a:ext>
            </a:extLst>
          </p:cNvPr>
          <p:cNvSpPr/>
          <p:nvPr/>
        </p:nvSpPr>
        <p:spPr>
          <a:xfrm>
            <a:off x="8196617" y="2834107"/>
            <a:ext cx="3599418" cy="382461"/>
          </a:xfrm>
          <a:prstGeom prst="roundRect">
            <a:avLst/>
          </a:prstGeom>
          <a:solidFill>
            <a:srgbClr val="33ADAD"/>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914400" rtl="0" eaLnBrk="0" fontAlgn="base" latinLnBrk="0" hangingPunct="0">
              <a:lnSpc>
                <a:spcPct val="100000"/>
              </a:lnSpc>
              <a:spcBef>
                <a:spcPts val="600"/>
              </a:spcBef>
              <a:spcAft>
                <a:spcPct val="0"/>
              </a:spcAft>
              <a:buClrTx/>
              <a:buSzTx/>
              <a:buFontTx/>
              <a:buNone/>
              <a:tabLst/>
              <a:defRPr/>
            </a:pPr>
            <a:r>
              <a:rPr kumimoji="0" lang="en-US" sz="1400" b="1" i="0" u="none" strike="noStrike" kern="1200" cap="none" spc="0" normalizeH="0" baseline="0" noProof="0">
                <a:ln>
                  <a:noFill/>
                </a:ln>
                <a:solidFill>
                  <a:prstClr val="white"/>
                </a:solidFill>
                <a:effectLst/>
                <a:uLnTx/>
                <a:uFillTx/>
                <a:latin typeface="Calibri"/>
                <a:ea typeface="+mn-ea"/>
                <a:cs typeface="+mn-cs"/>
              </a:rPr>
              <a:t> </a:t>
            </a:r>
          </a:p>
        </p:txBody>
      </p:sp>
      <p:sp>
        <p:nvSpPr>
          <p:cNvPr id="38" name="Rectangle: Rounded Corners 29">
            <a:extLst>
              <a:ext uri="{FF2B5EF4-FFF2-40B4-BE49-F238E27FC236}">
                <a16:creationId xmlns:a16="http://schemas.microsoft.com/office/drawing/2014/main" id="{7AC766BC-D772-8C43-AD71-A8DD8A277FAF}"/>
              </a:ext>
            </a:extLst>
          </p:cNvPr>
          <p:cNvSpPr/>
          <p:nvPr/>
        </p:nvSpPr>
        <p:spPr>
          <a:xfrm>
            <a:off x="8196036" y="4753459"/>
            <a:ext cx="3600000" cy="1581009"/>
          </a:xfrm>
          <a:prstGeom prst="roundRect">
            <a:avLst>
              <a:gd name="adj" fmla="val 5129"/>
            </a:avLst>
          </a:prstGeom>
          <a:solidFill>
            <a:schemeClr val="bg1"/>
          </a:solidFill>
          <a:ln>
            <a:noFill/>
          </a:ln>
          <a:effectLst>
            <a:outerShdw blurRad="88900" sx="102000" sy="102000" algn="ctr"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latin typeface="+mj-lt"/>
            </a:endParaRPr>
          </a:p>
        </p:txBody>
      </p:sp>
      <p:sp>
        <p:nvSpPr>
          <p:cNvPr id="39" name="Rectangle: Rounded Corners 35">
            <a:extLst>
              <a:ext uri="{FF2B5EF4-FFF2-40B4-BE49-F238E27FC236}">
                <a16:creationId xmlns:a16="http://schemas.microsoft.com/office/drawing/2014/main" id="{138E7664-1197-5143-82C8-BE14A33FE833}"/>
              </a:ext>
            </a:extLst>
          </p:cNvPr>
          <p:cNvSpPr/>
          <p:nvPr/>
        </p:nvSpPr>
        <p:spPr>
          <a:xfrm>
            <a:off x="8196617" y="4653268"/>
            <a:ext cx="3599418" cy="382461"/>
          </a:xfrm>
          <a:prstGeom prst="roundRect">
            <a:avLst/>
          </a:prstGeom>
          <a:solidFill>
            <a:srgbClr val="33ADAD"/>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914400" rtl="0" eaLnBrk="0" fontAlgn="base" latinLnBrk="0" hangingPunct="0">
              <a:lnSpc>
                <a:spcPct val="100000"/>
              </a:lnSpc>
              <a:spcBef>
                <a:spcPts val="600"/>
              </a:spcBef>
              <a:spcAft>
                <a:spcPct val="0"/>
              </a:spcAft>
              <a:buClrTx/>
              <a:buSzTx/>
              <a:buFontTx/>
              <a:buNone/>
              <a:tabLst/>
              <a:defRPr/>
            </a:pPr>
            <a:r>
              <a:rPr kumimoji="0" lang="en-US" sz="1400" b="1" i="0" u="none" strike="noStrike" kern="1200" cap="none" spc="0" normalizeH="0" baseline="0" noProof="0">
                <a:ln>
                  <a:noFill/>
                </a:ln>
                <a:solidFill>
                  <a:prstClr val="white"/>
                </a:solidFill>
                <a:effectLst/>
                <a:uLnTx/>
                <a:uFillTx/>
                <a:latin typeface="Calibri"/>
                <a:ea typeface="+mn-ea"/>
                <a:cs typeface="+mn-cs"/>
              </a:rPr>
              <a:t> </a:t>
            </a:r>
          </a:p>
        </p:txBody>
      </p:sp>
      <p:sp>
        <p:nvSpPr>
          <p:cNvPr id="42" name="Text Placeholder 3">
            <a:extLst>
              <a:ext uri="{FF2B5EF4-FFF2-40B4-BE49-F238E27FC236}">
                <a16:creationId xmlns:a16="http://schemas.microsoft.com/office/drawing/2014/main" id="{828AC549-495B-6E4A-9899-4F244D264C7A}"/>
              </a:ext>
            </a:extLst>
          </p:cNvPr>
          <p:cNvSpPr>
            <a:spLocks noGrp="1"/>
          </p:cNvSpPr>
          <p:nvPr>
            <p:ph type="body" sz="half" idx="2" hasCustomPrompt="1"/>
          </p:nvPr>
        </p:nvSpPr>
        <p:spPr>
          <a:xfrm>
            <a:off x="526919" y="1709128"/>
            <a:ext cx="3204000" cy="608663"/>
          </a:xfrm>
          <a:prstGeom prst="rect">
            <a:avLst/>
          </a:prstGeom>
        </p:spPr>
        <p:txBody>
          <a:bodyPr>
            <a:normAutofit/>
          </a:bodyPr>
          <a:lstStyle>
            <a:lvl1pPr marL="0" indent="0">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Write your text here</a:t>
            </a:r>
          </a:p>
        </p:txBody>
      </p:sp>
      <p:sp>
        <p:nvSpPr>
          <p:cNvPr id="43" name="Text Placeholder 3">
            <a:extLst>
              <a:ext uri="{FF2B5EF4-FFF2-40B4-BE49-F238E27FC236}">
                <a16:creationId xmlns:a16="http://schemas.microsoft.com/office/drawing/2014/main" id="{87D619AB-BE9F-6940-8FCB-845DB0E26969}"/>
              </a:ext>
            </a:extLst>
          </p:cNvPr>
          <p:cNvSpPr>
            <a:spLocks noGrp="1"/>
          </p:cNvSpPr>
          <p:nvPr>
            <p:ph type="body" sz="half" idx="10" hasCustomPrompt="1"/>
          </p:nvPr>
        </p:nvSpPr>
        <p:spPr>
          <a:xfrm>
            <a:off x="4435656" y="1709128"/>
            <a:ext cx="3204000" cy="608663"/>
          </a:xfrm>
          <a:prstGeom prst="rect">
            <a:avLst/>
          </a:prstGeom>
        </p:spPr>
        <p:txBody>
          <a:bodyPr>
            <a:normAutofit/>
          </a:bodyPr>
          <a:lstStyle>
            <a:lvl1pPr marL="0" indent="0">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Write your text here</a:t>
            </a:r>
          </a:p>
        </p:txBody>
      </p:sp>
      <p:sp>
        <p:nvSpPr>
          <p:cNvPr id="44" name="Text Placeholder 3">
            <a:extLst>
              <a:ext uri="{FF2B5EF4-FFF2-40B4-BE49-F238E27FC236}">
                <a16:creationId xmlns:a16="http://schemas.microsoft.com/office/drawing/2014/main" id="{E0D9325B-78D2-894C-A139-C98B3B5E3821}"/>
              </a:ext>
            </a:extLst>
          </p:cNvPr>
          <p:cNvSpPr>
            <a:spLocks noGrp="1"/>
          </p:cNvSpPr>
          <p:nvPr>
            <p:ph type="body" sz="half" idx="11" hasCustomPrompt="1"/>
          </p:nvPr>
        </p:nvSpPr>
        <p:spPr>
          <a:xfrm>
            <a:off x="8352327" y="1709128"/>
            <a:ext cx="3204000" cy="608663"/>
          </a:xfrm>
          <a:prstGeom prst="rect">
            <a:avLst/>
          </a:prstGeom>
        </p:spPr>
        <p:txBody>
          <a:bodyPr>
            <a:normAutofit/>
          </a:bodyPr>
          <a:lstStyle>
            <a:lvl1pPr marL="0" indent="0">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Write your text here</a:t>
            </a:r>
          </a:p>
        </p:txBody>
      </p:sp>
      <p:sp>
        <p:nvSpPr>
          <p:cNvPr id="45" name="Text Placeholder 3">
            <a:extLst>
              <a:ext uri="{FF2B5EF4-FFF2-40B4-BE49-F238E27FC236}">
                <a16:creationId xmlns:a16="http://schemas.microsoft.com/office/drawing/2014/main" id="{8C1A8DFE-BB3E-144F-A221-693FCE316B9D}"/>
              </a:ext>
            </a:extLst>
          </p:cNvPr>
          <p:cNvSpPr>
            <a:spLocks noGrp="1"/>
          </p:cNvSpPr>
          <p:nvPr>
            <p:ph type="body" sz="half" idx="12" hasCustomPrompt="1"/>
          </p:nvPr>
        </p:nvSpPr>
        <p:spPr>
          <a:xfrm>
            <a:off x="8352327" y="3617441"/>
            <a:ext cx="3204000" cy="608663"/>
          </a:xfrm>
          <a:prstGeom prst="rect">
            <a:avLst/>
          </a:prstGeom>
        </p:spPr>
        <p:txBody>
          <a:bodyPr>
            <a:normAutofit/>
          </a:bodyPr>
          <a:lstStyle>
            <a:lvl1pPr marL="0" indent="0">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Write your text here</a:t>
            </a:r>
          </a:p>
        </p:txBody>
      </p:sp>
      <p:sp>
        <p:nvSpPr>
          <p:cNvPr id="46" name="Text Placeholder 3">
            <a:extLst>
              <a:ext uri="{FF2B5EF4-FFF2-40B4-BE49-F238E27FC236}">
                <a16:creationId xmlns:a16="http://schemas.microsoft.com/office/drawing/2014/main" id="{C51240F9-4E8B-E744-BA99-04D7AC461CAD}"/>
              </a:ext>
            </a:extLst>
          </p:cNvPr>
          <p:cNvSpPr>
            <a:spLocks noGrp="1"/>
          </p:cNvSpPr>
          <p:nvPr>
            <p:ph type="body" sz="half" idx="13" hasCustomPrompt="1"/>
          </p:nvPr>
        </p:nvSpPr>
        <p:spPr>
          <a:xfrm>
            <a:off x="4435656" y="3617441"/>
            <a:ext cx="3204000" cy="608663"/>
          </a:xfrm>
          <a:prstGeom prst="rect">
            <a:avLst/>
          </a:prstGeom>
        </p:spPr>
        <p:txBody>
          <a:bodyPr>
            <a:normAutofit/>
          </a:bodyPr>
          <a:lstStyle>
            <a:lvl1pPr marL="0" indent="0">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Write your text here</a:t>
            </a:r>
          </a:p>
        </p:txBody>
      </p:sp>
      <p:sp>
        <p:nvSpPr>
          <p:cNvPr id="47" name="Text Placeholder 3">
            <a:extLst>
              <a:ext uri="{FF2B5EF4-FFF2-40B4-BE49-F238E27FC236}">
                <a16:creationId xmlns:a16="http://schemas.microsoft.com/office/drawing/2014/main" id="{30046D0C-CA33-BB4D-B1FC-48386405C5E0}"/>
              </a:ext>
            </a:extLst>
          </p:cNvPr>
          <p:cNvSpPr>
            <a:spLocks noGrp="1"/>
          </p:cNvSpPr>
          <p:nvPr>
            <p:ph type="body" sz="half" idx="14" hasCustomPrompt="1"/>
          </p:nvPr>
        </p:nvSpPr>
        <p:spPr>
          <a:xfrm>
            <a:off x="526919" y="3617441"/>
            <a:ext cx="3204000" cy="608663"/>
          </a:xfrm>
          <a:prstGeom prst="rect">
            <a:avLst/>
          </a:prstGeom>
        </p:spPr>
        <p:txBody>
          <a:bodyPr>
            <a:normAutofit/>
          </a:bodyPr>
          <a:lstStyle>
            <a:lvl1pPr marL="0" indent="0">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Write your text here</a:t>
            </a:r>
          </a:p>
        </p:txBody>
      </p:sp>
      <p:sp>
        <p:nvSpPr>
          <p:cNvPr id="48" name="Text Placeholder 3">
            <a:extLst>
              <a:ext uri="{FF2B5EF4-FFF2-40B4-BE49-F238E27FC236}">
                <a16:creationId xmlns:a16="http://schemas.microsoft.com/office/drawing/2014/main" id="{01DC8254-051B-E34A-871D-6260B285E8EC}"/>
              </a:ext>
            </a:extLst>
          </p:cNvPr>
          <p:cNvSpPr>
            <a:spLocks noGrp="1"/>
          </p:cNvSpPr>
          <p:nvPr>
            <p:ph type="body" sz="half" idx="15" hasCustomPrompt="1"/>
          </p:nvPr>
        </p:nvSpPr>
        <p:spPr>
          <a:xfrm>
            <a:off x="526919" y="5167947"/>
            <a:ext cx="3204000" cy="608663"/>
          </a:xfrm>
          <a:prstGeom prst="rect">
            <a:avLst/>
          </a:prstGeom>
        </p:spPr>
        <p:txBody>
          <a:bodyPr>
            <a:normAutofit/>
          </a:bodyPr>
          <a:lstStyle>
            <a:lvl1pPr marL="0" indent="0">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Write your text here</a:t>
            </a:r>
          </a:p>
        </p:txBody>
      </p:sp>
      <p:sp>
        <p:nvSpPr>
          <p:cNvPr id="49" name="Text Placeholder 3">
            <a:extLst>
              <a:ext uri="{FF2B5EF4-FFF2-40B4-BE49-F238E27FC236}">
                <a16:creationId xmlns:a16="http://schemas.microsoft.com/office/drawing/2014/main" id="{B7319033-C103-9E4B-9D90-C98A67C41B22}"/>
              </a:ext>
            </a:extLst>
          </p:cNvPr>
          <p:cNvSpPr>
            <a:spLocks noGrp="1"/>
          </p:cNvSpPr>
          <p:nvPr>
            <p:ph type="body" sz="half" idx="16" hasCustomPrompt="1"/>
          </p:nvPr>
        </p:nvSpPr>
        <p:spPr>
          <a:xfrm>
            <a:off x="4435656" y="5167947"/>
            <a:ext cx="3204000" cy="608663"/>
          </a:xfrm>
          <a:prstGeom prst="rect">
            <a:avLst/>
          </a:prstGeom>
        </p:spPr>
        <p:txBody>
          <a:bodyPr>
            <a:normAutofit/>
          </a:bodyPr>
          <a:lstStyle>
            <a:lvl1pPr marL="0" indent="0">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Write your text here</a:t>
            </a:r>
          </a:p>
        </p:txBody>
      </p:sp>
      <p:sp>
        <p:nvSpPr>
          <p:cNvPr id="50" name="Text Placeholder 3">
            <a:extLst>
              <a:ext uri="{FF2B5EF4-FFF2-40B4-BE49-F238E27FC236}">
                <a16:creationId xmlns:a16="http://schemas.microsoft.com/office/drawing/2014/main" id="{0E0B0921-86C9-FD47-8ED8-97F4D7C9E0E0}"/>
              </a:ext>
            </a:extLst>
          </p:cNvPr>
          <p:cNvSpPr>
            <a:spLocks noGrp="1"/>
          </p:cNvSpPr>
          <p:nvPr>
            <p:ph type="body" sz="half" idx="17" hasCustomPrompt="1"/>
          </p:nvPr>
        </p:nvSpPr>
        <p:spPr>
          <a:xfrm>
            <a:off x="8352327" y="5167947"/>
            <a:ext cx="3204000" cy="608663"/>
          </a:xfrm>
          <a:prstGeom prst="rect">
            <a:avLst/>
          </a:prstGeom>
        </p:spPr>
        <p:txBody>
          <a:bodyPr>
            <a:normAutofit/>
          </a:bodyPr>
          <a:lstStyle>
            <a:lvl1pPr marL="0" indent="0">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Write your text here</a:t>
            </a:r>
          </a:p>
        </p:txBody>
      </p:sp>
      <p:sp>
        <p:nvSpPr>
          <p:cNvPr id="53" name="Text Placeholder 3">
            <a:extLst>
              <a:ext uri="{FF2B5EF4-FFF2-40B4-BE49-F238E27FC236}">
                <a16:creationId xmlns:a16="http://schemas.microsoft.com/office/drawing/2014/main" id="{EACD705A-DE6D-144C-BE97-D7856FF855C4}"/>
              </a:ext>
            </a:extLst>
          </p:cNvPr>
          <p:cNvSpPr>
            <a:spLocks noGrp="1"/>
          </p:cNvSpPr>
          <p:nvPr>
            <p:ph type="body" sz="half" idx="33" hasCustomPrompt="1"/>
          </p:nvPr>
        </p:nvSpPr>
        <p:spPr>
          <a:xfrm>
            <a:off x="526919" y="1076418"/>
            <a:ext cx="3204000" cy="269234"/>
          </a:xfrm>
          <a:prstGeom prst="rect">
            <a:avLst/>
          </a:prstGeom>
        </p:spPr>
        <p:txBody>
          <a:bodyPr>
            <a:noAutofit/>
          </a:bodyPr>
          <a:lstStyle>
            <a:lvl1pPr marL="0" indent="0">
              <a:buNone/>
              <a:defRPr sz="1200" b="1">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Heading</a:t>
            </a:r>
          </a:p>
        </p:txBody>
      </p:sp>
      <p:sp>
        <p:nvSpPr>
          <p:cNvPr id="54" name="Text Placeholder 3">
            <a:extLst>
              <a:ext uri="{FF2B5EF4-FFF2-40B4-BE49-F238E27FC236}">
                <a16:creationId xmlns:a16="http://schemas.microsoft.com/office/drawing/2014/main" id="{E1ADBD76-CA33-644D-B93D-19D551B08C86}"/>
              </a:ext>
            </a:extLst>
          </p:cNvPr>
          <p:cNvSpPr>
            <a:spLocks noGrp="1"/>
          </p:cNvSpPr>
          <p:nvPr>
            <p:ph type="body" sz="half" idx="34" hasCustomPrompt="1"/>
          </p:nvPr>
        </p:nvSpPr>
        <p:spPr>
          <a:xfrm>
            <a:off x="8352327" y="1097856"/>
            <a:ext cx="3204000" cy="269234"/>
          </a:xfrm>
          <a:prstGeom prst="rect">
            <a:avLst/>
          </a:prstGeom>
        </p:spPr>
        <p:txBody>
          <a:bodyPr>
            <a:noAutofit/>
          </a:bodyPr>
          <a:lstStyle>
            <a:lvl1pPr marL="0" indent="0">
              <a:buNone/>
              <a:defRPr sz="1200" b="1">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Heading</a:t>
            </a:r>
          </a:p>
        </p:txBody>
      </p:sp>
      <p:sp>
        <p:nvSpPr>
          <p:cNvPr id="55" name="Text Placeholder 3">
            <a:extLst>
              <a:ext uri="{FF2B5EF4-FFF2-40B4-BE49-F238E27FC236}">
                <a16:creationId xmlns:a16="http://schemas.microsoft.com/office/drawing/2014/main" id="{A3285D86-0BF6-124B-866E-754A4675948C}"/>
              </a:ext>
            </a:extLst>
          </p:cNvPr>
          <p:cNvSpPr>
            <a:spLocks noGrp="1"/>
          </p:cNvSpPr>
          <p:nvPr>
            <p:ph type="body" sz="half" idx="35" hasCustomPrompt="1"/>
          </p:nvPr>
        </p:nvSpPr>
        <p:spPr>
          <a:xfrm>
            <a:off x="4435656" y="1058099"/>
            <a:ext cx="3204000" cy="269234"/>
          </a:xfrm>
          <a:prstGeom prst="rect">
            <a:avLst/>
          </a:prstGeom>
        </p:spPr>
        <p:txBody>
          <a:bodyPr>
            <a:noAutofit/>
          </a:bodyPr>
          <a:lstStyle>
            <a:lvl1pPr marL="0" indent="0">
              <a:buNone/>
              <a:defRPr sz="1200" b="1">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Heading</a:t>
            </a:r>
          </a:p>
        </p:txBody>
      </p:sp>
      <p:sp>
        <p:nvSpPr>
          <p:cNvPr id="56" name="Text Placeholder 3">
            <a:extLst>
              <a:ext uri="{FF2B5EF4-FFF2-40B4-BE49-F238E27FC236}">
                <a16:creationId xmlns:a16="http://schemas.microsoft.com/office/drawing/2014/main" id="{35AB8324-29F5-BC44-BEE3-96CDE9BD1DDD}"/>
              </a:ext>
            </a:extLst>
          </p:cNvPr>
          <p:cNvSpPr>
            <a:spLocks noGrp="1"/>
          </p:cNvSpPr>
          <p:nvPr>
            <p:ph type="body" sz="half" idx="36" hasCustomPrompt="1"/>
          </p:nvPr>
        </p:nvSpPr>
        <p:spPr>
          <a:xfrm>
            <a:off x="526919" y="2920030"/>
            <a:ext cx="3204000" cy="269234"/>
          </a:xfrm>
          <a:prstGeom prst="rect">
            <a:avLst/>
          </a:prstGeom>
        </p:spPr>
        <p:txBody>
          <a:bodyPr>
            <a:noAutofit/>
          </a:bodyPr>
          <a:lstStyle>
            <a:lvl1pPr marL="0" indent="0">
              <a:buNone/>
              <a:defRPr sz="1200" b="1">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Heading</a:t>
            </a:r>
          </a:p>
        </p:txBody>
      </p:sp>
      <p:sp>
        <p:nvSpPr>
          <p:cNvPr id="57" name="Text Placeholder 3">
            <a:extLst>
              <a:ext uri="{FF2B5EF4-FFF2-40B4-BE49-F238E27FC236}">
                <a16:creationId xmlns:a16="http://schemas.microsoft.com/office/drawing/2014/main" id="{1DA4FB0D-AB79-6B43-B05F-8ADA3973B61C}"/>
              </a:ext>
            </a:extLst>
          </p:cNvPr>
          <p:cNvSpPr>
            <a:spLocks noGrp="1"/>
          </p:cNvSpPr>
          <p:nvPr>
            <p:ph type="body" sz="half" idx="37" hasCustomPrompt="1"/>
          </p:nvPr>
        </p:nvSpPr>
        <p:spPr>
          <a:xfrm>
            <a:off x="8352327" y="2920030"/>
            <a:ext cx="3204000" cy="269234"/>
          </a:xfrm>
          <a:prstGeom prst="rect">
            <a:avLst/>
          </a:prstGeom>
        </p:spPr>
        <p:txBody>
          <a:bodyPr>
            <a:noAutofit/>
          </a:bodyPr>
          <a:lstStyle>
            <a:lvl1pPr marL="0" indent="0">
              <a:buNone/>
              <a:defRPr sz="1200" b="1">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Heading</a:t>
            </a:r>
          </a:p>
        </p:txBody>
      </p:sp>
      <p:sp>
        <p:nvSpPr>
          <p:cNvPr id="58" name="Text Placeholder 3">
            <a:extLst>
              <a:ext uri="{FF2B5EF4-FFF2-40B4-BE49-F238E27FC236}">
                <a16:creationId xmlns:a16="http://schemas.microsoft.com/office/drawing/2014/main" id="{DCD5C689-4716-DA44-AA01-00C3DADC7732}"/>
              </a:ext>
            </a:extLst>
          </p:cNvPr>
          <p:cNvSpPr>
            <a:spLocks noGrp="1"/>
          </p:cNvSpPr>
          <p:nvPr>
            <p:ph type="body" sz="half" idx="38" hasCustomPrompt="1"/>
          </p:nvPr>
        </p:nvSpPr>
        <p:spPr>
          <a:xfrm>
            <a:off x="4435656" y="2920030"/>
            <a:ext cx="3204000" cy="269234"/>
          </a:xfrm>
          <a:prstGeom prst="rect">
            <a:avLst/>
          </a:prstGeom>
        </p:spPr>
        <p:txBody>
          <a:bodyPr>
            <a:noAutofit/>
          </a:bodyPr>
          <a:lstStyle>
            <a:lvl1pPr marL="0" indent="0">
              <a:buNone/>
              <a:defRPr sz="1200" b="1">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Heading</a:t>
            </a:r>
          </a:p>
        </p:txBody>
      </p:sp>
      <p:sp>
        <p:nvSpPr>
          <p:cNvPr id="59" name="Text Placeholder 3">
            <a:extLst>
              <a:ext uri="{FF2B5EF4-FFF2-40B4-BE49-F238E27FC236}">
                <a16:creationId xmlns:a16="http://schemas.microsoft.com/office/drawing/2014/main" id="{ADBC0B6F-F237-6C40-A3E6-79772F53147E}"/>
              </a:ext>
            </a:extLst>
          </p:cNvPr>
          <p:cNvSpPr>
            <a:spLocks noGrp="1"/>
          </p:cNvSpPr>
          <p:nvPr>
            <p:ph type="body" sz="half" idx="39" hasCustomPrompt="1"/>
          </p:nvPr>
        </p:nvSpPr>
        <p:spPr>
          <a:xfrm>
            <a:off x="526919" y="4709075"/>
            <a:ext cx="3204000" cy="269234"/>
          </a:xfrm>
          <a:prstGeom prst="rect">
            <a:avLst/>
          </a:prstGeom>
        </p:spPr>
        <p:txBody>
          <a:bodyPr>
            <a:noAutofit/>
          </a:bodyPr>
          <a:lstStyle>
            <a:lvl1pPr marL="0" indent="0">
              <a:buNone/>
              <a:defRPr sz="1200" b="1">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Heading</a:t>
            </a:r>
          </a:p>
        </p:txBody>
      </p:sp>
      <p:sp>
        <p:nvSpPr>
          <p:cNvPr id="60" name="Text Placeholder 3">
            <a:extLst>
              <a:ext uri="{FF2B5EF4-FFF2-40B4-BE49-F238E27FC236}">
                <a16:creationId xmlns:a16="http://schemas.microsoft.com/office/drawing/2014/main" id="{F4500620-955E-7245-8689-4711EE855E1A}"/>
              </a:ext>
            </a:extLst>
          </p:cNvPr>
          <p:cNvSpPr>
            <a:spLocks noGrp="1"/>
          </p:cNvSpPr>
          <p:nvPr>
            <p:ph type="body" sz="half" idx="40" hasCustomPrompt="1"/>
          </p:nvPr>
        </p:nvSpPr>
        <p:spPr>
          <a:xfrm>
            <a:off x="8352327" y="4709075"/>
            <a:ext cx="3204000" cy="269234"/>
          </a:xfrm>
          <a:prstGeom prst="rect">
            <a:avLst/>
          </a:prstGeom>
        </p:spPr>
        <p:txBody>
          <a:bodyPr>
            <a:noAutofit/>
          </a:bodyPr>
          <a:lstStyle>
            <a:lvl1pPr marL="0" indent="0">
              <a:buNone/>
              <a:defRPr sz="1200" b="1">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Heading</a:t>
            </a:r>
          </a:p>
        </p:txBody>
      </p:sp>
      <p:sp>
        <p:nvSpPr>
          <p:cNvPr id="61" name="Text Placeholder 3">
            <a:extLst>
              <a:ext uri="{FF2B5EF4-FFF2-40B4-BE49-F238E27FC236}">
                <a16:creationId xmlns:a16="http://schemas.microsoft.com/office/drawing/2014/main" id="{EC91577B-8CC5-2C4C-97F7-1E2AD8770F46}"/>
              </a:ext>
            </a:extLst>
          </p:cNvPr>
          <p:cNvSpPr>
            <a:spLocks noGrp="1"/>
          </p:cNvSpPr>
          <p:nvPr>
            <p:ph type="body" sz="half" idx="41" hasCustomPrompt="1"/>
          </p:nvPr>
        </p:nvSpPr>
        <p:spPr>
          <a:xfrm>
            <a:off x="4435656" y="4709075"/>
            <a:ext cx="3204000" cy="269234"/>
          </a:xfrm>
          <a:prstGeom prst="rect">
            <a:avLst/>
          </a:prstGeom>
        </p:spPr>
        <p:txBody>
          <a:bodyPr>
            <a:noAutofit/>
          </a:bodyPr>
          <a:lstStyle>
            <a:lvl1pPr marL="0" indent="0">
              <a:buNone/>
              <a:defRPr sz="1200" b="1">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Heading</a:t>
            </a:r>
          </a:p>
        </p:txBody>
      </p:sp>
      <p:sp>
        <p:nvSpPr>
          <p:cNvPr id="63" name="Slide Number Placeholder 5">
            <a:extLst>
              <a:ext uri="{FF2B5EF4-FFF2-40B4-BE49-F238E27FC236}">
                <a16:creationId xmlns:a16="http://schemas.microsoft.com/office/drawing/2014/main" id="{6F60EB86-BF7D-4E54-9EFD-42C956BBB263}"/>
              </a:ext>
            </a:extLst>
          </p:cNvPr>
          <p:cNvSpPr txBox="1">
            <a:spLocks/>
          </p:cNvSpPr>
          <p:nvPr userDrawn="1"/>
        </p:nvSpPr>
        <p:spPr>
          <a:xfrm>
            <a:off x="11373135" y="6506785"/>
            <a:ext cx="609600" cy="261610"/>
          </a:xfrm>
          <a:prstGeom prst="rect">
            <a:avLst/>
          </a:prstGeom>
          <a:noFill/>
        </p:spPr>
        <p:txBody>
          <a:bodyPr>
            <a:spAutoFit/>
          </a:bodyPr>
          <a:lstStyle>
            <a:defPPr>
              <a:defRPr lang="en-US"/>
            </a:defPPr>
            <a:lvl1pPr marL="0" algn="ctr" defTabSz="914400" rtl="0" eaLnBrk="1" latinLnBrk="0" hangingPunct="1">
              <a:defRPr lang="en-US" sz="1800" kern="1200" smtClean="0">
                <a:solidFill>
                  <a:schemeClr val="bg1"/>
                </a:solidFill>
                <a:latin typeface="Tahoma" pitchFamily="34" charset="0"/>
                <a:ea typeface="Tahoma" pitchFamily="34" charset="0"/>
                <a:cs typeface="Tahoma"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fld id="{3413C1ED-5599-4BB6-878F-244F2E6B8E4A}" type="slidenum">
              <a:rPr lang="en-IN" sz="1100">
                <a:solidFill>
                  <a:prstClr val="black">
                    <a:lumMod val="50000"/>
                    <a:lumOff val="50000"/>
                  </a:prstClr>
                </a:solidFill>
              </a:rPr>
              <a:pPr fontAlgn="auto">
                <a:spcBef>
                  <a:spcPts val="0"/>
                </a:spcBef>
                <a:spcAft>
                  <a:spcPts val="0"/>
                </a:spcAft>
                <a:defRPr/>
              </a:pPr>
              <a:t>‹#›</a:t>
            </a:fld>
            <a:endParaRPr lang="en-IN" sz="1100">
              <a:solidFill>
                <a:prstClr val="black">
                  <a:lumMod val="50000"/>
                  <a:lumOff val="50000"/>
                </a:prstClr>
              </a:solidFill>
            </a:endParaRPr>
          </a:p>
        </p:txBody>
      </p:sp>
      <p:pic>
        <p:nvPicPr>
          <p:cNvPr id="64" name="Picture 63">
            <a:extLst>
              <a:ext uri="{FF2B5EF4-FFF2-40B4-BE49-F238E27FC236}">
                <a16:creationId xmlns:a16="http://schemas.microsoft.com/office/drawing/2014/main" id="{915A1BE8-512A-432E-9543-49B8C35CB18A}"/>
              </a:ext>
            </a:extLst>
          </p:cNvPr>
          <p:cNvPicPr>
            <a:picLocks noChangeAspect="1"/>
          </p:cNvPicPr>
          <p:nvPr userDrawn="1"/>
        </p:nvPicPr>
        <p:blipFill>
          <a:blip r:embed="rId2"/>
          <a:stretch>
            <a:fillRect/>
          </a:stretch>
        </p:blipFill>
        <p:spPr>
          <a:xfrm>
            <a:off x="464908" y="6506785"/>
            <a:ext cx="1148260" cy="138938"/>
          </a:xfrm>
          <a:prstGeom prst="rect">
            <a:avLst/>
          </a:prstGeom>
        </p:spPr>
      </p:pic>
      <p:sp>
        <p:nvSpPr>
          <p:cNvPr id="65" name="Freeform: Shape 14">
            <a:extLst>
              <a:ext uri="{FF2B5EF4-FFF2-40B4-BE49-F238E27FC236}">
                <a16:creationId xmlns:a16="http://schemas.microsoft.com/office/drawing/2014/main" id="{ADF3E221-1EAD-4E81-827E-278F4C01C398}"/>
              </a:ext>
            </a:extLst>
          </p:cNvPr>
          <p:cNvSpPr/>
          <p:nvPr userDrawn="1"/>
        </p:nvSpPr>
        <p:spPr>
          <a:xfrm rot="5400000" flipH="1">
            <a:off x="10650813" y="-6388"/>
            <a:ext cx="1528833" cy="1553542"/>
          </a:xfrm>
          <a:custGeom>
            <a:avLst/>
            <a:gdLst>
              <a:gd name="connsiteX0" fmla="*/ 2051041 w 2051041"/>
              <a:gd name="connsiteY0" fmla="*/ 2080382 h 2084191"/>
              <a:gd name="connsiteX1" fmla="*/ 2051041 w 2051041"/>
              <a:gd name="connsiteY1" fmla="*/ 2083967 h 2084191"/>
              <a:gd name="connsiteX2" fmla="*/ 2047231 w 2051041"/>
              <a:gd name="connsiteY2" fmla="*/ 2084191 h 2084191"/>
              <a:gd name="connsiteX3" fmla="*/ 2045599 w 2051041"/>
              <a:gd name="connsiteY3" fmla="*/ 2081470 h 2084191"/>
              <a:gd name="connsiteX4" fmla="*/ 1478568 w 2051041"/>
              <a:gd name="connsiteY4" fmla="*/ 1997668 h 2084191"/>
              <a:gd name="connsiteX5" fmla="*/ 1484554 w 2051041"/>
              <a:gd name="connsiteY5" fmla="*/ 2004743 h 2084191"/>
              <a:gd name="connsiteX6" fmla="*/ 1478568 w 2051041"/>
              <a:gd name="connsiteY6" fmla="*/ 2009096 h 2084191"/>
              <a:gd name="connsiteX7" fmla="*/ 1473126 w 2051041"/>
              <a:gd name="connsiteY7" fmla="*/ 2003654 h 2084191"/>
              <a:gd name="connsiteX8" fmla="*/ 1478568 w 2051041"/>
              <a:gd name="connsiteY8" fmla="*/ 1997668 h 2084191"/>
              <a:gd name="connsiteX9" fmla="*/ 1641820 w 2051041"/>
              <a:gd name="connsiteY9" fmla="*/ 1993859 h 2084191"/>
              <a:gd name="connsiteX10" fmla="*/ 1652160 w 2051041"/>
              <a:gd name="connsiteY10" fmla="*/ 2003654 h 2084191"/>
              <a:gd name="connsiteX11" fmla="*/ 1641820 w 2051041"/>
              <a:gd name="connsiteY11" fmla="*/ 2013449 h 2084191"/>
              <a:gd name="connsiteX12" fmla="*/ 1632025 w 2051041"/>
              <a:gd name="connsiteY12" fmla="*/ 2003654 h 2084191"/>
              <a:gd name="connsiteX13" fmla="*/ 1641820 w 2051041"/>
              <a:gd name="connsiteY13" fmla="*/ 1993859 h 2084191"/>
              <a:gd name="connsiteX14" fmla="*/ 1969414 w 2051041"/>
              <a:gd name="connsiteY14" fmla="*/ 1992226 h 2084191"/>
              <a:gd name="connsiteX15" fmla="*/ 1979753 w 2051041"/>
              <a:gd name="connsiteY15" fmla="*/ 2003654 h 2084191"/>
              <a:gd name="connsiteX16" fmla="*/ 1968325 w 2051041"/>
              <a:gd name="connsiteY16" fmla="*/ 2014537 h 2084191"/>
              <a:gd name="connsiteX17" fmla="*/ 1957986 w 2051041"/>
              <a:gd name="connsiteY17" fmla="*/ 2003110 h 2084191"/>
              <a:gd name="connsiteX18" fmla="*/ 1969414 w 2051041"/>
              <a:gd name="connsiteY18" fmla="*/ 1992226 h 2084191"/>
              <a:gd name="connsiteX19" fmla="*/ 1805073 w 2051041"/>
              <a:gd name="connsiteY19" fmla="*/ 1992226 h 2084191"/>
              <a:gd name="connsiteX20" fmla="*/ 1815956 w 2051041"/>
              <a:gd name="connsiteY20" fmla="*/ 2002565 h 2084191"/>
              <a:gd name="connsiteX21" fmla="*/ 1805073 w 2051041"/>
              <a:gd name="connsiteY21" fmla="*/ 2014537 h 2084191"/>
              <a:gd name="connsiteX22" fmla="*/ 1794189 w 2051041"/>
              <a:gd name="connsiteY22" fmla="*/ 2004198 h 2084191"/>
              <a:gd name="connsiteX23" fmla="*/ 1805073 w 2051041"/>
              <a:gd name="connsiteY23" fmla="*/ 1992226 h 2084191"/>
              <a:gd name="connsiteX24" fmla="*/ 1234233 w 2051041"/>
              <a:gd name="connsiteY24" fmla="*/ 1916042 h 2084191"/>
              <a:gd name="connsiteX25" fmla="*/ 1240219 w 2051041"/>
              <a:gd name="connsiteY25" fmla="*/ 1923660 h 2084191"/>
              <a:gd name="connsiteX26" fmla="*/ 1236953 w 2051041"/>
              <a:gd name="connsiteY26" fmla="*/ 1926381 h 2084191"/>
              <a:gd name="connsiteX27" fmla="*/ 1229335 w 2051041"/>
              <a:gd name="connsiteY27" fmla="*/ 1918762 h 2084191"/>
              <a:gd name="connsiteX28" fmla="*/ 1234233 w 2051041"/>
              <a:gd name="connsiteY28" fmla="*/ 1916042 h 2084191"/>
              <a:gd name="connsiteX29" fmla="*/ 1397486 w 2051041"/>
              <a:gd name="connsiteY29" fmla="*/ 1911144 h 2084191"/>
              <a:gd name="connsiteX30" fmla="*/ 1408369 w 2051041"/>
              <a:gd name="connsiteY30" fmla="*/ 1921483 h 2084191"/>
              <a:gd name="connsiteX31" fmla="*/ 1399118 w 2051041"/>
              <a:gd name="connsiteY31" fmla="*/ 1931823 h 2084191"/>
              <a:gd name="connsiteX32" fmla="*/ 1387146 w 2051041"/>
              <a:gd name="connsiteY32" fmla="*/ 1922028 h 2084191"/>
              <a:gd name="connsiteX33" fmla="*/ 1397486 w 2051041"/>
              <a:gd name="connsiteY33" fmla="*/ 1911144 h 2084191"/>
              <a:gd name="connsiteX34" fmla="*/ 1560194 w 2051041"/>
              <a:gd name="connsiteY34" fmla="*/ 1906790 h 2084191"/>
              <a:gd name="connsiteX35" fmla="*/ 1574342 w 2051041"/>
              <a:gd name="connsiteY35" fmla="*/ 1921482 h 2084191"/>
              <a:gd name="connsiteX36" fmla="*/ 1560738 w 2051041"/>
              <a:gd name="connsiteY36" fmla="*/ 1935631 h 2084191"/>
              <a:gd name="connsiteX37" fmla="*/ 1547134 w 2051041"/>
              <a:gd name="connsiteY37" fmla="*/ 1922027 h 2084191"/>
              <a:gd name="connsiteX38" fmla="*/ 1560194 w 2051041"/>
              <a:gd name="connsiteY38" fmla="*/ 1906790 h 2084191"/>
              <a:gd name="connsiteX39" fmla="*/ 2049952 w 2051041"/>
              <a:gd name="connsiteY39" fmla="*/ 1905702 h 2084191"/>
              <a:gd name="connsiteX40" fmla="*/ 2051041 w 2051041"/>
              <a:gd name="connsiteY40" fmla="*/ 1906027 h 2084191"/>
              <a:gd name="connsiteX41" fmla="*/ 2051041 w 2051041"/>
              <a:gd name="connsiteY41" fmla="*/ 1938133 h 2084191"/>
              <a:gd name="connsiteX42" fmla="*/ 2050496 w 2051041"/>
              <a:gd name="connsiteY42" fmla="*/ 1938353 h 2084191"/>
              <a:gd name="connsiteX43" fmla="*/ 2034171 w 2051041"/>
              <a:gd name="connsiteY43" fmla="*/ 1922572 h 2084191"/>
              <a:gd name="connsiteX44" fmla="*/ 2049952 w 2051041"/>
              <a:gd name="connsiteY44" fmla="*/ 1905702 h 2084191"/>
              <a:gd name="connsiteX45" fmla="*/ 1723447 w 2051041"/>
              <a:gd name="connsiteY45" fmla="*/ 1905702 h 2084191"/>
              <a:gd name="connsiteX46" fmla="*/ 1739772 w 2051041"/>
              <a:gd name="connsiteY46" fmla="*/ 1920939 h 2084191"/>
              <a:gd name="connsiteX47" fmla="*/ 1724535 w 2051041"/>
              <a:gd name="connsiteY47" fmla="*/ 1937264 h 2084191"/>
              <a:gd name="connsiteX48" fmla="*/ 1708210 w 2051041"/>
              <a:gd name="connsiteY48" fmla="*/ 1922027 h 2084191"/>
              <a:gd name="connsiteX49" fmla="*/ 1723447 w 2051041"/>
              <a:gd name="connsiteY49" fmla="*/ 1905702 h 2084191"/>
              <a:gd name="connsiteX50" fmla="*/ 1887787 w 2051041"/>
              <a:gd name="connsiteY50" fmla="*/ 1905158 h 2084191"/>
              <a:gd name="connsiteX51" fmla="*/ 1904113 w 2051041"/>
              <a:gd name="connsiteY51" fmla="*/ 1922028 h 2084191"/>
              <a:gd name="connsiteX52" fmla="*/ 1886699 w 2051041"/>
              <a:gd name="connsiteY52" fmla="*/ 1937809 h 2084191"/>
              <a:gd name="connsiteX53" fmla="*/ 1870918 w 2051041"/>
              <a:gd name="connsiteY53" fmla="*/ 1921483 h 2084191"/>
              <a:gd name="connsiteX54" fmla="*/ 1887787 w 2051041"/>
              <a:gd name="connsiteY54" fmla="*/ 1905158 h 2084191"/>
              <a:gd name="connsiteX55" fmla="*/ 1152606 w 2051041"/>
              <a:gd name="connsiteY55" fmla="*/ 1831693 h 2084191"/>
              <a:gd name="connsiteX56" fmla="*/ 1161313 w 2051041"/>
              <a:gd name="connsiteY56" fmla="*/ 1839312 h 2084191"/>
              <a:gd name="connsiteX57" fmla="*/ 1153694 w 2051041"/>
              <a:gd name="connsiteY57" fmla="*/ 1852916 h 2084191"/>
              <a:gd name="connsiteX58" fmla="*/ 1144988 w 2051041"/>
              <a:gd name="connsiteY58" fmla="*/ 1841489 h 2084191"/>
              <a:gd name="connsiteX59" fmla="*/ 1152606 w 2051041"/>
              <a:gd name="connsiteY59" fmla="*/ 1831693 h 2084191"/>
              <a:gd name="connsiteX60" fmla="*/ 1315315 w 2051041"/>
              <a:gd name="connsiteY60" fmla="*/ 1825708 h 2084191"/>
              <a:gd name="connsiteX61" fmla="*/ 1330552 w 2051041"/>
              <a:gd name="connsiteY61" fmla="*/ 1840401 h 2084191"/>
              <a:gd name="connsiteX62" fmla="*/ 1316404 w 2051041"/>
              <a:gd name="connsiteY62" fmla="*/ 1854549 h 2084191"/>
              <a:gd name="connsiteX63" fmla="*/ 1301711 w 2051041"/>
              <a:gd name="connsiteY63" fmla="*/ 1840945 h 2084191"/>
              <a:gd name="connsiteX64" fmla="*/ 1315315 w 2051041"/>
              <a:gd name="connsiteY64" fmla="*/ 1825708 h 2084191"/>
              <a:gd name="connsiteX65" fmla="*/ 1479656 w 2051041"/>
              <a:gd name="connsiteY65" fmla="*/ 1822987 h 2084191"/>
              <a:gd name="connsiteX66" fmla="*/ 1495981 w 2051041"/>
              <a:gd name="connsiteY66" fmla="*/ 1840401 h 2084191"/>
              <a:gd name="connsiteX67" fmla="*/ 1478567 w 2051041"/>
              <a:gd name="connsiteY67" fmla="*/ 1856182 h 2084191"/>
              <a:gd name="connsiteX68" fmla="*/ 1462242 w 2051041"/>
              <a:gd name="connsiteY68" fmla="*/ 1839312 h 2084191"/>
              <a:gd name="connsiteX69" fmla="*/ 1479656 w 2051041"/>
              <a:gd name="connsiteY69" fmla="*/ 1822987 h 2084191"/>
              <a:gd name="connsiteX70" fmla="*/ 1642365 w 2051041"/>
              <a:gd name="connsiteY70" fmla="*/ 1821355 h 2084191"/>
              <a:gd name="connsiteX71" fmla="*/ 1660867 w 2051041"/>
              <a:gd name="connsiteY71" fmla="*/ 1840401 h 2084191"/>
              <a:gd name="connsiteX72" fmla="*/ 1642365 w 2051041"/>
              <a:gd name="connsiteY72" fmla="*/ 1857270 h 2084191"/>
              <a:gd name="connsiteX73" fmla="*/ 1624407 w 2051041"/>
              <a:gd name="connsiteY73" fmla="*/ 1839857 h 2084191"/>
              <a:gd name="connsiteX74" fmla="*/ 1642365 w 2051041"/>
              <a:gd name="connsiteY74" fmla="*/ 1821355 h 2084191"/>
              <a:gd name="connsiteX75" fmla="*/ 1806162 w 2051041"/>
              <a:gd name="connsiteY75" fmla="*/ 1819723 h 2084191"/>
              <a:gd name="connsiteX76" fmla="*/ 1826840 w 2051041"/>
              <a:gd name="connsiteY76" fmla="*/ 1840945 h 2084191"/>
              <a:gd name="connsiteX77" fmla="*/ 1804529 w 2051041"/>
              <a:gd name="connsiteY77" fmla="*/ 1861080 h 2084191"/>
              <a:gd name="connsiteX78" fmla="*/ 1784395 w 2051041"/>
              <a:gd name="connsiteY78" fmla="*/ 1839313 h 2084191"/>
              <a:gd name="connsiteX79" fmla="*/ 1806162 w 2051041"/>
              <a:gd name="connsiteY79" fmla="*/ 1819723 h 2084191"/>
              <a:gd name="connsiteX80" fmla="*/ 1968870 w 2051041"/>
              <a:gd name="connsiteY80" fmla="*/ 1819178 h 2084191"/>
              <a:gd name="connsiteX81" fmla="*/ 1990093 w 2051041"/>
              <a:gd name="connsiteY81" fmla="*/ 1840401 h 2084191"/>
              <a:gd name="connsiteX82" fmla="*/ 1968870 w 2051041"/>
              <a:gd name="connsiteY82" fmla="*/ 1861624 h 2084191"/>
              <a:gd name="connsiteX83" fmla="*/ 1947647 w 2051041"/>
              <a:gd name="connsiteY83" fmla="*/ 1840401 h 2084191"/>
              <a:gd name="connsiteX84" fmla="*/ 1968870 w 2051041"/>
              <a:gd name="connsiteY84" fmla="*/ 1819178 h 2084191"/>
              <a:gd name="connsiteX85" fmla="*/ 1070436 w 2051041"/>
              <a:gd name="connsiteY85" fmla="*/ 1747347 h 2084191"/>
              <a:gd name="connsiteX86" fmla="*/ 1081863 w 2051041"/>
              <a:gd name="connsiteY86" fmla="*/ 1758231 h 2084191"/>
              <a:gd name="connsiteX87" fmla="*/ 1070980 w 2051041"/>
              <a:gd name="connsiteY87" fmla="*/ 1769658 h 2084191"/>
              <a:gd name="connsiteX88" fmla="*/ 1059552 w 2051041"/>
              <a:gd name="connsiteY88" fmla="*/ 1758775 h 2084191"/>
              <a:gd name="connsiteX89" fmla="*/ 1070436 w 2051041"/>
              <a:gd name="connsiteY89" fmla="*/ 1747347 h 2084191"/>
              <a:gd name="connsiteX90" fmla="*/ 1233688 w 2051041"/>
              <a:gd name="connsiteY90" fmla="*/ 1742449 h 2084191"/>
              <a:gd name="connsiteX91" fmla="*/ 1250558 w 2051041"/>
              <a:gd name="connsiteY91" fmla="*/ 1758774 h 2084191"/>
              <a:gd name="connsiteX92" fmla="*/ 1233688 w 2051041"/>
              <a:gd name="connsiteY92" fmla="*/ 1775099 h 2084191"/>
              <a:gd name="connsiteX93" fmla="*/ 1217907 w 2051041"/>
              <a:gd name="connsiteY93" fmla="*/ 1759318 h 2084191"/>
              <a:gd name="connsiteX94" fmla="*/ 1233688 w 2051041"/>
              <a:gd name="connsiteY94" fmla="*/ 1742449 h 2084191"/>
              <a:gd name="connsiteX95" fmla="*/ 1399662 w 2051041"/>
              <a:gd name="connsiteY95" fmla="*/ 1739728 h 2084191"/>
              <a:gd name="connsiteX96" fmla="*/ 1417076 w 2051041"/>
              <a:gd name="connsiteY96" fmla="*/ 1760407 h 2084191"/>
              <a:gd name="connsiteX97" fmla="*/ 1396941 w 2051041"/>
              <a:gd name="connsiteY97" fmla="*/ 1779453 h 2084191"/>
              <a:gd name="connsiteX98" fmla="*/ 1377895 w 2051041"/>
              <a:gd name="connsiteY98" fmla="*/ 1757686 h 2084191"/>
              <a:gd name="connsiteX99" fmla="*/ 1399662 w 2051041"/>
              <a:gd name="connsiteY99" fmla="*/ 1739728 h 2084191"/>
              <a:gd name="connsiteX100" fmla="*/ 1723991 w 2051041"/>
              <a:gd name="connsiteY100" fmla="*/ 1735919 h 2084191"/>
              <a:gd name="connsiteX101" fmla="*/ 1746847 w 2051041"/>
              <a:gd name="connsiteY101" fmla="*/ 1758774 h 2084191"/>
              <a:gd name="connsiteX102" fmla="*/ 1723991 w 2051041"/>
              <a:gd name="connsiteY102" fmla="*/ 1781086 h 2084191"/>
              <a:gd name="connsiteX103" fmla="*/ 1701680 w 2051041"/>
              <a:gd name="connsiteY103" fmla="*/ 1758774 h 2084191"/>
              <a:gd name="connsiteX104" fmla="*/ 1723991 w 2051041"/>
              <a:gd name="connsiteY104" fmla="*/ 1735919 h 2084191"/>
              <a:gd name="connsiteX105" fmla="*/ 1560194 w 2051041"/>
              <a:gd name="connsiteY105" fmla="*/ 1735919 h 2084191"/>
              <a:gd name="connsiteX106" fmla="*/ 1582505 w 2051041"/>
              <a:gd name="connsiteY106" fmla="*/ 1758230 h 2084191"/>
              <a:gd name="connsiteX107" fmla="*/ 1560738 w 2051041"/>
              <a:gd name="connsiteY107" fmla="*/ 1779997 h 2084191"/>
              <a:gd name="connsiteX108" fmla="*/ 1538427 w 2051041"/>
              <a:gd name="connsiteY108" fmla="*/ 1758230 h 2084191"/>
              <a:gd name="connsiteX109" fmla="*/ 1560194 w 2051041"/>
              <a:gd name="connsiteY109" fmla="*/ 1735919 h 2084191"/>
              <a:gd name="connsiteX110" fmla="*/ 2051041 w 2051041"/>
              <a:gd name="connsiteY110" fmla="*/ 1734831 h 2084191"/>
              <a:gd name="connsiteX111" fmla="*/ 2051041 w 2051041"/>
              <a:gd name="connsiteY111" fmla="*/ 1781438 h 2084191"/>
              <a:gd name="connsiteX112" fmla="*/ 2050496 w 2051041"/>
              <a:gd name="connsiteY112" fmla="*/ 1781630 h 2084191"/>
              <a:gd name="connsiteX113" fmla="*/ 2027097 w 2051041"/>
              <a:gd name="connsiteY113" fmla="*/ 1758775 h 2084191"/>
              <a:gd name="connsiteX114" fmla="*/ 2051041 w 2051041"/>
              <a:gd name="connsiteY114" fmla="*/ 1734831 h 2084191"/>
              <a:gd name="connsiteX115" fmla="*/ 1887788 w 2051041"/>
              <a:gd name="connsiteY115" fmla="*/ 1734831 h 2084191"/>
              <a:gd name="connsiteX116" fmla="*/ 1910099 w 2051041"/>
              <a:gd name="connsiteY116" fmla="*/ 1758775 h 2084191"/>
              <a:gd name="connsiteX117" fmla="*/ 1886699 w 2051041"/>
              <a:gd name="connsiteY117" fmla="*/ 1781086 h 2084191"/>
              <a:gd name="connsiteX118" fmla="*/ 1863844 w 2051041"/>
              <a:gd name="connsiteY118" fmla="*/ 1757687 h 2084191"/>
              <a:gd name="connsiteX119" fmla="*/ 1887788 w 2051041"/>
              <a:gd name="connsiteY119" fmla="*/ 1734831 h 2084191"/>
              <a:gd name="connsiteX120" fmla="*/ 826100 w 2051041"/>
              <a:gd name="connsiteY120" fmla="*/ 1671706 h 2084191"/>
              <a:gd name="connsiteX121" fmla="*/ 832086 w 2051041"/>
              <a:gd name="connsiteY121" fmla="*/ 1677692 h 2084191"/>
              <a:gd name="connsiteX122" fmla="*/ 825556 w 2051041"/>
              <a:gd name="connsiteY122" fmla="*/ 1683134 h 2084191"/>
              <a:gd name="connsiteX123" fmla="*/ 820658 w 2051041"/>
              <a:gd name="connsiteY123" fmla="*/ 1676603 h 2084191"/>
              <a:gd name="connsiteX124" fmla="*/ 826100 w 2051041"/>
              <a:gd name="connsiteY124" fmla="*/ 1671706 h 2084191"/>
              <a:gd name="connsiteX125" fmla="*/ 989354 w 2051041"/>
              <a:gd name="connsiteY125" fmla="*/ 1661912 h 2084191"/>
              <a:gd name="connsiteX126" fmla="*/ 1004046 w 2051041"/>
              <a:gd name="connsiteY126" fmla="*/ 1676604 h 2084191"/>
              <a:gd name="connsiteX127" fmla="*/ 989354 w 2051041"/>
              <a:gd name="connsiteY127" fmla="*/ 1690209 h 2084191"/>
              <a:gd name="connsiteX128" fmla="*/ 975205 w 2051041"/>
              <a:gd name="connsiteY128" fmla="*/ 1677693 h 2084191"/>
              <a:gd name="connsiteX129" fmla="*/ 989354 w 2051041"/>
              <a:gd name="connsiteY129" fmla="*/ 1661912 h 2084191"/>
              <a:gd name="connsiteX130" fmla="*/ 1153151 w 2051041"/>
              <a:gd name="connsiteY130" fmla="*/ 1659734 h 2084191"/>
              <a:gd name="connsiteX131" fmla="*/ 1170564 w 2051041"/>
              <a:gd name="connsiteY131" fmla="*/ 1677692 h 2084191"/>
              <a:gd name="connsiteX132" fmla="*/ 1152062 w 2051041"/>
              <a:gd name="connsiteY132" fmla="*/ 1694562 h 2084191"/>
              <a:gd name="connsiteX133" fmla="*/ 1135737 w 2051041"/>
              <a:gd name="connsiteY133" fmla="*/ 1677148 h 2084191"/>
              <a:gd name="connsiteX134" fmla="*/ 1153151 w 2051041"/>
              <a:gd name="connsiteY134" fmla="*/ 1659734 h 2084191"/>
              <a:gd name="connsiteX135" fmla="*/ 1315315 w 2051041"/>
              <a:gd name="connsiteY135" fmla="*/ 1655381 h 2084191"/>
              <a:gd name="connsiteX136" fmla="*/ 1337082 w 2051041"/>
              <a:gd name="connsiteY136" fmla="*/ 1676603 h 2084191"/>
              <a:gd name="connsiteX137" fmla="*/ 1315315 w 2051041"/>
              <a:gd name="connsiteY137" fmla="*/ 1698915 h 2084191"/>
              <a:gd name="connsiteX138" fmla="*/ 1294092 w 2051041"/>
              <a:gd name="connsiteY138" fmla="*/ 1677148 h 2084191"/>
              <a:gd name="connsiteX139" fmla="*/ 1315315 w 2051041"/>
              <a:gd name="connsiteY139" fmla="*/ 1655381 h 2084191"/>
              <a:gd name="connsiteX140" fmla="*/ 1479111 w 2051041"/>
              <a:gd name="connsiteY140" fmla="*/ 1654293 h 2084191"/>
              <a:gd name="connsiteX141" fmla="*/ 1501967 w 2051041"/>
              <a:gd name="connsiteY141" fmla="*/ 1677692 h 2084191"/>
              <a:gd name="connsiteX142" fmla="*/ 1479111 w 2051041"/>
              <a:gd name="connsiteY142" fmla="*/ 1700548 h 2084191"/>
              <a:gd name="connsiteX143" fmla="*/ 1455712 w 2051041"/>
              <a:gd name="connsiteY143" fmla="*/ 1676604 h 2084191"/>
              <a:gd name="connsiteX144" fmla="*/ 1479111 w 2051041"/>
              <a:gd name="connsiteY144" fmla="*/ 1654293 h 2084191"/>
              <a:gd name="connsiteX145" fmla="*/ 1643452 w 2051041"/>
              <a:gd name="connsiteY145" fmla="*/ 1650483 h 2084191"/>
              <a:gd name="connsiteX146" fmla="*/ 1668484 w 2051041"/>
              <a:gd name="connsiteY146" fmla="*/ 1676603 h 2084191"/>
              <a:gd name="connsiteX147" fmla="*/ 1643452 w 2051041"/>
              <a:gd name="connsiteY147" fmla="*/ 1703268 h 2084191"/>
              <a:gd name="connsiteX148" fmla="*/ 1617332 w 2051041"/>
              <a:gd name="connsiteY148" fmla="*/ 1677692 h 2084191"/>
              <a:gd name="connsiteX149" fmla="*/ 1643452 w 2051041"/>
              <a:gd name="connsiteY149" fmla="*/ 1650483 h 2084191"/>
              <a:gd name="connsiteX150" fmla="*/ 1968326 w 2051041"/>
              <a:gd name="connsiteY150" fmla="*/ 1649940 h 2084191"/>
              <a:gd name="connsiteX151" fmla="*/ 1995535 w 2051041"/>
              <a:gd name="connsiteY151" fmla="*/ 1676604 h 2084191"/>
              <a:gd name="connsiteX152" fmla="*/ 1968870 w 2051041"/>
              <a:gd name="connsiteY152" fmla="*/ 1704357 h 2084191"/>
              <a:gd name="connsiteX153" fmla="*/ 1941661 w 2051041"/>
              <a:gd name="connsiteY153" fmla="*/ 1677148 h 2084191"/>
              <a:gd name="connsiteX154" fmla="*/ 1968326 w 2051041"/>
              <a:gd name="connsiteY154" fmla="*/ 1649940 h 2084191"/>
              <a:gd name="connsiteX155" fmla="*/ 1805617 w 2051041"/>
              <a:gd name="connsiteY155" fmla="*/ 1649939 h 2084191"/>
              <a:gd name="connsiteX156" fmla="*/ 1832826 w 2051041"/>
              <a:gd name="connsiteY156" fmla="*/ 1677148 h 2084191"/>
              <a:gd name="connsiteX157" fmla="*/ 1805073 w 2051041"/>
              <a:gd name="connsiteY157" fmla="*/ 1704357 h 2084191"/>
              <a:gd name="connsiteX158" fmla="*/ 1778409 w 2051041"/>
              <a:gd name="connsiteY158" fmla="*/ 1677148 h 2084191"/>
              <a:gd name="connsiteX159" fmla="*/ 1805617 w 2051041"/>
              <a:gd name="connsiteY159" fmla="*/ 1649939 h 2084191"/>
              <a:gd name="connsiteX160" fmla="*/ 744474 w 2051041"/>
              <a:gd name="connsiteY160" fmla="*/ 1588992 h 2084191"/>
              <a:gd name="connsiteX161" fmla="*/ 751004 w 2051041"/>
              <a:gd name="connsiteY161" fmla="*/ 1594978 h 2084191"/>
              <a:gd name="connsiteX162" fmla="*/ 745562 w 2051041"/>
              <a:gd name="connsiteY162" fmla="*/ 1602052 h 2084191"/>
              <a:gd name="connsiteX163" fmla="*/ 738488 w 2051041"/>
              <a:gd name="connsiteY163" fmla="*/ 1594978 h 2084191"/>
              <a:gd name="connsiteX164" fmla="*/ 744474 w 2051041"/>
              <a:gd name="connsiteY164" fmla="*/ 1588992 h 2084191"/>
              <a:gd name="connsiteX165" fmla="*/ 907183 w 2051041"/>
              <a:gd name="connsiteY165" fmla="*/ 1579741 h 2084191"/>
              <a:gd name="connsiteX166" fmla="*/ 923508 w 2051041"/>
              <a:gd name="connsiteY166" fmla="*/ 1594978 h 2084191"/>
              <a:gd name="connsiteX167" fmla="*/ 908815 w 2051041"/>
              <a:gd name="connsiteY167" fmla="*/ 1610759 h 2084191"/>
              <a:gd name="connsiteX168" fmla="*/ 892490 w 2051041"/>
              <a:gd name="connsiteY168" fmla="*/ 1595522 h 2084191"/>
              <a:gd name="connsiteX169" fmla="*/ 907183 w 2051041"/>
              <a:gd name="connsiteY169" fmla="*/ 1579741 h 2084191"/>
              <a:gd name="connsiteX170" fmla="*/ 1071524 w 2051041"/>
              <a:gd name="connsiteY170" fmla="*/ 1574843 h 2084191"/>
              <a:gd name="connsiteX171" fmla="*/ 1091114 w 2051041"/>
              <a:gd name="connsiteY171" fmla="*/ 1595522 h 2084191"/>
              <a:gd name="connsiteX172" fmla="*/ 1070980 w 2051041"/>
              <a:gd name="connsiteY172" fmla="*/ 1615656 h 2084191"/>
              <a:gd name="connsiteX173" fmla="*/ 1050301 w 2051041"/>
              <a:gd name="connsiteY173" fmla="*/ 1595522 h 2084191"/>
              <a:gd name="connsiteX174" fmla="*/ 1071524 w 2051041"/>
              <a:gd name="connsiteY174" fmla="*/ 1574843 h 2084191"/>
              <a:gd name="connsiteX175" fmla="*/ 1233688 w 2051041"/>
              <a:gd name="connsiteY175" fmla="*/ 1573210 h 2084191"/>
              <a:gd name="connsiteX176" fmla="*/ 1256544 w 2051041"/>
              <a:gd name="connsiteY176" fmla="*/ 1595522 h 2084191"/>
              <a:gd name="connsiteX177" fmla="*/ 1233688 w 2051041"/>
              <a:gd name="connsiteY177" fmla="*/ 1618377 h 2084191"/>
              <a:gd name="connsiteX178" fmla="*/ 1211377 w 2051041"/>
              <a:gd name="connsiteY178" fmla="*/ 1596610 h 2084191"/>
              <a:gd name="connsiteX179" fmla="*/ 1233688 w 2051041"/>
              <a:gd name="connsiteY179" fmla="*/ 1573210 h 2084191"/>
              <a:gd name="connsiteX180" fmla="*/ 1398030 w 2051041"/>
              <a:gd name="connsiteY180" fmla="*/ 1569402 h 2084191"/>
              <a:gd name="connsiteX181" fmla="*/ 1423062 w 2051041"/>
              <a:gd name="connsiteY181" fmla="*/ 1595522 h 2084191"/>
              <a:gd name="connsiteX182" fmla="*/ 1397485 w 2051041"/>
              <a:gd name="connsiteY182" fmla="*/ 1621099 h 2084191"/>
              <a:gd name="connsiteX183" fmla="*/ 1371365 w 2051041"/>
              <a:gd name="connsiteY183" fmla="*/ 1595522 h 2084191"/>
              <a:gd name="connsiteX184" fmla="*/ 1398030 w 2051041"/>
              <a:gd name="connsiteY184" fmla="*/ 1569402 h 2084191"/>
              <a:gd name="connsiteX185" fmla="*/ 1560194 w 2051041"/>
              <a:gd name="connsiteY185" fmla="*/ 1568313 h 2084191"/>
              <a:gd name="connsiteX186" fmla="*/ 1587947 w 2051041"/>
              <a:gd name="connsiteY186" fmla="*/ 1594433 h 2084191"/>
              <a:gd name="connsiteX187" fmla="*/ 1560194 w 2051041"/>
              <a:gd name="connsiteY187" fmla="*/ 1622730 h 2084191"/>
              <a:gd name="connsiteX188" fmla="*/ 1532985 w 2051041"/>
              <a:gd name="connsiteY188" fmla="*/ 1594977 h 2084191"/>
              <a:gd name="connsiteX189" fmla="*/ 1560194 w 2051041"/>
              <a:gd name="connsiteY189" fmla="*/ 1568313 h 2084191"/>
              <a:gd name="connsiteX190" fmla="*/ 1887244 w 2051041"/>
              <a:gd name="connsiteY190" fmla="*/ 1567225 h 2084191"/>
              <a:gd name="connsiteX191" fmla="*/ 1915541 w 2051041"/>
              <a:gd name="connsiteY191" fmla="*/ 1594978 h 2084191"/>
              <a:gd name="connsiteX192" fmla="*/ 1886699 w 2051041"/>
              <a:gd name="connsiteY192" fmla="*/ 1623819 h 2084191"/>
              <a:gd name="connsiteX193" fmla="*/ 1858947 w 2051041"/>
              <a:gd name="connsiteY193" fmla="*/ 1594978 h 2084191"/>
              <a:gd name="connsiteX194" fmla="*/ 1887244 w 2051041"/>
              <a:gd name="connsiteY194" fmla="*/ 1567225 h 2084191"/>
              <a:gd name="connsiteX195" fmla="*/ 1724535 w 2051041"/>
              <a:gd name="connsiteY195" fmla="*/ 1567225 h 2084191"/>
              <a:gd name="connsiteX196" fmla="*/ 1752288 w 2051041"/>
              <a:gd name="connsiteY196" fmla="*/ 1594978 h 2084191"/>
              <a:gd name="connsiteX197" fmla="*/ 1724535 w 2051041"/>
              <a:gd name="connsiteY197" fmla="*/ 1623275 h 2084191"/>
              <a:gd name="connsiteX198" fmla="*/ 1696238 w 2051041"/>
              <a:gd name="connsiteY198" fmla="*/ 1594978 h 2084191"/>
              <a:gd name="connsiteX199" fmla="*/ 1724535 w 2051041"/>
              <a:gd name="connsiteY199" fmla="*/ 1567225 h 2084191"/>
              <a:gd name="connsiteX200" fmla="*/ 2050496 w 2051041"/>
              <a:gd name="connsiteY200" fmla="*/ 1566680 h 2084191"/>
              <a:gd name="connsiteX201" fmla="*/ 2051041 w 2051041"/>
              <a:gd name="connsiteY201" fmla="*/ 1566888 h 2084191"/>
              <a:gd name="connsiteX202" fmla="*/ 2051041 w 2051041"/>
              <a:gd name="connsiteY202" fmla="*/ 1623794 h 2084191"/>
              <a:gd name="connsiteX203" fmla="*/ 2049408 w 2051041"/>
              <a:gd name="connsiteY203" fmla="*/ 1624363 h 2084191"/>
              <a:gd name="connsiteX204" fmla="*/ 2021655 w 2051041"/>
              <a:gd name="connsiteY204" fmla="*/ 1594977 h 2084191"/>
              <a:gd name="connsiteX205" fmla="*/ 2050496 w 2051041"/>
              <a:gd name="connsiteY205" fmla="*/ 1566680 h 2084191"/>
              <a:gd name="connsiteX206" fmla="*/ 663392 w 2051041"/>
              <a:gd name="connsiteY206" fmla="*/ 1505188 h 2084191"/>
              <a:gd name="connsiteX207" fmla="*/ 674819 w 2051041"/>
              <a:gd name="connsiteY207" fmla="*/ 1513895 h 2084191"/>
              <a:gd name="connsiteX208" fmla="*/ 662848 w 2051041"/>
              <a:gd name="connsiteY208" fmla="*/ 1522058 h 2084191"/>
              <a:gd name="connsiteX209" fmla="*/ 654685 w 2051041"/>
              <a:gd name="connsiteY209" fmla="*/ 1513351 h 2084191"/>
              <a:gd name="connsiteX210" fmla="*/ 663392 w 2051041"/>
              <a:gd name="connsiteY210" fmla="*/ 1505188 h 2084191"/>
              <a:gd name="connsiteX211" fmla="*/ 826101 w 2051041"/>
              <a:gd name="connsiteY211" fmla="*/ 1497570 h 2084191"/>
              <a:gd name="connsiteX212" fmla="*/ 842970 w 2051041"/>
              <a:gd name="connsiteY212" fmla="*/ 1513351 h 2084191"/>
              <a:gd name="connsiteX213" fmla="*/ 826645 w 2051041"/>
              <a:gd name="connsiteY213" fmla="*/ 1529676 h 2084191"/>
              <a:gd name="connsiteX214" fmla="*/ 810319 w 2051041"/>
              <a:gd name="connsiteY214" fmla="*/ 1514983 h 2084191"/>
              <a:gd name="connsiteX215" fmla="*/ 826101 w 2051041"/>
              <a:gd name="connsiteY215" fmla="*/ 1497570 h 2084191"/>
              <a:gd name="connsiteX216" fmla="*/ 988265 w 2051041"/>
              <a:gd name="connsiteY216" fmla="*/ 1492128 h 2084191"/>
              <a:gd name="connsiteX217" fmla="*/ 1010577 w 2051041"/>
              <a:gd name="connsiteY217" fmla="*/ 1513351 h 2084191"/>
              <a:gd name="connsiteX218" fmla="*/ 989354 w 2051041"/>
              <a:gd name="connsiteY218" fmla="*/ 1534574 h 2084191"/>
              <a:gd name="connsiteX219" fmla="*/ 968131 w 2051041"/>
              <a:gd name="connsiteY219" fmla="*/ 1513895 h 2084191"/>
              <a:gd name="connsiteX220" fmla="*/ 988265 w 2051041"/>
              <a:gd name="connsiteY220" fmla="*/ 1492128 h 2084191"/>
              <a:gd name="connsiteX221" fmla="*/ 1152606 w 2051041"/>
              <a:gd name="connsiteY221" fmla="*/ 1490496 h 2084191"/>
              <a:gd name="connsiteX222" fmla="*/ 1176006 w 2051041"/>
              <a:gd name="connsiteY222" fmla="*/ 1513351 h 2084191"/>
              <a:gd name="connsiteX223" fmla="*/ 1152606 w 2051041"/>
              <a:gd name="connsiteY223" fmla="*/ 1537839 h 2084191"/>
              <a:gd name="connsiteX224" fmla="*/ 1129207 w 2051041"/>
              <a:gd name="connsiteY224" fmla="*/ 1514984 h 2084191"/>
              <a:gd name="connsiteX225" fmla="*/ 1152606 w 2051041"/>
              <a:gd name="connsiteY225" fmla="*/ 1490496 h 2084191"/>
              <a:gd name="connsiteX226" fmla="*/ 1316403 w 2051041"/>
              <a:gd name="connsiteY226" fmla="*/ 1487231 h 2084191"/>
              <a:gd name="connsiteX227" fmla="*/ 1342523 w 2051041"/>
              <a:gd name="connsiteY227" fmla="*/ 1513896 h 2084191"/>
              <a:gd name="connsiteX228" fmla="*/ 1315314 w 2051041"/>
              <a:gd name="connsiteY228" fmla="*/ 1540560 h 2084191"/>
              <a:gd name="connsiteX229" fmla="*/ 1288650 w 2051041"/>
              <a:gd name="connsiteY229" fmla="*/ 1513896 h 2084191"/>
              <a:gd name="connsiteX230" fmla="*/ 1316403 w 2051041"/>
              <a:gd name="connsiteY230" fmla="*/ 1487231 h 2084191"/>
              <a:gd name="connsiteX231" fmla="*/ 1479656 w 2051041"/>
              <a:gd name="connsiteY231" fmla="*/ 1485054 h 2084191"/>
              <a:gd name="connsiteX232" fmla="*/ 1507409 w 2051041"/>
              <a:gd name="connsiteY232" fmla="*/ 1513895 h 2084191"/>
              <a:gd name="connsiteX233" fmla="*/ 1479112 w 2051041"/>
              <a:gd name="connsiteY233" fmla="*/ 1541648 h 2084191"/>
              <a:gd name="connsiteX234" fmla="*/ 1451359 w 2051041"/>
              <a:gd name="connsiteY234" fmla="*/ 1513351 h 2084191"/>
              <a:gd name="connsiteX235" fmla="*/ 1479656 w 2051041"/>
              <a:gd name="connsiteY235" fmla="*/ 1485054 h 2084191"/>
              <a:gd name="connsiteX236" fmla="*/ 1641820 w 2051041"/>
              <a:gd name="connsiteY236" fmla="*/ 1482334 h 2084191"/>
              <a:gd name="connsiteX237" fmla="*/ 1673382 w 2051041"/>
              <a:gd name="connsiteY237" fmla="*/ 1512807 h 2084191"/>
              <a:gd name="connsiteX238" fmla="*/ 1642909 w 2051041"/>
              <a:gd name="connsiteY238" fmla="*/ 1544370 h 2084191"/>
              <a:gd name="connsiteX239" fmla="*/ 1612435 w 2051041"/>
              <a:gd name="connsiteY239" fmla="*/ 1513351 h 2084191"/>
              <a:gd name="connsiteX240" fmla="*/ 1641820 w 2051041"/>
              <a:gd name="connsiteY240" fmla="*/ 1482334 h 2084191"/>
              <a:gd name="connsiteX241" fmla="*/ 1804529 w 2051041"/>
              <a:gd name="connsiteY241" fmla="*/ 1481788 h 2084191"/>
              <a:gd name="connsiteX242" fmla="*/ 1837180 w 2051041"/>
              <a:gd name="connsiteY242" fmla="*/ 1513351 h 2084191"/>
              <a:gd name="connsiteX243" fmla="*/ 1805617 w 2051041"/>
              <a:gd name="connsiteY243" fmla="*/ 1545457 h 2084191"/>
              <a:gd name="connsiteX244" fmla="*/ 1773511 w 2051041"/>
              <a:gd name="connsiteY244" fmla="*/ 1514983 h 2084191"/>
              <a:gd name="connsiteX245" fmla="*/ 1804529 w 2051041"/>
              <a:gd name="connsiteY245" fmla="*/ 1481788 h 2084191"/>
              <a:gd name="connsiteX246" fmla="*/ 1968870 w 2051041"/>
              <a:gd name="connsiteY246" fmla="*/ 1480700 h 2084191"/>
              <a:gd name="connsiteX247" fmla="*/ 2000977 w 2051041"/>
              <a:gd name="connsiteY247" fmla="*/ 1513351 h 2084191"/>
              <a:gd name="connsiteX248" fmla="*/ 1968870 w 2051041"/>
              <a:gd name="connsiteY248" fmla="*/ 1545457 h 2084191"/>
              <a:gd name="connsiteX249" fmla="*/ 1936764 w 2051041"/>
              <a:gd name="connsiteY249" fmla="*/ 1513351 h 2084191"/>
              <a:gd name="connsiteX250" fmla="*/ 1968870 w 2051041"/>
              <a:gd name="connsiteY250" fmla="*/ 1480700 h 2084191"/>
              <a:gd name="connsiteX251" fmla="*/ 581221 w 2051041"/>
              <a:gd name="connsiteY251" fmla="*/ 1423562 h 2084191"/>
              <a:gd name="connsiteX252" fmla="*/ 588840 w 2051041"/>
              <a:gd name="connsiteY252" fmla="*/ 1431725 h 2084191"/>
              <a:gd name="connsiteX253" fmla="*/ 581765 w 2051041"/>
              <a:gd name="connsiteY253" fmla="*/ 1443153 h 2084191"/>
              <a:gd name="connsiteX254" fmla="*/ 573059 w 2051041"/>
              <a:gd name="connsiteY254" fmla="*/ 1432813 h 2084191"/>
              <a:gd name="connsiteX255" fmla="*/ 581221 w 2051041"/>
              <a:gd name="connsiteY255" fmla="*/ 1423562 h 2084191"/>
              <a:gd name="connsiteX256" fmla="*/ 745562 w 2051041"/>
              <a:gd name="connsiteY256" fmla="*/ 1414855 h 2084191"/>
              <a:gd name="connsiteX257" fmla="*/ 761344 w 2051041"/>
              <a:gd name="connsiteY257" fmla="*/ 1432269 h 2084191"/>
              <a:gd name="connsiteX258" fmla="*/ 745018 w 2051041"/>
              <a:gd name="connsiteY258" fmla="*/ 1448050 h 2084191"/>
              <a:gd name="connsiteX259" fmla="*/ 728693 w 2051041"/>
              <a:gd name="connsiteY259" fmla="*/ 1431725 h 2084191"/>
              <a:gd name="connsiteX260" fmla="*/ 745562 w 2051041"/>
              <a:gd name="connsiteY260" fmla="*/ 1414855 h 2084191"/>
              <a:gd name="connsiteX261" fmla="*/ 908815 w 2051041"/>
              <a:gd name="connsiteY261" fmla="*/ 1409958 h 2084191"/>
              <a:gd name="connsiteX262" fmla="*/ 930038 w 2051041"/>
              <a:gd name="connsiteY262" fmla="*/ 1431725 h 2084191"/>
              <a:gd name="connsiteX263" fmla="*/ 907183 w 2051041"/>
              <a:gd name="connsiteY263" fmla="*/ 1453492 h 2084191"/>
              <a:gd name="connsiteX264" fmla="*/ 885960 w 2051041"/>
              <a:gd name="connsiteY264" fmla="*/ 1431725 h 2084191"/>
              <a:gd name="connsiteX265" fmla="*/ 908815 w 2051041"/>
              <a:gd name="connsiteY265" fmla="*/ 1409958 h 2084191"/>
              <a:gd name="connsiteX266" fmla="*/ 1070436 w 2051041"/>
              <a:gd name="connsiteY266" fmla="*/ 1406693 h 2084191"/>
              <a:gd name="connsiteX267" fmla="*/ 1096012 w 2051041"/>
              <a:gd name="connsiteY267" fmla="*/ 1432269 h 2084191"/>
              <a:gd name="connsiteX268" fmla="*/ 1070436 w 2051041"/>
              <a:gd name="connsiteY268" fmla="*/ 1457846 h 2084191"/>
              <a:gd name="connsiteX269" fmla="*/ 1045404 w 2051041"/>
              <a:gd name="connsiteY269" fmla="*/ 1431181 h 2084191"/>
              <a:gd name="connsiteX270" fmla="*/ 1070436 w 2051041"/>
              <a:gd name="connsiteY270" fmla="*/ 1406693 h 2084191"/>
              <a:gd name="connsiteX271" fmla="*/ 1235865 w 2051041"/>
              <a:gd name="connsiteY271" fmla="*/ 1404516 h 2084191"/>
              <a:gd name="connsiteX272" fmla="*/ 1261986 w 2051041"/>
              <a:gd name="connsiteY272" fmla="*/ 1433358 h 2084191"/>
              <a:gd name="connsiteX273" fmla="*/ 1233689 w 2051041"/>
              <a:gd name="connsiteY273" fmla="*/ 1459478 h 2084191"/>
              <a:gd name="connsiteX274" fmla="*/ 1206480 w 2051041"/>
              <a:gd name="connsiteY274" fmla="*/ 1432269 h 2084191"/>
              <a:gd name="connsiteX275" fmla="*/ 1235865 w 2051041"/>
              <a:gd name="connsiteY275" fmla="*/ 1404516 h 2084191"/>
              <a:gd name="connsiteX276" fmla="*/ 1397485 w 2051041"/>
              <a:gd name="connsiteY276" fmla="*/ 1400162 h 2084191"/>
              <a:gd name="connsiteX277" fmla="*/ 1427959 w 2051041"/>
              <a:gd name="connsiteY277" fmla="*/ 1431724 h 2084191"/>
              <a:gd name="connsiteX278" fmla="*/ 1398029 w 2051041"/>
              <a:gd name="connsiteY278" fmla="*/ 1463287 h 2084191"/>
              <a:gd name="connsiteX279" fmla="*/ 1366467 w 2051041"/>
              <a:gd name="connsiteY279" fmla="*/ 1432813 h 2084191"/>
              <a:gd name="connsiteX280" fmla="*/ 1397485 w 2051041"/>
              <a:gd name="connsiteY280" fmla="*/ 1400162 h 2084191"/>
              <a:gd name="connsiteX281" fmla="*/ 1561282 w 2051041"/>
              <a:gd name="connsiteY281" fmla="*/ 1399618 h 2084191"/>
              <a:gd name="connsiteX282" fmla="*/ 1593388 w 2051041"/>
              <a:gd name="connsiteY282" fmla="*/ 1432269 h 2084191"/>
              <a:gd name="connsiteX283" fmla="*/ 1560738 w 2051041"/>
              <a:gd name="connsiteY283" fmla="*/ 1464375 h 2084191"/>
              <a:gd name="connsiteX284" fmla="*/ 1528631 w 2051041"/>
              <a:gd name="connsiteY284" fmla="*/ 1432813 h 2084191"/>
              <a:gd name="connsiteX285" fmla="*/ 1561282 w 2051041"/>
              <a:gd name="connsiteY285" fmla="*/ 1399618 h 2084191"/>
              <a:gd name="connsiteX286" fmla="*/ 1723446 w 2051041"/>
              <a:gd name="connsiteY286" fmla="*/ 1399074 h 2084191"/>
              <a:gd name="connsiteX287" fmla="*/ 1757185 w 2051041"/>
              <a:gd name="connsiteY287" fmla="*/ 1432269 h 2084191"/>
              <a:gd name="connsiteX288" fmla="*/ 1723991 w 2051041"/>
              <a:gd name="connsiteY288" fmla="*/ 1465464 h 2084191"/>
              <a:gd name="connsiteX289" fmla="*/ 1691340 w 2051041"/>
              <a:gd name="connsiteY289" fmla="*/ 1433357 h 2084191"/>
              <a:gd name="connsiteX290" fmla="*/ 1723446 w 2051041"/>
              <a:gd name="connsiteY290" fmla="*/ 1399074 h 2084191"/>
              <a:gd name="connsiteX291" fmla="*/ 1886700 w 2051041"/>
              <a:gd name="connsiteY291" fmla="*/ 1398530 h 2084191"/>
              <a:gd name="connsiteX292" fmla="*/ 1920439 w 2051041"/>
              <a:gd name="connsiteY292" fmla="*/ 1432269 h 2084191"/>
              <a:gd name="connsiteX293" fmla="*/ 1887788 w 2051041"/>
              <a:gd name="connsiteY293" fmla="*/ 1464920 h 2084191"/>
              <a:gd name="connsiteX294" fmla="*/ 1854049 w 2051041"/>
              <a:gd name="connsiteY294" fmla="*/ 1433358 h 2084191"/>
              <a:gd name="connsiteX295" fmla="*/ 1886700 w 2051041"/>
              <a:gd name="connsiteY295" fmla="*/ 1398530 h 2084191"/>
              <a:gd name="connsiteX296" fmla="*/ 2051041 w 2051041"/>
              <a:gd name="connsiteY296" fmla="*/ 1398217 h 2084191"/>
              <a:gd name="connsiteX297" fmla="*/ 2051041 w 2051041"/>
              <a:gd name="connsiteY297" fmla="*/ 1464535 h 2084191"/>
              <a:gd name="connsiteX298" fmla="*/ 2049953 w 2051041"/>
              <a:gd name="connsiteY298" fmla="*/ 1464920 h 2084191"/>
              <a:gd name="connsiteX299" fmla="*/ 2017302 w 2051041"/>
              <a:gd name="connsiteY299" fmla="*/ 1431725 h 2084191"/>
              <a:gd name="connsiteX300" fmla="*/ 2027709 w 2051041"/>
              <a:gd name="connsiteY300" fmla="*/ 1408121 h 2084191"/>
              <a:gd name="connsiteX301" fmla="*/ 500139 w 2051041"/>
              <a:gd name="connsiteY301" fmla="*/ 1341936 h 2084191"/>
              <a:gd name="connsiteX302" fmla="*/ 511023 w 2051041"/>
              <a:gd name="connsiteY302" fmla="*/ 1350643 h 2084191"/>
              <a:gd name="connsiteX303" fmla="*/ 499595 w 2051041"/>
              <a:gd name="connsiteY303" fmla="*/ 1358261 h 2084191"/>
              <a:gd name="connsiteX304" fmla="*/ 491432 w 2051041"/>
              <a:gd name="connsiteY304" fmla="*/ 1349010 h 2084191"/>
              <a:gd name="connsiteX305" fmla="*/ 500139 w 2051041"/>
              <a:gd name="connsiteY305" fmla="*/ 1341936 h 2084191"/>
              <a:gd name="connsiteX306" fmla="*/ 662848 w 2051041"/>
              <a:gd name="connsiteY306" fmla="*/ 1333773 h 2084191"/>
              <a:gd name="connsiteX307" fmla="*/ 679173 w 2051041"/>
              <a:gd name="connsiteY307" fmla="*/ 1350643 h 2084191"/>
              <a:gd name="connsiteX308" fmla="*/ 662848 w 2051041"/>
              <a:gd name="connsiteY308" fmla="*/ 1366424 h 2084191"/>
              <a:gd name="connsiteX309" fmla="*/ 647067 w 2051041"/>
              <a:gd name="connsiteY309" fmla="*/ 1350098 h 2084191"/>
              <a:gd name="connsiteX310" fmla="*/ 662848 w 2051041"/>
              <a:gd name="connsiteY310" fmla="*/ 1333773 h 2084191"/>
              <a:gd name="connsiteX311" fmla="*/ 826645 w 2051041"/>
              <a:gd name="connsiteY311" fmla="*/ 1328331 h 2084191"/>
              <a:gd name="connsiteX312" fmla="*/ 847868 w 2051041"/>
              <a:gd name="connsiteY312" fmla="*/ 1350642 h 2084191"/>
              <a:gd name="connsiteX313" fmla="*/ 825556 w 2051041"/>
              <a:gd name="connsiteY313" fmla="*/ 1372409 h 2084191"/>
              <a:gd name="connsiteX314" fmla="*/ 804334 w 2051041"/>
              <a:gd name="connsiteY314" fmla="*/ 1349554 h 2084191"/>
              <a:gd name="connsiteX315" fmla="*/ 826645 w 2051041"/>
              <a:gd name="connsiteY315" fmla="*/ 1328331 h 2084191"/>
              <a:gd name="connsiteX316" fmla="*/ 989353 w 2051041"/>
              <a:gd name="connsiteY316" fmla="*/ 1323978 h 2084191"/>
              <a:gd name="connsiteX317" fmla="*/ 1015473 w 2051041"/>
              <a:gd name="connsiteY317" fmla="*/ 1350098 h 2084191"/>
              <a:gd name="connsiteX318" fmla="*/ 989353 w 2051041"/>
              <a:gd name="connsiteY318" fmla="*/ 1376763 h 2084191"/>
              <a:gd name="connsiteX319" fmla="*/ 963777 w 2051041"/>
              <a:gd name="connsiteY319" fmla="*/ 1350642 h 2084191"/>
              <a:gd name="connsiteX320" fmla="*/ 989353 w 2051041"/>
              <a:gd name="connsiteY320" fmla="*/ 1323978 h 2084191"/>
              <a:gd name="connsiteX321" fmla="*/ 1152606 w 2051041"/>
              <a:gd name="connsiteY321" fmla="*/ 1322889 h 2084191"/>
              <a:gd name="connsiteX322" fmla="*/ 1181447 w 2051041"/>
              <a:gd name="connsiteY322" fmla="*/ 1350098 h 2084191"/>
              <a:gd name="connsiteX323" fmla="*/ 1152606 w 2051041"/>
              <a:gd name="connsiteY323" fmla="*/ 1379483 h 2084191"/>
              <a:gd name="connsiteX324" fmla="*/ 1124853 w 2051041"/>
              <a:gd name="connsiteY324" fmla="*/ 1350642 h 2084191"/>
              <a:gd name="connsiteX325" fmla="*/ 1152606 w 2051041"/>
              <a:gd name="connsiteY325" fmla="*/ 1322889 h 2084191"/>
              <a:gd name="connsiteX326" fmla="*/ 1315315 w 2051041"/>
              <a:gd name="connsiteY326" fmla="*/ 1318536 h 2084191"/>
              <a:gd name="connsiteX327" fmla="*/ 1347966 w 2051041"/>
              <a:gd name="connsiteY327" fmla="*/ 1350098 h 2084191"/>
              <a:gd name="connsiteX328" fmla="*/ 1315315 w 2051041"/>
              <a:gd name="connsiteY328" fmla="*/ 1381661 h 2084191"/>
              <a:gd name="connsiteX329" fmla="*/ 1284297 w 2051041"/>
              <a:gd name="connsiteY329" fmla="*/ 1350098 h 2084191"/>
              <a:gd name="connsiteX330" fmla="*/ 1315315 w 2051041"/>
              <a:gd name="connsiteY330" fmla="*/ 1318536 h 2084191"/>
              <a:gd name="connsiteX331" fmla="*/ 1480744 w 2051041"/>
              <a:gd name="connsiteY331" fmla="*/ 1317448 h 2084191"/>
              <a:gd name="connsiteX332" fmla="*/ 1512306 w 2051041"/>
              <a:gd name="connsiteY332" fmla="*/ 1351731 h 2084191"/>
              <a:gd name="connsiteX333" fmla="*/ 1477479 w 2051041"/>
              <a:gd name="connsiteY333" fmla="*/ 1383293 h 2084191"/>
              <a:gd name="connsiteX334" fmla="*/ 1446461 w 2051041"/>
              <a:gd name="connsiteY334" fmla="*/ 1349554 h 2084191"/>
              <a:gd name="connsiteX335" fmla="*/ 1480744 w 2051041"/>
              <a:gd name="connsiteY335" fmla="*/ 1317448 h 2084191"/>
              <a:gd name="connsiteX336" fmla="*/ 1642908 w 2051041"/>
              <a:gd name="connsiteY336" fmla="*/ 1315815 h 2084191"/>
              <a:gd name="connsiteX337" fmla="*/ 1676647 w 2051041"/>
              <a:gd name="connsiteY337" fmla="*/ 1351731 h 2084191"/>
              <a:gd name="connsiteX338" fmla="*/ 1640732 w 2051041"/>
              <a:gd name="connsiteY338" fmla="*/ 1383837 h 2084191"/>
              <a:gd name="connsiteX339" fmla="*/ 1608081 w 2051041"/>
              <a:gd name="connsiteY339" fmla="*/ 1349554 h 2084191"/>
              <a:gd name="connsiteX340" fmla="*/ 1642908 w 2051041"/>
              <a:gd name="connsiteY340" fmla="*/ 1315815 h 2084191"/>
              <a:gd name="connsiteX341" fmla="*/ 1968870 w 2051041"/>
              <a:gd name="connsiteY341" fmla="*/ 1314183 h 2084191"/>
              <a:gd name="connsiteX342" fmla="*/ 2005329 w 2051041"/>
              <a:gd name="connsiteY342" fmla="*/ 1351187 h 2084191"/>
              <a:gd name="connsiteX343" fmla="*/ 1967781 w 2051041"/>
              <a:gd name="connsiteY343" fmla="*/ 1388191 h 2084191"/>
              <a:gd name="connsiteX344" fmla="*/ 1931866 w 2051041"/>
              <a:gd name="connsiteY344" fmla="*/ 1350098 h 2084191"/>
              <a:gd name="connsiteX345" fmla="*/ 1968870 w 2051041"/>
              <a:gd name="connsiteY345" fmla="*/ 1314183 h 2084191"/>
              <a:gd name="connsiteX346" fmla="*/ 1806161 w 2051041"/>
              <a:gd name="connsiteY346" fmla="*/ 1313639 h 2084191"/>
              <a:gd name="connsiteX347" fmla="*/ 1841533 w 2051041"/>
              <a:gd name="connsiteY347" fmla="*/ 1351187 h 2084191"/>
              <a:gd name="connsiteX348" fmla="*/ 1830105 w 2051041"/>
              <a:gd name="connsiteY348" fmla="*/ 1376763 h 2084191"/>
              <a:gd name="connsiteX349" fmla="*/ 1803984 w 2051041"/>
              <a:gd name="connsiteY349" fmla="*/ 1387102 h 2084191"/>
              <a:gd name="connsiteX350" fmla="*/ 1768613 w 2051041"/>
              <a:gd name="connsiteY350" fmla="*/ 1350098 h 2084191"/>
              <a:gd name="connsiteX351" fmla="*/ 1806161 w 2051041"/>
              <a:gd name="connsiteY351" fmla="*/ 1313639 h 2084191"/>
              <a:gd name="connsiteX352" fmla="*/ 419057 w 2051041"/>
              <a:gd name="connsiteY352" fmla="*/ 1262486 h 2084191"/>
              <a:gd name="connsiteX353" fmla="*/ 424499 w 2051041"/>
              <a:gd name="connsiteY353" fmla="*/ 1269016 h 2084191"/>
              <a:gd name="connsiteX354" fmla="*/ 417969 w 2051041"/>
              <a:gd name="connsiteY354" fmla="*/ 1278811 h 2084191"/>
              <a:gd name="connsiteX355" fmla="*/ 411983 w 2051041"/>
              <a:gd name="connsiteY355" fmla="*/ 1269016 h 2084191"/>
              <a:gd name="connsiteX356" fmla="*/ 419057 w 2051041"/>
              <a:gd name="connsiteY356" fmla="*/ 1262486 h 2084191"/>
              <a:gd name="connsiteX357" fmla="*/ 581221 w 2051041"/>
              <a:gd name="connsiteY357" fmla="*/ 1252147 h 2084191"/>
              <a:gd name="connsiteX358" fmla="*/ 597547 w 2051041"/>
              <a:gd name="connsiteY358" fmla="*/ 1269017 h 2084191"/>
              <a:gd name="connsiteX359" fmla="*/ 580133 w 2051041"/>
              <a:gd name="connsiteY359" fmla="*/ 1284254 h 2084191"/>
              <a:gd name="connsiteX360" fmla="*/ 564896 w 2051041"/>
              <a:gd name="connsiteY360" fmla="*/ 1268472 h 2084191"/>
              <a:gd name="connsiteX361" fmla="*/ 581221 w 2051041"/>
              <a:gd name="connsiteY361" fmla="*/ 1252147 h 2084191"/>
              <a:gd name="connsiteX362" fmla="*/ 745018 w 2051041"/>
              <a:gd name="connsiteY362" fmla="*/ 1246705 h 2084191"/>
              <a:gd name="connsiteX363" fmla="*/ 766241 w 2051041"/>
              <a:gd name="connsiteY363" fmla="*/ 1269560 h 2084191"/>
              <a:gd name="connsiteX364" fmla="*/ 744474 w 2051041"/>
              <a:gd name="connsiteY364" fmla="*/ 1290783 h 2084191"/>
              <a:gd name="connsiteX365" fmla="*/ 722707 w 2051041"/>
              <a:gd name="connsiteY365" fmla="*/ 1267928 h 2084191"/>
              <a:gd name="connsiteX366" fmla="*/ 745018 w 2051041"/>
              <a:gd name="connsiteY366" fmla="*/ 1246705 h 2084191"/>
              <a:gd name="connsiteX367" fmla="*/ 907727 w 2051041"/>
              <a:gd name="connsiteY367" fmla="*/ 1241807 h 2084191"/>
              <a:gd name="connsiteX368" fmla="*/ 933847 w 2051041"/>
              <a:gd name="connsiteY368" fmla="*/ 1269016 h 2084191"/>
              <a:gd name="connsiteX369" fmla="*/ 907183 w 2051041"/>
              <a:gd name="connsiteY369" fmla="*/ 1295136 h 2084191"/>
              <a:gd name="connsiteX370" fmla="*/ 880518 w 2051041"/>
              <a:gd name="connsiteY370" fmla="*/ 1267927 h 2084191"/>
              <a:gd name="connsiteX371" fmla="*/ 907727 w 2051041"/>
              <a:gd name="connsiteY371" fmla="*/ 1241807 h 2084191"/>
              <a:gd name="connsiteX372" fmla="*/ 1070979 w 2051041"/>
              <a:gd name="connsiteY372" fmla="*/ 1240719 h 2084191"/>
              <a:gd name="connsiteX373" fmla="*/ 1099821 w 2051041"/>
              <a:gd name="connsiteY373" fmla="*/ 1268472 h 2084191"/>
              <a:gd name="connsiteX374" fmla="*/ 1070435 w 2051041"/>
              <a:gd name="connsiteY374" fmla="*/ 1297858 h 2084191"/>
              <a:gd name="connsiteX375" fmla="*/ 1042138 w 2051041"/>
              <a:gd name="connsiteY375" fmla="*/ 1269560 h 2084191"/>
              <a:gd name="connsiteX376" fmla="*/ 1070979 w 2051041"/>
              <a:gd name="connsiteY376" fmla="*/ 1240719 h 2084191"/>
              <a:gd name="connsiteX377" fmla="*/ 1234233 w 2051041"/>
              <a:gd name="connsiteY377" fmla="*/ 1235821 h 2084191"/>
              <a:gd name="connsiteX378" fmla="*/ 1266883 w 2051041"/>
              <a:gd name="connsiteY378" fmla="*/ 1269016 h 2084191"/>
              <a:gd name="connsiteX379" fmla="*/ 1234233 w 2051041"/>
              <a:gd name="connsiteY379" fmla="*/ 1300578 h 2084191"/>
              <a:gd name="connsiteX380" fmla="*/ 1201582 w 2051041"/>
              <a:gd name="connsiteY380" fmla="*/ 1267383 h 2084191"/>
              <a:gd name="connsiteX381" fmla="*/ 1234233 w 2051041"/>
              <a:gd name="connsiteY381" fmla="*/ 1235821 h 2084191"/>
              <a:gd name="connsiteX382" fmla="*/ 1396397 w 2051041"/>
              <a:gd name="connsiteY382" fmla="*/ 1234733 h 2084191"/>
              <a:gd name="connsiteX383" fmla="*/ 1431224 w 2051041"/>
              <a:gd name="connsiteY383" fmla="*/ 1268472 h 2084191"/>
              <a:gd name="connsiteX384" fmla="*/ 1396941 w 2051041"/>
              <a:gd name="connsiteY384" fmla="*/ 1302755 h 2084191"/>
              <a:gd name="connsiteX385" fmla="*/ 1363746 w 2051041"/>
              <a:gd name="connsiteY385" fmla="*/ 1269016 h 2084191"/>
              <a:gd name="connsiteX386" fmla="*/ 1396397 w 2051041"/>
              <a:gd name="connsiteY386" fmla="*/ 1234733 h 2084191"/>
              <a:gd name="connsiteX387" fmla="*/ 1559649 w 2051041"/>
              <a:gd name="connsiteY387" fmla="*/ 1232557 h 2084191"/>
              <a:gd name="connsiteX388" fmla="*/ 1597742 w 2051041"/>
              <a:gd name="connsiteY388" fmla="*/ 1268472 h 2084191"/>
              <a:gd name="connsiteX389" fmla="*/ 1561826 w 2051041"/>
              <a:gd name="connsiteY389" fmla="*/ 1305476 h 2084191"/>
              <a:gd name="connsiteX390" fmla="*/ 1523734 w 2051041"/>
              <a:gd name="connsiteY390" fmla="*/ 1269561 h 2084191"/>
              <a:gd name="connsiteX391" fmla="*/ 1559649 w 2051041"/>
              <a:gd name="connsiteY391" fmla="*/ 1232557 h 2084191"/>
              <a:gd name="connsiteX392" fmla="*/ 1723990 w 2051041"/>
              <a:gd name="connsiteY392" fmla="*/ 1231468 h 2084191"/>
              <a:gd name="connsiteX393" fmla="*/ 1762083 w 2051041"/>
              <a:gd name="connsiteY393" fmla="*/ 1268472 h 2084191"/>
              <a:gd name="connsiteX394" fmla="*/ 1724535 w 2051041"/>
              <a:gd name="connsiteY394" fmla="*/ 1307109 h 2084191"/>
              <a:gd name="connsiteX395" fmla="*/ 1686442 w 2051041"/>
              <a:gd name="connsiteY395" fmla="*/ 1270105 h 2084191"/>
              <a:gd name="connsiteX396" fmla="*/ 1723990 w 2051041"/>
              <a:gd name="connsiteY396" fmla="*/ 1231468 h 2084191"/>
              <a:gd name="connsiteX397" fmla="*/ 1888332 w 2051041"/>
              <a:gd name="connsiteY397" fmla="*/ 1230924 h 2084191"/>
              <a:gd name="connsiteX398" fmla="*/ 1925336 w 2051041"/>
              <a:gd name="connsiteY398" fmla="*/ 1269561 h 2084191"/>
              <a:gd name="connsiteX399" fmla="*/ 1887243 w 2051041"/>
              <a:gd name="connsiteY399" fmla="*/ 1307653 h 2084191"/>
              <a:gd name="connsiteX400" fmla="*/ 1849151 w 2051041"/>
              <a:gd name="connsiteY400" fmla="*/ 1267928 h 2084191"/>
              <a:gd name="connsiteX401" fmla="*/ 1888332 w 2051041"/>
              <a:gd name="connsiteY401" fmla="*/ 1230924 h 2084191"/>
              <a:gd name="connsiteX402" fmla="*/ 2049952 w 2051041"/>
              <a:gd name="connsiteY402" fmla="*/ 1230380 h 2084191"/>
              <a:gd name="connsiteX403" fmla="*/ 2051041 w 2051041"/>
              <a:gd name="connsiteY403" fmla="*/ 1230805 h 2084191"/>
              <a:gd name="connsiteX404" fmla="*/ 2051041 w 2051041"/>
              <a:gd name="connsiteY404" fmla="*/ 1307109 h 2084191"/>
              <a:gd name="connsiteX405" fmla="*/ 2012404 w 2051041"/>
              <a:gd name="connsiteY405" fmla="*/ 1268472 h 2084191"/>
              <a:gd name="connsiteX406" fmla="*/ 2049952 w 2051041"/>
              <a:gd name="connsiteY406" fmla="*/ 1230380 h 2084191"/>
              <a:gd name="connsiteX407" fmla="*/ 337431 w 2051041"/>
              <a:gd name="connsiteY407" fmla="*/ 1181404 h 2084191"/>
              <a:gd name="connsiteX408" fmla="*/ 345050 w 2051041"/>
              <a:gd name="connsiteY408" fmla="*/ 1187934 h 2084191"/>
              <a:gd name="connsiteX409" fmla="*/ 336343 w 2051041"/>
              <a:gd name="connsiteY409" fmla="*/ 1192288 h 2084191"/>
              <a:gd name="connsiteX410" fmla="*/ 330901 w 2051041"/>
              <a:gd name="connsiteY410" fmla="*/ 1185758 h 2084191"/>
              <a:gd name="connsiteX411" fmla="*/ 337431 w 2051041"/>
              <a:gd name="connsiteY411" fmla="*/ 1181404 h 2084191"/>
              <a:gd name="connsiteX412" fmla="*/ 499051 w 2051041"/>
              <a:gd name="connsiteY412" fmla="*/ 1171065 h 2084191"/>
              <a:gd name="connsiteX413" fmla="*/ 516465 w 2051041"/>
              <a:gd name="connsiteY413" fmla="*/ 1187390 h 2084191"/>
              <a:gd name="connsiteX414" fmla="*/ 500140 w 2051041"/>
              <a:gd name="connsiteY414" fmla="*/ 1202627 h 2084191"/>
              <a:gd name="connsiteX415" fmla="*/ 483814 w 2051041"/>
              <a:gd name="connsiteY415" fmla="*/ 1187390 h 2084191"/>
              <a:gd name="connsiteX416" fmla="*/ 499051 w 2051041"/>
              <a:gd name="connsiteY416" fmla="*/ 1171065 h 2084191"/>
              <a:gd name="connsiteX417" fmla="*/ 662848 w 2051041"/>
              <a:gd name="connsiteY417" fmla="*/ 1165623 h 2084191"/>
              <a:gd name="connsiteX418" fmla="*/ 684615 w 2051041"/>
              <a:gd name="connsiteY418" fmla="*/ 1187390 h 2084191"/>
              <a:gd name="connsiteX419" fmla="*/ 662848 w 2051041"/>
              <a:gd name="connsiteY419" fmla="*/ 1209157 h 2084191"/>
              <a:gd name="connsiteX420" fmla="*/ 641081 w 2051041"/>
              <a:gd name="connsiteY420" fmla="*/ 1186846 h 2084191"/>
              <a:gd name="connsiteX421" fmla="*/ 662848 w 2051041"/>
              <a:gd name="connsiteY421" fmla="*/ 1165623 h 2084191"/>
              <a:gd name="connsiteX422" fmla="*/ 825556 w 2051041"/>
              <a:gd name="connsiteY422" fmla="*/ 1160725 h 2084191"/>
              <a:gd name="connsiteX423" fmla="*/ 852765 w 2051041"/>
              <a:gd name="connsiteY423" fmla="*/ 1186846 h 2084191"/>
              <a:gd name="connsiteX424" fmla="*/ 826645 w 2051041"/>
              <a:gd name="connsiteY424" fmla="*/ 1213511 h 2084191"/>
              <a:gd name="connsiteX425" fmla="*/ 798892 w 2051041"/>
              <a:gd name="connsiteY425" fmla="*/ 1188479 h 2084191"/>
              <a:gd name="connsiteX426" fmla="*/ 825556 w 2051041"/>
              <a:gd name="connsiteY426" fmla="*/ 1160725 h 2084191"/>
              <a:gd name="connsiteX427" fmla="*/ 989353 w 2051041"/>
              <a:gd name="connsiteY427" fmla="*/ 1158004 h 2084191"/>
              <a:gd name="connsiteX428" fmla="*/ 1018195 w 2051041"/>
              <a:gd name="connsiteY428" fmla="*/ 1187934 h 2084191"/>
              <a:gd name="connsiteX429" fmla="*/ 988809 w 2051041"/>
              <a:gd name="connsiteY429" fmla="*/ 1216775 h 2084191"/>
              <a:gd name="connsiteX430" fmla="*/ 959968 w 2051041"/>
              <a:gd name="connsiteY430" fmla="*/ 1187934 h 2084191"/>
              <a:gd name="connsiteX431" fmla="*/ 989353 w 2051041"/>
              <a:gd name="connsiteY431" fmla="*/ 1158004 h 2084191"/>
              <a:gd name="connsiteX432" fmla="*/ 1152062 w 2051041"/>
              <a:gd name="connsiteY432" fmla="*/ 1153651 h 2084191"/>
              <a:gd name="connsiteX433" fmla="*/ 1185801 w 2051041"/>
              <a:gd name="connsiteY433" fmla="*/ 1186301 h 2084191"/>
              <a:gd name="connsiteX434" fmla="*/ 1153150 w 2051041"/>
              <a:gd name="connsiteY434" fmla="*/ 1219496 h 2084191"/>
              <a:gd name="connsiteX435" fmla="*/ 1119956 w 2051041"/>
              <a:gd name="connsiteY435" fmla="*/ 1187390 h 2084191"/>
              <a:gd name="connsiteX436" fmla="*/ 1152062 w 2051041"/>
              <a:gd name="connsiteY436" fmla="*/ 1153651 h 2084191"/>
              <a:gd name="connsiteX437" fmla="*/ 1315315 w 2051041"/>
              <a:gd name="connsiteY437" fmla="*/ 1152018 h 2084191"/>
              <a:gd name="connsiteX438" fmla="*/ 1351230 w 2051041"/>
              <a:gd name="connsiteY438" fmla="*/ 1186845 h 2084191"/>
              <a:gd name="connsiteX439" fmla="*/ 1315859 w 2051041"/>
              <a:gd name="connsiteY439" fmla="*/ 1221673 h 2084191"/>
              <a:gd name="connsiteX440" fmla="*/ 1281576 w 2051041"/>
              <a:gd name="connsiteY440" fmla="*/ 1187390 h 2084191"/>
              <a:gd name="connsiteX441" fmla="*/ 1315315 w 2051041"/>
              <a:gd name="connsiteY441" fmla="*/ 1152018 h 2084191"/>
              <a:gd name="connsiteX442" fmla="*/ 1479656 w 2051041"/>
              <a:gd name="connsiteY442" fmla="*/ 1149298 h 2084191"/>
              <a:gd name="connsiteX443" fmla="*/ 1516660 w 2051041"/>
              <a:gd name="connsiteY443" fmla="*/ 1188479 h 2084191"/>
              <a:gd name="connsiteX444" fmla="*/ 1478023 w 2051041"/>
              <a:gd name="connsiteY444" fmla="*/ 1224394 h 2084191"/>
              <a:gd name="connsiteX445" fmla="*/ 1441563 w 2051041"/>
              <a:gd name="connsiteY445" fmla="*/ 1185758 h 2084191"/>
              <a:gd name="connsiteX446" fmla="*/ 1479656 w 2051041"/>
              <a:gd name="connsiteY446" fmla="*/ 1149298 h 2084191"/>
              <a:gd name="connsiteX447" fmla="*/ 1642365 w 2051041"/>
              <a:gd name="connsiteY447" fmla="*/ 1148209 h 2084191"/>
              <a:gd name="connsiteX448" fmla="*/ 1681001 w 2051041"/>
              <a:gd name="connsiteY448" fmla="*/ 1187390 h 2084191"/>
              <a:gd name="connsiteX449" fmla="*/ 1641821 w 2051041"/>
              <a:gd name="connsiteY449" fmla="*/ 1226026 h 2084191"/>
              <a:gd name="connsiteX450" fmla="*/ 1603728 w 2051041"/>
              <a:gd name="connsiteY450" fmla="*/ 1186846 h 2084191"/>
              <a:gd name="connsiteX451" fmla="*/ 1642365 w 2051041"/>
              <a:gd name="connsiteY451" fmla="*/ 1148209 h 2084191"/>
              <a:gd name="connsiteX452" fmla="*/ 1969414 w 2051041"/>
              <a:gd name="connsiteY452" fmla="*/ 1147665 h 2084191"/>
              <a:gd name="connsiteX453" fmla="*/ 2009139 w 2051041"/>
              <a:gd name="connsiteY453" fmla="*/ 1187934 h 2084191"/>
              <a:gd name="connsiteX454" fmla="*/ 1968870 w 2051041"/>
              <a:gd name="connsiteY454" fmla="*/ 1227114 h 2084191"/>
              <a:gd name="connsiteX455" fmla="*/ 1929145 w 2051041"/>
              <a:gd name="connsiteY455" fmla="*/ 1186301 h 2084191"/>
              <a:gd name="connsiteX456" fmla="*/ 1969414 w 2051041"/>
              <a:gd name="connsiteY456" fmla="*/ 1147665 h 2084191"/>
              <a:gd name="connsiteX457" fmla="*/ 1805617 w 2051041"/>
              <a:gd name="connsiteY457" fmla="*/ 1147665 h 2084191"/>
              <a:gd name="connsiteX458" fmla="*/ 1844798 w 2051041"/>
              <a:gd name="connsiteY458" fmla="*/ 1187934 h 2084191"/>
              <a:gd name="connsiteX459" fmla="*/ 1805073 w 2051041"/>
              <a:gd name="connsiteY459" fmla="*/ 1226571 h 2084191"/>
              <a:gd name="connsiteX460" fmla="*/ 1766981 w 2051041"/>
              <a:gd name="connsiteY460" fmla="*/ 1186845 h 2084191"/>
              <a:gd name="connsiteX461" fmla="*/ 1805617 w 2051041"/>
              <a:gd name="connsiteY461" fmla="*/ 1147665 h 2084191"/>
              <a:gd name="connsiteX462" fmla="*/ 417425 w 2051041"/>
              <a:gd name="connsiteY462" fmla="*/ 1090527 h 2084191"/>
              <a:gd name="connsiteX463" fmla="*/ 432662 w 2051041"/>
              <a:gd name="connsiteY463" fmla="*/ 1105764 h 2084191"/>
              <a:gd name="connsiteX464" fmla="*/ 417969 w 2051041"/>
              <a:gd name="connsiteY464" fmla="*/ 1120457 h 2084191"/>
              <a:gd name="connsiteX465" fmla="*/ 402732 w 2051041"/>
              <a:gd name="connsiteY465" fmla="*/ 1105219 h 2084191"/>
              <a:gd name="connsiteX466" fmla="*/ 417425 w 2051041"/>
              <a:gd name="connsiteY466" fmla="*/ 1090527 h 2084191"/>
              <a:gd name="connsiteX467" fmla="*/ 580677 w 2051041"/>
              <a:gd name="connsiteY467" fmla="*/ 1083996 h 2084191"/>
              <a:gd name="connsiteX468" fmla="*/ 602444 w 2051041"/>
              <a:gd name="connsiteY468" fmla="*/ 1105219 h 2084191"/>
              <a:gd name="connsiteX469" fmla="*/ 581221 w 2051041"/>
              <a:gd name="connsiteY469" fmla="*/ 1127530 h 2084191"/>
              <a:gd name="connsiteX470" fmla="*/ 558910 w 2051041"/>
              <a:gd name="connsiteY470" fmla="*/ 1105219 h 2084191"/>
              <a:gd name="connsiteX471" fmla="*/ 580677 w 2051041"/>
              <a:gd name="connsiteY471" fmla="*/ 1083996 h 2084191"/>
              <a:gd name="connsiteX472" fmla="*/ 743386 w 2051041"/>
              <a:gd name="connsiteY472" fmla="*/ 1079099 h 2084191"/>
              <a:gd name="connsiteX473" fmla="*/ 770595 w 2051041"/>
              <a:gd name="connsiteY473" fmla="*/ 1105219 h 2084191"/>
              <a:gd name="connsiteX474" fmla="*/ 745019 w 2051041"/>
              <a:gd name="connsiteY474" fmla="*/ 1132428 h 2084191"/>
              <a:gd name="connsiteX475" fmla="*/ 717810 w 2051041"/>
              <a:gd name="connsiteY475" fmla="*/ 1106308 h 2084191"/>
              <a:gd name="connsiteX476" fmla="*/ 743386 w 2051041"/>
              <a:gd name="connsiteY476" fmla="*/ 1079099 h 2084191"/>
              <a:gd name="connsiteX477" fmla="*/ 907727 w 2051041"/>
              <a:gd name="connsiteY477" fmla="*/ 1076378 h 2084191"/>
              <a:gd name="connsiteX478" fmla="*/ 937112 w 2051041"/>
              <a:gd name="connsiteY478" fmla="*/ 1105219 h 2084191"/>
              <a:gd name="connsiteX479" fmla="*/ 908271 w 2051041"/>
              <a:gd name="connsiteY479" fmla="*/ 1134061 h 2084191"/>
              <a:gd name="connsiteX480" fmla="*/ 878885 w 2051041"/>
              <a:gd name="connsiteY480" fmla="*/ 1105764 h 2084191"/>
              <a:gd name="connsiteX481" fmla="*/ 907727 w 2051041"/>
              <a:gd name="connsiteY481" fmla="*/ 1076378 h 2084191"/>
              <a:gd name="connsiteX482" fmla="*/ 1071524 w 2051041"/>
              <a:gd name="connsiteY482" fmla="*/ 1072569 h 2084191"/>
              <a:gd name="connsiteX483" fmla="*/ 1104174 w 2051041"/>
              <a:gd name="connsiteY483" fmla="*/ 1105220 h 2084191"/>
              <a:gd name="connsiteX484" fmla="*/ 1070435 w 2051041"/>
              <a:gd name="connsiteY484" fmla="*/ 1137870 h 2084191"/>
              <a:gd name="connsiteX485" fmla="*/ 1038329 w 2051041"/>
              <a:gd name="connsiteY485" fmla="*/ 1105764 h 2084191"/>
              <a:gd name="connsiteX486" fmla="*/ 1071524 w 2051041"/>
              <a:gd name="connsiteY486" fmla="*/ 1072569 h 2084191"/>
              <a:gd name="connsiteX487" fmla="*/ 1235865 w 2051041"/>
              <a:gd name="connsiteY487" fmla="*/ 1068760 h 2084191"/>
              <a:gd name="connsiteX488" fmla="*/ 1271237 w 2051041"/>
              <a:gd name="connsiteY488" fmla="*/ 1106852 h 2084191"/>
              <a:gd name="connsiteX489" fmla="*/ 1234777 w 2051041"/>
              <a:gd name="connsiteY489" fmla="*/ 1142223 h 2084191"/>
              <a:gd name="connsiteX490" fmla="*/ 1198861 w 2051041"/>
              <a:gd name="connsiteY490" fmla="*/ 1105219 h 2084191"/>
              <a:gd name="connsiteX491" fmla="*/ 1235865 w 2051041"/>
              <a:gd name="connsiteY491" fmla="*/ 1068760 h 2084191"/>
              <a:gd name="connsiteX492" fmla="*/ 1396397 w 2051041"/>
              <a:gd name="connsiteY492" fmla="*/ 1067127 h 2084191"/>
              <a:gd name="connsiteX493" fmla="*/ 1435578 w 2051041"/>
              <a:gd name="connsiteY493" fmla="*/ 1105219 h 2084191"/>
              <a:gd name="connsiteX494" fmla="*/ 1396941 w 2051041"/>
              <a:gd name="connsiteY494" fmla="*/ 1143856 h 2084191"/>
              <a:gd name="connsiteX495" fmla="*/ 1358849 w 2051041"/>
              <a:gd name="connsiteY495" fmla="*/ 1105763 h 2084191"/>
              <a:gd name="connsiteX496" fmla="*/ 1396397 w 2051041"/>
              <a:gd name="connsiteY496" fmla="*/ 1067127 h 2084191"/>
              <a:gd name="connsiteX497" fmla="*/ 1560738 w 2051041"/>
              <a:gd name="connsiteY497" fmla="*/ 1066582 h 2084191"/>
              <a:gd name="connsiteX498" fmla="*/ 1599919 w 2051041"/>
              <a:gd name="connsiteY498" fmla="*/ 1105763 h 2084191"/>
              <a:gd name="connsiteX499" fmla="*/ 1560738 w 2051041"/>
              <a:gd name="connsiteY499" fmla="*/ 1144400 h 2084191"/>
              <a:gd name="connsiteX500" fmla="*/ 1521013 w 2051041"/>
              <a:gd name="connsiteY500" fmla="*/ 1105763 h 2084191"/>
              <a:gd name="connsiteX501" fmla="*/ 1560738 w 2051041"/>
              <a:gd name="connsiteY501" fmla="*/ 1066582 h 2084191"/>
              <a:gd name="connsiteX502" fmla="*/ 1723447 w 2051041"/>
              <a:gd name="connsiteY502" fmla="*/ 1064406 h 2084191"/>
              <a:gd name="connsiteX503" fmla="*/ 1764260 w 2051041"/>
              <a:gd name="connsiteY503" fmla="*/ 1104675 h 2084191"/>
              <a:gd name="connsiteX504" fmla="*/ 1724535 w 2051041"/>
              <a:gd name="connsiteY504" fmla="*/ 1146032 h 2084191"/>
              <a:gd name="connsiteX505" fmla="*/ 1683178 w 2051041"/>
              <a:gd name="connsiteY505" fmla="*/ 1105764 h 2084191"/>
              <a:gd name="connsiteX506" fmla="*/ 1723447 w 2051041"/>
              <a:gd name="connsiteY506" fmla="*/ 1064406 h 2084191"/>
              <a:gd name="connsiteX507" fmla="*/ 2051041 w 2051041"/>
              <a:gd name="connsiteY507" fmla="*/ 1063318 h 2084191"/>
              <a:gd name="connsiteX508" fmla="*/ 2051041 w 2051041"/>
              <a:gd name="connsiteY508" fmla="*/ 1147740 h 2084191"/>
              <a:gd name="connsiteX509" fmla="*/ 2049952 w 2051041"/>
              <a:gd name="connsiteY509" fmla="*/ 1148210 h 2084191"/>
              <a:gd name="connsiteX510" fmla="*/ 2008051 w 2051041"/>
              <a:gd name="connsiteY510" fmla="*/ 1105764 h 2084191"/>
              <a:gd name="connsiteX511" fmla="*/ 2051041 w 2051041"/>
              <a:gd name="connsiteY511" fmla="*/ 1063318 h 2084191"/>
              <a:gd name="connsiteX512" fmla="*/ 1887787 w 2051041"/>
              <a:gd name="connsiteY512" fmla="*/ 1062773 h 2084191"/>
              <a:gd name="connsiteX513" fmla="*/ 1929145 w 2051041"/>
              <a:gd name="connsiteY513" fmla="*/ 1105763 h 2084191"/>
              <a:gd name="connsiteX514" fmla="*/ 1886699 w 2051041"/>
              <a:gd name="connsiteY514" fmla="*/ 1147665 h 2084191"/>
              <a:gd name="connsiteX515" fmla="*/ 1844798 w 2051041"/>
              <a:gd name="connsiteY515" fmla="*/ 1105219 h 2084191"/>
              <a:gd name="connsiteX516" fmla="*/ 1887787 w 2051041"/>
              <a:gd name="connsiteY516" fmla="*/ 1062773 h 2084191"/>
              <a:gd name="connsiteX517" fmla="*/ 335798 w 2051041"/>
              <a:gd name="connsiteY517" fmla="*/ 1011621 h 2084191"/>
              <a:gd name="connsiteX518" fmla="*/ 348314 w 2051041"/>
              <a:gd name="connsiteY518" fmla="*/ 1023049 h 2084191"/>
              <a:gd name="connsiteX519" fmla="*/ 336886 w 2051041"/>
              <a:gd name="connsiteY519" fmla="*/ 1036109 h 2084191"/>
              <a:gd name="connsiteX520" fmla="*/ 324370 w 2051041"/>
              <a:gd name="connsiteY520" fmla="*/ 1024681 h 2084191"/>
              <a:gd name="connsiteX521" fmla="*/ 335798 w 2051041"/>
              <a:gd name="connsiteY521" fmla="*/ 1011621 h 2084191"/>
              <a:gd name="connsiteX522" fmla="*/ 499051 w 2051041"/>
              <a:gd name="connsiteY522" fmla="*/ 1002914 h 2084191"/>
              <a:gd name="connsiteX523" fmla="*/ 520818 w 2051041"/>
              <a:gd name="connsiteY523" fmla="*/ 1024137 h 2084191"/>
              <a:gd name="connsiteX524" fmla="*/ 499595 w 2051041"/>
              <a:gd name="connsiteY524" fmla="*/ 1045360 h 2084191"/>
              <a:gd name="connsiteX525" fmla="*/ 478372 w 2051041"/>
              <a:gd name="connsiteY525" fmla="*/ 1024137 h 2084191"/>
              <a:gd name="connsiteX526" fmla="*/ 499051 w 2051041"/>
              <a:gd name="connsiteY526" fmla="*/ 1002914 h 2084191"/>
              <a:gd name="connsiteX527" fmla="*/ 663392 w 2051041"/>
              <a:gd name="connsiteY527" fmla="*/ 997473 h 2084191"/>
              <a:gd name="connsiteX528" fmla="*/ 688424 w 2051041"/>
              <a:gd name="connsiteY528" fmla="*/ 1024138 h 2084191"/>
              <a:gd name="connsiteX529" fmla="*/ 661759 w 2051041"/>
              <a:gd name="connsiteY529" fmla="*/ 1050258 h 2084191"/>
              <a:gd name="connsiteX530" fmla="*/ 636727 w 2051041"/>
              <a:gd name="connsiteY530" fmla="*/ 1023593 h 2084191"/>
              <a:gd name="connsiteX531" fmla="*/ 663392 w 2051041"/>
              <a:gd name="connsiteY531" fmla="*/ 997473 h 2084191"/>
              <a:gd name="connsiteX532" fmla="*/ 826645 w 2051041"/>
              <a:gd name="connsiteY532" fmla="*/ 995840 h 2084191"/>
              <a:gd name="connsiteX533" fmla="*/ 854942 w 2051041"/>
              <a:gd name="connsiteY533" fmla="*/ 1024137 h 2084191"/>
              <a:gd name="connsiteX534" fmla="*/ 825557 w 2051041"/>
              <a:gd name="connsiteY534" fmla="*/ 1052978 h 2084191"/>
              <a:gd name="connsiteX535" fmla="*/ 797260 w 2051041"/>
              <a:gd name="connsiteY535" fmla="*/ 1023593 h 2084191"/>
              <a:gd name="connsiteX536" fmla="*/ 826645 w 2051041"/>
              <a:gd name="connsiteY536" fmla="*/ 995840 h 2084191"/>
              <a:gd name="connsiteX537" fmla="*/ 990441 w 2051041"/>
              <a:gd name="connsiteY537" fmla="*/ 990942 h 2084191"/>
              <a:gd name="connsiteX538" fmla="*/ 1022548 w 2051041"/>
              <a:gd name="connsiteY538" fmla="*/ 1025225 h 2084191"/>
              <a:gd name="connsiteX539" fmla="*/ 988809 w 2051041"/>
              <a:gd name="connsiteY539" fmla="*/ 1056787 h 2084191"/>
              <a:gd name="connsiteX540" fmla="*/ 956702 w 2051041"/>
              <a:gd name="connsiteY540" fmla="*/ 1023593 h 2084191"/>
              <a:gd name="connsiteX541" fmla="*/ 990441 w 2051041"/>
              <a:gd name="connsiteY541" fmla="*/ 990942 h 2084191"/>
              <a:gd name="connsiteX542" fmla="*/ 1150974 w 2051041"/>
              <a:gd name="connsiteY542" fmla="*/ 987678 h 2084191"/>
              <a:gd name="connsiteX543" fmla="*/ 1189610 w 2051041"/>
              <a:gd name="connsiteY543" fmla="*/ 1023593 h 2084191"/>
              <a:gd name="connsiteX544" fmla="*/ 1152062 w 2051041"/>
              <a:gd name="connsiteY544" fmla="*/ 1061685 h 2084191"/>
              <a:gd name="connsiteX545" fmla="*/ 1115058 w 2051041"/>
              <a:gd name="connsiteY545" fmla="*/ 1024682 h 2084191"/>
              <a:gd name="connsiteX546" fmla="*/ 1150974 w 2051041"/>
              <a:gd name="connsiteY546" fmla="*/ 987678 h 2084191"/>
              <a:gd name="connsiteX547" fmla="*/ 1315314 w 2051041"/>
              <a:gd name="connsiteY547" fmla="*/ 985501 h 2084191"/>
              <a:gd name="connsiteX548" fmla="*/ 1354495 w 2051041"/>
              <a:gd name="connsiteY548" fmla="*/ 1023593 h 2084191"/>
              <a:gd name="connsiteX549" fmla="*/ 1315858 w 2051041"/>
              <a:gd name="connsiteY549" fmla="*/ 1062230 h 2084191"/>
              <a:gd name="connsiteX550" fmla="*/ 1277222 w 2051041"/>
              <a:gd name="connsiteY550" fmla="*/ 1024137 h 2084191"/>
              <a:gd name="connsiteX551" fmla="*/ 1315314 w 2051041"/>
              <a:gd name="connsiteY551" fmla="*/ 985501 h 2084191"/>
              <a:gd name="connsiteX552" fmla="*/ 1479656 w 2051041"/>
              <a:gd name="connsiteY552" fmla="*/ 984412 h 2084191"/>
              <a:gd name="connsiteX553" fmla="*/ 1519380 w 2051041"/>
              <a:gd name="connsiteY553" fmla="*/ 1025225 h 2084191"/>
              <a:gd name="connsiteX554" fmla="*/ 1478567 w 2051041"/>
              <a:gd name="connsiteY554" fmla="*/ 1063318 h 2084191"/>
              <a:gd name="connsiteX555" fmla="*/ 1439387 w 2051041"/>
              <a:gd name="connsiteY555" fmla="*/ 1023593 h 2084191"/>
              <a:gd name="connsiteX556" fmla="*/ 1479656 w 2051041"/>
              <a:gd name="connsiteY556" fmla="*/ 984412 h 2084191"/>
              <a:gd name="connsiteX557" fmla="*/ 1641820 w 2051041"/>
              <a:gd name="connsiteY557" fmla="*/ 981691 h 2084191"/>
              <a:gd name="connsiteX558" fmla="*/ 1684810 w 2051041"/>
              <a:gd name="connsiteY558" fmla="*/ 1023592 h 2084191"/>
              <a:gd name="connsiteX559" fmla="*/ 1642909 w 2051041"/>
              <a:gd name="connsiteY559" fmla="*/ 1066038 h 2084191"/>
              <a:gd name="connsiteX560" fmla="*/ 1599919 w 2051041"/>
              <a:gd name="connsiteY560" fmla="*/ 1023592 h 2084191"/>
              <a:gd name="connsiteX561" fmla="*/ 1641820 w 2051041"/>
              <a:gd name="connsiteY561" fmla="*/ 981691 h 2084191"/>
              <a:gd name="connsiteX562" fmla="*/ 1806161 w 2051041"/>
              <a:gd name="connsiteY562" fmla="*/ 980603 h 2084191"/>
              <a:gd name="connsiteX563" fmla="*/ 1849151 w 2051041"/>
              <a:gd name="connsiteY563" fmla="*/ 1023592 h 2084191"/>
              <a:gd name="connsiteX564" fmla="*/ 1805617 w 2051041"/>
              <a:gd name="connsiteY564" fmla="*/ 1067127 h 2084191"/>
              <a:gd name="connsiteX565" fmla="*/ 1762083 w 2051041"/>
              <a:gd name="connsiteY565" fmla="*/ 1023592 h 2084191"/>
              <a:gd name="connsiteX566" fmla="*/ 1806161 w 2051041"/>
              <a:gd name="connsiteY566" fmla="*/ 980603 h 2084191"/>
              <a:gd name="connsiteX567" fmla="*/ 1969414 w 2051041"/>
              <a:gd name="connsiteY567" fmla="*/ 980059 h 2084191"/>
              <a:gd name="connsiteX568" fmla="*/ 2012404 w 2051041"/>
              <a:gd name="connsiteY568" fmla="*/ 1024137 h 2084191"/>
              <a:gd name="connsiteX569" fmla="*/ 1968870 w 2051041"/>
              <a:gd name="connsiteY569" fmla="*/ 1067127 h 2084191"/>
              <a:gd name="connsiteX570" fmla="*/ 1924792 w 2051041"/>
              <a:gd name="connsiteY570" fmla="*/ 1024137 h 2084191"/>
              <a:gd name="connsiteX571" fmla="*/ 1969414 w 2051041"/>
              <a:gd name="connsiteY571" fmla="*/ 980059 h 2084191"/>
              <a:gd name="connsiteX572" fmla="*/ 254171 w 2051041"/>
              <a:gd name="connsiteY572" fmla="*/ 931083 h 2084191"/>
              <a:gd name="connsiteX573" fmla="*/ 265599 w 2051041"/>
              <a:gd name="connsiteY573" fmla="*/ 941967 h 2084191"/>
              <a:gd name="connsiteX574" fmla="*/ 254171 w 2051041"/>
              <a:gd name="connsiteY574" fmla="*/ 952850 h 2084191"/>
              <a:gd name="connsiteX575" fmla="*/ 243832 w 2051041"/>
              <a:gd name="connsiteY575" fmla="*/ 941967 h 2084191"/>
              <a:gd name="connsiteX576" fmla="*/ 254171 w 2051041"/>
              <a:gd name="connsiteY576" fmla="*/ 931083 h 2084191"/>
              <a:gd name="connsiteX577" fmla="*/ 417968 w 2051041"/>
              <a:gd name="connsiteY577" fmla="*/ 922377 h 2084191"/>
              <a:gd name="connsiteX578" fmla="*/ 437559 w 2051041"/>
              <a:gd name="connsiteY578" fmla="*/ 942511 h 2084191"/>
              <a:gd name="connsiteX579" fmla="*/ 417968 w 2051041"/>
              <a:gd name="connsiteY579" fmla="*/ 961557 h 2084191"/>
              <a:gd name="connsiteX580" fmla="*/ 397834 w 2051041"/>
              <a:gd name="connsiteY580" fmla="*/ 941423 h 2084191"/>
              <a:gd name="connsiteX581" fmla="*/ 417968 w 2051041"/>
              <a:gd name="connsiteY581" fmla="*/ 922377 h 2084191"/>
              <a:gd name="connsiteX582" fmla="*/ 581222 w 2051041"/>
              <a:gd name="connsiteY582" fmla="*/ 916934 h 2084191"/>
              <a:gd name="connsiteX583" fmla="*/ 606798 w 2051041"/>
              <a:gd name="connsiteY583" fmla="*/ 943054 h 2084191"/>
              <a:gd name="connsiteX584" fmla="*/ 581222 w 2051041"/>
              <a:gd name="connsiteY584" fmla="*/ 967542 h 2084191"/>
              <a:gd name="connsiteX585" fmla="*/ 556190 w 2051041"/>
              <a:gd name="connsiteY585" fmla="*/ 943054 h 2084191"/>
              <a:gd name="connsiteX586" fmla="*/ 581222 w 2051041"/>
              <a:gd name="connsiteY586" fmla="*/ 916934 h 2084191"/>
              <a:gd name="connsiteX587" fmla="*/ 744474 w 2051041"/>
              <a:gd name="connsiteY587" fmla="*/ 913669 h 2084191"/>
              <a:gd name="connsiteX588" fmla="*/ 773315 w 2051041"/>
              <a:gd name="connsiteY588" fmla="*/ 942510 h 2084191"/>
              <a:gd name="connsiteX589" fmla="*/ 743930 w 2051041"/>
              <a:gd name="connsiteY589" fmla="*/ 970807 h 2084191"/>
              <a:gd name="connsiteX590" fmla="*/ 716177 w 2051041"/>
              <a:gd name="connsiteY590" fmla="*/ 941966 h 2084191"/>
              <a:gd name="connsiteX591" fmla="*/ 744474 w 2051041"/>
              <a:gd name="connsiteY591" fmla="*/ 913669 h 2084191"/>
              <a:gd name="connsiteX592" fmla="*/ 908271 w 2051041"/>
              <a:gd name="connsiteY592" fmla="*/ 908772 h 2084191"/>
              <a:gd name="connsiteX593" fmla="*/ 940377 w 2051041"/>
              <a:gd name="connsiteY593" fmla="*/ 944144 h 2084191"/>
              <a:gd name="connsiteX594" fmla="*/ 906094 w 2051041"/>
              <a:gd name="connsiteY594" fmla="*/ 975162 h 2084191"/>
              <a:gd name="connsiteX595" fmla="*/ 874532 w 2051041"/>
              <a:gd name="connsiteY595" fmla="*/ 940879 h 2084191"/>
              <a:gd name="connsiteX596" fmla="*/ 908271 w 2051041"/>
              <a:gd name="connsiteY596" fmla="*/ 908772 h 2084191"/>
              <a:gd name="connsiteX597" fmla="*/ 1072068 w 2051041"/>
              <a:gd name="connsiteY597" fmla="*/ 906051 h 2084191"/>
              <a:gd name="connsiteX598" fmla="*/ 1107984 w 2051041"/>
              <a:gd name="connsiteY598" fmla="*/ 942511 h 2084191"/>
              <a:gd name="connsiteX599" fmla="*/ 1070980 w 2051041"/>
              <a:gd name="connsiteY599" fmla="*/ 979515 h 2084191"/>
              <a:gd name="connsiteX600" fmla="*/ 1034520 w 2051041"/>
              <a:gd name="connsiteY600" fmla="*/ 942511 h 2084191"/>
              <a:gd name="connsiteX601" fmla="*/ 1072068 w 2051041"/>
              <a:gd name="connsiteY601" fmla="*/ 906051 h 2084191"/>
              <a:gd name="connsiteX602" fmla="*/ 1235321 w 2051041"/>
              <a:gd name="connsiteY602" fmla="*/ 903874 h 2084191"/>
              <a:gd name="connsiteX603" fmla="*/ 1272325 w 2051041"/>
              <a:gd name="connsiteY603" fmla="*/ 943054 h 2084191"/>
              <a:gd name="connsiteX604" fmla="*/ 1233688 w 2051041"/>
              <a:gd name="connsiteY604" fmla="*/ 981147 h 2084191"/>
              <a:gd name="connsiteX605" fmla="*/ 1195596 w 2051041"/>
              <a:gd name="connsiteY605" fmla="*/ 940878 h 2084191"/>
              <a:gd name="connsiteX606" fmla="*/ 1235321 w 2051041"/>
              <a:gd name="connsiteY606" fmla="*/ 903874 h 2084191"/>
              <a:gd name="connsiteX607" fmla="*/ 1397486 w 2051041"/>
              <a:gd name="connsiteY607" fmla="*/ 901153 h 2084191"/>
              <a:gd name="connsiteX608" fmla="*/ 1438299 w 2051041"/>
              <a:gd name="connsiteY608" fmla="*/ 942511 h 2084191"/>
              <a:gd name="connsiteX609" fmla="*/ 1396941 w 2051041"/>
              <a:gd name="connsiteY609" fmla="*/ 983324 h 2084191"/>
              <a:gd name="connsiteX610" fmla="*/ 1356128 w 2051041"/>
              <a:gd name="connsiteY610" fmla="*/ 941967 h 2084191"/>
              <a:gd name="connsiteX611" fmla="*/ 1397486 w 2051041"/>
              <a:gd name="connsiteY611" fmla="*/ 901153 h 2084191"/>
              <a:gd name="connsiteX612" fmla="*/ 1560738 w 2051041"/>
              <a:gd name="connsiteY612" fmla="*/ 898977 h 2084191"/>
              <a:gd name="connsiteX613" fmla="*/ 1603728 w 2051041"/>
              <a:gd name="connsiteY613" fmla="*/ 942511 h 2084191"/>
              <a:gd name="connsiteX614" fmla="*/ 1560738 w 2051041"/>
              <a:gd name="connsiteY614" fmla="*/ 985501 h 2084191"/>
              <a:gd name="connsiteX615" fmla="*/ 1517204 w 2051041"/>
              <a:gd name="connsiteY615" fmla="*/ 941423 h 2084191"/>
              <a:gd name="connsiteX616" fmla="*/ 1560738 w 2051041"/>
              <a:gd name="connsiteY616" fmla="*/ 898977 h 2084191"/>
              <a:gd name="connsiteX617" fmla="*/ 1723990 w 2051041"/>
              <a:gd name="connsiteY617" fmla="*/ 897888 h 2084191"/>
              <a:gd name="connsiteX618" fmla="*/ 1768069 w 2051041"/>
              <a:gd name="connsiteY618" fmla="*/ 942510 h 2084191"/>
              <a:gd name="connsiteX619" fmla="*/ 1723990 w 2051041"/>
              <a:gd name="connsiteY619" fmla="*/ 986589 h 2084191"/>
              <a:gd name="connsiteX620" fmla="*/ 1679912 w 2051041"/>
              <a:gd name="connsiteY620" fmla="*/ 941422 h 2084191"/>
              <a:gd name="connsiteX621" fmla="*/ 1723990 w 2051041"/>
              <a:gd name="connsiteY621" fmla="*/ 897888 h 2084191"/>
              <a:gd name="connsiteX622" fmla="*/ 2050497 w 2051041"/>
              <a:gd name="connsiteY622" fmla="*/ 897344 h 2084191"/>
              <a:gd name="connsiteX623" fmla="*/ 2051041 w 2051041"/>
              <a:gd name="connsiteY623" fmla="*/ 897453 h 2084191"/>
              <a:gd name="connsiteX624" fmla="*/ 2051041 w 2051041"/>
              <a:gd name="connsiteY624" fmla="*/ 986917 h 2084191"/>
              <a:gd name="connsiteX625" fmla="*/ 2049952 w 2051041"/>
              <a:gd name="connsiteY625" fmla="*/ 987133 h 2084191"/>
              <a:gd name="connsiteX626" fmla="*/ 2005330 w 2051041"/>
              <a:gd name="connsiteY626" fmla="*/ 941422 h 2084191"/>
              <a:gd name="connsiteX627" fmla="*/ 2050497 w 2051041"/>
              <a:gd name="connsiteY627" fmla="*/ 897344 h 2084191"/>
              <a:gd name="connsiteX628" fmla="*/ 1887243 w 2051041"/>
              <a:gd name="connsiteY628" fmla="*/ 897344 h 2084191"/>
              <a:gd name="connsiteX629" fmla="*/ 1931866 w 2051041"/>
              <a:gd name="connsiteY629" fmla="*/ 942511 h 2084191"/>
              <a:gd name="connsiteX630" fmla="*/ 1887243 w 2051041"/>
              <a:gd name="connsiteY630" fmla="*/ 986589 h 2084191"/>
              <a:gd name="connsiteX631" fmla="*/ 1843165 w 2051041"/>
              <a:gd name="connsiteY631" fmla="*/ 941422 h 2084191"/>
              <a:gd name="connsiteX632" fmla="*/ 1887243 w 2051041"/>
              <a:gd name="connsiteY632" fmla="*/ 897344 h 2084191"/>
              <a:gd name="connsiteX633" fmla="*/ 172545 w 2051041"/>
              <a:gd name="connsiteY633" fmla="*/ 854354 h 2084191"/>
              <a:gd name="connsiteX634" fmla="*/ 179619 w 2051041"/>
              <a:gd name="connsiteY634" fmla="*/ 860884 h 2084191"/>
              <a:gd name="connsiteX635" fmla="*/ 173634 w 2051041"/>
              <a:gd name="connsiteY635" fmla="*/ 866870 h 2084191"/>
              <a:gd name="connsiteX636" fmla="*/ 166015 w 2051041"/>
              <a:gd name="connsiteY636" fmla="*/ 861973 h 2084191"/>
              <a:gd name="connsiteX637" fmla="*/ 172545 w 2051041"/>
              <a:gd name="connsiteY637" fmla="*/ 854354 h 2084191"/>
              <a:gd name="connsiteX638" fmla="*/ 336342 w 2051041"/>
              <a:gd name="connsiteY638" fmla="*/ 843471 h 2084191"/>
              <a:gd name="connsiteX639" fmla="*/ 353211 w 2051041"/>
              <a:gd name="connsiteY639" fmla="*/ 860340 h 2084191"/>
              <a:gd name="connsiteX640" fmla="*/ 336886 w 2051041"/>
              <a:gd name="connsiteY640" fmla="*/ 877210 h 2084191"/>
              <a:gd name="connsiteX641" fmla="*/ 320017 w 2051041"/>
              <a:gd name="connsiteY641" fmla="*/ 860884 h 2084191"/>
              <a:gd name="connsiteX642" fmla="*/ 336342 w 2051041"/>
              <a:gd name="connsiteY642" fmla="*/ 843471 h 2084191"/>
              <a:gd name="connsiteX643" fmla="*/ 500139 w 2051041"/>
              <a:gd name="connsiteY643" fmla="*/ 837485 h 2084191"/>
              <a:gd name="connsiteX644" fmla="*/ 522994 w 2051041"/>
              <a:gd name="connsiteY644" fmla="*/ 861428 h 2084191"/>
              <a:gd name="connsiteX645" fmla="*/ 499595 w 2051041"/>
              <a:gd name="connsiteY645" fmla="*/ 884284 h 2084191"/>
              <a:gd name="connsiteX646" fmla="*/ 476739 w 2051041"/>
              <a:gd name="connsiteY646" fmla="*/ 860340 h 2084191"/>
              <a:gd name="connsiteX647" fmla="*/ 500139 w 2051041"/>
              <a:gd name="connsiteY647" fmla="*/ 837485 h 2084191"/>
              <a:gd name="connsiteX648" fmla="*/ 662848 w 2051041"/>
              <a:gd name="connsiteY648" fmla="*/ 832587 h 2084191"/>
              <a:gd name="connsiteX649" fmla="*/ 690057 w 2051041"/>
              <a:gd name="connsiteY649" fmla="*/ 860340 h 2084191"/>
              <a:gd name="connsiteX650" fmla="*/ 662848 w 2051041"/>
              <a:gd name="connsiteY650" fmla="*/ 888637 h 2084191"/>
              <a:gd name="connsiteX651" fmla="*/ 634551 w 2051041"/>
              <a:gd name="connsiteY651" fmla="*/ 861428 h 2084191"/>
              <a:gd name="connsiteX652" fmla="*/ 662848 w 2051041"/>
              <a:gd name="connsiteY652" fmla="*/ 832587 h 2084191"/>
              <a:gd name="connsiteX653" fmla="*/ 826101 w 2051041"/>
              <a:gd name="connsiteY653" fmla="*/ 827146 h 2084191"/>
              <a:gd name="connsiteX654" fmla="*/ 859295 w 2051041"/>
              <a:gd name="connsiteY654" fmla="*/ 860885 h 2084191"/>
              <a:gd name="connsiteX655" fmla="*/ 825556 w 2051041"/>
              <a:gd name="connsiteY655" fmla="*/ 892991 h 2084191"/>
              <a:gd name="connsiteX656" fmla="*/ 793450 w 2051041"/>
              <a:gd name="connsiteY656" fmla="*/ 860885 h 2084191"/>
              <a:gd name="connsiteX657" fmla="*/ 826101 w 2051041"/>
              <a:gd name="connsiteY657" fmla="*/ 827146 h 2084191"/>
              <a:gd name="connsiteX658" fmla="*/ 988809 w 2051041"/>
              <a:gd name="connsiteY658" fmla="*/ 824424 h 2084191"/>
              <a:gd name="connsiteX659" fmla="*/ 1025813 w 2051041"/>
              <a:gd name="connsiteY659" fmla="*/ 860339 h 2084191"/>
              <a:gd name="connsiteX660" fmla="*/ 989897 w 2051041"/>
              <a:gd name="connsiteY660" fmla="*/ 897344 h 2084191"/>
              <a:gd name="connsiteX661" fmla="*/ 953437 w 2051041"/>
              <a:gd name="connsiteY661" fmla="*/ 861972 h 2084191"/>
              <a:gd name="connsiteX662" fmla="*/ 988809 w 2051041"/>
              <a:gd name="connsiteY662" fmla="*/ 824424 h 2084191"/>
              <a:gd name="connsiteX663" fmla="*/ 1153695 w 2051041"/>
              <a:gd name="connsiteY663" fmla="*/ 821704 h 2084191"/>
              <a:gd name="connsiteX664" fmla="*/ 1191243 w 2051041"/>
              <a:gd name="connsiteY664" fmla="*/ 861429 h 2084191"/>
              <a:gd name="connsiteX665" fmla="*/ 1152606 w 2051041"/>
              <a:gd name="connsiteY665" fmla="*/ 899521 h 2084191"/>
              <a:gd name="connsiteX666" fmla="*/ 1114514 w 2051041"/>
              <a:gd name="connsiteY666" fmla="*/ 859252 h 2084191"/>
              <a:gd name="connsiteX667" fmla="*/ 1153695 w 2051041"/>
              <a:gd name="connsiteY667" fmla="*/ 821704 h 2084191"/>
              <a:gd name="connsiteX668" fmla="*/ 1316403 w 2051041"/>
              <a:gd name="connsiteY668" fmla="*/ 818982 h 2084191"/>
              <a:gd name="connsiteX669" fmla="*/ 1357216 w 2051041"/>
              <a:gd name="connsiteY669" fmla="*/ 860884 h 2084191"/>
              <a:gd name="connsiteX670" fmla="*/ 1315315 w 2051041"/>
              <a:gd name="connsiteY670" fmla="*/ 901697 h 2084191"/>
              <a:gd name="connsiteX671" fmla="*/ 1274501 w 2051041"/>
              <a:gd name="connsiteY671" fmla="*/ 860340 h 2084191"/>
              <a:gd name="connsiteX672" fmla="*/ 1316403 w 2051041"/>
              <a:gd name="connsiteY672" fmla="*/ 818982 h 2084191"/>
              <a:gd name="connsiteX673" fmla="*/ 1479112 w 2051041"/>
              <a:gd name="connsiteY673" fmla="*/ 816806 h 2084191"/>
              <a:gd name="connsiteX674" fmla="*/ 1522646 w 2051041"/>
              <a:gd name="connsiteY674" fmla="*/ 860340 h 2084191"/>
              <a:gd name="connsiteX675" fmla="*/ 1479656 w 2051041"/>
              <a:gd name="connsiteY675" fmla="*/ 904419 h 2084191"/>
              <a:gd name="connsiteX676" fmla="*/ 1435578 w 2051041"/>
              <a:gd name="connsiteY676" fmla="*/ 860884 h 2084191"/>
              <a:gd name="connsiteX677" fmla="*/ 1479112 w 2051041"/>
              <a:gd name="connsiteY677" fmla="*/ 816806 h 2084191"/>
              <a:gd name="connsiteX678" fmla="*/ 1642909 w 2051041"/>
              <a:gd name="connsiteY678" fmla="*/ 815718 h 2084191"/>
              <a:gd name="connsiteX679" fmla="*/ 1686987 w 2051041"/>
              <a:gd name="connsiteY679" fmla="*/ 860885 h 2084191"/>
              <a:gd name="connsiteX680" fmla="*/ 1641276 w 2051041"/>
              <a:gd name="connsiteY680" fmla="*/ 905507 h 2084191"/>
              <a:gd name="connsiteX681" fmla="*/ 1597742 w 2051041"/>
              <a:gd name="connsiteY681" fmla="*/ 860340 h 2084191"/>
              <a:gd name="connsiteX682" fmla="*/ 1642909 w 2051041"/>
              <a:gd name="connsiteY682" fmla="*/ 815718 h 2084191"/>
              <a:gd name="connsiteX683" fmla="*/ 1806161 w 2051041"/>
              <a:gd name="connsiteY683" fmla="*/ 815173 h 2084191"/>
              <a:gd name="connsiteX684" fmla="*/ 1852416 w 2051041"/>
              <a:gd name="connsiteY684" fmla="*/ 860884 h 2084191"/>
              <a:gd name="connsiteX685" fmla="*/ 1805617 w 2051041"/>
              <a:gd name="connsiteY685" fmla="*/ 906594 h 2084191"/>
              <a:gd name="connsiteX686" fmla="*/ 1759906 w 2051041"/>
              <a:gd name="connsiteY686" fmla="*/ 860884 h 2084191"/>
              <a:gd name="connsiteX687" fmla="*/ 1806161 w 2051041"/>
              <a:gd name="connsiteY687" fmla="*/ 815173 h 2084191"/>
              <a:gd name="connsiteX688" fmla="*/ 1968326 w 2051041"/>
              <a:gd name="connsiteY688" fmla="*/ 812453 h 2084191"/>
              <a:gd name="connsiteX689" fmla="*/ 2000977 w 2051041"/>
              <a:gd name="connsiteY689" fmla="*/ 826057 h 2084191"/>
              <a:gd name="connsiteX690" fmla="*/ 2015670 w 2051041"/>
              <a:gd name="connsiteY690" fmla="*/ 859796 h 2084191"/>
              <a:gd name="connsiteX691" fmla="*/ 1969415 w 2051041"/>
              <a:gd name="connsiteY691" fmla="*/ 907684 h 2084191"/>
              <a:gd name="connsiteX692" fmla="*/ 1922071 w 2051041"/>
              <a:gd name="connsiteY692" fmla="*/ 860885 h 2084191"/>
              <a:gd name="connsiteX693" fmla="*/ 1968326 w 2051041"/>
              <a:gd name="connsiteY693" fmla="*/ 812453 h 2084191"/>
              <a:gd name="connsiteX694" fmla="*/ 255260 w 2051041"/>
              <a:gd name="connsiteY694" fmla="*/ 762932 h 2084191"/>
              <a:gd name="connsiteX695" fmla="*/ 270497 w 2051041"/>
              <a:gd name="connsiteY695" fmla="*/ 779802 h 2084191"/>
              <a:gd name="connsiteX696" fmla="*/ 254172 w 2051041"/>
              <a:gd name="connsiteY696" fmla="*/ 795038 h 2084191"/>
              <a:gd name="connsiteX697" fmla="*/ 238935 w 2051041"/>
              <a:gd name="connsiteY697" fmla="*/ 778713 h 2084191"/>
              <a:gd name="connsiteX698" fmla="*/ 255260 w 2051041"/>
              <a:gd name="connsiteY698" fmla="*/ 762932 h 2084191"/>
              <a:gd name="connsiteX699" fmla="*/ 416881 w 2051041"/>
              <a:gd name="connsiteY699" fmla="*/ 756402 h 2084191"/>
              <a:gd name="connsiteX700" fmla="*/ 440280 w 2051041"/>
              <a:gd name="connsiteY700" fmla="*/ 778713 h 2084191"/>
              <a:gd name="connsiteX701" fmla="*/ 419057 w 2051041"/>
              <a:gd name="connsiteY701" fmla="*/ 801024 h 2084191"/>
              <a:gd name="connsiteX702" fmla="*/ 396202 w 2051041"/>
              <a:gd name="connsiteY702" fmla="*/ 779257 h 2084191"/>
              <a:gd name="connsiteX703" fmla="*/ 416881 w 2051041"/>
              <a:gd name="connsiteY703" fmla="*/ 756402 h 2084191"/>
              <a:gd name="connsiteX704" fmla="*/ 581766 w 2051041"/>
              <a:gd name="connsiteY704" fmla="*/ 751505 h 2084191"/>
              <a:gd name="connsiteX705" fmla="*/ 608975 w 2051041"/>
              <a:gd name="connsiteY705" fmla="*/ 779802 h 2084191"/>
              <a:gd name="connsiteX706" fmla="*/ 580678 w 2051041"/>
              <a:gd name="connsiteY706" fmla="*/ 806467 h 2084191"/>
              <a:gd name="connsiteX707" fmla="*/ 553469 w 2051041"/>
              <a:gd name="connsiteY707" fmla="*/ 778714 h 2084191"/>
              <a:gd name="connsiteX708" fmla="*/ 581766 w 2051041"/>
              <a:gd name="connsiteY708" fmla="*/ 751505 h 2084191"/>
              <a:gd name="connsiteX709" fmla="*/ 746107 w 2051041"/>
              <a:gd name="connsiteY709" fmla="*/ 746607 h 2084191"/>
              <a:gd name="connsiteX710" fmla="*/ 777125 w 2051041"/>
              <a:gd name="connsiteY710" fmla="*/ 780346 h 2084191"/>
              <a:gd name="connsiteX711" fmla="*/ 742842 w 2051041"/>
              <a:gd name="connsiteY711" fmla="*/ 811364 h 2084191"/>
              <a:gd name="connsiteX712" fmla="*/ 712368 w 2051041"/>
              <a:gd name="connsiteY712" fmla="*/ 778713 h 2084191"/>
              <a:gd name="connsiteX713" fmla="*/ 746107 w 2051041"/>
              <a:gd name="connsiteY713" fmla="*/ 746607 h 2084191"/>
              <a:gd name="connsiteX714" fmla="*/ 907727 w 2051041"/>
              <a:gd name="connsiteY714" fmla="*/ 741710 h 2084191"/>
              <a:gd name="connsiteX715" fmla="*/ 944187 w 2051041"/>
              <a:gd name="connsiteY715" fmla="*/ 778714 h 2084191"/>
              <a:gd name="connsiteX716" fmla="*/ 907727 w 2051041"/>
              <a:gd name="connsiteY716" fmla="*/ 815174 h 2084191"/>
              <a:gd name="connsiteX717" fmla="*/ 872355 w 2051041"/>
              <a:gd name="connsiteY717" fmla="*/ 779258 h 2084191"/>
              <a:gd name="connsiteX718" fmla="*/ 907727 w 2051041"/>
              <a:gd name="connsiteY718" fmla="*/ 741710 h 2084191"/>
              <a:gd name="connsiteX719" fmla="*/ 1070979 w 2051041"/>
              <a:gd name="connsiteY719" fmla="*/ 740621 h 2084191"/>
              <a:gd name="connsiteX720" fmla="*/ 1110160 w 2051041"/>
              <a:gd name="connsiteY720" fmla="*/ 779258 h 2084191"/>
              <a:gd name="connsiteX721" fmla="*/ 1070979 w 2051041"/>
              <a:gd name="connsiteY721" fmla="*/ 817894 h 2084191"/>
              <a:gd name="connsiteX722" fmla="*/ 1031799 w 2051041"/>
              <a:gd name="connsiteY722" fmla="*/ 778714 h 2084191"/>
              <a:gd name="connsiteX723" fmla="*/ 1070979 w 2051041"/>
              <a:gd name="connsiteY723" fmla="*/ 740621 h 2084191"/>
              <a:gd name="connsiteX724" fmla="*/ 1233688 w 2051041"/>
              <a:gd name="connsiteY724" fmla="*/ 736268 h 2084191"/>
              <a:gd name="connsiteX725" fmla="*/ 1276134 w 2051041"/>
              <a:gd name="connsiteY725" fmla="*/ 777625 h 2084191"/>
              <a:gd name="connsiteX726" fmla="*/ 1235320 w 2051041"/>
              <a:gd name="connsiteY726" fmla="*/ 820615 h 2084191"/>
              <a:gd name="connsiteX727" fmla="*/ 1192331 w 2051041"/>
              <a:gd name="connsiteY727" fmla="*/ 779258 h 2084191"/>
              <a:gd name="connsiteX728" fmla="*/ 1233688 w 2051041"/>
              <a:gd name="connsiteY728" fmla="*/ 736268 h 2084191"/>
              <a:gd name="connsiteX729" fmla="*/ 1397485 w 2051041"/>
              <a:gd name="connsiteY729" fmla="*/ 735724 h 2084191"/>
              <a:gd name="connsiteX730" fmla="*/ 1441019 w 2051041"/>
              <a:gd name="connsiteY730" fmla="*/ 779802 h 2084191"/>
              <a:gd name="connsiteX731" fmla="*/ 1396397 w 2051041"/>
              <a:gd name="connsiteY731" fmla="*/ 823336 h 2084191"/>
              <a:gd name="connsiteX732" fmla="*/ 1352863 w 2051041"/>
              <a:gd name="connsiteY732" fmla="*/ 779258 h 2084191"/>
              <a:gd name="connsiteX733" fmla="*/ 1397485 w 2051041"/>
              <a:gd name="connsiteY733" fmla="*/ 735724 h 2084191"/>
              <a:gd name="connsiteX734" fmla="*/ 1562371 w 2051041"/>
              <a:gd name="connsiteY734" fmla="*/ 734636 h 2084191"/>
              <a:gd name="connsiteX735" fmla="*/ 1605905 w 2051041"/>
              <a:gd name="connsiteY735" fmla="*/ 779802 h 2084191"/>
              <a:gd name="connsiteX736" fmla="*/ 1560194 w 2051041"/>
              <a:gd name="connsiteY736" fmla="*/ 823881 h 2084191"/>
              <a:gd name="connsiteX737" fmla="*/ 1515572 w 2051041"/>
              <a:gd name="connsiteY737" fmla="*/ 777626 h 2084191"/>
              <a:gd name="connsiteX738" fmla="*/ 1562371 w 2051041"/>
              <a:gd name="connsiteY738" fmla="*/ 734636 h 2084191"/>
              <a:gd name="connsiteX739" fmla="*/ 1724535 w 2051041"/>
              <a:gd name="connsiteY739" fmla="*/ 730827 h 2084191"/>
              <a:gd name="connsiteX740" fmla="*/ 1772422 w 2051041"/>
              <a:gd name="connsiteY740" fmla="*/ 779258 h 2084191"/>
              <a:gd name="connsiteX741" fmla="*/ 1723446 w 2051041"/>
              <a:gd name="connsiteY741" fmla="*/ 826602 h 2084191"/>
              <a:gd name="connsiteX742" fmla="*/ 1676647 w 2051041"/>
              <a:gd name="connsiteY742" fmla="*/ 778714 h 2084191"/>
              <a:gd name="connsiteX743" fmla="*/ 1724535 w 2051041"/>
              <a:gd name="connsiteY743" fmla="*/ 730827 h 2084191"/>
              <a:gd name="connsiteX744" fmla="*/ 1886699 w 2051041"/>
              <a:gd name="connsiteY744" fmla="*/ 730826 h 2084191"/>
              <a:gd name="connsiteX745" fmla="*/ 1935131 w 2051041"/>
              <a:gd name="connsiteY745" fmla="*/ 778713 h 2084191"/>
              <a:gd name="connsiteX746" fmla="*/ 1887244 w 2051041"/>
              <a:gd name="connsiteY746" fmla="*/ 827145 h 2084191"/>
              <a:gd name="connsiteX747" fmla="*/ 1838812 w 2051041"/>
              <a:gd name="connsiteY747" fmla="*/ 778713 h 2084191"/>
              <a:gd name="connsiteX748" fmla="*/ 1886699 w 2051041"/>
              <a:gd name="connsiteY748" fmla="*/ 730826 h 2084191"/>
              <a:gd name="connsiteX749" fmla="*/ 2050496 w 2051041"/>
              <a:gd name="connsiteY749" fmla="*/ 730282 h 2084191"/>
              <a:gd name="connsiteX750" fmla="*/ 2051041 w 2051041"/>
              <a:gd name="connsiteY750" fmla="*/ 730396 h 2084191"/>
              <a:gd name="connsiteX751" fmla="*/ 2051041 w 2051041"/>
              <a:gd name="connsiteY751" fmla="*/ 826942 h 2084191"/>
              <a:gd name="connsiteX752" fmla="*/ 2049952 w 2051041"/>
              <a:gd name="connsiteY752" fmla="*/ 827145 h 2084191"/>
              <a:gd name="connsiteX753" fmla="*/ 2002065 w 2051041"/>
              <a:gd name="connsiteY753" fmla="*/ 778169 h 2084191"/>
              <a:gd name="connsiteX754" fmla="*/ 2050496 w 2051041"/>
              <a:gd name="connsiteY754" fmla="*/ 730282 h 2084191"/>
              <a:gd name="connsiteX755" fmla="*/ 173634 w 2051041"/>
              <a:gd name="connsiteY755" fmla="*/ 685660 h 2084191"/>
              <a:gd name="connsiteX756" fmla="*/ 184518 w 2051041"/>
              <a:gd name="connsiteY756" fmla="*/ 698176 h 2084191"/>
              <a:gd name="connsiteX757" fmla="*/ 172546 w 2051041"/>
              <a:gd name="connsiteY757" fmla="*/ 709059 h 2084191"/>
              <a:gd name="connsiteX758" fmla="*/ 161118 w 2051041"/>
              <a:gd name="connsiteY758" fmla="*/ 697088 h 2084191"/>
              <a:gd name="connsiteX759" fmla="*/ 173634 w 2051041"/>
              <a:gd name="connsiteY759" fmla="*/ 685660 h 2084191"/>
              <a:gd name="connsiteX760" fmla="*/ 335798 w 2051041"/>
              <a:gd name="connsiteY760" fmla="*/ 675320 h 2084191"/>
              <a:gd name="connsiteX761" fmla="*/ 357565 w 2051041"/>
              <a:gd name="connsiteY761" fmla="*/ 696543 h 2084191"/>
              <a:gd name="connsiteX762" fmla="*/ 336342 w 2051041"/>
              <a:gd name="connsiteY762" fmla="*/ 718854 h 2084191"/>
              <a:gd name="connsiteX763" fmla="*/ 315120 w 2051041"/>
              <a:gd name="connsiteY763" fmla="*/ 697631 h 2084191"/>
              <a:gd name="connsiteX764" fmla="*/ 335798 w 2051041"/>
              <a:gd name="connsiteY764" fmla="*/ 675320 h 2084191"/>
              <a:gd name="connsiteX765" fmla="*/ 499051 w 2051041"/>
              <a:gd name="connsiteY765" fmla="*/ 670423 h 2084191"/>
              <a:gd name="connsiteX766" fmla="*/ 526804 w 2051041"/>
              <a:gd name="connsiteY766" fmla="*/ 697088 h 2084191"/>
              <a:gd name="connsiteX767" fmla="*/ 499595 w 2051041"/>
              <a:gd name="connsiteY767" fmla="*/ 724296 h 2084191"/>
              <a:gd name="connsiteX768" fmla="*/ 472930 w 2051041"/>
              <a:gd name="connsiteY768" fmla="*/ 697632 h 2084191"/>
              <a:gd name="connsiteX769" fmla="*/ 499051 w 2051041"/>
              <a:gd name="connsiteY769" fmla="*/ 670423 h 2084191"/>
              <a:gd name="connsiteX770" fmla="*/ 662848 w 2051041"/>
              <a:gd name="connsiteY770" fmla="*/ 665525 h 2084191"/>
              <a:gd name="connsiteX771" fmla="*/ 694954 w 2051041"/>
              <a:gd name="connsiteY771" fmla="*/ 697087 h 2084191"/>
              <a:gd name="connsiteX772" fmla="*/ 663392 w 2051041"/>
              <a:gd name="connsiteY772" fmla="*/ 729194 h 2084191"/>
              <a:gd name="connsiteX773" fmla="*/ 632374 w 2051041"/>
              <a:gd name="connsiteY773" fmla="*/ 698176 h 2084191"/>
              <a:gd name="connsiteX774" fmla="*/ 662848 w 2051041"/>
              <a:gd name="connsiteY774" fmla="*/ 665525 h 2084191"/>
              <a:gd name="connsiteX775" fmla="*/ 825013 w 2051041"/>
              <a:gd name="connsiteY775" fmla="*/ 663349 h 2084191"/>
              <a:gd name="connsiteX776" fmla="*/ 860384 w 2051041"/>
              <a:gd name="connsiteY776" fmla="*/ 697632 h 2084191"/>
              <a:gd name="connsiteX777" fmla="*/ 826101 w 2051041"/>
              <a:gd name="connsiteY777" fmla="*/ 731915 h 2084191"/>
              <a:gd name="connsiteX778" fmla="*/ 791818 w 2051041"/>
              <a:gd name="connsiteY778" fmla="*/ 698176 h 2084191"/>
              <a:gd name="connsiteX779" fmla="*/ 825013 w 2051041"/>
              <a:gd name="connsiteY779" fmla="*/ 663349 h 2084191"/>
              <a:gd name="connsiteX780" fmla="*/ 988809 w 2051041"/>
              <a:gd name="connsiteY780" fmla="*/ 658995 h 2084191"/>
              <a:gd name="connsiteX781" fmla="*/ 1027446 w 2051041"/>
              <a:gd name="connsiteY781" fmla="*/ 697087 h 2084191"/>
              <a:gd name="connsiteX782" fmla="*/ 989353 w 2051041"/>
              <a:gd name="connsiteY782" fmla="*/ 735723 h 2084191"/>
              <a:gd name="connsiteX783" fmla="*/ 950717 w 2051041"/>
              <a:gd name="connsiteY783" fmla="*/ 697631 h 2084191"/>
              <a:gd name="connsiteX784" fmla="*/ 988809 w 2051041"/>
              <a:gd name="connsiteY784" fmla="*/ 658995 h 2084191"/>
              <a:gd name="connsiteX785" fmla="*/ 1152607 w 2051041"/>
              <a:gd name="connsiteY785" fmla="*/ 655729 h 2084191"/>
              <a:gd name="connsiteX786" fmla="*/ 1195052 w 2051041"/>
              <a:gd name="connsiteY786" fmla="*/ 697087 h 2084191"/>
              <a:gd name="connsiteX787" fmla="*/ 1153151 w 2051041"/>
              <a:gd name="connsiteY787" fmla="*/ 739533 h 2084191"/>
              <a:gd name="connsiteX788" fmla="*/ 1110705 w 2051041"/>
              <a:gd name="connsiteY788" fmla="*/ 697631 h 2084191"/>
              <a:gd name="connsiteX789" fmla="*/ 1152607 w 2051041"/>
              <a:gd name="connsiteY789" fmla="*/ 655729 h 2084191"/>
              <a:gd name="connsiteX790" fmla="*/ 1316948 w 2051041"/>
              <a:gd name="connsiteY790" fmla="*/ 653554 h 2084191"/>
              <a:gd name="connsiteX791" fmla="*/ 1359937 w 2051041"/>
              <a:gd name="connsiteY791" fmla="*/ 697632 h 2084191"/>
              <a:gd name="connsiteX792" fmla="*/ 1315315 w 2051041"/>
              <a:gd name="connsiteY792" fmla="*/ 740622 h 2084191"/>
              <a:gd name="connsiteX793" fmla="*/ 1271781 w 2051041"/>
              <a:gd name="connsiteY793" fmla="*/ 696544 h 2084191"/>
              <a:gd name="connsiteX794" fmla="*/ 1316948 w 2051041"/>
              <a:gd name="connsiteY794" fmla="*/ 653554 h 2084191"/>
              <a:gd name="connsiteX795" fmla="*/ 1479112 w 2051041"/>
              <a:gd name="connsiteY795" fmla="*/ 651921 h 2084191"/>
              <a:gd name="connsiteX796" fmla="*/ 1524823 w 2051041"/>
              <a:gd name="connsiteY796" fmla="*/ 697088 h 2084191"/>
              <a:gd name="connsiteX797" fmla="*/ 1479112 w 2051041"/>
              <a:gd name="connsiteY797" fmla="*/ 742254 h 2084191"/>
              <a:gd name="connsiteX798" fmla="*/ 1433945 w 2051041"/>
              <a:gd name="connsiteY798" fmla="*/ 697088 h 2084191"/>
              <a:gd name="connsiteX799" fmla="*/ 1479112 w 2051041"/>
              <a:gd name="connsiteY799" fmla="*/ 651921 h 2084191"/>
              <a:gd name="connsiteX800" fmla="*/ 1642909 w 2051041"/>
              <a:gd name="connsiteY800" fmla="*/ 649744 h 2084191"/>
              <a:gd name="connsiteX801" fmla="*/ 1690796 w 2051041"/>
              <a:gd name="connsiteY801" fmla="*/ 697087 h 2084191"/>
              <a:gd name="connsiteX802" fmla="*/ 1642909 w 2051041"/>
              <a:gd name="connsiteY802" fmla="*/ 745519 h 2084191"/>
              <a:gd name="connsiteX803" fmla="*/ 1594477 w 2051041"/>
              <a:gd name="connsiteY803" fmla="*/ 697632 h 2084191"/>
              <a:gd name="connsiteX804" fmla="*/ 1642909 w 2051041"/>
              <a:gd name="connsiteY804" fmla="*/ 649744 h 2084191"/>
              <a:gd name="connsiteX805" fmla="*/ 1805617 w 2051041"/>
              <a:gd name="connsiteY805" fmla="*/ 648112 h 2084191"/>
              <a:gd name="connsiteX806" fmla="*/ 1854593 w 2051041"/>
              <a:gd name="connsiteY806" fmla="*/ 698176 h 2084191"/>
              <a:gd name="connsiteX807" fmla="*/ 1805073 w 2051041"/>
              <a:gd name="connsiteY807" fmla="*/ 746607 h 2084191"/>
              <a:gd name="connsiteX808" fmla="*/ 1756097 w 2051041"/>
              <a:gd name="connsiteY808" fmla="*/ 697087 h 2084191"/>
              <a:gd name="connsiteX809" fmla="*/ 1805617 w 2051041"/>
              <a:gd name="connsiteY809" fmla="*/ 648112 h 2084191"/>
              <a:gd name="connsiteX810" fmla="*/ 1969414 w 2051041"/>
              <a:gd name="connsiteY810" fmla="*/ 647023 h 2084191"/>
              <a:gd name="connsiteX811" fmla="*/ 2018934 w 2051041"/>
              <a:gd name="connsiteY811" fmla="*/ 698176 h 2084191"/>
              <a:gd name="connsiteX812" fmla="*/ 1968326 w 2051041"/>
              <a:gd name="connsiteY812" fmla="*/ 746063 h 2084191"/>
              <a:gd name="connsiteX813" fmla="*/ 1918806 w 2051041"/>
              <a:gd name="connsiteY813" fmla="*/ 697087 h 2084191"/>
              <a:gd name="connsiteX814" fmla="*/ 1969414 w 2051041"/>
              <a:gd name="connsiteY814" fmla="*/ 647023 h 2084191"/>
              <a:gd name="connsiteX815" fmla="*/ 90919 w 2051041"/>
              <a:gd name="connsiteY815" fmla="*/ 606754 h 2084191"/>
              <a:gd name="connsiteX816" fmla="*/ 99626 w 2051041"/>
              <a:gd name="connsiteY816" fmla="*/ 615460 h 2084191"/>
              <a:gd name="connsiteX817" fmla="*/ 92007 w 2051041"/>
              <a:gd name="connsiteY817" fmla="*/ 627976 h 2084191"/>
              <a:gd name="connsiteX818" fmla="*/ 82756 w 2051041"/>
              <a:gd name="connsiteY818" fmla="*/ 616005 h 2084191"/>
              <a:gd name="connsiteX819" fmla="*/ 90919 w 2051041"/>
              <a:gd name="connsiteY819" fmla="*/ 606754 h 2084191"/>
              <a:gd name="connsiteX820" fmla="*/ 254172 w 2051041"/>
              <a:gd name="connsiteY820" fmla="*/ 598047 h 2084191"/>
              <a:gd name="connsiteX821" fmla="*/ 272674 w 2051041"/>
              <a:gd name="connsiteY821" fmla="*/ 614917 h 2084191"/>
              <a:gd name="connsiteX822" fmla="*/ 255260 w 2051041"/>
              <a:gd name="connsiteY822" fmla="*/ 633419 h 2084191"/>
              <a:gd name="connsiteX823" fmla="*/ 236758 w 2051041"/>
              <a:gd name="connsiteY823" fmla="*/ 616005 h 2084191"/>
              <a:gd name="connsiteX824" fmla="*/ 254172 w 2051041"/>
              <a:gd name="connsiteY824" fmla="*/ 598047 h 2084191"/>
              <a:gd name="connsiteX825" fmla="*/ 418513 w 2051041"/>
              <a:gd name="connsiteY825" fmla="*/ 590429 h 2084191"/>
              <a:gd name="connsiteX826" fmla="*/ 443001 w 2051041"/>
              <a:gd name="connsiteY826" fmla="*/ 614917 h 2084191"/>
              <a:gd name="connsiteX827" fmla="*/ 419058 w 2051041"/>
              <a:gd name="connsiteY827" fmla="*/ 640493 h 2084191"/>
              <a:gd name="connsiteX828" fmla="*/ 392937 w 2051041"/>
              <a:gd name="connsiteY828" fmla="*/ 616005 h 2084191"/>
              <a:gd name="connsiteX829" fmla="*/ 418513 w 2051041"/>
              <a:gd name="connsiteY829" fmla="*/ 590429 h 2084191"/>
              <a:gd name="connsiteX830" fmla="*/ 581222 w 2051041"/>
              <a:gd name="connsiteY830" fmla="*/ 587163 h 2084191"/>
              <a:gd name="connsiteX831" fmla="*/ 610063 w 2051041"/>
              <a:gd name="connsiteY831" fmla="*/ 616549 h 2084191"/>
              <a:gd name="connsiteX832" fmla="*/ 580677 w 2051041"/>
              <a:gd name="connsiteY832" fmla="*/ 645390 h 2084191"/>
              <a:gd name="connsiteX833" fmla="*/ 551836 w 2051041"/>
              <a:gd name="connsiteY833" fmla="*/ 615461 h 2084191"/>
              <a:gd name="connsiteX834" fmla="*/ 581222 w 2051041"/>
              <a:gd name="connsiteY834" fmla="*/ 587163 h 2084191"/>
              <a:gd name="connsiteX835" fmla="*/ 743930 w 2051041"/>
              <a:gd name="connsiteY835" fmla="*/ 582266 h 2084191"/>
              <a:gd name="connsiteX836" fmla="*/ 779301 w 2051041"/>
              <a:gd name="connsiteY836" fmla="*/ 616005 h 2084191"/>
              <a:gd name="connsiteX837" fmla="*/ 745563 w 2051041"/>
              <a:gd name="connsiteY837" fmla="*/ 649744 h 2084191"/>
              <a:gd name="connsiteX838" fmla="*/ 711824 w 2051041"/>
              <a:gd name="connsiteY838" fmla="*/ 616549 h 2084191"/>
              <a:gd name="connsiteX839" fmla="*/ 743930 w 2051041"/>
              <a:gd name="connsiteY839" fmla="*/ 582266 h 2084191"/>
              <a:gd name="connsiteX840" fmla="*/ 907183 w 2051041"/>
              <a:gd name="connsiteY840" fmla="*/ 577913 h 2084191"/>
              <a:gd name="connsiteX841" fmla="*/ 945276 w 2051041"/>
              <a:gd name="connsiteY841" fmla="*/ 615461 h 2084191"/>
              <a:gd name="connsiteX842" fmla="*/ 907727 w 2051041"/>
              <a:gd name="connsiteY842" fmla="*/ 654098 h 2084191"/>
              <a:gd name="connsiteX843" fmla="*/ 869091 w 2051041"/>
              <a:gd name="connsiteY843" fmla="*/ 616006 h 2084191"/>
              <a:gd name="connsiteX844" fmla="*/ 907183 w 2051041"/>
              <a:gd name="connsiteY844" fmla="*/ 577913 h 2084191"/>
              <a:gd name="connsiteX845" fmla="*/ 1069891 w 2051041"/>
              <a:gd name="connsiteY845" fmla="*/ 574648 h 2084191"/>
              <a:gd name="connsiteX846" fmla="*/ 1111248 w 2051041"/>
              <a:gd name="connsiteY846" fmla="*/ 615461 h 2084191"/>
              <a:gd name="connsiteX847" fmla="*/ 1070435 w 2051041"/>
              <a:gd name="connsiteY847" fmla="*/ 656274 h 2084191"/>
              <a:gd name="connsiteX848" fmla="*/ 1029622 w 2051041"/>
              <a:gd name="connsiteY848" fmla="*/ 614917 h 2084191"/>
              <a:gd name="connsiteX849" fmla="*/ 1069891 w 2051041"/>
              <a:gd name="connsiteY849" fmla="*/ 574648 h 2084191"/>
              <a:gd name="connsiteX850" fmla="*/ 1235321 w 2051041"/>
              <a:gd name="connsiteY850" fmla="*/ 572472 h 2084191"/>
              <a:gd name="connsiteX851" fmla="*/ 1277222 w 2051041"/>
              <a:gd name="connsiteY851" fmla="*/ 616550 h 2084191"/>
              <a:gd name="connsiteX852" fmla="*/ 1233688 w 2051041"/>
              <a:gd name="connsiteY852" fmla="*/ 660084 h 2084191"/>
              <a:gd name="connsiteX853" fmla="*/ 1190154 w 2051041"/>
              <a:gd name="connsiteY853" fmla="*/ 614917 h 2084191"/>
              <a:gd name="connsiteX854" fmla="*/ 1235321 w 2051041"/>
              <a:gd name="connsiteY854" fmla="*/ 572472 h 2084191"/>
              <a:gd name="connsiteX855" fmla="*/ 1397485 w 2051041"/>
              <a:gd name="connsiteY855" fmla="*/ 569206 h 2084191"/>
              <a:gd name="connsiteX856" fmla="*/ 1443196 w 2051041"/>
              <a:gd name="connsiteY856" fmla="*/ 616005 h 2084191"/>
              <a:gd name="connsiteX857" fmla="*/ 1396941 w 2051041"/>
              <a:gd name="connsiteY857" fmla="*/ 661172 h 2084191"/>
              <a:gd name="connsiteX858" fmla="*/ 1351775 w 2051041"/>
              <a:gd name="connsiteY858" fmla="*/ 614373 h 2084191"/>
              <a:gd name="connsiteX859" fmla="*/ 1397485 w 2051041"/>
              <a:gd name="connsiteY859" fmla="*/ 569206 h 2084191"/>
              <a:gd name="connsiteX860" fmla="*/ 1560738 w 2051041"/>
              <a:gd name="connsiteY860" fmla="*/ 567029 h 2084191"/>
              <a:gd name="connsiteX861" fmla="*/ 1609714 w 2051041"/>
              <a:gd name="connsiteY861" fmla="*/ 615461 h 2084191"/>
              <a:gd name="connsiteX862" fmla="*/ 1561283 w 2051041"/>
              <a:gd name="connsiteY862" fmla="*/ 663892 h 2084191"/>
              <a:gd name="connsiteX863" fmla="*/ 1512851 w 2051041"/>
              <a:gd name="connsiteY863" fmla="*/ 616005 h 2084191"/>
              <a:gd name="connsiteX864" fmla="*/ 1560738 w 2051041"/>
              <a:gd name="connsiteY864" fmla="*/ 567029 h 2084191"/>
              <a:gd name="connsiteX865" fmla="*/ 1725624 w 2051041"/>
              <a:gd name="connsiteY865" fmla="*/ 565397 h 2084191"/>
              <a:gd name="connsiteX866" fmla="*/ 1774599 w 2051041"/>
              <a:gd name="connsiteY866" fmla="*/ 616005 h 2084191"/>
              <a:gd name="connsiteX867" fmla="*/ 1723447 w 2051041"/>
              <a:gd name="connsiteY867" fmla="*/ 664981 h 2084191"/>
              <a:gd name="connsiteX868" fmla="*/ 1674471 w 2051041"/>
              <a:gd name="connsiteY868" fmla="*/ 615461 h 2084191"/>
              <a:gd name="connsiteX869" fmla="*/ 1725624 w 2051041"/>
              <a:gd name="connsiteY869" fmla="*/ 565397 h 2084191"/>
              <a:gd name="connsiteX870" fmla="*/ 1886699 w 2051041"/>
              <a:gd name="connsiteY870" fmla="*/ 564853 h 2084191"/>
              <a:gd name="connsiteX871" fmla="*/ 1938396 w 2051041"/>
              <a:gd name="connsiteY871" fmla="*/ 614917 h 2084191"/>
              <a:gd name="connsiteX872" fmla="*/ 1887787 w 2051041"/>
              <a:gd name="connsiteY872" fmla="*/ 665525 h 2084191"/>
              <a:gd name="connsiteX873" fmla="*/ 1837179 w 2051041"/>
              <a:gd name="connsiteY873" fmla="*/ 615461 h 2084191"/>
              <a:gd name="connsiteX874" fmla="*/ 1886699 w 2051041"/>
              <a:gd name="connsiteY874" fmla="*/ 564853 h 2084191"/>
              <a:gd name="connsiteX875" fmla="*/ 2050496 w 2051041"/>
              <a:gd name="connsiteY875" fmla="*/ 564852 h 2084191"/>
              <a:gd name="connsiteX876" fmla="*/ 2051041 w 2051041"/>
              <a:gd name="connsiteY876" fmla="*/ 564962 h 2084191"/>
              <a:gd name="connsiteX877" fmla="*/ 2051041 w 2051041"/>
              <a:gd name="connsiteY877" fmla="*/ 665899 h 2084191"/>
              <a:gd name="connsiteX878" fmla="*/ 2049952 w 2051041"/>
              <a:gd name="connsiteY878" fmla="*/ 666069 h 2084191"/>
              <a:gd name="connsiteX879" fmla="*/ 1999344 w 2051041"/>
              <a:gd name="connsiteY879" fmla="*/ 615460 h 2084191"/>
              <a:gd name="connsiteX880" fmla="*/ 2050496 w 2051041"/>
              <a:gd name="connsiteY880" fmla="*/ 564852 h 2084191"/>
              <a:gd name="connsiteX881" fmla="*/ 173090 w 2051041"/>
              <a:gd name="connsiteY881" fmla="*/ 517509 h 2084191"/>
              <a:gd name="connsiteX882" fmla="*/ 189959 w 2051041"/>
              <a:gd name="connsiteY882" fmla="*/ 533834 h 2084191"/>
              <a:gd name="connsiteX883" fmla="*/ 173634 w 2051041"/>
              <a:gd name="connsiteY883" fmla="*/ 550160 h 2084191"/>
              <a:gd name="connsiteX884" fmla="*/ 157308 w 2051041"/>
              <a:gd name="connsiteY884" fmla="*/ 534923 h 2084191"/>
              <a:gd name="connsiteX885" fmla="*/ 173090 w 2051041"/>
              <a:gd name="connsiteY885" fmla="*/ 517509 h 2084191"/>
              <a:gd name="connsiteX886" fmla="*/ 335798 w 2051041"/>
              <a:gd name="connsiteY886" fmla="*/ 511523 h 2084191"/>
              <a:gd name="connsiteX887" fmla="*/ 358654 w 2051041"/>
              <a:gd name="connsiteY887" fmla="*/ 533834 h 2084191"/>
              <a:gd name="connsiteX888" fmla="*/ 336343 w 2051041"/>
              <a:gd name="connsiteY888" fmla="*/ 556689 h 2084191"/>
              <a:gd name="connsiteX889" fmla="*/ 312943 w 2051041"/>
              <a:gd name="connsiteY889" fmla="*/ 534378 h 2084191"/>
              <a:gd name="connsiteX890" fmla="*/ 335798 w 2051041"/>
              <a:gd name="connsiteY890" fmla="*/ 511523 h 2084191"/>
              <a:gd name="connsiteX891" fmla="*/ 500139 w 2051041"/>
              <a:gd name="connsiteY891" fmla="*/ 506626 h 2084191"/>
              <a:gd name="connsiteX892" fmla="*/ 527348 w 2051041"/>
              <a:gd name="connsiteY892" fmla="*/ 535467 h 2084191"/>
              <a:gd name="connsiteX893" fmla="*/ 497963 w 2051041"/>
              <a:gd name="connsiteY893" fmla="*/ 561587 h 2084191"/>
              <a:gd name="connsiteX894" fmla="*/ 471842 w 2051041"/>
              <a:gd name="connsiteY894" fmla="*/ 533290 h 2084191"/>
              <a:gd name="connsiteX895" fmla="*/ 500139 w 2051041"/>
              <a:gd name="connsiteY895" fmla="*/ 506626 h 2084191"/>
              <a:gd name="connsiteX896" fmla="*/ 662304 w 2051041"/>
              <a:gd name="connsiteY896" fmla="*/ 500639 h 2084191"/>
              <a:gd name="connsiteX897" fmla="*/ 696042 w 2051041"/>
              <a:gd name="connsiteY897" fmla="*/ 533290 h 2084191"/>
              <a:gd name="connsiteX898" fmla="*/ 663392 w 2051041"/>
              <a:gd name="connsiteY898" fmla="*/ 566485 h 2084191"/>
              <a:gd name="connsiteX899" fmla="*/ 630197 w 2051041"/>
              <a:gd name="connsiteY899" fmla="*/ 534378 h 2084191"/>
              <a:gd name="connsiteX900" fmla="*/ 662304 w 2051041"/>
              <a:gd name="connsiteY900" fmla="*/ 500639 h 2084191"/>
              <a:gd name="connsiteX901" fmla="*/ 825557 w 2051041"/>
              <a:gd name="connsiteY901" fmla="*/ 496830 h 2084191"/>
              <a:gd name="connsiteX902" fmla="*/ 863649 w 2051041"/>
              <a:gd name="connsiteY902" fmla="*/ 534923 h 2084191"/>
              <a:gd name="connsiteX903" fmla="*/ 825557 w 2051041"/>
              <a:gd name="connsiteY903" fmla="*/ 571383 h 2084191"/>
              <a:gd name="connsiteX904" fmla="*/ 788553 w 2051041"/>
              <a:gd name="connsiteY904" fmla="*/ 534379 h 2084191"/>
              <a:gd name="connsiteX905" fmla="*/ 825557 w 2051041"/>
              <a:gd name="connsiteY905" fmla="*/ 496830 h 2084191"/>
              <a:gd name="connsiteX906" fmla="*/ 989898 w 2051041"/>
              <a:gd name="connsiteY906" fmla="*/ 494110 h 2084191"/>
              <a:gd name="connsiteX907" fmla="*/ 1029078 w 2051041"/>
              <a:gd name="connsiteY907" fmla="*/ 534923 h 2084191"/>
              <a:gd name="connsiteX908" fmla="*/ 989353 w 2051041"/>
              <a:gd name="connsiteY908" fmla="*/ 574104 h 2084191"/>
              <a:gd name="connsiteX909" fmla="*/ 949629 w 2051041"/>
              <a:gd name="connsiteY909" fmla="*/ 533835 h 2084191"/>
              <a:gd name="connsiteX910" fmla="*/ 989898 w 2051041"/>
              <a:gd name="connsiteY910" fmla="*/ 494110 h 2084191"/>
              <a:gd name="connsiteX911" fmla="*/ 1152062 w 2051041"/>
              <a:gd name="connsiteY911" fmla="*/ 490301 h 2084191"/>
              <a:gd name="connsiteX912" fmla="*/ 1196140 w 2051041"/>
              <a:gd name="connsiteY912" fmla="*/ 533835 h 2084191"/>
              <a:gd name="connsiteX913" fmla="*/ 1152606 w 2051041"/>
              <a:gd name="connsiteY913" fmla="*/ 577369 h 2084191"/>
              <a:gd name="connsiteX914" fmla="*/ 1109072 w 2051041"/>
              <a:gd name="connsiteY914" fmla="*/ 534379 h 2084191"/>
              <a:gd name="connsiteX915" fmla="*/ 1152062 w 2051041"/>
              <a:gd name="connsiteY915" fmla="*/ 490301 h 2084191"/>
              <a:gd name="connsiteX916" fmla="*/ 1316947 w 2051041"/>
              <a:gd name="connsiteY916" fmla="*/ 489212 h 2084191"/>
              <a:gd name="connsiteX917" fmla="*/ 1361570 w 2051041"/>
              <a:gd name="connsiteY917" fmla="*/ 534923 h 2084191"/>
              <a:gd name="connsiteX918" fmla="*/ 1315859 w 2051041"/>
              <a:gd name="connsiteY918" fmla="*/ 580090 h 2084191"/>
              <a:gd name="connsiteX919" fmla="*/ 1270693 w 2051041"/>
              <a:gd name="connsiteY919" fmla="*/ 533835 h 2084191"/>
              <a:gd name="connsiteX920" fmla="*/ 1316947 w 2051041"/>
              <a:gd name="connsiteY920" fmla="*/ 489212 h 2084191"/>
              <a:gd name="connsiteX921" fmla="*/ 1479112 w 2051041"/>
              <a:gd name="connsiteY921" fmla="*/ 484315 h 2084191"/>
              <a:gd name="connsiteX922" fmla="*/ 1528087 w 2051041"/>
              <a:gd name="connsiteY922" fmla="*/ 533835 h 2084191"/>
              <a:gd name="connsiteX923" fmla="*/ 1479656 w 2051041"/>
              <a:gd name="connsiteY923" fmla="*/ 582267 h 2084191"/>
              <a:gd name="connsiteX924" fmla="*/ 1431224 w 2051041"/>
              <a:gd name="connsiteY924" fmla="*/ 533835 h 2084191"/>
              <a:gd name="connsiteX925" fmla="*/ 1479112 w 2051041"/>
              <a:gd name="connsiteY925" fmla="*/ 484315 h 2084191"/>
              <a:gd name="connsiteX926" fmla="*/ 1643452 w 2051041"/>
              <a:gd name="connsiteY926" fmla="*/ 484314 h 2084191"/>
              <a:gd name="connsiteX927" fmla="*/ 1692973 w 2051041"/>
              <a:gd name="connsiteY927" fmla="*/ 534923 h 2084191"/>
              <a:gd name="connsiteX928" fmla="*/ 1641276 w 2051041"/>
              <a:gd name="connsiteY928" fmla="*/ 583898 h 2084191"/>
              <a:gd name="connsiteX929" fmla="*/ 1592300 w 2051041"/>
              <a:gd name="connsiteY929" fmla="*/ 532202 h 2084191"/>
              <a:gd name="connsiteX930" fmla="*/ 1643452 w 2051041"/>
              <a:gd name="connsiteY930" fmla="*/ 484314 h 2084191"/>
              <a:gd name="connsiteX931" fmla="*/ 1806162 w 2051041"/>
              <a:gd name="connsiteY931" fmla="*/ 481594 h 2084191"/>
              <a:gd name="connsiteX932" fmla="*/ 1857858 w 2051041"/>
              <a:gd name="connsiteY932" fmla="*/ 536011 h 2084191"/>
              <a:gd name="connsiteX933" fmla="*/ 1803441 w 2051041"/>
              <a:gd name="connsiteY933" fmla="*/ 586075 h 2084191"/>
              <a:gd name="connsiteX934" fmla="*/ 1753377 w 2051041"/>
              <a:gd name="connsiteY934" fmla="*/ 533290 h 2084191"/>
              <a:gd name="connsiteX935" fmla="*/ 1806162 w 2051041"/>
              <a:gd name="connsiteY935" fmla="*/ 481594 h 2084191"/>
              <a:gd name="connsiteX936" fmla="*/ 1968326 w 2051041"/>
              <a:gd name="connsiteY936" fmla="*/ 480505 h 2084191"/>
              <a:gd name="connsiteX937" fmla="*/ 2022200 w 2051041"/>
              <a:gd name="connsiteY937" fmla="*/ 534379 h 2084191"/>
              <a:gd name="connsiteX938" fmla="*/ 1969415 w 2051041"/>
              <a:gd name="connsiteY938" fmla="*/ 588252 h 2084191"/>
              <a:gd name="connsiteX939" fmla="*/ 1915541 w 2051041"/>
              <a:gd name="connsiteY939" fmla="*/ 534923 h 2084191"/>
              <a:gd name="connsiteX940" fmla="*/ 1968326 w 2051041"/>
              <a:gd name="connsiteY940" fmla="*/ 480505 h 2084191"/>
              <a:gd name="connsiteX941" fmla="*/ 91464 w 2051041"/>
              <a:gd name="connsiteY941" fmla="*/ 440780 h 2084191"/>
              <a:gd name="connsiteX942" fmla="*/ 102891 w 2051041"/>
              <a:gd name="connsiteY942" fmla="*/ 451664 h 2084191"/>
              <a:gd name="connsiteX943" fmla="*/ 92008 w 2051041"/>
              <a:gd name="connsiteY943" fmla="*/ 464179 h 2084191"/>
              <a:gd name="connsiteX944" fmla="*/ 80036 w 2051041"/>
              <a:gd name="connsiteY944" fmla="*/ 452752 h 2084191"/>
              <a:gd name="connsiteX945" fmla="*/ 91464 w 2051041"/>
              <a:gd name="connsiteY945" fmla="*/ 440780 h 2084191"/>
              <a:gd name="connsiteX946" fmla="*/ 254172 w 2051041"/>
              <a:gd name="connsiteY946" fmla="*/ 430441 h 2084191"/>
              <a:gd name="connsiteX947" fmla="*/ 275939 w 2051041"/>
              <a:gd name="connsiteY947" fmla="*/ 452208 h 2084191"/>
              <a:gd name="connsiteX948" fmla="*/ 254716 w 2051041"/>
              <a:gd name="connsiteY948" fmla="*/ 473975 h 2084191"/>
              <a:gd name="connsiteX949" fmla="*/ 232405 w 2051041"/>
              <a:gd name="connsiteY949" fmla="*/ 452752 h 2084191"/>
              <a:gd name="connsiteX950" fmla="*/ 254172 w 2051041"/>
              <a:gd name="connsiteY950" fmla="*/ 430441 h 2084191"/>
              <a:gd name="connsiteX951" fmla="*/ 417969 w 2051041"/>
              <a:gd name="connsiteY951" fmla="*/ 424999 h 2084191"/>
              <a:gd name="connsiteX952" fmla="*/ 444634 w 2051041"/>
              <a:gd name="connsiteY952" fmla="*/ 452752 h 2084191"/>
              <a:gd name="connsiteX953" fmla="*/ 417425 w 2051041"/>
              <a:gd name="connsiteY953" fmla="*/ 479417 h 2084191"/>
              <a:gd name="connsiteX954" fmla="*/ 390760 w 2051041"/>
              <a:gd name="connsiteY954" fmla="*/ 452208 h 2084191"/>
              <a:gd name="connsiteX955" fmla="*/ 417969 w 2051041"/>
              <a:gd name="connsiteY955" fmla="*/ 424999 h 2084191"/>
              <a:gd name="connsiteX956" fmla="*/ 580677 w 2051041"/>
              <a:gd name="connsiteY956" fmla="*/ 419558 h 2084191"/>
              <a:gd name="connsiteX957" fmla="*/ 612783 w 2051041"/>
              <a:gd name="connsiteY957" fmla="*/ 452208 h 2084191"/>
              <a:gd name="connsiteX958" fmla="*/ 581221 w 2051041"/>
              <a:gd name="connsiteY958" fmla="*/ 484315 h 2084191"/>
              <a:gd name="connsiteX959" fmla="*/ 549115 w 2051041"/>
              <a:gd name="connsiteY959" fmla="*/ 452208 h 2084191"/>
              <a:gd name="connsiteX960" fmla="*/ 580677 w 2051041"/>
              <a:gd name="connsiteY960" fmla="*/ 419558 h 2084191"/>
              <a:gd name="connsiteX961" fmla="*/ 743931 w 2051041"/>
              <a:gd name="connsiteY961" fmla="*/ 415748 h 2084191"/>
              <a:gd name="connsiteX962" fmla="*/ 780390 w 2051041"/>
              <a:gd name="connsiteY962" fmla="*/ 452208 h 2084191"/>
              <a:gd name="connsiteX963" fmla="*/ 744475 w 2051041"/>
              <a:gd name="connsiteY963" fmla="*/ 489212 h 2084191"/>
              <a:gd name="connsiteX964" fmla="*/ 708559 w 2051041"/>
              <a:gd name="connsiteY964" fmla="*/ 453840 h 2084191"/>
              <a:gd name="connsiteX965" fmla="*/ 743931 w 2051041"/>
              <a:gd name="connsiteY965" fmla="*/ 415748 h 2084191"/>
              <a:gd name="connsiteX966" fmla="*/ 908271 w 2051041"/>
              <a:gd name="connsiteY966" fmla="*/ 414116 h 2084191"/>
              <a:gd name="connsiteX967" fmla="*/ 946363 w 2051041"/>
              <a:gd name="connsiteY967" fmla="*/ 453296 h 2084191"/>
              <a:gd name="connsiteX968" fmla="*/ 906638 w 2051041"/>
              <a:gd name="connsiteY968" fmla="*/ 491933 h 2084191"/>
              <a:gd name="connsiteX969" fmla="*/ 868546 w 2051041"/>
              <a:gd name="connsiteY969" fmla="*/ 452208 h 2084191"/>
              <a:gd name="connsiteX970" fmla="*/ 908271 w 2051041"/>
              <a:gd name="connsiteY970" fmla="*/ 414116 h 2084191"/>
              <a:gd name="connsiteX971" fmla="*/ 1072068 w 2051041"/>
              <a:gd name="connsiteY971" fmla="*/ 409218 h 2084191"/>
              <a:gd name="connsiteX972" fmla="*/ 1113970 w 2051041"/>
              <a:gd name="connsiteY972" fmla="*/ 452752 h 2084191"/>
              <a:gd name="connsiteX973" fmla="*/ 1070436 w 2051041"/>
              <a:gd name="connsiteY973" fmla="*/ 495198 h 2084191"/>
              <a:gd name="connsiteX974" fmla="*/ 1028534 w 2051041"/>
              <a:gd name="connsiteY974" fmla="*/ 451120 h 2084191"/>
              <a:gd name="connsiteX975" fmla="*/ 1072068 w 2051041"/>
              <a:gd name="connsiteY975" fmla="*/ 409218 h 2084191"/>
              <a:gd name="connsiteX976" fmla="*/ 1235865 w 2051041"/>
              <a:gd name="connsiteY976" fmla="*/ 408130 h 2084191"/>
              <a:gd name="connsiteX977" fmla="*/ 1279400 w 2051041"/>
              <a:gd name="connsiteY977" fmla="*/ 453296 h 2084191"/>
              <a:gd name="connsiteX978" fmla="*/ 1233689 w 2051041"/>
              <a:gd name="connsiteY978" fmla="*/ 497374 h 2084191"/>
              <a:gd name="connsiteX979" fmla="*/ 1189611 w 2051041"/>
              <a:gd name="connsiteY979" fmla="*/ 451664 h 2084191"/>
              <a:gd name="connsiteX980" fmla="*/ 1235865 w 2051041"/>
              <a:gd name="connsiteY980" fmla="*/ 408130 h 2084191"/>
              <a:gd name="connsiteX981" fmla="*/ 1396941 w 2051041"/>
              <a:gd name="connsiteY981" fmla="*/ 403776 h 2084191"/>
              <a:gd name="connsiteX982" fmla="*/ 1446461 w 2051041"/>
              <a:gd name="connsiteY982" fmla="*/ 450575 h 2084191"/>
              <a:gd name="connsiteX983" fmla="*/ 1399118 w 2051041"/>
              <a:gd name="connsiteY983" fmla="*/ 500640 h 2084191"/>
              <a:gd name="connsiteX984" fmla="*/ 1349598 w 2051041"/>
              <a:gd name="connsiteY984" fmla="*/ 453296 h 2084191"/>
              <a:gd name="connsiteX985" fmla="*/ 1396941 w 2051041"/>
              <a:gd name="connsiteY985" fmla="*/ 403776 h 2084191"/>
              <a:gd name="connsiteX986" fmla="*/ 1560738 w 2051041"/>
              <a:gd name="connsiteY986" fmla="*/ 402144 h 2084191"/>
              <a:gd name="connsiteX987" fmla="*/ 1611347 w 2051041"/>
              <a:gd name="connsiteY987" fmla="*/ 453297 h 2084191"/>
              <a:gd name="connsiteX988" fmla="*/ 1560194 w 2051041"/>
              <a:gd name="connsiteY988" fmla="*/ 502272 h 2084191"/>
              <a:gd name="connsiteX989" fmla="*/ 1511218 w 2051041"/>
              <a:gd name="connsiteY989" fmla="*/ 451664 h 2084191"/>
              <a:gd name="connsiteX990" fmla="*/ 1560738 w 2051041"/>
              <a:gd name="connsiteY990" fmla="*/ 402144 h 2084191"/>
              <a:gd name="connsiteX991" fmla="*/ 1723991 w 2051041"/>
              <a:gd name="connsiteY991" fmla="*/ 399423 h 2084191"/>
              <a:gd name="connsiteX992" fmla="*/ 1776776 w 2051041"/>
              <a:gd name="connsiteY992" fmla="*/ 452752 h 2084191"/>
              <a:gd name="connsiteX993" fmla="*/ 1725079 w 2051041"/>
              <a:gd name="connsiteY993" fmla="*/ 504993 h 2084191"/>
              <a:gd name="connsiteX994" fmla="*/ 1671750 w 2051041"/>
              <a:gd name="connsiteY994" fmla="*/ 452752 h 2084191"/>
              <a:gd name="connsiteX995" fmla="*/ 1723991 w 2051041"/>
              <a:gd name="connsiteY995" fmla="*/ 399423 h 2084191"/>
              <a:gd name="connsiteX996" fmla="*/ 2051040 w 2051041"/>
              <a:gd name="connsiteY996" fmla="*/ 398335 h 2084191"/>
              <a:gd name="connsiteX997" fmla="*/ 2051041 w 2051041"/>
              <a:gd name="connsiteY997" fmla="*/ 398335 h 2084191"/>
              <a:gd name="connsiteX998" fmla="*/ 2051041 w 2051041"/>
              <a:gd name="connsiteY998" fmla="*/ 506936 h 2084191"/>
              <a:gd name="connsiteX999" fmla="*/ 2049952 w 2051041"/>
              <a:gd name="connsiteY999" fmla="*/ 507170 h 2084191"/>
              <a:gd name="connsiteX1000" fmla="*/ 1995534 w 2051041"/>
              <a:gd name="connsiteY1000" fmla="*/ 452208 h 2084191"/>
              <a:gd name="connsiteX1001" fmla="*/ 2051040 w 2051041"/>
              <a:gd name="connsiteY1001" fmla="*/ 398335 h 2084191"/>
              <a:gd name="connsiteX1002" fmla="*/ 1888332 w 2051041"/>
              <a:gd name="connsiteY1002" fmla="*/ 398335 h 2084191"/>
              <a:gd name="connsiteX1003" fmla="*/ 1941661 w 2051041"/>
              <a:gd name="connsiteY1003" fmla="*/ 452208 h 2084191"/>
              <a:gd name="connsiteX1004" fmla="*/ 1886699 w 2051041"/>
              <a:gd name="connsiteY1004" fmla="*/ 506082 h 2084191"/>
              <a:gd name="connsiteX1005" fmla="*/ 1833370 w 2051041"/>
              <a:gd name="connsiteY1005" fmla="*/ 452208 h 2084191"/>
              <a:gd name="connsiteX1006" fmla="*/ 1888332 w 2051041"/>
              <a:gd name="connsiteY1006" fmla="*/ 398335 h 2084191"/>
              <a:gd name="connsiteX1007" fmla="*/ 12014 w 2051041"/>
              <a:gd name="connsiteY1007" fmla="*/ 364052 h 2084191"/>
              <a:gd name="connsiteX1008" fmla="*/ 15823 w 2051041"/>
              <a:gd name="connsiteY1008" fmla="*/ 370038 h 2084191"/>
              <a:gd name="connsiteX1009" fmla="*/ 9293 w 2051041"/>
              <a:gd name="connsiteY1009" fmla="*/ 377656 h 2084191"/>
              <a:gd name="connsiteX1010" fmla="*/ 3307 w 2051041"/>
              <a:gd name="connsiteY1010" fmla="*/ 371126 h 2084191"/>
              <a:gd name="connsiteX1011" fmla="*/ 12014 w 2051041"/>
              <a:gd name="connsiteY1011" fmla="*/ 364052 h 2084191"/>
              <a:gd name="connsiteX1012" fmla="*/ 172545 w 2051041"/>
              <a:gd name="connsiteY1012" fmla="*/ 353713 h 2084191"/>
              <a:gd name="connsiteX1013" fmla="*/ 190503 w 2051041"/>
              <a:gd name="connsiteY1013" fmla="*/ 370582 h 2084191"/>
              <a:gd name="connsiteX1014" fmla="*/ 173090 w 2051041"/>
              <a:gd name="connsiteY1014" fmla="*/ 387996 h 2084191"/>
              <a:gd name="connsiteX1015" fmla="*/ 155676 w 2051041"/>
              <a:gd name="connsiteY1015" fmla="*/ 371126 h 2084191"/>
              <a:gd name="connsiteX1016" fmla="*/ 172545 w 2051041"/>
              <a:gd name="connsiteY1016" fmla="*/ 353713 h 2084191"/>
              <a:gd name="connsiteX1017" fmla="*/ 336886 w 2051041"/>
              <a:gd name="connsiteY1017" fmla="*/ 345550 h 2084191"/>
              <a:gd name="connsiteX1018" fmla="*/ 361374 w 2051041"/>
              <a:gd name="connsiteY1018" fmla="*/ 371670 h 2084191"/>
              <a:gd name="connsiteX1019" fmla="*/ 335798 w 2051041"/>
              <a:gd name="connsiteY1019" fmla="*/ 395070 h 2084191"/>
              <a:gd name="connsiteX1020" fmla="*/ 311854 w 2051041"/>
              <a:gd name="connsiteY1020" fmla="*/ 370038 h 2084191"/>
              <a:gd name="connsiteX1021" fmla="*/ 336886 w 2051041"/>
              <a:gd name="connsiteY1021" fmla="*/ 345550 h 2084191"/>
              <a:gd name="connsiteX1022" fmla="*/ 499596 w 2051041"/>
              <a:gd name="connsiteY1022" fmla="*/ 342284 h 2084191"/>
              <a:gd name="connsiteX1023" fmla="*/ 528437 w 2051041"/>
              <a:gd name="connsiteY1023" fmla="*/ 370582 h 2084191"/>
              <a:gd name="connsiteX1024" fmla="*/ 499051 w 2051041"/>
              <a:gd name="connsiteY1024" fmla="*/ 399423 h 2084191"/>
              <a:gd name="connsiteX1025" fmla="*/ 470210 w 2051041"/>
              <a:gd name="connsiteY1025" fmla="*/ 370037 h 2084191"/>
              <a:gd name="connsiteX1026" fmla="*/ 499596 w 2051041"/>
              <a:gd name="connsiteY1026" fmla="*/ 342284 h 2084191"/>
              <a:gd name="connsiteX1027" fmla="*/ 663392 w 2051041"/>
              <a:gd name="connsiteY1027" fmla="*/ 337387 h 2084191"/>
              <a:gd name="connsiteX1028" fmla="*/ 697131 w 2051041"/>
              <a:gd name="connsiteY1028" fmla="*/ 371126 h 2084191"/>
              <a:gd name="connsiteX1029" fmla="*/ 662304 w 2051041"/>
              <a:gd name="connsiteY1029" fmla="*/ 404321 h 2084191"/>
              <a:gd name="connsiteX1030" fmla="*/ 629109 w 2051041"/>
              <a:gd name="connsiteY1030" fmla="*/ 371126 h 2084191"/>
              <a:gd name="connsiteX1031" fmla="*/ 663392 w 2051041"/>
              <a:gd name="connsiteY1031" fmla="*/ 337387 h 2084191"/>
              <a:gd name="connsiteX1032" fmla="*/ 825556 w 2051041"/>
              <a:gd name="connsiteY1032" fmla="*/ 332489 h 2084191"/>
              <a:gd name="connsiteX1033" fmla="*/ 864737 w 2051041"/>
              <a:gd name="connsiteY1033" fmla="*/ 370037 h 2084191"/>
              <a:gd name="connsiteX1034" fmla="*/ 826645 w 2051041"/>
              <a:gd name="connsiteY1034" fmla="*/ 409218 h 2084191"/>
              <a:gd name="connsiteX1035" fmla="*/ 787464 w 2051041"/>
              <a:gd name="connsiteY1035" fmla="*/ 371126 h 2084191"/>
              <a:gd name="connsiteX1036" fmla="*/ 825556 w 2051041"/>
              <a:gd name="connsiteY1036" fmla="*/ 332489 h 2084191"/>
              <a:gd name="connsiteX1037" fmla="*/ 989898 w 2051041"/>
              <a:gd name="connsiteY1037" fmla="*/ 328680 h 2084191"/>
              <a:gd name="connsiteX1038" fmla="*/ 1031255 w 2051041"/>
              <a:gd name="connsiteY1038" fmla="*/ 371126 h 2084191"/>
              <a:gd name="connsiteX1039" fmla="*/ 989354 w 2051041"/>
              <a:gd name="connsiteY1039" fmla="*/ 413027 h 2084191"/>
              <a:gd name="connsiteX1040" fmla="*/ 947452 w 2051041"/>
              <a:gd name="connsiteY1040" fmla="*/ 370037 h 2084191"/>
              <a:gd name="connsiteX1041" fmla="*/ 989898 w 2051041"/>
              <a:gd name="connsiteY1041" fmla="*/ 328680 h 2084191"/>
              <a:gd name="connsiteX1042" fmla="*/ 1153150 w 2051041"/>
              <a:gd name="connsiteY1042" fmla="*/ 326504 h 2084191"/>
              <a:gd name="connsiteX1043" fmla="*/ 1197228 w 2051041"/>
              <a:gd name="connsiteY1043" fmla="*/ 370582 h 2084191"/>
              <a:gd name="connsiteX1044" fmla="*/ 1152606 w 2051041"/>
              <a:gd name="connsiteY1044" fmla="*/ 414661 h 2084191"/>
              <a:gd name="connsiteX1045" fmla="*/ 1108528 w 2051041"/>
              <a:gd name="connsiteY1045" fmla="*/ 370038 h 2084191"/>
              <a:gd name="connsiteX1046" fmla="*/ 1153150 w 2051041"/>
              <a:gd name="connsiteY1046" fmla="*/ 326504 h 2084191"/>
              <a:gd name="connsiteX1047" fmla="*/ 1317492 w 2051041"/>
              <a:gd name="connsiteY1047" fmla="*/ 323239 h 2084191"/>
              <a:gd name="connsiteX1048" fmla="*/ 1364835 w 2051041"/>
              <a:gd name="connsiteY1048" fmla="*/ 372215 h 2084191"/>
              <a:gd name="connsiteX1049" fmla="*/ 1314771 w 2051041"/>
              <a:gd name="connsiteY1049" fmla="*/ 419014 h 2084191"/>
              <a:gd name="connsiteX1050" fmla="*/ 1268516 w 2051041"/>
              <a:gd name="connsiteY1050" fmla="*/ 370582 h 2084191"/>
              <a:gd name="connsiteX1051" fmla="*/ 1317492 w 2051041"/>
              <a:gd name="connsiteY1051" fmla="*/ 323239 h 2084191"/>
              <a:gd name="connsiteX1052" fmla="*/ 1479112 w 2051041"/>
              <a:gd name="connsiteY1052" fmla="*/ 320517 h 2084191"/>
              <a:gd name="connsiteX1053" fmla="*/ 1529720 w 2051041"/>
              <a:gd name="connsiteY1053" fmla="*/ 371670 h 2084191"/>
              <a:gd name="connsiteX1054" fmla="*/ 1478568 w 2051041"/>
              <a:gd name="connsiteY1054" fmla="*/ 420101 h 2084191"/>
              <a:gd name="connsiteX1055" fmla="*/ 1429592 w 2051041"/>
              <a:gd name="connsiteY1055" fmla="*/ 370037 h 2084191"/>
              <a:gd name="connsiteX1056" fmla="*/ 1479112 w 2051041"/>
              <a:gd name="connsiteY1056" fmla="*/ 320517 h 2084191"/>
              <a:gd name="connsiteX1057" fmla="*/ 1642364 w 2051041"/>
              <a:gd name="connsiteY1057" fmla="*/ 318341 h 2084191"/>
              <a:gd name="connsiteX1058" fmla="*/ 1695694 w 2051041"/>
              <a:gd name="connsiteY1058" fmla="*/ 370582 h 2084191"/>
              <a:gd name="connsiteX1059" fmla="*/ 1643453 w 2051041"/>
              <a:gd name="connsiteY1059" fmla="*/ 424455 h 2084191"/>
              <a:gd name="connsiteX1060" fmla="*/ 1589035 w 2051041"/>
              <a:gd name="connsiteY1060" fmla="*/ 371670 h 2084191"/>
              <a:gd name="connsiteX1061" fmla="*/ 1642364 w 2051041"/>
              <a:gd name="connsiteY1061" fmla="*/ 318341 h 2084191"/>
              <a:gd name="connsiteX1062" fmla="*/ 90919 w 2051041"/>
              <a:gd name="connsiteY1062" fmla="*/ 273718 h 2084191"/>
              <a:gd name="connsiteX1063" fmla="*/ 106700 w 2051041"/>
              <a:gd name="connsiteY1063" fmla="*/ 288411 h 2084191"/>
              <a:gd name="connsiteX1064" fmla="*/ 91463 w 2051041"/>
              <a:gd name="connsiteY1064" fmla="*/ 303648 h 2084191"/>
              <a:gd name="connsiteX1065" fmla="*/ 76770 w 2051041"/>
              <a:gd name="connsiteY1065" fmla="*/ 288411 h 2084191"/>
              <a:gd name="connsiteX1066" fmla="*/ 90919 w 2051041"/>
              <a:gd name="connsiteY1066" fmla="*/ 273718 h 2084191"/>
              <a:gd name="connsiteX1067" fmla="*/ 254716 w 2051041"/>
              <a:gd name="connsiteY1067" fmla="*/ 267733 h 2084191"/>
              <a:gd name="connsiteX1068" fmla="*/ 276483 w 2051041"/>
              <a:gd name="connsiteY1068" fmla="*/ 288956 h 2084191"/>
              <a:gd name="connsiteX1069" fmla="*/ 254172 w 2051041"/>
              <a:gd name="connsiteY1069" fmla="*/ 311811 h 2084191"/>
              <a:gd name="connsiteX1070" fmla="*/ 232405 w 2051041"/>
              <a:gd name="connsiteY1070" fmla="*/ 289500 h 2084191"/>
              <a:gd name="connsiteX1071" fmla="*/ 254716 w 2051041"/>
              <a:gd name="connsiteY1071" fmla="*/ 267733 h 2084191"/>
              <a:gd name="connsiteX1072" fmla="*/ 1941117 w 2051041"/>
              <a:gd name="connsiteY1072" fmla="*/ 263202 h 2084191"/>
              <a:gd name="connsiteX1073" fmla="*/ 1936219 w 2051041"/>
              <a:gd name="connsiteY1073" fmla="*/ 266467 h 2084191"/>
              <a:gd name="connsiteX1074" fmla="*/ 1938396 w 2051041"/>
              <a:gd name="connsiteY1074" fmla="*/ 272453 h 2084191"/>
              <a:gd name="connsiteX1075" fmla="*/ 1932954 w 2051041"/>
              <a:gd name="connsiteY1075" fmla="*/ 325782 h 2084191"/>
              <a:gd name="connsiteX1076" fmla="*/ 1930777 w 2051041"/>
              <a:gd name="connsiteY1076" fmla="*/ 331224 h 2084191"/>
              <a:gd name="connsiteX1077" fmla="*/ 1936219 w 2051041"/>
              <a:gd name="connsiteY1077" fmla="*/ 330136 h 2084191"/>
              <a:gd name="connsiteX1078" fmla="*/ 1966693 w 2051041"/>
              <a:gd name="connsiteY1078" fmla="*/ 320340 h 2084191"/>
              <a:gd name="connsiteX1079" fmla="*/ 1998799 w 2051041"/>
              <a:gd name="connsiteY1079" fmla="*/ 328503 h 2084191"/>
              <a:gd name="connsiteX1080" fmla="*/ 2003153 w 2051041"/>
              <a:gd name="connsiteY1080" fmla="*/ 330136 h 2084191"/>
              <a:gd name="connsiteX1081" fmla="*/ 2001520 w 2051041"/>
              <a:gd name="connsiteY1081" fmla="*/ 324694 h 2084191"/>
              <a:gd name="connsiteX1082" fmla="*/ 1994446 w 2051041"/>
              <a:gd name="connsiteY1082" fmla="*/ 309457 h 2084191"/>
              <a:gd name="connsiteX1083" fmla="*/ 1998255 w 2051041"/>
              <a:gd name="connsiteY1083" fmla="*/ 267555 h 2084191"/>
              <a:gd name="connsiteX1084" fmla="*/ 2000976 w 2051041"/>
              <a:gd name="connsiteY1084" fmla="*/ 263746 h 2084191"/>
              <a:gd name="connsiteX1085" fmla="*/ 1995534 w 2051041"/>
              <a:gd name="connsiteY1085" fmla="*/ 263746 h 2084191"/>
              <a:gd name="connsiteX1086" fmla="*/ 1941117 w 2051041"/>
              <a:gd name="connsiteY1086" fmla="*/ 263202 h 2084191"/>
              <a:gd name="connsiteX1087" fmla="*/ 417425 w 2051041"/>
              <a:gd name="connsiteY1087" fmla="*/ 262291 h 2084191"/>
              <a:gd name="connsiteX1088" fmla="*/ 445178 w 2051041"/>
              <a:gd name="connsiteY1088" fmla="*/ 288956 h 2084191"/>
              <a:gd name="connsiteX1089" fmla="*/ 417969 w 2051041"/>
              <a:gd name="connsiteY1089" fmla="*/ 317253 h 2084191"/>
              <a:gd name="connsiteX1090" fmla="*/ 390216 w 2051041"/>
              <a:gd name="connsiteY1090" fmla="*/ 290044 h 2084191"/>
              <a:gd name="connsiteX1091" fmla="*/ 417425 w 2051041"/>
              <a:gd name="connsiteY1091" fmla="*/ 262291 h 2084191"/>
              <a:gd name="connsiteX1092" fmla="*/ 580678 w 2051041"/>
              <a:gd name="connsiteY1092" fmla="*/ 256304 h 2084191"/>
              <a:gd name="connsiteX1093" fmla="*/ 613872 w 2051041"/>
              <a:gd name="connsiteY1093" fmla="*/ 288955 h 2084191"/>
              <a:gd name="connsiteX1094" fmla="*/ 581222 w 2051041"/>
              <a:gd name="connsiteY1094" fmla="*/ 322150 h 2084191"/>
              <a:gd name="connsiteX1095" fmla="*/ 548027 w 2051041"/>
              <a:gd name="connsiteY1095" fmla="*/ 289499 h 2084191"/>
              <a:gd name="connsiteX1096" fmla="*/ 580678 w 2051041"/>
              <a:gd name="connsiteY1096" fmla="*/ 256304 h 2084191"/>
              <a:gd name="connsiteX1097" fmla="*/ 743930 w 2051041"/>
              <a:gd name="connsiteY1097" fmla="*/ 251951 h 2084191"/>
              <a:gd name="connsiteX1098" fmla="*/ 782022 w 2051041"/>
              <a:gd name="connsiteY1098" fmla="*/ 289499 h 2084191"/>
              <a:gd name="connsiteX1099" fmla="*/ 744474 w 2051041"/>
              <a:gd name="connsiteY1099" fmla="*/ 326503 h 2084191"/>
              <a:gd name="connsiteX1100" fmla="*/ 707470 w 2051041"/>
              <a:gd name="connsiteY1100" fmla="*/ 289499 h 2084191"/>
              <a:gd name="connsiteX1101" fmla="*/ 743930 w 2051041"/>
              <a:gd name="connsiteY1101" fmla="*/ 251951 h 2084191"/>
              <a:gd name="connsiteX1102" fmla="*/ 907183 w 2051041"/>
              <a:gd name="connsiteY1102" fmla="*/ 249775 h 2084191"/>
              <a:gd name="connsiteX1103" fmla="*/ 947452 w 2051041"/>
              <a:gd name="connsiteY1103" fmla="*/ 289500 h 2084191"/>
              <a:gd name="connsiteX1104" fmla="*/ 908271 w 2051041"/>
              <a:gd name="connsiteY1104" fmla="*/ 329225 h 2084191"/>
              <a:gd name="connsiteX1105" fmla="*/ 867458 w 2051041"/>
              <a:gd name="connsiteY1105" fmla="*/ 290044 h 2084191"/>
              <a:gd name="connsiteX1106" fmla="*/ 907183 w 2051041"/>
              <a:gd name="connsiteY1106" fmla="*/ 249775 h 2084191"/>
              <a:gd name="connsiteX1107" fmla="*/ 1070435 w 2051041"/>
              <a:gd name="connsiteY1107" fmla="*/ 245965 h 2084191"/>
              <a:gd name="connsiteX1108" fmla="*/ 1114513 w 2051041"/>
              <a:gd name="connsiteY1108" fmla="*/ 290043 h 2084191"/>
              <a:gd name="connsiteX1109" fmla="*/ 1069347 w 2051041"/>
              <a:gd name="connsiteY1109" fmla="*/ 333578 h 2084191"/>
              <a:gd name="connsiteX1110" fmla="*/ 1026357 w 2051041"/>
              <a:gd name="connsiteY1110" fmla="*/ 288955 h 2084191"/>
              <a:gd name="connsiteX1111" fmla="*/ 1070435 w 2051041"/>
              <a:gd name="connsiteY1111" fmla="*/ 245965 h 2084191"/>
              <a:gd name="connsiteX1112" fmla="*/ 1233689 w 2051041"/>
              <a:gd name="connsiteY1112" fmla="*/ 241613 h 2084191"/>
              <a:gd name="connsiteX1113" fmla="*/ 1282120 w 2051041"/>
              <a:gd name="connsiteY1113" fmla="*/ 288412 h 2084191"/>
              <a:gd name="connsiteX1114" fmla="*/ 1235321 w 2051041"/>
              <a:gd name="connsiteY1114" fmla="*/ 335755 h 2084191"/>
              <a:gd name="connsiteX1115" fmla="*/ 1187434 w 2051041"/>
              <a:gd name="connsiteY1115" fmla="*/ 289500 h 2084191"/>
              <a:gd name="connsiteX1116" fmla="*/ 1233689 w 2051041"/>
              <a:gd name="connsiteY1116" fmla="*/ 241613 h 2084191"/>
              <a:gd name="connsiteX1117" fmla="*/ 1397485 w 2051041"/>
              <a:gd name="connsiteY1117" fmla="*/ 238891 h 2084191"/>
              <a:gd name="connsiteX1118" fmla="*/ 1448094 w 2051041"/>
              <a:gd name="connsiteY1118" fmla="*/ 288955 h 2084191"/>
              <a:gd name="connsiteX1119" fmla="*/ 1398029 w 2051041"/>
              <a:gd name="connsiteY1119" fmla="*/ 338475 h 2084191"/>
              <a:gd name="connsiteX1120" fmla="*/ 1348509 w 2051041"/>
              <a:gd name="connsiteY1120" fmla="*/ 289499 h 2084191"/>
              <a:gd name="connsiteX1121" fmla="*/ 1397485 w 2051041"/>
              <a:gd name="connsiteY1121" fmla="*/ 238891 h 2084191"/>
              <a:gd name="connsiteX1122" fmla="*/ 1559650 w 2051041"/>
              <a:gd name="connsiteY1122" fmla="*/ 237258 h 2084191"/>
              <a:gd name="connsiteX1123" fmla="*/ 1613523 w 2051041"/>
              <a:gd name="connsiteY1123" fmla="*/ 288955 h 2084191"/>
              <a:gd name="connsiteX1124" fmla="*/ 1560738 w 2051041"/>
              <a:gd name="connsiteY1124" fmla="*/ 342829 h 2084191"/>
              <a:gd name="connsiteX1125" fmla="*/ 1507953 w 2051041"/>
              <a:gd name="connsiteY1125" fmla="*/ 289499 h 2084191"/>
              <a:gd name="connsiteX1126" fmla="*/ 1559650 w 2051041"/>
              <a:gd name="connsiteY1126" fmla="*/ 237258 h 2084191"/>
              <a:gd name="connsiteX1127" fmla="*/ 9837 w 2051041"/>
              <a:gd name="connsiteY1127" fmla="*/ 198078 h 2084191"/>
              <a:gd name="connsiteX1128" fmla="*/ 19632 w 2051041"/>
              <a:gd name="connsiteY1128" fmla="*/ 207873 h 2084191"/>
              <a:gd name="connsiteX1129" fmla="*/ 10381 w 2051041"/>
              <a:gd name="connsiteY1129" fmla="*/ 218213 h 2084191"/>
              <a:gd name="connsiteX1130" fmla="*/ 42 w 2051041"/>
              <a:gd name="connsiteY1130" fmla="*/ 207873 h 2084191"/>
              <a:gd name="connsiteX1131" fmla="*/ 9837 w 2051041"/>
              <a:gd name="connsiteY1131" fmla="*/ 198078 h 2084191"/>
              <a:gd name="connsiteX1132" fmla="*/ 173090 w 2051041"/>
              <a:gd name="connsiteY1132" fmla="*/ 187739 h 2084191"/>
              <a:gd name="connsiteX1133" fmla="*/ 192136 w 2051041"/>
              <a:gd name="connsiteY1133" fmla="*/ 207329 h 2084191"/>
              <a:gd name="connsiteX1134" fmla="*/ 172546 w 2051041"/>
              <a:gd name="connsiteY1134" fmla="*/ 227464 h 2084191"/>
              <a:gd name="connsiteX1135" fmla="*/ 154044 w 2051041"/>
              <a:gd name="connsiteY1135" fmla="*/ 208418 h 2084191"/>
              <a:gd name="connsiteX1136" fmla="*/ 173090 w 2051041"/>
              <a:gd name="connsiteY1136" fmla="*/ 187739 h 2084191"/>
              <a:gd name="connsiteX1137" fmla="*/ 336887 w 2051041"/>
              <a:gd name="connsiteY1137" fmla="*/ 182297 h 2084191"/>
              <a:gd name="connsiteX1138" fmla="*/ 363007 w 2051041"/>
              <a:gd name="connsiteY1138" fmla="*/ 207329 h 2084191"/>
              <a:gd name="connsiteX1139" fmla="*/ 336887 w 2051041"/>
              <a:gd name="connsiteY1139" fmla="*/ 233994 h 2084191"/>
              <a:gd name="connsiteX1140" fmla="*/ 310766 w 2051041"/>
              <a:gd name="connsiteY1140" fmla="*/ 208961 h 2084191"/>
              <a:gd name="connsiteX1141" fmla="*/ 336887 w 2051041"/>
              <a:gd name="connsiteY1141" fmla="*/ 182297 h 2084191"/>
              <a:gd name="connsiteX1142" fmla="*/ 1856225 w 2051041"/>
              <a:gd name="connsiteY1142" fmla="*/ 180487 h 2084191"/>
              <a:gd name="connsiteX1143" fmla="*/ 1855681 w 2051041"/>
              <a:gd name="connsiteY1143" fmla="*/ 185929 h 2084191"/>
              <a:gd name="connsiteX1144" fmla="*/ 1851872 w 2051041"/>
              <a:gd name="connsiteY1144" fmla="*/ 244700 h 2084191"/>
              <a:gd name="connsiteX1145" fmla="*/ 1851328 w 2051041"/>
              <a:gd name="connsiteY1145" fmla="*/ 247965 h 2084191"/>
              <a:gd name="connsiteX1146" fmla="*/ 1854593 w 2051041"/>
              <a:gd name="connsiteY1146" fmla="*/ 247421 h 2084191"/>
              <a:gd name="connsiteX1147" fmla="*/ 1899215 w 2051041"/>
              <a:gd name="connsiteY1147" fmla="*/ 238714 h 2084191"/>
              <a:gd name="connsiteX1148" fmla="*/ 1913908 w 2051041"/>
              <a:gd name="connsiteY1148" fmla="*/ 243067 h 2084191"/>
              <a:gd name="connsiteX1149" fmla="*/ 1918806 w 2051041"/>
              <a:gd name="connsiteY1149" fmla="*/ 242523 h 2084191"/>
              <a:gd name="connsiteX1150" fmla="*/ 1918261 w 2051041"/>
              <a:gd name="connsiteY1150" fmla="*/ 238170 h 2084191"/>
              <a:gd name="connsiteX1151" fmla="*/ 1917173 w 2051041"/>
              <a:gd name="connsiteY1151" fmla="*/ 185929 h 2084191"/>
              <a:gd name="connsiteX1152" fmla="*/ 1918261 w 2051041"/>
              <a:gd name="connsiteY1152" fmla="*/ 181576 h 2084191"/>
              <a:gd name="connsiteX1153" fmla="*/ 1913908 w 2051041"/>
              <a:gd name="connsiteY1153" fmla="*/ 182664 h 2084191"/>
              <a:gd name="connsiteX1154" fmla="*/ 1860579 w 2051041"/>
              <a:gd name="connsiteY1154" fmla="*/ 180487 h 2084191"/>
              <a:gd name="connsiteX1155" fmla="*/ 1856225 w 2051041"/>
              <a:gd name="connsiteY1155" fmla="*/ 180487 h 2084191"/>
              <a:gd name="connsiteX1156" fmla="*/ 499595 w 2051041"/>
              <a:gd name="connsiteY1156" fmla="*/ 175767 h 2084191"/>
              <a:gd name="connsiteX1157" fmla="*/ 531158 w 2051041"/>
              <a:gd name="connsiteY1157" fmla="*/ 207874 h 2084191"/>
              <a:gd name="connsiteX1158" fmla="*/ 498507 w 2051041"/>
              <a:gd name="connsiteY1158" fmla="*/ 238347 h 2084191"/>
              <a:gd name="connsiteX1159" fmla="*/ 468033 w 2051041"/>
              <a:gd name="connsiteY1159" fmla="*/ 207329 h 2084191"/>
              <a:gd name="connsiteX1160" fmla="*/ 499595 w 2051041"/>
              <a:gd name="connsiteY1160" fmla="*/ 175767 h 2084191"/>
              <a:gd name="connsiteX1161" fmla="*/ 662304 w 2051041"/>
              <a:gd name="connsiteY1161" fmla="*/ 173046 h 2084191"/>
              <a:gd name="connsiteX1162" fmla="*/ 697676 w 2051041"/>
              <a:gd name="connsiteY1162" fmla="*/ 207873 h 2084191"/>
              <a:gd name="connsiteX1163" fmla="*/ 662304 w 2051041"/>
              <a:gd name="connsiteY1163" fmla="*/ 242156 h 2084191"/>
              <a:gd name="connsiteX1164" fmla="*/ 628021 w 2051041"/>
              <a:gd name="connsiteY1164" fmla="*/ 207873 h 2084191"/>
              <a:gd name="connsiteX1165" fmla="*/ 662304 w 2051041"/>
              <a:gd name="connsiteY1165" fmla="*/ 173046 h 2084191"/>
              <a:gd name="connsiteX1166" fmla="*/ 826645 w 2051041"/>
              <a:gd name="connsiteY1166" fmla="*/ 168148 h 2084191"/>
              <a:gd name="connsiteX1167" fmla="*/ 864737 w 2051041"/>
              <a:gd name="connsiteY1167" fmla="*/ 207329 h 2084191"/>
              <a:gd name="connsiteX1168" fmla="*/ 826100 w 2051041"/>
              <a:gd name="connsiteY1168" fmla="*/ 247054 h 2084191"/>
              <a:gd name="connsiteX1169" fmla="*/ 787464 w 2051041"/>
              <a:gd name="connsiteY1169" fmla="*/ 207873 h 2084191"/>
              <a:gd name="connsiteX1170" fmla="*/ 826645 w 2051041"/>
              <a:gd name="connsiteY1170" fmla="*/ 168148 h 2084191"/>
              <a:gd name="connsiteX1171" fmla="*/ 987721 w 2051041"/>
              <a:gd name="connsiteY1171" fmla="*/ 164883 h 2084191"/>
              <a:gd name="connsiteX1172" fmla="*/ 1031799 w 2051041"/>
              <a:gd name="connsiteY1172" fmla="*/ 207329 h 2084191"/>
              <a:gd name="connsiteX1173" fmla="*/ 988809 w 2051041"/>
              <a:gd name="connsiteY1173" fmla="*/ 250319 h 2084191"/>
              <a:gd name="connsiteX1174" fmla="*/ 945819 w 2051041"/>
              <a:gd name="connsiteY1174" fmla="*/ 208417 h 2084191"/>
              <a:gd name="connsiteX1175" fmla="*/ 987721 w 2051041"/>
              <a:gd name="connsiteY1175" fmla="*/ 164883 h 2084191"/>
              <a:gd name="connsiteX1176" fmla="*/ 1153150 w 2051041"/>
              <a:gd name="connsiteY1176" fmla="*/ 162707 h 2084191"/>
              <a:gd name="connsiteX1177" fmla="*/ 1197772 w 2051041"/>
              <a:gd name="connsiteY1177" fmla="*/ 207874 h 2084191"/>
              <a:gd name="connsiteX1178" fmla="*/ 1151517 w 2051041"/>
              <a:gd name="connsiteY1178" fmla="*/ 253584 h 2084191"/>
              <a:gd name="connsiteX1179" fmla="*/ 1107439 w 2051041"/>
              <a:gd name="connsiteY1179" fmla="*/ 207329 h 2084191"/>
              <a:gd name="connsiteX1180" fmla="*/ 1153150 w 2051041"/>
              <a:gd name="connsiteY1180" fmla="*/ 162707 h 2084191"/>
              <a:gd name="connsiteX1181" fmla="*/ 1315315 w 2051041"/>
              <a:gd name="connsiteY1181" fmla="*/ 158353 h 2084191"/>
              <a:gd name="connsiteX1182" fmla="*/ 1365379 w 2051041"/>
              <a:gd name="connsiteY1182" fmla="*/ 206785 h 2084191"/>
              <a:gd name="connsiteX1183" fmla="*/ 1315859 w 2051041"/>
              <a:gd name="connsiteY1183" fmla="*/ 256305 h 2084191"/>
              <a:gd name="connsiteX1184" fmla="*/ 1266883 w 2051041"/>
              <a:gd name="connsiteY1184" fmla="*/ 207873 h 2084191"/>
              <a:gd name="connsiteX1185" fmla="*/ 1315315 w 2051041"/>
              <a:gd name="connsiteY1185" fmla="*/ 158353 h 2084191"/>
              <a:gd name="connsiteX1186" fmla="*/ 1478567 w 2051041"/>
              <a:gd name="connsiteY1186" fmla="*/ 156721 h 2084191"/>
              <a:gd name="connsiteX1187" fmla="*/ 1529720 w 2051041"/>
              <a:gd name="connsiteY1187" fmla="*/ 207329 h 2084191"/>
              <a:gd name="connsiteX1188" fmla="*/ 1478567 w 2051041"/>
              <a:gd name="connsiteY1188" fmla="*/ 258482 h 2084191"/>
              <a:gd name="connsiteX1189" fmla="*/ 1427959 w 2051041"/>
              <a:gd name="connsiteY1189" fmla="*/ 207874 h 2084191"/>
              <a:gd name="connsiteX1190" fmla="*/ 1478567 w 2051041"/>
              <a:gd name="connsiteY1190" fmla="*/ 156721 h 2084191"/>
              <a:gd name="connsiteX1191" fmla="*/ 1644541 w 2051041"/>
              <a:gd name="connsiteY1191" fmla="*/ 153456 h 2084191"/>
              <a:gd name="connsiteX1192" fmla="*/ 1697326 w 2051041"/>
              <a:gd name="connsiteY1192" fmla="*/ 209506 h 2084191"/>
              <a:gd name="connsiteX1193" fmla="*/ 1641276 w 2051041"/>
              <a:gd name="connsiteY1193" fmla="*/ 262835 h 2084191"/>
              <a:gd name="connsiteX1194" fmla="*/ 1587947 w 2051041"/>
              <a:gd name="connsiteY1194" fmla="*/ 206785 h 2084191"/>
              <a:gd name="connsiteX1195" fmla="*/ 1644541 w 2051041"/>
              <a:gd name="connsiteY1195" fmla="*/ 153456 h 2084191"/>
              <a:gd name="connsiteX1196" fmla="*/ 91463 w 2051041"/>
              <a:gd name="connsiteY1196" fmla="*/ 109922 h 2084191"/>
              <a:gd name="connsiteX1197" fmla="*/ 107244 w 2051041"/>
              <a:gd name="connsiteY1197" fmla="*/ 126247 h 2084191"/>
              <a:gd name="connsiteX1198" fmla="*/ 91463 w 2051041"/>
              <a:gd name="connsiteY1198" fmla="*/ 142028 h 2084191"/>
              <a:gd name="connsiteX1199" fmla="*/ 75682 w 2051041"/>
              <a:gd name="connsiteY1199" fmla="*/ 126247 h 2084191"/>
              <a:gd name="connsiteX1200" fmla="*/ 91463 w 2051041"/>
              <a:gd name="connsiteY1200" fmla="*/ 109922 h 2084191"/>
              <a:gd name="connsiteX1201" fmla="*/ 1942341 w 2051041"/>
              <a:gd name="connsiteY1201" fmla="*/ 104915 h 2084191"/>
              <a:gd name="connsiteX1202" fmla="*/ 1942205 w 2051041"/>
              <a:gd name="connsiteY1202" fmla="*/ 111377 h 2084191"/>
              <a:gd name="connsiteX1203" fmla="*/ 1946559 w 2051041"/>
              <a:gd name="connsiteY1203" fmla="*/ 131511 h 2084191"/>
              <a:gd name="connsiteX1204" fmla="*/ 1939484 w 2051041"/>
              <a:gd name="connsiteY1204" fmla="*/ 157088 h 2084191"/>
              <a:gd name="connsiteX1205" fmla="*/ 1941117 w 2051041"/>
              <a:gd name="connsiteY1205" fmla="*/ 160353 h 2084191"/>
              <a:gd name="connsiteX1206" fmla="*/ 1986828 w 2051041"/>
              <a:gd name="connsiteY1206" fmla="*/ 157088 h 2084191"/>
              <a:gd name="connsiteX1207" fmla="*/ 1987916 w 2051041"/>
              <a:gd name="connsiteY1207" fmla="*/ 157088 h 2084191"/>
              <a:gd name="connsiteX1208" fmla="*/ 1993902 w 2051041"/>
              <a:gd name="connsiteY1208" fmla="*/ 150013 h 2084191"/>
              <a:gd name="connsiteX1209" fmla="*/ 1993902 w 2051041"/>
              <a:gd name="connsiteY1209" fmla="*/ 109744 h 2084191"/>
              <a:gd name="connsiteX1210" fmla="*/ 1989004 w 2051041"/>
              <a:gd name="connsiteY1210" fmla="*/ 105391 h 2084191"/>
              <a:gd name="connsiteX1211" fmla="*/ 1948191 w 2051041"/>
              <a:gd name="connsiteY1211" fmla="*/ 105391 h 2084191"/>
              <a:gd name="connsiteX1212" fmla="*/ 1942341 w 2051041"/>
              <a:gd name="connsiteY1212" fmla="*/ 104915 h 2084191"/>
              <a:gd name="connsiteX1213" fmla="*/ 255804 w 2051041"/>
              <a:gd name="connsiteY1213" fmla="*/ 103392 h 2084191"/>
              <a:gd name="connsiteX1214" fmla="*/ 277571 w 2051041"/>
              <a:gd name="connsiteY1214" fmla="*/ 126791 h 2084191"/>
              <a:gd name="connsiteX1215" fmla="*/ 254172 w 2051041"/>
              <a:gd name="connsiteY1215" fmla="*/ 148014 h 2084191"/>
              <a:gd name="connsiteX1216" fmla="*/ 232405 w 2051041"/>
              <a:gd name="connsiteY1216" fmla="*/ 125159 h 2084191"/>
              <a:gd name="connsiteX1217" fmla="*/ 255804 w 2051041"/>
              <a:gd name="connsiteY1217" fmla="*/ 103392 h 2084191"/>
              <a:gd name="connsiteX1218" fmla="*/ 1773511 w 2051041"/>
              <a:gd name="connsiteY1218" fmla="*/ 99405 h 2084191"/>
              <a:gd name="connsiteX1219" fmla="*/ 1773511 w 2051041"/>
              <a:gd name="connsiteY1219" fmla="*/ 107023 h 2084191"/>
              <a:gd name="connsiteX1220" fmla="*/ 1780585 w 2051041"/>
              <a:gd name="connsiteY1220" fmla="*/ 130423 h 2084191"/>
              <a:gd name="connsiteX1221" fmla="*/ 1773511 w 2051041"/>
              <a:gd name="connsiteY1221" fmla="*/ 155999 h 2084191"/>
              <a:gd name="connsiteX1222" fmla="*/ 1774055 w 2051041"/>
              <a:gd name="connsiteY1222" fmla="*/ 161985 h 2084191"/>
              <a:gd name="connsiteX1223" fmla="*/ 1780041 w 2051041"/>
              <a:gd name="connsiteY1223" fmla="*/ 162529 h 2084191"/>
              <a:gd name="connsiteX1224" fmla="*/ 1811059 w 2051041"/>
              <a:gd name="connsiteY1224" fmla="*/ 157632 h 2084191"/>
              <a:gd name="connsiteX1225" fmla="*/ 1829561 w 2051041"/>
              <a:gd name="connsiteY1225" fmla="*/ 161985 h 2084191"/>
              <a:gd name="connsiteX1226" fmla="*/ 1836635 w 2051041"/>
              <a:gd name="connsiteY1226" fmla="*/ 161985 h 2084191"/>
              <a:gd name="connsiteX1227" fmla="*/ 1833914 w 2051041"/>
              <a:gd name="connsiteY1227" fmla="*/ 157088 h 2084191"/>
              <a:gd name="connsiteX1228" fmla="*/ 1834458 w 2051041"/>
              <a:gd name="connsiteY1228" fmla="*/ 104303 h 2084191"/>
              <a:gd name="connsiteX1229" fmla="*/ 1835547 w 2051041"/>
              <a:gd name="connsiteY1229" fmla="*/ 99405 h 2084191"/>
              <a:gd name="connsiteX1230" fmla="*/ 1831193 w 2051041"/>
              <a:gd name="connsiteY1230" fmla="*/ 101038 h 2084191"/>
              <a:gd name="connsiteX1231" fmla="*/ 1780041 w 2051041"/>
              <a:gd name="connsiteY1231" fmla="*/ 101582 h 2084191"/>
              <a:gd name="connsiteX1232" fmla="*/ 1773511 w 2051041"/>
              <a:gd name="connsiteY1232" fmla="*/ 99405 h 2084191"/>
              <a:gd name="connsiteX1233" fmla="*/ 417424 w 2051041"/>
              <a:gd name="connsiteY1233" fmla="*/ 97950 h 2084191"/>
              <a:gd name="connsiteX1234" fmla="*/ 445721 w 2051041"/>
              <a:gd name="connsiteY1234" fmla="*/ 126247 h 2084191"/>
              <a:gd name="connsiteX1235" fmla="*/ 417424 w 2051041"/>
              <a:gd name="connsiteY1235" fmla="*/ 153456 h 2084191"/>
              <a:gd name="connsiteX1236" fmla="*/ 390215 w 2051041"/>
              <a:gd name="connsiteY1236" fmla="*/ 125159 h 2084191"/>
              <a:gd name="connsiteX1237" fmla="*/ 417424 w 2051041"/>
              <a:gd name="connsiteY1237" fmla="*/ 97950 h 2084191"/>
              <a:gd name="connsiteX1238" fmla="*/ 580677 w 2051041"/>
              <a:gd name="connsiteY1238" fmla="*/ 92508 h 2084191"/>
              <a:gd name="connsiteX1239" fmla="*/ 614960 w 2051041"/>
              <a:gd name="connsiteY1239" fmla="*/ 125159 h 2084191"/>
              <a:gd name="connsiteX1240" fmla="*/ 581766 w 2051041"/>
              <a:gd name="connsiteY1240" fmla="*/ 158353 h 2084191"/>
              <a:gd name="connsiteX1241" fmla="*/ 548571 w 2051041"/>
              <a:gd name="connsiteY1241" fmla="*/ 125703 h 2084191"/>
              <a:gd name="connsiteX1242" fmla="*/ 580677 w 2051041"/>
              <a:gd name="connsiteY1242" fmla="*/ 92508 h 2084191"/>
              <a:gd name="connsiteX1243" fmla="*/ 745019 w 2051041"/>
              <a:gd name="connsiteY1243" fmla="*/ 88154 h 2084191"/>
              <a:gd name="connsiteX1244" fmla="*/ 782567 w 2051041"/>
              <a:gd name="connsiteY1244" fmla="*/ 126791 h 2084191"/>
              <a:gd name="connsiteX1245" fmla="*/ 743930 w 2051041"/>
              <a:gd name="connsiteY1245" fmla="*/ 164339 h 2084191"/>
              <a:gd name="connsiteX1246" fmla="*/ 706382 w 2051041"/>
              <a:gd name="connsiteY1246" fmla="*/ 125702 h 2084191"/>
              <a:gd name="connsiteX1247" fmla="*/ 745019 w 2051041"/>
              <a:gd name="connsiteY1247" fmla="*/ 88154 h 2084191"/>
              <a:gd name="connsiteX1248" fmla="*/ 1685898 w 2051041"/>
              <a:gd name="connsiteY1248" fmla="*/ 84712 h 2084191"/>
              <a:gd name="connsiteX1249" fmla="*/ 1685681 w 2051041"/>
              <a:gd name="connsiteY1249" fmla="*/ 85147 h 2084191"/>
              <a:gd name="connsiteX1250" fmla="*/ 1685354 w 2051041"/>
              <a:gd name="connsiteY1250" fmla="*/ 85256 h 2084191"/>
              <a:gd name="connsiteX1251" fmla="*/ 1685898 w 2051041"/>
              <a:gd name="connsiteY1251" fmla="*/ 84712 h 2084191"/>
              <a:gd name="connsiteX1252" fmla="*/ 907183 w 2051041"/>
              <a:gd name="connsiteY1252" fmla="*/ 84345 h 2084191"/>
              <a:gd name="connsiteX1253" fmla="*/ 934935 w 2051041"/>
              <a:gd name="connsiteY1253" fmla="*/ 95228 h 2084191"/>
              <a:gd name="connsiteX1254" fmla="*/ 949628 w 2051041"/>
              <a:gd name="connsiteY1254" fmla="*/ 125158 h 2084191"/>
              <a:gd name="connsiteX1255" fmla="*/ 908271 w 2051041"/>
              <a:gd name="connsiteY1255" fmla="*/ 167060 h 2084191"/>
              <a:gd name="connsiteX1256" fmla="*/ 866369 w 2051041"/>
              <a:gd name="connsiteY1256" fmla="*/ 125702 h 2084191"/>
              <a:gd name="connsiteX1257" fmla="*/ 907183 w 2051041"/>
              <a:gd name="connsiteY1257" fmla="*/ 84345 h 2084191"/>
              <a:gd name="connsiteX1258" fmla="*/ 1070979 w 2051041"/>
              <a:gd name="connsiteY1258" fmla="*/ 82169 h 2084191"/>
              <a:gd name="connsiteX1259" fmla="*/ 1115602 w 2051041"/>
              <a:gd name="connsiteY1259" fmla="*/ 126247 h 2084191"/>
              <a:gd name="connsiteX1260" fmla="*/ 1071524 w 2051041"/>
              <a:gd name="connsiteY1260" fmla="*/ 170325 h 2084191"/>
              <a:gd name="connsiteX1261" fmla="*/ 1026357 w 2051041"/>
              <a:gd name="connsiteY1261" fmla="*/ 125703 h 2084191"/>
              <a:gd name="connsiteX1262" fmla="*/ 1070979 w 2051041"/>
              <a:gd name="connsiteY1262" fmla="*/ 82169 h 2084191"/>
              <a:gd name="connsiteX1263" fmla="*/ 1684811 w 2051041"/>
              <a:gd name="connsiteY1263" fmla="*/ 82168 h 2084191"/>
              <a:gd name="connsiteX1264" fmla="*/ 1684266 w 2051041"/>
              <a:gd name="connsiteY1264" fmla="*/ 82713 h 2084191"/>
              <a:gd name="connsiteX1265" fmla="*/ 1684469 w 2051041"/>
              <a:gd name="connsiteY1265" fmla="*/ 82365 h 2084191"/>
              <a:gd name="connsiteX1266" fmla="*/ 1234777 w 2051041"/>
              <a:gd name="connsiteY1266" fmla="*/ 78360 h 2084191"/>
              <a:gd name="connsiteX1267" fmla="*/ 1282664 w 2051041"/>
              <a:gd name="connsiteY1267" fmla="*/ 126791 h 2084191"/>
              <a:gd name="connsiteX1268" fmla="*/ 1234232 w 2051041"/>
              <a:gd name="connsiteY1268" fmla="*/ 174135 h 2084191"/>
              <a:gd name="connsiteX1269" fmla="*/ 1186889 w 2051041"/>
              <a:gd name="connsiteY1269" fmla="*/ 126791 h 2084191"/>
              <a:gd name="connsiteX1270" fmla="*/ 1234777 w 2051041"/>
              <a:gd name="connsiteY1270" fmla="*/ 78360 h 2084191"/>
              <a:gd name="connsiteX1271" fmla="*/ 1398574 w 2051041"/>
              <a:gd name="connsiteY1271" fmla="*/ 76182 h 2084191"/>
              <a:gd name="connsiteX1272" fmla="*/ 1448094 w 2051041"/>
              <a:gd name="connsiteY1272" fmla="*/ 127335 h 2084191"/>
              <a:gd name="connsiteX1273" fmla="*/ 1396941 w 2051041"/>
              <a:gd name="connsiteY1273" fmla="*/ 175766 h 2084191"/>
              <a:gd name="connsiteX1274" fmla="*/ 1347421 w 2051041"/>
              <a:gd name="connsiteY1274" fmla="*/ 125702 h 2084191"/>
              <a:gd name="connsiteX1275" fmla="*/ 1398574 w 2051041"/>
              <a:gd name="connsiteY1275" fmla="*/ 76182 h 2084191"/>
              <a:gd name="connsiteX1276" fmla="*/ 1561282 w 2051041"/>
              <a:gd name="connsiteY1276" fmla="*/ 72373 h 2084191"/>
              <a:gd name="connsiteX1277" fmla="*/ 1614611 w 2051041"/>
              <a:gd name="connsiteY1277" fmla="*/ 126247 h 2084191"/>
              <a:gd name="connsiteX1278" fmla="*/ 1560738 w 2051041"/>
              <a:gd name="connsiteY1278" fmla="*/ 179576 h 2084191"/>
              <a:gd name="connsiteX1279" fmla="*/ 1507409 w 2051041"/>
              <a:gd name="connsiteY1279" fmla="*/ 126247 h 2084191"/>
              <a:gd name="connsiteX1280" fmla="*/ 1561282 w 2051041"/>
              <a:gd name="connsiteY1280" fmla="*/ 72373 h 2084191"/>
              <a:gd name="connsiteX1281" fmla="*/ 10381 w 2051041"/>
              <a:gd name="connsiteY1281" fmla="*/ 33737 h 2084191"/>
              <a:gd name="connsiteX1282" fmla="*/ 20720 w 2051041"/>
              <a:gd name="connsiteY1282" fmla="*/ 45165 h 2084191"/>
              <a:gd name="connsiteX1283" fmla="*/ 9292 w 2051041"/>
              <a:gd name="connsiteY1283" fmla="*/ 54960 h 2084191"/>
              <a:gd name="connsiteX1284" fmla="*/ 41 w 2051041"/>
              <a:gd name="connsiteY1284" fmla="*/ 44621 h 2084191"/>
              <a:gd name="connsiteX1285" fmla="*/ 10381 w 2051041"/>
              <a:gd name="connsiteY1285" fmla="*/ 33737 h 2084191"/>
              <a:gd name="connsiteX1286" fmla="*/ 172546 w 2051041"/>
              <a:gd name="connsiteY1286" fmla="*/ 23942 h 2084191"/>
              <a:gd name="connsiteX1287" fmla="*/ 193224 w 2051041"/>
              <a:gd name="connsiteY1287" fmla="*/ 44621 h 2084191"/>
              <a:gd name="connsiteX1288" fmla="*/ 173090 w 2051041"/>
              <a:gd name="connsiteY1288" fmla="*/ 64755 h 2084191"/>
              <a:gd name="connsiteX1289" fmla="*/ 152411 w 2051041"/>
              <a:gd name="connsiteY1289" fmla="*/ 44621 h 2084191"/>
              <a:gd name="connsiteX1290" fmla="*/ 172546 w 2051041"/>
              <a:gd name="connsiteY1290" fmla="*/ 23942 h 2084191"/>
              <a:gd name="connsiteX1291" fmla="*/ 1861123 w 2051041"/>
              <a:gd name="connsiteY1291" fmla="*/ 22132 h 2084191"/>
              <a:gd name="connsiteX1292" fmla="*/ 1861123 w 2051041"/>
              <a:gd name="connsiteY1292" fmla="*/ 35737 h 2084191"/>
              <a:gd name="connsiteX1293" fmla="*/ 1861123 w 2051041"/>
              <a:gd name="connsiteY1293" fmla="*/ 61313 h 2084191"/>
              <a:gd name="connsiteX1294" fmla="*/ 1858946 w 2051041"/>
              <a:gd name="connsiteY1294" fmla="*/ 72740 h 2084191"/>
              <a:gd name="connsiteX1295" fmla="*/ 1866021 w 2051041"/>
              <a:gd name="connsiteY1295" fmla="*/ 76550 h 2084191"/>
              <a:gd name="connsiteX1296" fmla="*/ 1873639 w 2051041"/>
              <a:gd name="connsiteY1296" fmla="*/ 74917 h 2084191"/>
              <a:gd name="connsiteX1297" fmla="*/ 1900304 w 2051041"/>
              <a:gd name="connsiteY1297" fmla="*/ 74373 h 2084191"/>
              <a:gd name="connsiteX1298" fmla="*/ 1907922 w 2051041"/>
              <a:gd name="connsiteY1298" fmla="*/ 76006 h 2084191"/>
              <a:gd name="connsiteX1299" fmla="*/ 1912820 w 2051041"/>
              <a:gd name="connsiteY1299" fmla="*/ 70020 h 2084191"/>
              <a:gd name="connsiteX1300" fmla="*/ 1912820 w 2051041"/>
              <a:gd name="connsiteY1300" fmla="*/ 27030 h 2084191"/>
              <a:gd name="connsiteX1301" fmla="*/ 1908466 w 2051041"/>
              <a:gd name="connsiteY1301" fmla="*/ 22132 h 2084191"/>
              <a:gd name="connsiteX1302" fmla="*/ 1902480 w 2051041"/>
              <a:gd name="connsiteY1302" fmla="*/ 24309 h 2084191"/>
              <a:gd name="connsiteX1303" fmla="*/ 1873095 w 2051041"/>
              <a:gd name="connsiteY1303" fmla="*/ 24309 h 2084191"/>
              <a:gd name="connsiteX1304" fmla="*/ 1861123 w 2051041"/>
              <a:gd name="connsiteY1304" fmla="*/ 22132 h 2084191"/>
              <a:gd name="connsiteX1305" fmla="*/ 336886 w 2051041"/>
              <a:gd name="connsiteY1305" fmla="*/ 17412 h 2084191"/>
              <a:gd name="connsiteX1306" fmla="*/ 363007 w 2051041"/>
              <a:gd name="connsiteY1306" fmla="*/ 44077 h 2084191"/>
              <a:gd name="connsiteX1307" fmla="*/ 337431 w 2051041"/>
              <a:gd name="connsiteY1307" fmla="*/ 71285 h 2084191"/>
              <a:gd name="connsiteX1308" fmla="*/ 310222 w 2051041"/>
              <a:gd name="connsiteY1308" fmla="*/ 45165 h 2084191"/>
              <a:gd name="connsiteX1309" fmla="*/ 336886 w 2051041"/>
              <a:gd name="connsiteY1309" fmla="*/ 17412 h 2084191"/>
              <a:gd name="connsiteX1310" fmla="*/ 498507 w 2051041"/>
              <a:gd name="connsiteY1310" fmla="*/ 13059 h 2084191"/>
              <a:gd name="connsiteX1311" fmla="*/ 531702 w 2051041"/>
              <a:gd name="connsiteY1311" fmla="*/ 44621 h 2084191"/>
              <a:gd name="connsiteX1312" fmla="*/ 499595 w 2051041"/>
              <a:gd name="connsiteY1312" fmla="*/ 76727 h 2084191"/>
              <a:gd name="connsiteX1313" fmla="*/ 467489 w 2051041"/>
              <a:gd name="connsiteY1313" fmla="*/ 45165 h 2084191"/>
              <a:gd name="connsiteX1314" fmla="*/ 498507 w 2051041"/>
              <a:gd name="connsiteY1314" fmla="*/ 13059 h 2084191"/>
              <a:gd name="connsiteX1315" fmla="*/ 662303 w 2051041"/>
              <a:gd name="connsiteY1315" fmla="*/ 7616 h 2084191"/>
              <a:gd name="connsiteX1316" fmla="*/ 698763 w 2051041"/>
              <a:gd name="connsiteY1316" fmla="*/ 44076 h 2084191"/>
              <a:gd name="connsiteX1317" fmla="*/ 662303 w 2051041"/>
              <a:gd name="connsiteY1317" fmla="*/ 81080 h 2084191"/>
              <a:gd name="connsiteX1318" fmla="*/ 626932 w 2051041"/>
              <a:gd name="connsiteY1318" fmla="*/ 44076 h 2084191"/>
              <a:gd name="connsiteX1319" fmla="*/ 662303 w 2051041"/>
              <a:gd name="connsiteY1319" fmla="*/ 7616 h 2084191"/>
              <a:gd name="connsiteX1320" fmla="*/ 825557 w 2051041"/>
              <a:gd name="connsiteY1320" fmla="*/ 5440 h 2084191"/>
              <a:gd name="connsiteX1321" fmla="*/ 865281 w 2051041"/>
              <a:gd name="connsiteY1321" fmla="*/ 44621 h 2084191"/>
              <a:gd name="connsiteX1322" fmla="*/ 826101 w 2051041"/>
              <a:gd name="connsiteY1322" fmla="*/ 83257 h 2084191"/>
              <a:gd name="connsiteX1323" fmla="*/ 786920 w 2051041"/>
              <a:gd name="connsiteY1323" fmla="*/ 44621 h 2084191"/>
              <a:gd name="connsiteX1324" fmla="*/ 825557 w 2051041"/>
              <a:gd name="connsiteY1324" fmla="*/ 5440 h 2084191"/>
              <a:gd name="connsiteX1325" fmla="*/ 989353 w 2051041"/>
              <a:gd name="connsiteY1325" fmla="*/ 1086 h 2084191"/>
              <a:gd name="connsiteX1326" fmla="*/ 1032343 w 2051041"/>
              <a:gd name="connsiteY1326" fmla="*/ 43532 h 2084191"/>
              <a:gd name="connsiteX1327" fmla="*/ 989897 w 2051041"/>
              <a:gd name="connsiteY1327" fmla="*/ 87610 h 2084191"/>
              <a:gd name="connsiteX1328" fmla="*/ 945819 w 2051041"/>
              <a:gd name="connsiteY1328" fmla="*/ 44620 h 2084191"/>
              <a:gd name="connsiteX1329" fmla="*/ 989353 w 2051041"/>
              <a:gd name="connsiteY1329" fmla="*/ 1086 h 2084191"/>
              <a:gd name="connsiteX1330" fmla="*/ 1614056 w 2051041"/>
              <a:gd name="connsiteY1330" fmla="*/ 0 h 2084191"/>
              <a:gd name="connsiteX1331" fmla="*/ 1675529 w 2051041"/>
              <a:gd name="connsiteY1331" fmla="*/ 0 h 2084191"/>
              <a:gd name="connsiteX1332" fmla="*/ 1682905 w 2051041"/>
              <a:gd name="connsiteY1332" fmla="*/ 4720 h 2084191"/>
              <a:gd name="connsiteX1333" fmla="*/ 1933639 w 2051041"/>
              <a:gd name="connsiteY1333" fmla="*/ 4720 h 2084191"/>
              <a:gd name="connsiteX1334" fmla="*/ 2016655 w 2051041"/>
              <a:gd name="connsiteY1334" fmla="*/ 39107 h 2084191"/>
              <a:gd name="connsiteX1335" fmla="*/ 2028934 w 2051041"/>
              <a:gd name="connsiteY1335" fmla="*/ 57318 h 2084191"/>
              <a:gd name="connsiteX1336" fmla="*/ 2026008 w 2051041"/>
              <a:gd name="connsiteY1336" fmla="*/ 71108 h 2084191"/>
              <a:gd name="connsiteX1337" fmla="*/ 2030906 w 2051041"/>
              <a:gd name="connsiteY1337" fmla="*/ 75461 h 2084191"/>
              <a:gd name="connsiteX1338" fmla="*/ 2039929 w 2051041"/>
              <a:gd name="connsiteY1338" fmla="*/ 73627 h 2084191"/>
              <a:gd name="connsiteX1339" fmla="*/ 2041815 w 2051041"/>
              <a:gd name="connsiteY1339" fmla="*/ 76424 h 2084191"/>
              <a:gd name="connsiteX1340" fmla="*/ 2051041 w 2051041"/>
              <a:gd name="connsiteY1340" fmla="*/ 122122 h 2084191"/>
              <a:gd name="connsiteX1341" fmla="*/ 2051041 w 2051041"/>
              <a:gd name="connsiteY1341" fmla="*/ 186473 h 2084191"/>
              <a:gd name="connsiteX1342" fmla="*/ 2029818 w 2051041"/>
              <a:gd name="connsiteY1342" fmla="*/ 186473 h 2084191"/>
              <a:gd name="connsiteX1343" fmla="*/ 2023287 w 2051041"/>
              <a:gd name="connsiteY1343" fmla="*/ 192459 h 2084191"/>
              <a:gd name="connsiteX1344" fmla="*/ 2023832 w 2051041"/>
              <a:gd name="connsiteY1344" fmla="*/ 196268 h 2084191"/>
              <a:gd name="connsiteX1345" fmla="*/ 2019478 w 2051041"/>
              <a:gd name="connsiteY1345" fmla="*/ 239258 h 2084191"/>
              <a:gd name="connsiteX1346" fmla="*/ 2020022 w 2051041"/>
              <a:gd name="connsiteY1346" fmla="*/ 242523 h 2084191"/>
              <a:gd name="connsiteX1347" fmla="*/ 2023287 w 2051041"/>
              <a:gd name="connsiteY1347" fmla="*/ 243067 h 2084191"/>
              <a:gd name="connsiteX1348" fmla="*/ 2050224 w 2051041"/>
              <a:gd name="connsiteY1348" fmla="*/ 237150 h 2084191"/>
              <a:gd name="connsiteX1349" fmla="*/ 2051041 w 2051041"/>
              <a:gd name="connsiteY1349" fmla="*/ 237329 h 2084191"/>
              <a:gd name="connsiteX1350" fmla="*/ 2051041 w 2051041"/>
              <a:gd name="connsiteY1350" fmla="*/ 348996 h 2084191"/>
              <a:gd name="connsiteX1351" fmla="*/ 2036552 w 2051041"/>
              <a:gd name="connsiteY1351" fmla="*/ 347754 h 2084191"/>
              <a:gd name="connsiteX1352" fmla="*/ 2021111 w 2051041"/>
              <a:gd name="connsiteY1352" fmla="*/ 341019 h 2084191"/>
              <a:gd name="connsiteX1353" fmla="*/ 2016757 w 2051041"/>
              <a:gd name="connsiteY1353" fmla="*/ 338842 h 2084191"/>
              <a:gd name="connsiteX1354" fmla="*/ 2017301 w 2051041"/>
              <a:gd name="connsiteY1354" fmla="*/ 344284 h 2084191"/>
              <a:gd name="connsiteX1355" fmla="*/ 2025464 w 2051041"/>
              <a:gd name="connsiteY1355" fmla="*/ 376391 h 2084191"/>
              <a:gd name="connsiteX1356" fmla="*/ 1994446 w 2051041"/>
              <a:gd name="connsiteY1356" fmla="*/ 424278 h 2084191"/>
              <a:gd name="connsiteX1357" fmla="*/ 1933498 w 2051041"/>
              <a:gd name="connsiteY1357" fmla="*/ 416115 h 2084191"/>
              <a:gd name="connsiteX1358" fmla="*/ 1920438 w 2051041"/>
              <a:gd name="connsiteY1358" fmla="*/ 352447 h 2084191"/>
              <a:gd name="connsiteX1359" fmla="*/ 1925336 w 2051041"/>
              <a:gd name="connsiteY1359" fmla="*/ 338298 h 2084191"/>
              <a:gd name="connsiteX1360" fmla="*/ 1911731 w 2051041"/>
              <a:gd name="connsiteY1360" fmla="*/ 343196 h 2084191"/>
              <a:gd name="connsiteX1361" fmla="*/ 1898671 w 2051041"/>
              <a:gd name="connsiteY1361" fmla="*/ 347005 h 2084191"/>
              <a:gd name="connsiteX1362" fmla="*/ 1854593 w 2051041"/>
              <a:gd name="connsiteY1362" fmla="*/ 336666 h 2084191"/>
              <a:gd name="connsiteX1363" fmla="*/ 1847690 w 2051041"/>
              <a:gd name="connsiteY1363" fmla="*/ 333480 h 2084191"/>
              <a:gd name="connsiteX1364" fmla="*/ 1852961 w 2051041"/>
              <a:gd name="connsiteY1364" fmla="*/ 344461 h 2084191"/>
              <a:gd name="connsiteX1365" fmla="*/ 1826840 w 2051041"/>
              <a:gd name="connsiteY1365" fmla="*/ 420646 h 2084191"/>
              <a:gd name="connsiteX1366" fmla="*/ 1765893 w 2051041"/>
              <a:gd name="connsiteY1366" fmla="*/ 408130 h 2084191"/>
              <a:gd name="connsiteX1367" fmla="*/ 1759362 w 2051041"/>
              <a:gd name="connsiteY1367" fmla="*/ 342829 h 2084191"/>
              <a:gd name="connsiteX1368" fmla="*/ 1815991 w 2051041"/>
              <a:gd name="connsiteY1368" fmla="*/ 317193 h 2084191"/>
              <a:gd name="connsiteX1369" fmla="*/ 1834459 w 2051041"/>
              <a:gd name="connsiteY1369" fmla="*/ 325415 h 2084191"/>
              <a:gd name="connsiteX1370" fmla="*/ 1845023 w 2051041"/>
              <a:gd name="connsiteY1370" fmla="*/ 330169 h 2084191"/>
              <a:gd name="connsiteX1371" fmla="*/ 1840444 w 2051041"/>
              <a:gd name="connsiteY1371" fmla="*/ 321429 h 2084191"/>
              <a:gd name="connsiteX1372" fmla="*/ 1834458 w 2051041"/>
              <a:gd name="connsiteY1372" fmla="*/ 275174 h 2084191"/>
              <a:gd name="connsiteX1373" fmla="*/ 1840988 w 2051041"/>
              <a:gd name="connsiteY1373" fmla="*/ 259937 h 2084191"/>
              <a:gd name="connsiteX1374" fmla="*/ 1842077 w 2051041"/>
              <a:gd name="connsiteY1374" fmla="*/ 255584 h 2084191"/>
              <a:gd name="connsiteX1375" fmla="*/ 1837723 w 2051041"/>
              <a:gd name="connsiteY1375" fmla="*/ 257216 h 2084191"/>
              <a:gd name="connsiteX1376" fmla="*/ 1817589 w 2051041"/>
              <a:gd name="connsiteY1376" fmla="*/ 264834 h 2084191"/>
              <a:gd name="connsiteX1377" fmla="*/ 1768069 w 2051041"/>
              <a:gd name="connsiteY1377" fmla="*/ 251774 h 2084191"/>
              <a:gd name="connsiteX1378" fmla="*/ 1764740 w 2051041"/>
              <a:gd name="connsiteY1378" fmla="*/ 250110 h 2084191"/>
              <a:gd name="connsiteX1379" fmla="*/ 1773510 w 2051041"/>
              <a:gd name="connsiteY1379" fmla="*/ 267189 h 2084191"/>
              <a:gd name="connsiteX1380" fmla="*/ 1750655 w 2051041"/>
              <a:gd name="connsiteY1380" fmla="*/ 336843 h 2084191"/>
              <a:gd name="connsiteX1381" fmla="*/ 1673926 w 2051041"/>
              <a:gd name="connsiteY1381" fmla="*/ 310723 h 2084191"/>
              <a:gd name="connsiteX1382" fmla="*/ 1681545 w 2051041"/>
              <a:gd name="connsiteY1382" fmla="*/ 254673 h 2084191"/>
              <a:gd name="connsiteX1383" fmla="*/ 1733786 w 2051041"/>
              <a:gd name="connsiteY1383" fmla="*/ 235083 h 2084191"/>
              <a:gd name="connsiteX1384" fmla="*/ 1751743 w 2051041"/>
              <a:gd name="connsiteY1384" fmla="*/ 242157 h 2084191"/>
              <a:gd name="connsiteX1385" fmla="*/ 1762506 w 2051041"/>
              <a:gd name="connsiteY1385" fmla="*/ 246769 h 2084191"/>
              <a:gd name="connsiteX1386" fmla="*/ 1757185 w 2051041"/>
              <a:gd name="connsiteY1386" fmla="*/ 236537 h 2084191"/>
              <a:gd name="connsiteX1387" fmla="*/ 1756097 w 2051041"/>
              <a:gd name="connsiteY1387" fmla="*/ 185929 h 2084191"/>
              <a:gd name="connsiteX1388" fmla="*/ 1757185 w 2051041"/>
              <a:gd name="connsiteY1388" fmla="*/ 177766 h 2084191"/>
              <a:gd name="connsiteX1389" fmla="*/ 1749023 w 2051041"/>
              <a:gd name="connsiteY1389" fmla="*/ 178311 h 2084191"/>
              <a:gd name="connsiteX1390" fmla="*/ 1676103 w 2051041"/>
              <a:gd name="connsiteY1390" fmla="*/ 154911 h 2084191"/>
              <a:gd name="connsiteX1391" fmla="*/ 1681001 w 2051041"/>
              <a:gd name="connsiteY1391" fmla="*/ 94507 h 2084191"/>
              <a:gd name="connsiteX1392" fmla="*/ 1685681 w 2051041"/>
              <a:gd name="connsiteY1392" fmla="*/ 85147 h 2084191"/>
              <a:gd name="connsiteX1393" fmla="*/ 1693517 w 2051041"/>
              <a:gd name="connsiteY1393" fmla="*/ 82536 h 2084191"/>
              <a:gd name="connsiteX1394" fmla="*/ 1747934 w 2051041"/>
              <a:gd name="connsiteY1394" fmla="*/ 77638 h 2084191"/>
              <a:gd name="connsiteX1395" fmla="*/ 1756641 w 2051041"/>
              <a:gd name="connsiteY1395" fmla="*/ 79271 h 2084191"/>
              <a:gd name="connsiteX1396" fmla="*/ 1754464 w 2051041"/>
              <a:gd name="connsiteY1396" fmla="*/ 71652 h 2084191"/>
              <a:gd name="connsiteX1397" fmla="*/ 1752832 w 2051041"/>
              <a:gd name="connsiteY1397" fmla="*/ 68387 h 2084191"/>
              <a:gd name="connsiteX1398" fmla="*/ 1756097 w 2051041"/>
              <a:gd name="connsiteY1398" fmla="*/ 20500 h 2084191"/>
              <a:gd name="connsiteX1399" fmla="*/ 1756641 w 2051041"/>
              <a:gd name="connsiteY1399" fmla="*/ 16146 h 2084191"/>
              <a:gd name="connsiteX1400" fmla="*/ 1751744 w 2051041"/>
              <a:gd name="connsiteY1400" fmla="*/ 15058 h 2084191"/>
              <a:gd name="connsiteX1401" fmla="*/ 1741404 w 2051041"/>
              <a:gd name="connsiteY1401" fmla="*/ 19955 h 2084191"/>
              <a:gd name="connsiteX1402" fmla="*/ 1691884 w 2051041"/>
              <a:gd name="connsiteY1402" fmla="*/ 11249 h 2084191"/>
              <a:gd name="connsiteX1403" fmla="*/ 1685645 w 2051041"/>
              <a:gd name="connsiteY1403" fmla="*/ 8369 h 2084191"/>
              <a:gd name="connsiteX1404" fmla="*/ 1688620 w 2051041"/>
              <a:gd name="connsiteY1404" fmla="*/ 14691 h 2084191"/>
              <a:gd name="connsiteX1405" fmla="*/ 1691885 w 2051041"/>
              <a:gd name="connsiteY1405" fmla="*/ 69652 h 2084191"/>
              <a:gd name="connsiteX1406" fmla="*/ 1684469 w 2051041"/>
              <a:gd name="connsiteY1406" fmla="*/ 82365 h 2084191"/>
              <a:gd name="connsiteX1407" fmla="*/ 1663044 w 2051041"/>
              <a:gd name="connsiteY1407" fmla="*/ 94684 h 2084191"/>
              <a:gd name="connsiteX1408" fmla="*/ 1626584 w 2051041"/>
              <a:gd name="connsiteY1408" fmla="*/ 96861 h 2084191"/>
              <a:gd name="connsiteX1409" fmla="*/ 1590124 w 2051041"/>
              <a:gd name="connsiteY1409" fmla="*/ 60401 h 2084191"/>
              <a:gd name="connsiteX1410" fmla="*/ 1591757 w 2051041"/>
              <a:gd name="connsiteY1410" fmla="*/ 25030 h 2084191"/>
              <a:gd name="connsiteX1411" fmla="*/ 1460066 w 2051041"/>
              <a:gd name="connsiteY1411" fmla="*/ 0 h 2084191"/>
              <a:gd name="connsiteX1412" fmla="*/ 1498513 w 2051041"/>
              <a:gd name="connsiteY1412" fmla="*/ 0 h 2084191"/>
              <a:gd name="connsiteX1413" fmla="*/ 1517204 w 2051041"/>
              <a:gd name="connsiteY1413" fmla="*/ 8092 h 2084191"/>
              <a:gd name="connsiteX1414" fmla="*/ 1531896 w 2051041"/>
              <a:gd name="connsiteY1414" fmla="*/ 45164 h 2084191"/>
              <a:gd name="connsiteX1415" fmla="*/ 1479111 w 2051041"/>
              <a:gd name="connsiteY1415" fmla="*/ 97949 h 2084191"/>
              <a:gd name="connsiteX1416" fmla="*/ 1426870 w 2051041"/>
              <a:gd name="connsiteY1416" fmla="*/ 45164 h 2084191"/>
              <a:gd name="connsiteX1417" fmla="*/ 1441631 w 2051041"/>
              <a:gd name="connsiteY1417" fmla="*/ 7684 h 2084191"/>
              <a:gd name="connsiteX1418" fmla="*/ 1296749 w 2051041"/>
              <a:gd name="connsiteY1418" fmla="*/ 0 h 2084191"/>
              <a:gd name="connsiteX1419" fmla="*/ 1335755 w 2051041"/>
              <a:gd name="connsiteY1419" fmla="*/ 0 h 2084191"/>
              <a:gd name="connsiteX1420" fmla="*/ 1350278 w 2051041"/>
              <a:gd name="connsiteY1420" fmla="*/ 10270 h 2084191"/>
              <a:gd name="connsiteX1421" fmla="*/ 1365923 w 2051041"/>
              <a:gd name="connsiteY1421" fmla="*/ 45165 h 2084191"/>
              <a:gd name="connsiteX1422" fmla="*/ 1315315 w 2051041"/>
              <a:gd name="connsiteY1422" fmla="*/ 93052 h 2084191"/>
              <a:gd name="connsiteX1423" fmla="*/ 1266339 w 2051041"/>
              <a:gd name="connsiteY1423" fmla="*/ 44076 h 2084191"/>
              <a:gd name="connsiteX1424" fmla="*/ 1282732 w 2051041"/>
              <a:gd name="connsiteY1424" fmla="*/ 9317 h 2084191"/>
              <a:gd name="connsiteX1425" fmla="*/ 1148085 w 2051041"/>
              <a:gd name="connsiteY1425" fmla="*/ 0 h 2084191"/>
              <a:gd name="connsiteX1426" fmla="*/ 1161802 w 2051041"/>
              <a:gd name="connsiteY1426" fmla="*/ 0 h 2084191"/>
              <a:gd name="connsiteX1427" fmla="*/ 1169637 w 2051041"/>
              <a:gd name="connsiteY1427" fmla="*/ 1315 h 2084191"/>
              <a:gd name="connsiteX1428" fmla="*/ 1199405 w 2051041"/>
              <a:gd name="connsiteY1428" fmla="*/ 45164 h 2084191"/>
              <a:gd name="connsiteX1429" fmla="*/ 1151518 w 2051041"/>
              <a:gd name="connsiteY1429" fmla="*/ 91419 h 2084191"/>
              <a:gd name="connsiteX1430" fmla="*/ 1105807 w 2051041"/>
              <a:gd name="connsiteY1430" fmla="*/ 44620 h 2084191"/>
              <a:gd name="connsiteX1431" fmla="*/ 1119139 w 2051041"/>
              <a:gd name="connsiteY1431" fmla="*/ 11902 h 20841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Lst>
            <a:rect l="l" t="t" r="r" b="b"/>
            <a:pathLst>
              <a:path w="2051041" h="2084191">
                <a:moveTo>
                  <a:pt x="2051041" y="2080382"/>
                </a:moveTo>
                <a:lnTo>
                  <a:pt x="2051041" y="2083967"/>
                </a:lnTo>
                <a:lnTo>
                  <a:pt x="2047231" y="2084191"/>
                </a:lnTo>
                <a:cubicBezTo>
                  <a:pt x="2046687" y="2084191"/>
                  <a:pt x="2046143" y="2082559"/>
                  <a:pt x="2045599" y="2081470"/>
                </a:cubicBezTo>
                <a:close/>
                <a:moveTo>
                  <a:pt x="1478568" y="1997668"/>
                </a:moveTo>
                <a:cubicBezTo>
                  <a:pt x="1484010" y="1997668"/>
                  <a:pt x="1485642" y="2000933"/>
                  <a:pt x="1484554" y="2004743"/>
                </a:cubicBezTo>
                <a:cubicBezTo>
                  <a:pt x="1484010" y="2006919"/>
                  <a:pt x="1480745" y="2008551"/>
                  <a:pt x="1478568" y="2009096"/>
                </a:cubicBezTo>
                <a:cubicBezTo>
                  <a:pt x="1474759" y="2009640"/>
                  <a:pt x="1473126" y="2007463"/>
                  <a:pt x="1473126" y="2003654"/>
                </a:cubicBezTo>
                <a:cubicBezTo>
                  <a:pt x="1473126" y="1998756"/>
                  <a:pt x="1475303" y="1997124"/>
                  <a:pt x="1478568" y="1997668"/>
                </a:cubicBezTo>
                <a:close/>
                <a:moveTo>
                  <a:pt x="1641820" y="1993859"/>
                </a:moveTo>
                <a:cubicBezTo>
                  <a:pt x="1646718" y="1993314"/>
                  <a:pt x="1652160" y="1999300"/>
                  <a:pt x="1652160" y="2003654"/>
                </a:cubicBezTo>
                <a:cubicBezTo>
                  <a:pt x="1652160" y="2008551"/>
                  <a:pt x="1646718" y="2013449"/>
                  <a:pt x="1641820" y="2013449"/>
                </a:cubicBezTo>
                <a:cubicBezTo>
                  <a:pt x="1636923" y="2013449"/>
                  <a:pt x="1632025" y="2008007"/>
                  <a:pt x="1632025" y="2003654"/>
                </a:cubicBezTo>
                <a:cubicBezTo>
                  <a:pt x="1632025" y="1999300"/>
                  <a:pt x="1638011" y="1993859"/>
                  <a:pt x="1641820" y="1993859"/>
                </a:cubicBezTo>
                <a:close/>
                <a:moveTo>
                  <a:pt x="1969414" y="1992226"/>
                </a:moveTo>
                <a:cubicBezTo>
                  <a:pt x="1976488" y="1992226"/>
                  <a:pt x="1979753" y="1996035"/>
                  <a:pt x="1979753" y="2003654"/>
                </a:cubicBezTo>
                <a:cubicBezTo>
                  <a:pt x="1979753" y="2011272"/>
                  <a:pt x="1975944" y="2014537"/>
                  <a:pt x="1968325" y="2014537"/>
                </a:cubicBezTo>
                <a:cubicBezTo>
                  <a:pt x="1960707" y="2014537"/>
                  <a:pt x="1957442" y="2010728"/>
                  <a:pt x="1957986" y="2003110"/>
                </a:cubicBezTo>
                <a:cubicBezTo>
                  <a:pt x="1957986" y="1994947"/>
                  <a:pt x="1961251" y="1992226"/>
                  <a:pt x="1969414" y="1992226"/>
                </a:cubicBezTo>
                <a:close/>
                <a:moveTo>
                  <a:pt x="1805073" y="1992226"/>
                </a:moveTo>
                <a:cubicBezTo>
                  <a:pt x="1811058" y="1992226"/>
                  <a:pt x="1815956" y="1996035"/>
                  <a:pt x="1815956" y="2002565"/>
                </a:cubicBezTo>
                <a:cubicBezTo>
                  <a:pt x="1816500" y="2009096"/>
                  <a:pt x="1812147" y="2014537"/>
                  <a:pt x="1805073" y="2014537"/>
                </a:cubicBezTo>
                <a:cubicBezTo>
                  <a:pt x="1799087" y="2014537"/>
                  <a:pt x="1794189" y="2010184"/>
                  <a:pt x="1794189" y="2004198"/>
                </a:cubicBezTo>
                <a:cubicBezTo>
                  <a:pt x="1794189" y="1997668"/>
                  <a:pt x="1799087" y="1992770"/>
                  <a:pt x="1805073" y="1992226"/>
                </a:cubicBezTo>
                <a:close/>
                <a:moveTo>
                  <a:pt x="1234233" y="1916042"/>
                </a:moveTo>
                <a:cubicBezTo>
                  <a:pt x="1238586" y="1915497"/>
                  <a:pt x="1240763" y="1917674"/>
                  <a:pt x="1240219" y="1923660"/>
                </a:cubicBezTo>
                <a:cubicBezTo>
                  <a:pt x="1239674" y="1924204"/>
                  <a:pt x="1237498" y="1926381"/>
                  <a:pt x="1236953" y="1926381"/>
                </a:cubicBezTo>
                <a:cubicBezTo>
                  <a:pt x="1234233" y="1924204"/>
                  <a:pt x="1231512" y="1921483"/>
                  <a:pt x="1229335" y="1918762"/>
                </a:cubicBezTo>
                <a:cubicBezTo>
                  <a:pt x="1230968" y="1917674"/>
                  <a:pt x="1232600" y="1916586"/>
                  <a:pt x="1234233" y="1916042"/>
                </a:cubicBezTo>
                <a:close/>
                <a:moveTo>
                  <a:pt x="1397486" y="1911144"/>
                </a:moveTo>
                <a:cubicBezTo>
                  <a:pt x="1402927" y="1911144"/>
                  <a:pt x="1408369" y="1916041"/>
                  <a:pt x="1408369" y="1921483"/>
                </a:cubicBezTo>
                <a:cubicBezTo>
                  <a:pt x="1408369" y="1926925"/>
                  <a:pt x="1404016" y="1931279"/>
                  <a:pt x="1399118" y="1931823"/>
                </a:cubicBezTo>
                <a:cubicBezTo>
                  <a:pt x="1392588" y="1932367"/>
                  <a:pt x="1387146" y="1928013"/>
                  <a:pt x="1387146" y="1922028"/>
                </a:cubicBezTo>
                <a:cubicBezTo>
                  <a:pt x="1386602" y="1916586"/>
                  <a:pt x="1391500" y="1911144"/>
                  <a:pt x="1397486" y="1911144"/>
                </a:cubicBezTo>
                <a:close/>
                <a:moveTo>
                  <a:pt x="1560194" y="1906790"/>
                </a:moveTo>
                <a:cubicBezTo>
                  <a:pt x="1566180" y="1906790"/>
                  <a:pt x="1574342" y="1914953"/>
                  <a:pt x="1574342" y="1921482"/>
                </a:cubicBezTo>
                <a:cubicBezTo>
                  <a:pt x="1574342" y="1928013"/>
                  <a:pt x="1566724" y="1936175"/>
                  <a:pt x="1560738" y="1935631"/>
                </a:cubicBezTo>
                <a:cubicBezTo>
                  <a:pt x="1554752" y="1935631"/>
                  <a:pt x="1547678" y="1928557"/>
                  <a:pt x="1547134" y="1922027"/>
                </a:cubicBezTo>
                <a:cubicBezTo>
                  <a:pt x="1546589" y="1915497"/>
                  <a:pt x="1554208" y="1907334"/>
                  <a:pt x="1560194" y="1906790"/>
                </a:cubicBezTo>
                <a:close/>
                <a:moveTo>
                  <a:pt x="2049952" y="1905702"/>
                </a:moveTo>
                <a:lnTo>
                  <a:pt x="2051041" y="1906027"/>
                </a:lnTo>
                <a:lnTo>
                  <a:pt x="2051041" y="1938133"/>
                </a:lnTo>
                <a:lnTo>
                  <a:pt x="2050496" y="1938353"/>
                </a:lnTo>
                <a:cubicBezTo>
                  <a:pt x="2039613" y="1937808"/>
                  <a:pt x="2034715" y="1933455"/>
                  <a:pt x="2034171" y="1922572"/>
                </a:cubicBezTo>
                <a:cubicBezTo>
                  <a:pt x="2034171" y="1911144"/>
                  <a:pt x="2039069" y="1905702"/>
                  <a:pt x="2049952" y="1905702"/>
                </a:cubicBezTo>
                <a:close/>
                <a:moveTo>
                  <a:pt x="1723447" y="1905702"/>
                </a:moveTo>
                <a:cubicBezTo>
                  <a:pt x="1730521" y="1905702"/>
                  <a:pt x="1739772" y="1914409"/>
                  <a:pt x="1739772" y="1920939"/>
                </a:cubicBezTo>
                <a:cubicBezTo>
                  <a:pt x="1740316" y="1929101"/>
                  <a:pt x="1732698" y="1936720"/>
                  <a:pt x="1724535" y="1937264"/>
                </a:cubicBezTo>
                <a:cubicBezTo>
                  <a:pt x="1716373" y="1937264"/>
                  <a:pt x="1708754" y="1930190"/>
                  <a:pt x="1708210" y="1922027"/>
                </a:cubicBezTo>
                <a:cubicBezTo>
                  <a:pt x="1708210" y="1914953"/>
                  <a:pt x="1716373" y="1905702"/>
                  <a:pt x="1723447" y="1905702"/>
                </a:cubicBezTo>
                <a:close/>
                <a:moveTo>
                  <a:pt x="1887787" y="1905158"/>
                </a:moveTo>
                <a:cubicBezTo>
                  <a:pt x="1898671" y="1905158"/>
                  <a:pt x="1904113" y="1911144"/>
                  <a:pt x="1904113" y="1922028"/>
                </a:cubicBezTo>
                <a:cubicBezTo>
                  <a:pt x="1904113" y="1932367"/>
                  <a:pt x="1898127" y="1937809"/>
                  <a:pt x="1886699" y="1937809"/>
                </a:cubicBezTo>
                <a:cubicBezTo>
                  <a:pt x="1876360" y="1937809"/>
                  <a:pt x="1870918" y="1931823"/>
                  <a:pt x="1870918" y="1921483"/>
                </a:cubicBezTo>
                <a:cubicBezTo>
                  <a:pt x="1870918" y="1910600"/>
                  <a:pt x="1876904" y="1904614"/>
                  <a:pt x="1887787" y="1905158"/>
                </a:cubicBezTo>
                <a:close/>
                <a:moveTo>
                  <a:pt x="1152606" y="1831693"/>
                </a:moveTo>
                <a:cubicBezTo>
                  <a:pt x="1155871" y="1832782"/>
                  <a:pt x="1160769" y="1836591"/>
                  <a:pt x="1161313" y="1839312"/>
                </a:cubicBezTo>
                <a:cubicBezTo>
                  <a:pt x="1160769" y="1843121"/>
                  <a:pt x="1156959" y="1846931"/>
                  <a:pt x="1153694" y="1852916"/>
                </a:cubicBezTo>
                <a:cubicBezTo>
                  <a:pt x="1149341" y="1847475"/>
                  <a:pt x="1146076" y="1844754"/>
                  <a:pt x="1144988" y="1841489"/>
                </a:cubicBezTo>
                <a:cubicBezTo>
                  <a:pt x="1143355" y="1837135"/>
                  <a:pt x="1148797" y="1830605"/>
                  <a:pt x="1152606" y="1831693"/>
                </a:cubicBezTo>
                <a:close/>
                <a:moveTo>
                  <a:pt x="1315315" y="1825708"/>
                </a:moveTo>
                <a:cubicBezTo>
                  <a:pt x="1321301" y="1825164"/>
                  <a:pt x="1331096" y="1834415"/>
                  <a:pt x="1330552" y="1840401"/>
                </a:cubicBezTo>
                <a:cubicBezTo>
                  <a:pt x="1330552" y="1845298"/>
                  <a:pt x="1321301" y="1854549"/>
                  <a:pt x="1316404" y="1854549"/>
                </a:cubicBezTo>
                <a:cubicBezTo>
                  <a:pt x="1310962" y="1855094"/>
                  <a:pt x="1302255" y="1846387"/>
                  <a:pt x="1301711" y="1840945"/>
                </a:cubicBezTo>
                <a:cubicBezTo>
                  <a:pt x="1301167" y="1834959"/>
                  <a:pt x="1309329" y="1826252"/>
                  <a:pt x="1315315" y="1825708"/>
                </a:cubicBezTo>
                <a:close/>
                <a:moveTo>
                  <a:pt x="1479656" y="1822987"/>
                </a:moveTo>
                <a:cubicBezTo>
                  <a:pt x="1489995" y="1823531"/>
                  <a:pt x="1495981" y="1830061"/>
                  <a:pt x="1495981" y="1840401"/>
                </a:cubicBezTo>
                <a:cubicBezTo>
                  <a:pt x="1495981" y="1851284"/>
                  <a:pt x="1490539" y="1856726"/>
                  <a:pt x="1478567" y="1856182"/>
                </a:cubicBezTo>
                <a:cubicBezTo>
                  <a:pt x="1467140" y="1856182"/>
                  <a:pt x="1462242" y="1850740"/>
                  <a:pt x="1462242" y="1839312"/>
                </a:cubicBezTo>
                <a:cubicBezTo>
                  <a:pt x="1462242" y="1828429"/>
                  <a:pt x="1468772" y="1822443"/>
                  <a:pt x="1479656" y="1822987"/>
                </a:cubicBezTo>
                <a:close/>
                <a:moveTo>
                  <a:pt x="1642365" y="1821355"/>
                </a:moveTo>
                <a:cubicBezTo>
                  <a:pt x="1653248" y="1821355"/>
                  <a:pt x="1661955" y="1829518"/>
                  <a:pt x="1660867" y="1840401"/>
                </a:cubicBezTo>
                <a:cubicBezTo>
                  <a:pt x="1659778" y="1853461"/>
                  <a:pt x="1653792" y="1857270"/>
                  <a:pt x="1642365" y="1857270"/>
                </a:cubicBezTo>
                <a:cubicBezTo>
                  <a:pt x="1630937" y="1857270"/>
                  <a:pt x="1624407" y="1850740"/>
                  <a:pt x="1624407" y="1839857"/>
                </a:cubicBezTo>
                <a:cubicBezTo>
                  <a:pt x="1624407" y="1828973"/>
                  <a:pt x="1632025" y="1821355"/>
                  <a:pt x="1642365" y="1821355"/>
                </a:cubicBezTo>
                <a:close/>
                <a:moveTo>
                  <a:pt x="1806162" y="1819723"/>
                </a:moveTo>
                <a:cubicBezTo>
                  <a:pt x="1816501" y="1819723"/>
                  <a:pt x="1827385" y="1831150"/>
                  <a:pt x="1826840" y="1840945"/>
                </a:cubicBezTo>
                <a:cubicBezTo>
                  <a:pt x="1826296" y="1850740"/>
                  <a:pt x="1813780" y="1862168"/>
                  <a:pt x="1804529" y="1861080"/>
                </a:cubicBezTo>
                <a:cubicBezTo>
                  <a:pt x="1795278" y="1860536"/>
                  <a:pt x="1783851" y="1847476"/>
                  <a:pt x="1784395" y="1839313"/>
                </a:cubicBezTo>
                <a:cubicBezTo>
                  <a:pt x="1784939" y="1828973"/>
                  <a:pt x="1796367" y="1819178"/>
                  <a:pt x="1806162" y="1819723"/>
                </a:cubicBezTo>
                <a:close/>
                <a:moveTo>
                  <a:pt x="1968870" y="1819178"/>
                </a:moveTo>
                <a:cubicBezTo>
                  <a:pt x="1980298" y="1819178"/>
                  <a:pt x="1990093" y="1828973"/>
                  <a:pt x="1990093" y="1840401"/>
                </a:cubicBezTo>
                <a:cubicBezTo>
                  <a:pt x="1990093" y="1851285"/>
                  <a:pt x="1980298" y="1861624"/>
                  <a:pt x="1968870" y="1861624"/>
                </a:cubicBezTo>
                <a:cubicBezTo>
                  <a:pt x="1957986" y="1861624"/>
                  <a:pt x="1947647" y="1851285"/>
                  <a:pt x="1947647" y="1840401"/>
                </a:cubicBezTo>
                <a:cubicBezTo>
                  <a:pt x="1947647" y="1828973"/>
                  <a:pt x="1957986" y="1819178"/>
                  <a:pt x="1968870" y="1819178"/>
                </a:cubicBezTo>
                <a:close/>
                <a:moveTo>
                  <a:pt x="1070436" y="1747347"/>
                </a:moveTo>
                <a:cubicBezTo>
                  <a:pt x="1078598" y="1747347"/>
                  <a:pt x="1081863" y="1750612"/>
                  <a:pt x="1081863" y="1758231"/>
                </a:cubicBezTo>
                <a:cubicBezTo>
                  <a:pt x="1081863" y="1766393"/>
                  <a:pt x="1078598" y="1769658"/>
                  <a:pt x="1070980" y="1769658"/>
                </a:cubicBezTo>
                <a:cubicBezTo>
                  <a:pt x="1063361" y="1769658"/>
                  <a:pt x="1060096" y="1766393"/>
                  <a:pt x="1059552" y="1758775"/>
                </a:cubicBezTo>
                <a:cubicBezTo>
                  <a:pt x="1059552" y="1751156"/>
                  <a:pt x="1062817" y="1747347"/>
                  <a:pt x="1070436" y="1747347"/>
                </a:cubicBezTo>
                <a:close/>
                <a:moveTo>
                  <a:pt x="1233688" y="1742449"/>
                </a:moveTo>
                <a:cubicBezTo>
                  <a:pt x="1242939" y="1741904"/>
                  <a:pt x="1250558" y="1750067"/>
                  <a:pt x="1250558" y="1758774"/>
                </a:cubicBezTo>
                <a:cubicBezTo>
                  <a:pt x="1250558" y="1767481"/>
                  <a:pt x="1242939" y="1775099"/>
                  <a:pt x="1233688" y="1775099"/>
                </a:cubicBezTo>
                <a:cubicBezTo>
                  <a:pt x="1224981" y="1775099"/>
                  <a:pt x="1218451" y="1768025"/>
                  <a:pt x="1217907" y="1759318"/>
                </a:cubicBezTo>
                <a:cubicBezTo>
                  <a:pt x="1217907" y="1750067"/>
                  <a:pt x="1224981" y="1742449"/>
                  <a:pt x="1233688" y="1742449"/>
                </a:cubicBezTo>
                <a:close/>
                <a:moveTo>
                  <a:pt x="1399662" y="1739728"/>
                </a:moveTo>
                <a:cubicBezTo>
                  <a:pt x="1410002" y="1740817"/>
                  <a:pt x="1418164" y="1750068"/>
                  <a:pt x="1417076" y="1760407"/>
                </a:cubicBezTo>
                <a:cubicBezTo>
                  <a:pt x="1415988" y="1769114"/>
                  <a:pt x="1404560" y="1779997"/>
                  <a:pt x="1396941" y="1779453"/>
                </a:cubicBezTo>
                <a:cubicBezTo>
                  <a:pt x="1388779" y="1778909"/>
                  <a:pt x="1376807" y="1765305"/>
                  <a:pt x="1377895" y="1757686"/>
                </a:cubicBezTo>
                <a:cubicBezTo>
                  <a:pt x="1379528" y="1746803"/>
                  <a:pt x="1389867" y="1738640"/>
                  <a:pt x="1399662" y="1739728"/>
                </a:cubicBezTo>
                <a:close/>
                <a:moveTo>
                  <a:pt x="1723991" y="1735919"/>
                </a:moveTo>
                <a:cubicBezTo>
                  <a:pt x="1738140" y="1735919"/>
                  <a:pt x="1746847" y="1744626"/>
                  <a:pt x="1746847" y="1758774"/>
                </a:cubicBezTo>
                <a:cubicBezTo>
                  <a:pt x="1746847" y="1772379"/>
                  <a:pt x="1738140" y="1781086"/>
                  <a:pt x="1723991" y="1781086"/>
                </a:cubicBezTo>
                <a:cubicBezTo>
                  <a:pt x="1709299" y="1781086"/>
                  <a:pt x="1701680" y="1773467"/>
                  <a:pt x="1701680" y="1758774"/>
                </a:cubicBezTo>
                <a:cubicBezTo>
                  <a:pt x="1701680" y="1744626"/>
                  <a:pt x="1709843" y="1735919"/>
                  <a:pt x="1723991" y="1735919"/>
                </a:cubicBezTo>
                <a:close/>
                <a:moveTo>
                  <a:pt x="1560194" y="1735919"/>
                </a:moveTo>
                <a:cubicBezTo>
                  <a:pt x="1572710" y="1736463"/>
                  <a:pt x="1582505" y="1746258"/>
                  <a:pt x="1582505" y="1758230"/>
                </a:cubicBezTo>
                <a:cubicBezTo>
                  <a:pt x="1582505" y="1770202"/>
                  <a:pt x="1572710" y="1779997"/>
                  <a:pt x="1560738" y="1779997"/>
                </a:cubicBezTo>
                <a:cubicBezTo>
                  <a:pt x="1549855" y="1779997"/>
                  <a:pt x="1538427" y="1769114"/>
                  <a:pt x="1538427" y="1758230"/>
                </a:cubicBezTo>
                <a:cubicBezTo>
                  <a:pt x="1538427" y="1746803"/>
                  <a:pt x="1548766" y="1735919"/>
                  <a:pt x="1560194" y="1735919"/>
                </a:cubicBezTo>
                <a:close/>
                <a:moveTo>
                  <a:pt x="2051041" y="1734831"/>
                </a:moveTo>
                <a:lnTo>
                  <a:pt x="2051041" y="1781438"/>
                </a:lnTo>
                <a:lnTo>
                  <a:pt x="2050496" y="1781630"/>
                </a:lnTo>
                <a:cubicBezTo>
                  <a:pt x="2033627" y="1782174"/>
                  <a:pt x="2027097" y="1772379"/>
                  <a:pt x="2027097" y="1758775"/>
                </a:cubicBezTo>
                <a:cubicBezTo>
                  <a:pt x="2027097" y="1744082"/>
                  <a:pt x="2033627" y="1734831"/>
                  <a:pt x="2051041" y="1734831"/>
                </a:cubicBezTo>
                <a:close/>
                <a:moveTo>
                  <a:pt x="1887788" y="1734831"/>
                </a:moveTo>
                <a:cubicBezTo>
                  <a:pt x="1902481" y="1735375"/>
                  <a:pt x="1910099" y="1742994"/>
                  <a:pt x="1910099" y="1758775"/>
                </a:cubicBezTo>
                <a:cubicBezTo>
                  <a:pt x="1910099" y="1771835"/>
                  <a:pt x="1903025" y="1782718"/>
                  <a:pt x="1886699" y="1781086"/>
                </a:cubicBezTo>
                <a:cubicBezTo>
                  <a:pt x="1872551" y="1782174"/>
                  <a:pt x="1863844" y="1770203"/>
                  <a:pt x="1863844" y="1757687"/>
                </a:cubicBezTo>
                <a:cubicBezTo>
                  <a:pt x="1863844" y="1742994"/>
                  <a:pt x="1874728" y="1734287"/>
                  <a:pt x="1887788" y="1734831"/>
                </a:cubicBezTo>
                <a:close/>
                <a:moveTo>
                  <a:pt x="826100" y="1671706"/>
                </a:moveTo>
                <a:cubicBezTo>
                  <a:pt x="830454" y="1670618"/>
                  <a:pt x="832086" y="1673338"/>
                  <a:pt x="832086" y="1677692"/>
                </a:cubicBezTo>
                <a:cubicBezTo>
                  <a:pt x="832086" y="1681501"/>
                  <a:pt x="829365" y="1683134"/>
                  <a:pt x="825556" y="1683134"/>
                </a:cubicBezTo>
                <a:cubicBezTo>
                  <a:pt x="821203" y="1683134"/>
                  <a:pt x="819570" y="1679869"/>
                  <a:pt x="820658" y="1676603"/>
                </a:cubicBezTo>
                <a:cubicBezTo>
                  <a:pt x="821203" y="1674427"/>
                  <a:pt x="823924" y="1672250"/>
                  <a:pt x="826100" y="1671706"/>
                </a:cubicBezTo>
                <a:close/>
                <a:moveTo>
                  <a:pt x="989354" y="1661912"/>
                </a:moveTo>
                <a:cubicBezTo>
                  <a:pt x="994251" y="1661912"/>
                  <a:pt x="1004046" y="1671707"/>
                  <a:pt x="1004046" y="1676604"/>
                </a:cubicBezTo>
                <a:cubicBezTo>
                  <a:pt x="1004046" y="1682590"/>
                  <a:pt x="996428" y="1690209"/>
                  <a:pt x="989354" y="1690209"/>
                </a:cubicBezTo>
                <a:cubicBezTo>
                  <a:pt x="982823" y="1690209"/>
                  <a:pt x="975749" y="1683679"/>
                  <a:pt x="975205" y="1677693"/>
                </a:cubicBezTo>
                <a:cubicBezTo>
                  <a:pt x="974661" y="1671707"/>
                  <a:pt x="983912" y="1661367"/>
                  <a:pt x="989354" y="1661912"/>
                </a:cubicBezTo>
                <a:close/>
                <a:moveTo>
                  <a:pt x="1153151" y="1659734"/>
                </a:moveTo>
                <a:cubicBezTo>
                  <a:pt x="1162946" y="1658646"/>
                  <a:pt x="1171108" y="1667353"/>
                  <a:pt x="1170564" y="1677692"/>
                </a:cubicBezTo>
                <a:cubicBezTo>
                  <a:pt x="1170020" y="1688575"/>
                  <a:pt x="1162946" y="1694562"/>
                  <a:pt x="1152062" y="1694562"/>
                </a:cubicBezTo>
                <a:cubicBezTo>
                  <a:pt x="1141179" y="1694017"/>
                  <a:pt x="1135737" y="1688031"/>
                  <a:pt x="1135737" y="1677148"/>
                </a:cubicBezTo>
                <a:cubicBezTo>
                  <a:pt x="1135737" y="1664632"/>
                  <a:pt x="1141179" y="1659190"/>
                  <a:pt x="1153151" y="1659734"/>
                </a:cubicBezTo>
                <a:close/>
                <a:moveTo>
                  <a:pt x="1315315" y="1655381"/>
                </a:moveTo>
                <a:cubicBezTo>
                  <a:pt x="1327287" y="1654836"/>
                  <a:pt x="1337082" y="1664088"/>
                  <a:pt x="1337082" y="1676603"/>
                </a:cubicBezTo>
                <a:cubicBezTo>
                  <a:pt x="1337082" y="1688575"/>
                  <a:pt x="1326743" y="1698915"/>
                  <a:pt x="1315315" y="1698915"/>
                </a:cubicBezTo>
                <a:cubicBezTo>
                  <a:pt x="1304976" y="1698915"/>
                  <a:pt x="1294092" y="1687487"/>
                  <a:pt x="1294092" y="1677148"/>
                </a:cubicBezTo>
                <a:cubicBezTo>
                  <a:pt x="1294092" y="1666264"/>
                  <a:pt x="1304431" y="1655925"/>
                  <a:pt x="1315315" y="1655381"/>
                </a:cubicBezTo>
                <a:close/>
                <a:moveTo>
                  <a:pt x="1479111" y="1654293"/>
                </a:moveTo>
                <a:cubicBezTo>
                  <a:pt x="1495437" y="1653204"/>
                  <a:pt x="1501967" y="1664632"/>
                  <a:pt x="1501967" y="1677692"/>
                </a:cubicBezTo>
                <a:cubicBezTo>
                  <a:pt x="1501967" y="1689664"/>
                  <a:pt x="1492716" y="1700548"/>
                  <a:pt x="1479111" y="1700548"/>
                </a:cubicBezTo>
                <a:cubicBezTo>
                  <a:pt x="1466596" y="1700548"/>
                  <a:pt x="1455712" y="1690208"/>
                  <a:pt x="1455712" y="1676604"/>
                </a:cubicBezTo>
                <a:cubicBezTo>
                  <a:pt x="1456256" y="1663544"/>
                  <a:pt x="1464963" y="1653204"/>
                  <a:pt x="1479111" y="1654293"/>
                </a:cubicBezTo>
                <a:close/>
                <a:moveTo>
                  <a:pt x="1643452" y="1650483"/>
                </a:moveTo>
                <a:cubicBezTo>
                  <a:pt x="1654880" y="1651027"/>
                  <a:pt x="1667940" y="1664087"/>
                  <a:pt x="1668484" y="1676603"/>
                </a:cubicBezTo>
                <a:cubicBezTo>
                  <a:pt x="1669029" y="1689120"/>
                  <a:pt x="1655968" y="1702724"/>
                  <a:pt x="1643452" y="1703268"/>
                </a:cubicBezTo>
                <a:cubicBezTo>
                  <a:pt x="1631480" y="1703812"/>
                  <a:pt x="1617332" y="1690208"/>
                  <a:pt x="1617332" y="1677692"/>
                </a:cubicBezTo>
                <a:cubicBezTo>
                  <a:pt x="1616788" y="1664632"/>
                  <a:pt x="1630392" y="1650483"/>
                  <a:pt x="1643452" y="1650483"/>
                </a:cubicBezTo>
                <a:close/>
                <a:moveTo>
                  <a:pt x="1968326" y="1649940"/>
                </a:moveTo>
                <a:cubicBezTo>
                  <a:pt x="1983019" y="1649395"/>
                  <a:pt x="1997167" y="1664088"/>
                  <a:pt x="1995535" y="1676604"/>
                </a:cubicBezTo>
                <a:cubicBezTo>
                  <a:pt x="1997167" y="1689664"/>
                  <a:pt x="1982474" y="1704901"/>
                  <a:pt x="1968870" y="1704357"/>
                </a:cubicBezTo>
                <a:cubicBezTo>
                  <a:pt x="1954177" y="1703813"/>
                  <a:pt x="1942205" y="1691841"/>
                  <a:pt x="1941661" y="1677148"/>
                </a:cubicBezTo>
                <a:cubicBezTo>
                  <a:pt x="1941117" y="1662456"/>
                  <a:pt x="1956354" y="1649940"/>
                  <a:pt x="1968326" y="1649940"/>
                </a:cubicBezTo>
                <a:close/>
                <a:moveTo>
                  <a:pt x="1805617" y="1649939"/>
                </a:moveTo>
                <a:cubicBezTo>
                  <a:pt x="1819222" y="1648851"/>
                  <a:pt x="1832826" y="1664088"/>
                  <a:pt x="1832826" y="1677148"/>
                </a:cubicBezTo>
                <a:cubicBezTo>
                  <a:pt x="1832282" y="1690752"/>
                  <a:pt x="1819222" y="1703812"/>
                  <a:pt x="1805073" y="1704357"/>
                </a:cubicBezTo>
                <a:cubicBezTo>
                  <a:pt x="1792557" y="1704901"/>
                  <a:pt x="1777864" y="1688031"/>
                  <a:pt x="1778409" y="1677148"/>
                </a:cubicBezTo>
                <a:cubicBezTo>
                  <a:pt x="1779497" y="1662999"/>
                  <a:pt x="1791469" y="1649939"/>
                  <a:pt x="1805617" y="1649939"/>
                </a:cubicBezTo>
                <a:close/>
                <a:moveTo>
                  <a:pt x="744474" y="1588992"/>
                </a:moveTo>
                <a:cubicBezTo>
                  <a:pt x="748827" y="1588992"/>
                  <a:pt x="751004" y="1590624"/>
                  <a:pt x="751004" y="1594978"/>
                </a:cubicBezTo>
                <a:cubicBezTo>
                  <a:pt x="751004" y="1598787"/>
                  <a:pt x="749916" y="1601508"/>
                  <a:pt x="745562" y="1602052"/>
                </a:cubicBezTo>
                <a:cubicBezTo>
                  <a:pt x="740665" y="1602052"/>
                  <a:pt x="738488" y="1600420"/>
                  <a:pt x="738488" y="1594978"/>
                </a:cubicBezTo>
                <a:cubicBezTo>
                  <a:pt x="737944" y="1590624"/>
                  <a:pt x="740121" y="1588992"/>
                  <a:pt x="744474" y="1588992"/>
                </a:cubicBezTo>
                <a:close/>
                <a:moveTo>
                  <a:pt x="907183" y="1579741"/>
                </a:moveTo>
                <a:cubicBezTo>
                  <a:pt x="913169" y="1579197"/>
                  <a:pt x="923508" y="1588992"/>
                  <a:pt x="923508" y="1594978"/>
                </a:cubicBezTo>
                <a:cubicBezTo>
                  <a:pt x="923508" y="1600964"/>
                  <a:pt x="915345" y="1610215"/>
                  <a:pt x="908815" y="1610759"/>
                </a:cubicBezTo>
                <a:cubicBezTo>
                  <a:pt x="901197" y="1611303"/>
                  <a:pt x="892490" y="1603685"/>
                  <a:pt x="892490" y="1595522"/>
                </a:cubicBezTo>
                <a:cubicBezTo>
                  <a:pt x="892490" y="1588448"/>
                  <a:pt x="900653" y="1579741"/>
                  <a:pt x="907183" y="1579741"/>
                </a:cubicBezTo>
                <a:close/>
                <a:moveTo>
                  <a:pt x="1071524" y="1574843"/>
                </a:moveTo>
                <a:cubicBezTo>
                  <a:pt x="1081319" y="1575387"/>
                  <a:pt x="1091114" y="1585726"/>
                  <a:pt x="1091114" y="1595522"/>
                </a:cubicBezTo>
                <a:cubicBezTo>
                  <a:pt x="1091114" y="1605317"/>
                  <a:pt x="1080231" y="1615656"/>
                  <a:pt x="1070980" y="1615656"/>
                </a:cubicBezTo>
                <a:cubicBezTo>
                  <a:pt x="1062273" y="1615656"/>
                  <a:pt x="1050845" y="1604228"/>
                  <a:pt x="1050301" y="1595522"/>
                </a:cubicBezTo>
                <a:cubicBezTo>
                  <a:pt x="1050301" y="1586270"/>
                  <a:pt x="1062273" y="1574299"/>
                  <a:pt x="1071524" y="1574843"/>
                </a:cubicBezTo>
                <a:close/>
                <a:moveTo>
                  <a:pt x="1233688" y="1573210"/>
                </a:moveTo>
                <a:cubicBezTo>
                  <a:pt x="1247837" y="1573210"/>
                  <a:pt x="1256544" y="1581373"/>
                  <a:pt x="1256544" y="1595522"/>
                </a:cubicBezTo>
                <a:cubicBezTo>
                  <a:pt x="1256544" y="1609670"/>
                  <a:pt x="1247837" y="1618377"/>
                  <a:pt x="1233688" y="1618377"/>
                </a:cubicBezTo>
                <a:cubicBezTo>
                  <a:pt x="1221172" y="1618377"/>
                  <a:pt x="1212465" y="1608582"/>
                  <a:pt x="1211377" y="1596610"/>
                </a:cubicBezTo>
                <a:cubicBezTo>
                  <a:pt x="1210289" y="1584638"/>
                  <a:pt x="1222261" y="1571034"/>
                  <a:pt x="1233688" y="1573210"/>
                </a:cubicBezTo>
                <a:close/>
                <a:moveTo>
                  <a:pt x="1398030" y="1569402"/>
                </a:moveTo>
                <a:cubicBezTo>
                  <a:pt x="1411634" y="1569946"/>
                  <a:pt x="1423606" y="1582462"/>
                  <a:pt x="1423062" y="1595522"/>
                </a:cubicBezTo>
                <a:cubicBezTo>
                  <a:pt x="1423062" y="1608582"/>
                  <a:pt x="1410546" y="1621099"/>
                  <a:pt x="1397485" y="1621099"/>
                </a:cubicBezTo>
                <a:cubicBezTo>
                  <a:pt x="1384969" y="1621099"/>
                  <a:pt x="1371365" y="1608038"/>
                  <a:pt x="1371365" y="1595522"/>
                </a:cubicBezTo>
                <a:cubicBezTo>
                  <a:pt x="1371365" y="1582462"/>
                  <a:pt x="1384969" y="1568857"/>
                  <a:pt x="1398030" y="1569402"/>
                </a:cubicBezTo>
                <a:close/>
                <a:moveTo>
                  <a:pt x="1560194" y="1568313"/>
                </a:moveTo>
                <a:cubicBezTo>
                  <a:pt x="1574342" y="1566680"/>
                  <a:pt x="1587403" y="1581373"/>
                  <a:pt x="1587947" y="1594433"/>
                </a:cubicBezTo>
                <a:cubicBezTo>
                  <a:pt x="1588491" y="1608582"/>
                  <a:pt x="1574887" y="1622730"/>
                  <a:pt x="1560194" y="1622730"/>
                </a:cubicBezTo>
                <a:cubicBezTo>
                  <a:pt x="1547134" y="1622730"/>
                  <a:pt x="1532985" y="1608582"/>
                  <a:pt x="1532985" y="1594977"/>
                </a:cubicBezTo>
                <a:cubicBezTo>
                  <a:pt x="1532985" y="1581917"/>
                  <a:pt x="1547134" y="1566680"/>
                  <a:pt x="1560194" y="1568313"/>
                </a:cubicBezTo>
                <a:close/>
                <a:moveTo>
                  <a:pt x="1887244" y="1567225"/>
                </a:moveTo>
                <a:cubicBezTo>
                  <a:pt x="1905202" y="1567225"/>
                  <a:pt x="1915541" y="1578109"/>
                  <a:pt x="1915541" y="1594978"/>
                </a:cubicBezTo>
                <a:cubicBezTo>
                  <a:pt x="1915541" y="1612392"/>
                  <a:pt x="1903569" y="1624363"/>
                  <a:pt x="1886699" y="1623819"/>
                </a:cubicBezTo>
                <a:cubicBezTo>
                  <a:pt x="1872551" y="1623819"/>
                  <a:pt x="1857314" y="1613480"/>
                  <a:pt x="1858947" y="1594978"/>
                </a:cubicBezTo>
                <a:cubicBezTo>
                  <a:pt x="1857858" y="1577564"/>
                  <a:pt x="1870918" y="1567225"/>
                  <a:pt x="1887244" y="1567225"/>
                </a:cubicBezTo>
                <a:close/>
                <a:moveTo>
                  <a:pt x="1724535" y="1567225"/>
                </a:moveTo>
                <a:cubicBezTo>
                  <a:pt x="1743037" y="1567225"/>
                  <a:pt x="1752288" y="1581373"/>
                  <a:pt x="1752288" y="1594978"/>
                </a:cubicBezTo>
                <a:cubicBezTo>
                  <a:pt x="1752288" y="1609127"/>
                  <a:pt x="1741949" y="1623275"/>
                  <a:pt x="1724535" y="1623275"/>
                </a:cubicBezTo>
                <a:cubicBezTo>
                  <a:pt x="1710930" y="1623819"/>
                  <a:pt x="1694605" y="1613480"/>
                  <a:pt x="1696238" y="1594978"/>
                </a:cubicBezTo>
                <a:cubicBezTo>
                  <a:pt x="1694605" y="1577564"/>
                  <a:pt x="1708754" y="1567225"/>
                  <a:pt x="1724535" y="1567225"/>
                </a:cubicBezTo>
                <a:close/>
                <a:moveTo>
                  <a:pt x="2050496" y="1566680"/>
                </a:moveTo>
                <a:lnTo>
                  <a:pt x="2051041" y="1566888"/>
                </a:lnTo>
                <a:lnTo>
                  <a:pt x="2051041" y="1623794"/>
                </a:lnTo>
                <a:lnTo>
                  <a:pt x="2049408" y="1624363"/>
                </a:lnTo>
                <a:cubicBezTo>
                  <a:pt x="2033083" y="1623818"/>
                  <a:pt x="2021111" y="1611302"/>
                  <a:pt x="2021655" y="1594977"/>
                </a:cubicBezTo>
                <a:cubicBezTo>
                  <a:pt x="2022199" y="1575931"/>
                  <a:pt x="2033627" y="1567224"/>
                  <a:pt x="2050496" y="1566680"/>
                </a:cubicBezTo>
                <a:close/>
                <a:moveTo>
                  <a:pt x="663392" y="1505188"/>
                </a:moveTo>
                <a:cubicBezTo>
                  <a:pt x="666113" y="1505188"/>
                  <a:pt x="669922" y="1510086"/>
                  <a:pt x="674819" y="1513895"/>
                </a:cubicBezTo>
                <a:cubicBezTo>
                  <a:pt x="669378" y="1517704"/>
                  <a:pt x="665569" y="1522602"/>
                  <a:pt x="662848" y="1522058"/>
                </a:cubicBezTo>
                <a:cubicBezTo>
                  <a:pt x="659583" y="1521513"/>
                  <a:pt x="654685" y="1516072"/>
                  <a:pt x="654685" y="1513351"/>
                </a:cubicBezTo>
                <a:cubicBezTo>
                  <a:pt x="654685" y="1510086"/>
                  <a:pt x="660127" y="1505188"/>
                  <a:pt x="663392" y="1505188"/>
                </a:cubicBezTo>
                <a:close/>
                <a:moveTo>
                  <a:pt x="826101" y="1497570"/>
                </a:moveTo>
                <a:cubicBezTo>
                  <a:pt x="834263" y="1497025"/>
                  <a:pt x="842426" y="1505188"/>
                  <a:pt x="842970" y="1513351"/>
                </a:cubicBezTo>
                <a:cubicBezTo>
                  <a:pt x="842970" y="1522058"/>
                  <a:pt x="835352" y="1529676"/>
                  <a:pt x="826645" y="1529676"/>
                </a:cubicBezTo>
                <a:cubicBezTo>
                  <a:pt x="818482" y="1529676"/>
                  <a:pt x="810864" y="1523146"/>
                  <a:pt x="810319" y="1514983"/>
                </a:cubicBezTo>
                <a:cubicBezTo>
                  <a:pt x="809775" y="1506276"/>
                  <a:pt x="817394" y="1498114"/>
                  <a:pt x="826101" y="1497570"/>
                </a:cubicBezTo>
                <a:close/>
                <a:moveTo>
                  <a:pt x="988265" y="1492128"/>
                </a:moveTo>
                <a:cubicBezTo>
                  <a:pt x="998605" y="1492128"/>
                  <a:pt x="1010577" y="1501379"/>
                  <a:pt x="1010577" y="1513351"/>
                </a:cubicBezTo>
                <a:cubicBezTo>
                  <a:pt x="1010577" y="1524234"/>
                  <a:pt x="1000237" y="1534574"/>
                  <a:pt x="989354" y="1534574"/>
                </a:cubicBezTo>
                <a:cubicBezTo>
                  <a:pt x="979559" y="1534574"/>
                  <a:pt x="968675" y="1523690"/>
                  <a:pt x="968131" y="1513895"/>
                </a:cubicBezTo>
                <a:cubicBezTo>
                  <a:pt x="968131" y="1503556"/>
                  <a:pt x="977926" y="1492672"/>
                  <a:pt x="988265" y="1492128"/>
                </a:cubicBezTo>
                <a:close/>
                <a:moveTo>
                  <a:pt x="1152606" y="1490496"/>
                </a:moveTo>
                <a:cubicBezTo>
                  <a:pt x="1167299" y="1489407"/>
                  <a:pt x="1176006" y="1498658"/>
                  <a:pt x="1176006" y="1513351"/>
                </a:cubicBezTo>
                <a:cubicBezTo>
                  <a:pt x="1176006" y="1530764"/>
                  <a:pt x="1166755" y="1537295"/>
                  <a:pt x="1152606" y="1537839"/>
                </a:cubicBezTo>
                <a:cubicBezTo>
                  <a:pt x="1139546" y="1537839"/>
                  <a:pt x="1129207" y="1530764"/>
                  <a:pt x="1129207" y="1514984"/>
                </a:cubicBezTo>
                <a:cubicBezTo>
                  <a:pt x="1129207" y="1498114"/>
                  <a:pt x="1138458" y="1491040"/>
                  <a:pt x="1152606" y="1490496"/>
                </a:cubicBezTo>
                <a:close/>
                <a:moveTo>
                  <a:pt x="1316403" y="1487231"/>
                </a:moveTo>
                <a:cubicBezTo>
                  <a:pt x="1331095" y="1487775"/>
                  <a:pt x="1342523" y="1499203"/>
                  <a:pt x="1342523" y="1513896"/>
                </a:cubicBezTo>
                <a:cubicBezTo>
                  <a:pt x="1342523" y="1528588"/>
                  <a:pt x="1330551" y="1540560"/>
                  <a:pt x="1315314" y="1540560"/>
                </a:cubicBezTo>
                <a:cubicBezTo>
                  <a:pt x="1303887" y="1542193"/>
                  <a:pt x="1288106" y="1527500"/>
                  <a:pt x="1288650" y="1513896"/>
                </a:cubicBezTo>
                <a:cubicBezTo>
                  <a:pt x="1289194" y="1498659"/>
                  <a:pt x="1301166" y="1486687"/>
                  <a:pt x="1316403" y="1487231"/>
                </a:cubicBezTo>
                <a:close/>
                <a:moveTo>
                  <a:pt x="1479656" y="1485054"/>
                </a:moveTo>
                <a:cubicBezTo>
                  <a:pt x="1495437" y="1485598"/>
                  <a:pt x="1508497" y="1496482"/>
                  <a:pt x="1507409" y="1513895"/>
                </a:cubicBezTo>
                <a:cubicBezTo>
                  <a:pt x="1508497" y="1527500"/>
                  <a:pt x="1498158" y="1542192"/>
                  <a:pt x="1479112" y="1541648"/>
                </a:cubicBezTo>
                <a:cubicBezTo>
                  <a:pt x="1462787" y="1541648"/>
                  <a:pt x="1451359" y="1529676"/>
                  <a:pt x="1451359" y="1513351"/>
                </a:cubicBezTo>
                <a:cubicBezTo>
                  <a:pt x="1451359" y="1493761"/>
                  <a:pt x="1466596" y="1485054"/>
                  <a:pt x="1479656" y="1485054"/>
                </a:cubicBezTo>
                <a:close/>
                <a:moveTo>
                  <a:pt x="1641820" y="1482334"/>
                </a:moveTo>
                <a:cubicBezTo>
                  <a:pt x="1657057" y="1481789"/>
                  <a:pt x="1672838" y="1496482"/>
                  <a:pt x="1673382" y="1512807"/>
                </a:cubicBezTo>
                <a:cubicBezTo>
                  <a:pt x="1673927" y="1528044"/>
                  <a:pt x="1658145" y="1544370"/>
                  <a:pt x="1642909" y="1544370"/>
                </a:cubicBezTo>
                <a:cubicBezTo>
                  <a:pt x="1626039" y="1542193"/>
                  <a:pt x="1612979" y="1532942"/>
                  <a:pt x="1612435" y="1513351"/>
                </a:cubicBezTo>
                <a:cubicBezTo>
                  <a:pt x="1611890" y="1497571"/>
                  <a:pt x="1626583" y="1483422"/>
                  <a:pt x="1641820" y="1482334"/>
                </a:cubicBezTo>
                <a:close/>
                <a:moveTo>
                  <a:pt x="1804529" y="1481788"/>
                </a:moveTo>
                <a:cubicBezTo>
                  <a:pt x="1820855" y="1481244"/>
                  <a:pt x="1836091" y="1494304"/>
                  <a:pt x="1837180" y="1513351"/>
                </a:cubicBezTo>
                <a:cubicBezTo>
                  <a:pt x="1838812" y="1528043"/>
                  <a:pt x="1825208" y="1544913"/>
                  <a:pt x="1805617" y="1545457"/>
                </a:cubicBezTo>
                <a:cubicBezTo>
                  <a:pt x="1787660" y="1544913"/>
                  <a:pt x="1774055" y="1532397"/>
                  <a:pt x="1773511" y="1514983"/>
                </a:cubicBezTo>
                <a:cubicBezTo>
                  <a:pt x="1772967" y="1494849"/>
                  <a:pt x="1788204" y="1482333"/>
                  <a:pt x="1804529" y="1481788"/>
                </a:cubicBezTo>
                <a:close/>
                <a:moveTo>
                  <a:pt x="1968870" y="1480700"/>
                </a:moveTo>
                <a:cubicBezTo>
                  <a:pt x="1984651" y="1480700"/>
                  <a:pt x="2000977" y="1495937"/>
                  <a:pt x="2000977" y="1513351"/>
                </a:cubicBezTo>
                <a:cubicBezTo>
                  <a:pt x="2001521" y="1529132"/>
                  <a:pt x="1987916" y="1546001"/>
                  <a:pt x="1968870" y="1545457"/>
                </a:cubicBezTo>
                <a:cubicBezTo>
                  <a:pt x="1949824" y="1545457"/>
                  <a:pt x="1936764" y="1530764"/>
                  <a:pt x="1936764" y="1513351"/>
                </a:cubicBezTo>
                <a:cubicBezTo>
                  <a:pt x="1936764" y="1493760"/>
                  <a:pt x="1953633" y="1480700"/>
                  <a:pt x="1968870" y="1480700"/>
                </a:cubicBezTo>
                <a:close/>
                <a:moveTo>
                  <a:pt x="581221" y="1423562"/>
                </a:moveTo>
                <a:cubicBezTo>
                  <a:pt x="586663" y="1423562"/>
                  <a:pt x="589384" y="1427371"/>
                  <a:pt x="588840" y="1431725"/>
                </a:cubicBezTo>
                <a:cubicBezTo>
                  <a:pt x="588840" y="1434990"/>
                  <a:pt x="585030" y="1438255"/>
                  <a:pt x="581765" y="1443153"/>
                </a:cubicBezTo>
                <a:cubicBezTo>
                  <a:pt x="577412" y="1438255"/>
                  <a:pt x="574147" y="1436078"/>
                  <a:pt x="573059" y="1432813"/>
                </a:cubicBezTo>
                <a:cubicBezTo>
                  <a:pt x="571426" y="1429004"/>
                  <a:pt x="576868" y="1423562"/>
                  <a:pt x="581221" y="1423562"/>
                </a:cubicBezTo>
                <a:close/>
                <a:moveTo>
                  <a:pt x="745562" y="1414855"/>
                </a:moveTo>
                <a:cubicBezTo>
                  <a:pt x="754269" y="1415399"/>
                  <a:pt x="761344" y="1423018"/>
                  <a:pt x="761344" y="1432269"/>
                </a:cubicBezTo>
                <a:cubicBezTo>
                  <a:pt x="761344" y="1442064"/>
                  <a:pt x="754813" y="1448050"/>
                  <a:pt x="745018" y="1448050"/>
                </a:cubicBezTo>
                <a:cubicBezTo>
                  <a:pt x="734679" y="1448050"/>
                  <a:pt x="728693" y="1442064"/>
                  <a:pt x="728693" y="1431725"/>
                </a:cubicBezTo>
                <a:cubicBezTo>
                  <a:pt x="728693" y="1421386"/>
                  <a:pt x="735223" y="1414311"/>
                  <a:pt x="745562" y="1414855"/>
                </a:cubicBezTo>
                <a:close/>
                <a:moveTo>
                  <a:pt x="908815" y="1409958"/>
                </a:moveTo>
                <a:cubicBezTo>
                  <a:pt x="920243" y="1410502"/>
                  <a:pt x="930038" y="1420297"/>
                  <a:pt x="930038" y="1431725"/>
                </a:cubicBezTo>
                <a:cubicBezTo>
                  <a:pt x="929494" y="1443697"/>
                  <a:pt x="919155" y="1454036"/>
                  <a:pt x="907183" y="1453492"/>
                </a:cubicBezTo>
                <a:cubicBezTo>
                  <a:pt x="896844" y="1453492"/>
                  <a:pt x="885960" y="1442064"/>
                  <a:pt x="885960" y="1431725"/>
                </a:cubicBezTo>
                <a:cubicBezTo>
                  <a:pt x="885960" y="1420297"/>
                  <a:pt x="897388" y="1409414"/>
                  <a:pt x="908815" y="1409958"/>
                </a:cubicBezTo>
                <a:close/>
                <a:moveTo>
                  <a:pt x="1070436" y="1406693"/>
                </a:moveTo>
                <a:cubicBezTo>
                  <a:pt x="1084584" y="1406693"/>
                  <a:pt x="1096012" y="1418121"/>
                  <a:pt x="1096012" y="1432269"/>
                </a:cubicBezTo>
                <a:cubicBezTo>
                  <a:pt x="1096012" y="1445329"/>
                  <a:pt x="1082952" y="1458390"/>
                  <a:pt x="1070436" y="1457846"/>
                </a:cubicBezTo>
                <a:cubicBezTo>
                  <a:pt x="1058464" y="1457301"/>
                  <a:pt x="1044860" y="1443153"/>
                  <a:pt x="1045404" y="1431181"/>
                </a:cubicBezTo>
                <a:cubicBezTo>
                  <a:pt x="1045948" y="1418665"/>
                  <a:pt x="1057920" y="1406693"/>
                  <a:pt x="1070436" y="1406693"/>
                </a:cubicBezTo>
                <a:close/>
                <a:moveTo>
                  <a:pt x="1235865" y="1404516"/>
                </a:moveTo>
                <a:cubicBezTo>
                  <a:pt x="1252191" y="1405605"/>
                  <a:pt x="1262530" y="1415944"/>
                  <a:pt x="1261986" y="1433358"/>
                </a:cubicBezTo>
                <a:cubicBezTo>
                  <a:pt x="1261442" y="1449683"/>
                  <a:pt x="1251102" y="1459478"/>
                  <a:pt x="1233689" y="1459478"/>
                </a:cubicBezTo>
                <a:cubicBezTo>
                  <a:pt x="1218452" y="1461655"/>
                  <a:pt x="1206480" y="1445329"/>
                  <a:pt x="1206480" y="1432269"/>
                </a:cubicBezTo>
                <a:cubicBezTo>
                  <a:pt x="1206480" y="1417032"/>
                  <a:pt x="1220084" y="1403428"/>
                  <a:pt x="1235865" y="1404516"/>
                </a:cubicBezTo>
                <a:close/>
                <a:moveTo>
                  <a:pt x="1397485" y="1400162"/>
                </a:moveTo>
                <a:cubicBezTo>
                  <a:pt x="1412178" y="1400162"/>
                  <a:pt x="1427959" y="1416487"/>
                  <a:pt x="1427959" y="1431724"/>
                </a:cubicBezTo>
                <a:cubicBezTo>
                  <a:pt x="1428503" y="1446961"/>
                  <a:pt x="1413810" y="1462198"/>
                  <a:pt x="1398029" y="1463287"/>
                </a:cubicBezTo>
                <a:cubicBezTo>
                  <a:pt x="1384425" y="1464375"/>
                  <a:pt x="1367555" y="1448049"/>
                  <a:pt x="1366467" y="1432813"/>
                </a:cubicBezTo>
                <a:cubicBezTo>
                  <a:pt x="1365923" y="1418120"/>
                  <a:pt x="1382792" y="1400162"/>
                  <a:pt x="1397485" y="1400162"/>
                </a:cubicBezTo>
                <a:close/>
                <a:moveTo>
                  <a:pt x="1561282" y="1399618"/>
                </a:moveTo>
                <a:cubicBezTo>
                  <a:pt x="1575975" y="1399618"/>
                  <a:pt x="1593388" y="1415943"/>
                  <a:pt x="1593388" y="1432269"/>
                </a:cubicBezTo>
                <a:cubicBezTo>
                  <a:pt x="1593388" y="1446961"/>
                  <a:pt x="1578696" y="1464919"/>
                  <a:pt x="1560738" y="1464375"/>
                </a:cubicBezTo>
                <a:cubicBezTo>
                  <a:pt x="1542236" y="1463831"/>
                  <a:pt x="1529176" y="1450226"/>
                  <a:pt x="1528631" y="1432813"/>
                </a:cubicBezTo>
                <a:cubicBezTo>
                  <a:pt x="1528087" y="1414311"/>
                  <a:pt x="1545501" y="1399618"/>
                  <a:pt x="1561282" y="1399618"/>
                </a:cubicBezTo>
                <a:close/>
                <a:moveTo>
                  <a:pt x="1723446" y="1399074"/>
                </a:moveTo>
                <a:cubicBezTo>
                  <a:pt x="1741948" y="1399074"/>
                  <a:pt x="1757185" y="1413767"/>
                  <a:pt x="1757185" y="1432269"/>
                </a:cubicBezTo>
                <a:cubicBezTo>
                  <a:pt x="1757185" y="1451315"/>
                  <a:pt x="1743037" y="1463831"/>
                  <a:pt x="1723991" y="1465464"/>
                </a:cubicBezTo>
                <a:cubicBezTo>
                  <a:pt x="1707121" y="1466552"/>
                  <a:pt x="1690252" y="1448594"/>
                  <a:pt x="1691340" y="1433357"/>
                </a:cubicBezTo>
                <a:cubicBezTo>
                  <a:pt x="1692428" y="1412678"/>
                  <a:pt x="1704400" y="1399074"/>
                  <a:pt x="1723446" y="1399074"/>
                </a:cubicBezTo>
                <a:close/>
                <a:moveTo>
                  <a:pt x="1886700" y="1398530"/>
                </a:moveTo>
                <a:cubicBezTo>
                  <a:pt x="1904113" y="1396898"/>
                  <a:pt x="1922071" y="1415944"/>
                  <a:pt x="1920439" y="1432269"/>
                </a:cubicBezTo>
                <a:cubicBezTo>
                  <a:pt x="1919350" y="1451315"/>
                  <a:pt x="1907378" y="1464920"/>
                  <a:pt x="1887788" y="1464920"/>
                </a:cubicBezTo>
                <a:cubicBezTo>
                  <a:pt x="1867109" y="1464920"/>
                  <a:pt x="1854049" y="1452948"/>
                  <a:pt x="1854049" y="1433358"/>
                </a:cubicBezTo>
                <a:cubicBezTo>
                  <a:pt x="1854049" y="1412679"/>
                  <a:pt x="1867109" y="1400163"/>
                  <a:pt x="1886700" y="1398530"/>
                </a:cubicBezTo>
                <a:close/>
                <a:moveTo>
                  <a:pt x="2051041" y="1398217"/>
                </a:moveTo>
                <a:lnTo>
                  <a:pt x="2051041" y="1464535"/>
                </a:lnTo>
                <a:lnTo>
                  <a:pt x="2049953" y="1464920"/>
                </a:lnTo>
                <a:cubicBezTo>
                  <a:pt x="2032539" y="1467096"/>
                  <a:pt x="2017302" y="1450771"/>
                  <a:pt x="2017302" y="1431725"/>
                </a:cubicBezTo>
                <a:cubicBezTo>
                  <a:pt x="2017302" y="1422746"/>
                  <a:pt x="2021383" y="1414311"/>
                  <a:pt x="2027709" y="1408121"/>
                </a:cubicBezTo>
                <a:close/>
                <a:moveTo>
                  <a:pt x="500139" y="1341936"/>
                </a:moveTo>
                <a:cubicBezTo>
                  <a:pt x="503404" y="1343568"/>
                  <a:pt x="506125" y="1346833"/>
                  <a:pt x="511023" y="1350643"/>
                </a:cubicBezTo>
                <a:cubicBezTo>
                  <a:pt x="506125" y="1354452"/>
                  <a:pt x="502860" y="1357717"/>
                  <a:pt x="499595" y="1358261"/>
                </a:cubicBezTo>
                <a:cubicBezTo>
                  <a:pt x="495241" y="1359349"/>
                  <a:pt x="490888" y="1353908"/>
                  <a:pt x="491432" y="1349010"/>
                </a:cubicBezTo>
                <a:cubicBezTo>
                  <a:pt x="491976" y="1344112"/>
                  <a:pt x="495241" y="1340848"/>
                  <a:pt x="500139" y="1341936"/>
                </a:cubicBezTo>
                <a:close/>
                <a:moveTo>
                  <a:pt x="662848" y="1333773"/>
                </a:moveTo>
                <a:cubicBezTo>
                  <a:pt x="673187" y="1333773"/>
                  <a:pt x="679173" y="1340303"/>
                  <a:pt x="679173" y="1350643"/>
                </a:cubicBezTo>
                <a:cubicBezTo>
                  <a:pt x="679173" y="1359894"/>
                  <a:pt x="672099" y="1366424"/>
                  <a:pt x="662848" y="1366424"/>
                </a:cubicBezTo>
                <a:cubicBezTo>
                  <a:pt x="653053" y="1366424"/>
                  <a:pt x="647067" y="1359894"/>
                  <a:pt x="647067" y="1350098"/>
                </a:cubicBezTo>
                <a:cubicBezTo>
                  <a:pt x="647067" y="1339759"/>
                  <a:pt x="653053" y="1333773"/>
                  <a:pt x="662848" y="1333773"/>
                </a:cubicBezTo>
                <a:close/>
                <a:moveTo>
                  <a:pt x="826645" y="1328331"/>
                </a:moveTo>
                <a:cubicBezTo>
                  <a:pt x="838617" y="1328331"/>
                  <a:pt x="848412" y="1338670"/>
                  <a:pt x="847868" y="1350642"/>
                </a:cubicBezTo>
                <a:cubicBezTo>
                  <a:pt x="847868" y="1362070"/>
                  <a:pt x="836984" y="1372409"/>
                  <a:pt x="825556" y="1372409"/>
                </a:cubicBezTo>
                <a:cubicBezTo>
                  <a:pt x="814673" y="1372409"/>
                  <a:pt x="803789" y="1360982"/>
                  <a:pt x="804334" y="1349554"/>
                </a:cubicBezTo>
                <a:cubicBezTo>
                  <a:pt x="804334" y="1337582"/>
                  <a:pt x="814673" y="1328331"/>
                  <a:pt x="826645" y="1328331"/>
                </a:cubicBezTo>
                <a:close/>
                <a:moveTo>
                  <a:pt x="989353" y="1323978"/>
                </a:moveTo>
                <a:cubicBezTo>
                  <a:pt x="1002957" y="1324522"/>
                  <a:pt x="1014385" y="1334861"/>
                  <a:pt x="1015473" y="1350098"/>
                </a:cubicBezTo>
                <a:cubicBezTo>
                  <a:pt x="1014929" y="1363702"/>
                  <a:pt x="1004046" y="1376219"/>
                  <a:pt x="989353" y="1376763"/>
                </a:cubicBezTo>
                <a:cubicBezTo>
                  <a:pt x="976293" y="1376763"/>
                  <a:pt x="963777" y="1364791"/>
                  <a:pt x="963777" y="1350642"/>
                </a:cubicBezTo>
                <a:cubicBezTo>
                  <a:pt x="963233" y="1334861"/>
                  <a:pt x="977925" y="1323434"/>
                  <a:pt x="989353" y="1323978"/>
                </a:cubicBezTo>
                <a:close/>
                <a:moveTo>
                  <a:pt x="1152606" y="1322889"/>
                </a:moveTo>
                <a:cubicBezTo>
                  <a:pt x="1170564" y="1320712"/>
                  <a:pt x="1180903" y="1335405"/>
                  <a:pt x="1181447" y="1350098"/>
                </a:cubicBezTo>
                <a:cubicBezTo>
                  <a:pt x="1181447" y="1364791"/>
                  <a:pt x="1171108" y="1379483"/>
                  <a:pt x="1152606" y="1379483"/>
                </a:cubicBezTo>
                <a:cubicBezTo>
                  <a:pt x="1137913" y="1379483"/>
                  <a:pt x="1124853" y="1367511"/>
                  <a:pt x="1124853" y="1350642"/>
                </a:cubicBezTo>
                <a:cubicBezTo>
                  <a:pt x="1124309" y="1333228"/>
                  <a:pt x="1137913" y="1320712"/>
                  <a:pt x="1152606" y="1322889"/>
                </a:cubicBezTo>
                <a:close/>
                <a:moveTo>
                  <a:pt x="1315315" y="1318536"/>
                </a:moveTo>
                <a:cubicBezTo>
                  <a:pt x="1334361" y="1318536"/>
                  <a:pt x="1345789" y="1331596"/>
                  <a:pt x="1347966" y="1350098"/>
                </a:cubicBezTo>
                <a:cubicBezTo>
                  <a:pt x="1345245" y="1369144"/>
                  <a:pt x="1334905" y="1382205"/>
                  <a:pt x="1315315" y="1381661"/>
                </a:cubicBezTo>
                <a:cubicBezTo>
                  <a:pt x="1296813" y="1381116"/>
                  <a:pt x="1284841" y="1369144"/>
                  <a:pt x="1284297" y="1350098"/>
                </a:cubicBezTo>
                <a:cubicBezTo>
                  <a:pt x="1284297" y="1331052"/>
                  <a:pt x="1297357" y="1319080"/>
                  <a:pt x="1315315" y="1318536"/>
                </a:cubicBezTo>
                <a:close/>
                <a:moveTo>
                  <a:pt x="1480744" y="1317448"/>
                </a:moveTo>
                <a:cubicBezTo>
                  <a:pt x="1499246" y="1317992"/>
                  <a:pt x="1512851" y="1332140"/>
                  <a:pt x="1512306" y="1351731"/>
                </a:cubicBezTo>
                <a:cubicBezTo>
                  <a:pt x="1511762" y="1370233"/>
                  <a:pt x="1497070" y="1383837"/>
                  <a:pt x="1477479" y="1383293"/>
                </a:cubicBezTo>
                <a:cubicBezTo>
                  <a:pt x="1458977" y="1382749"/>
                  <a:pt x="1447550" y="1368600"/>
                  <a:pt x="1446461" y="1349554"/>
                </a:cubicBezTo>
                <a:cubicBezTo>
                  <a:pt x="1445373" y="1333773"/>
                  <a:pt x="1463331" y="1314727"/>
                  <a:pt x="1480744" y="1317448"/>
                </a:cubicBezTo>
                <a:close/>
                <a:moveTo>
                  <a:pt x="1642908" y="1315815"/>
                </a:moveTo>
                <a:cubicBezTo>
                  <a:pt x="1663043" y="1315815"/>
                  <a:pt x="1677735" y="1333229"/>
                  <a:pt x="1676647" y="1351731"/>
                </a:cubicBezTo>
                <a:cubicBezTo>
                  <a:pt x="1675559" y="1371865"/>
                  <a:pt x="1661954" y="1384381"/>
                  <a:pt x="1640732" y="1383837"/>
                </a:cubicBezTo>
                <a:cubicBezTo>
                  <a:pt x="1620597" y="1384381"/>
                  <a:pt x="1608081" y="1368056"/>
                  <a:pt x="1608081" y="1349554"/>
                </a:cubicBezTo>
                <a:cubicBezTo>
                  <a:pt x="1608081" y="1329964"/>
                  <a:pt x="1623318" y="1315815"/>
                  <a:pt x="1642908" y="1315815"/>
                </a:cubicBezTo>
                <a:close/>
                <a:moveTo>
                  <a:pt x="1968870" y="1314183"/>
                </a:moveTo>
                <a:cubicBezTo>
                  <a:pt x="1989548" y="1314727"/>
                  <a:pt x="2004785" y="1329420"/>
                  <a:pt x="2005329" y="1351187"/>
                </a:cubicBezTo>
                <a:cubicBezTo>
                  <a:pt x="2004785" y="1370233"/>
                  <a:pt x="1985739" y="1388735"/>
                  <a:pt x="1967781" y="1388191"/>
                </a:cubicBezTo>
                <a:cubicBezTo>
                  <a:pt x="1949823" y="1387647"/>
                  <a:pt x="1931322" y="1367512"/>
                  <a:pt x="1931866" y="1350098"/>
                </a:cubicBezTo>
                <a:cubicBezTo>
                  <a:pt x="1932410" y="1331596"/>
                  <a:pt x="1950912" y="1313094"/>
                  <a:pt x="1968870" y="1314183"/>
                </a:cubicBezTo>
                <a:close/>
                <a:moveTo>
                  <a:pt x="1806161" y="1313639"/>
                </a:moveTo>
                <a:cubicBezTo>
                  <a:pt x="1825207" y="1314183"/>
                  <a:pt x="1843165" y="1332141"/>
                  <a:pt x="1841533" y="1351187"/>
                </a:cubicBezTo>
                <a:cubicBezTo>
                  <a:pt x="1840988" y="1360438"/>
                  <a:pt x="1838267" y="1370233"/>
                  <a:pt x="1830105" y="1376763"/>
                </a:cubicBezTo>
                <a:cubicBezTo>
                  <a:pt x="1822486" y="1383293"/>
                  <a:pt x="1813235" y="1387102"/>
                  <a:pt x="1803984" y="1387102"/>
                </a:cubicBezTo>
                <a:cubicBezTo>
                  <a:pt x="1786027" y="1387102"/>
                  <a:pt x="1768613" y="1367512"/>
                  <a:pt x="1768613" y="1350098"/>
                </a:cubicBezTo>
                <a:cubicBezTo>
                  <a:pt x="1769157" y="1331596"/>
                  <a:pt x="1788203" y="1313094"/>
                  <a:pt x="1806161" y="1313639"/>
                </a:cubicBezTo>
                <a:close/>
                <a:moveTo>
                  <a:pt x="419057" y="1262486"/>
                </a:moveTo>
                <a:cubicBezTo>
                  <a:pt x="423410" y="1262486"/>
                  <a:pt x="425587" y="1265207"/>
                  <a:pt x="424499" y="1269016"/>
                </a:cubicBezTo>
                <a:cubicBezTo>
                  <a:pt x="423410" y="1271737"/>
                  <a:pt x="421234" y="1273914"/>
                  <a:pt x="417969" y="1278811"/>
                </a:cubicBezTo>
                <a:cubicBezTo>
                  <a:pt x="414704" y="1273914"/>
                  <a:pt x="412527" y="1271737"/>
                  <a:pt x="411983" y="1269016"/>
                </a:cubicBezTo>
                <a:cubicBezTo>
                  <a:pt x="410894" y="1264118"/>
                  <a:pt x="414159" y="1262486"/>
                  <a:pt x="419057" y="1262486"/>
                </a:cubicBezTo>
                <a:close/>
                <a:moveTo>
                  <a:pt x="581221" y="1252147"/>
                </a:moveTo>
                <a:cubicBezTo>
                  <a:pt x="591016" y="1252691"/>
                  <a:pt x="598091" y="1260310"/>
                  <a:pt x="597547" y="1269017"/>
                </a:cubicBezTo>
                <a:cubicBezTo>
                  <a:pt x="597547" y="1278268"/>
                  <a:pt x="589928" y="1284798"/>
                  <a:pt x="580133" y="1284254"/>
                </a:cubicBezTo>
                <a:cubicBezTo>
                  <a:pt x="570882" y="1283709"/>
                  <a:pt x="564896" y="1277179"/>
                  <a:pt x="564896" y="1268472"/>
                </a:cubicBezTo>
                <a:cubicBezTo>
                  <a:pt x="564896" y="1259222"/>
                  <a:pt x="571970" y="1252147"/>
                  <a:pt x="581221" y="1252147"/>
                </a:cubicBezTo>
                <a:close/>
                <a:moveTo>
                  <a:pt x="745018" y="1246705"/>
                </a:moveTo>
                <a:cubicBezTo>
                  <a:pt x="757534" y="1246705"/>
                  <a:pt x="766785" y="1257044"/>
                  <a:pt x="766241" y="1269560"/>
                </a:cubicBezTo>
                <a:cubicBezTo>
                  <a:pt x="765697" y="1280988"/>
                  <a:pt x="755358" y="1290783"/>
                  <a:pt x="744474" y="1290783"/>
                </a:cubicBezTo>
                <a:cubicBezTo>
                  <a:pt x="733046" y="1290783"/>
                  <a:pt x="722707" y="1279900"/>
                  <a:pt x="722707" y="1267928"/>
                </a:cubicBezTo>
                <a:cubicBezTo>
                  <a:pt x="722707" y="1255956"/>
                  <a:pt x="733046" y="1246705"/>
                  <a:pt x="745018" y="1246705"/>
                </a:cubicBezTo>
                <a:close/>
                <a:moveTo>
                  <a:pt x="907727" y="1241807"/>
                </a:moveTo>
                <a:cubicBezTo>
                  <a:pt x="921331" y="1241807"/>
                  <a:pt x="934391" y="1257044"/>
                  <a:pt x="933847" y="1269016"/>
                </a:cubicBezTo>
                <a:cubicBezTo>
                  <a:pt x="933847" y="1282620"/>
                  <a:pt x="920787" y="1295680"/>
                  <a:pt x="907183" y="1295136"/>
                </a:cubicBezTo>
                <a:cubicBezTo>
                  <a:pt x="893578" y="1294592"/>
                  <a:pt x="880518" y="1280988"/>
                  <a:pt x="880518" y="1267927"/>
                </a:cubicBezTo>
                <a:cubicBezTo>
                  <a:pt x="881062" y="1254323"/>
                  <a:pt x="894122" y="1242351"/>
                  <a:pt x="907727" y="1241807"/>
                </a:cubicBezTo>
                <a:close/>
                <a:moveTo>
                  <a:pt x="1070979" y="1240719"/>
                </a:moveTo>
                <a:cubicBezTo>
                  <a:pt x="1091114" y="1240175"/>
                  <a:pt x="1099276" y="1252691"/>
                  <a:pt x="1099821" y="1268472"/>
                </a:cubicBezTo>
                <a:cubicBezTo>
                  <a:pt x="1099821" y="1285886"/>
                  <a:pt x="1088393" y="1297858"/>
                  <a:pt x="1070435" y="1297858"/>
                </a:cubicBezTo>
                <a:cubicBezTo>
                  <a:pt x="1053566" y="1297858"/>
                  <a:pt x="1042138" y="1286430"/>
                  <a:pt x="1042138" y="1269560"/>
                </a:cubicBezTo>
                <a:cubicBezTo>
                  <a:pt x="1042138" y="1250514"/>
                  <a:pt x="1053566" y="1240719"/>
                  <a:pt x="1070979" y="1240719"/>
                </a:cubicBezTo>
                <a:close/>
                <a:moveTo>
                  <a:pt x="1234233" y="1235821"/>
                </a:moveTo>
                <a:cubicBezTo>
                  <a:pt x="1250558" y="1235821"/>
                  <a:pt x="1267972" y="1252691"/>
                  <a:pt x="1266883" y="1269016"/>
                </a:cubicBezTo>
                <a:cubicBezTo>
                  <a:pt x="1266339" y="1285885"/>
                  <a:pt x="1251646" y="1301122"/>
                  <a:pt x="1234233" y="1300578"/>
                </a:cubicBezTo>
                <a:cubicBezTo>
                  <a:pt x="1216275" y="1300578"/>
                  <a:pt x="1201582" y="1286430"/>
                  <a:pt x="1201582" y="1267383"/>
                </a:cubicBezTo>
                <a:cubicBezTo>
                  <a:pt x="1201582" y="1249425"/>
                  <a:pt x="1217907" y="1235821"/>
                  <a:pt x="1234233" y="1235821"/>
                </a:cubicBezTo>
                <a:close/>
                <a:moveTo>
                  <a:pt x="1396397" y="1234733"/>
                </a:moveTo>
                <a:cubicBezTo>
                  <a:pt x="1413810" y="1233645"/>
                  <a:pt x="1433945" y="1250514"/>
                  <a:pt x="1431224" y="1268472"/>
                </a:cubicBezTo>
                <a:cubicBezTo>
                  <a:pt x="1433401" y="1286430"/>
                  <a:pt x="1415443" y="1303299"/>
                  <a:pt x="1396941" y="1302755"/>
                </a:cubicBezTo>
                <a:cubicBezTo>
                  <a:pt x="1381160" y="1302211"/>
                  <a:pt x="1363202" y="1290783"/>
                  <a:pt x="1363746" y="1269016"/>
                </a:cubicBezTo>
                <a:cubicBezTo>
                  <a:pt x="1364290" y="1248881"/>
                  <a:pt x="1376806" y="1235821"/>
                  <a:pt x="1396397" y="1234733"/>
                </a:cubicBezTo>
                <a:close/>
                <a:moveTo>
                  <a:pt x="1559649" y="1232557"/>
                </a:moveTo>
                <a:cubicBezTo>
                  <a:pt x="1580328" y="1232013"/>
                  <a:pt x="1595021" y="1246705"/>
                  <a:pt x="1597742" y="1268472"/>
                </a:cubicBezTo>
                <a:cubicBezTo>
                  <a:pt x="1598286" y="1286974"/>
                  <a:pt x="1580872" y="1304932"/>
                  <a:pt x="1561826" y="1305476"/>
                </a:cubicBezTo>
                <a:cubicBezTo>
                  <a:pt x="1543868" y="1306564"/>
                  <a:pt x="1524822" y="1288063"/>
                  <a:pt x="1523734" y="1269561"/>
                </a:cubicBezTo>
                <a:cubicBezTo>
                  <a:pt x="1522645" y="1252147"/>
                  <a:pt x="1541147" y="1232557"/>
                  <a:pt x="1559649" y="1232557"/>
                </a:cubicBezTo>
                <a:close/>
                <a:moveTo>
                  <a:pt x="1723990" y="1231468"/>
                </a:moveTo>
                <a:cubicBezTo>
                  <a:pt x="1743037" y="1231468"/>
                  <a:pt x="1761539" y="1249426"/>
                  <a:pt x="1762083" y="1268472"/>
                </a:cubicBezTo>
                <a:cubicBezTo>
                  <a:pt x="1762627" y="1290239"/>
                  <a:pt x="1741404" y="1306020"/>
                  <a:pt x="1724535" y="1307109"/>
                </a:cubicBezTo>
                <a:cubicBezTo>
                  <a:pt x="1706033" y="1306564"/>
                  <a:pt x="1687531" y="1290239"/>
                  <a:pt x="1686442" y="1270105"/>
                </a:cubicBezTo>
                <a:cubicBezTo>
                  <a:pt x="1685354" y="1254323"/>
                  <a:pt x="1701679" y="1231468"/>
                  <a:pt x="1723990" y="1231468"/>
                </a:cubicBezTo>
                <a:close/>
                <a:moveTo>
                  <a:pt x="1888332" y="1230924"/>
                </a:moveTo>
                <a:cubicBezTo>
                  <a:pt x="1905745" y="1229836"/>
                  <a:pt x="1928056" y="1250514"/>
                  <a:pt x="1925336" y="1269561"/>
                </a:cubicBezTo>
                <a:cubicBezTo>
                  <a:pt x="1925336" y="1289695"/>
                  <a:pt x="1907378" y="1306564"/>
                  <a:pt x="1887243" y="1307653"/>
                </a:cubicBezTo>
                <a:cubicBezTo>
                  <a:pt x="1870918" y="1308197"/>
                  <a:pt x="1847519" y="1288063"/>
                  <a:pt x="1849151" y="1267928"/>
                </a:cubicBezTo>
                <a:cubicBezTo>
                  <a:pt x="1850239" y="1247794"/>
                  <a:pt x="1867653" y="1231468"/>
                  <a:pt x="1888332" y="1230924"/>
                </a:cubicBezTo>
                <a:close/>
                <a:moveTo>
                  <a:pt x="2049952" y="1230380"/>
                </a:moveTo>
                <a:lnTo>
                  <a:pt x="2051041" y="1230805"/>
                </a:lnTo>
                <a:lnTo>
                  <a:pt x="2051041" y="1307109"/>
                </a:lnTo>
                <a:cubicBezTo>
                  <a:pt x="2033627" y="1309830"/>
                  <a:pt x="2011316" y="1286974"/>
                  <a:pt x="2012404" y="1268472"/>
                </a:cubicBezTo>
                <a:cubicBezTo>
                  <a:pt x="2013493" y="1247794"/>
                  <a:pt x="2029274" y="1230380"/>
                  <a:pt x="2049952" y="1230380"/>
                </a:cubicBezTo>
                <a:close/>
                <a:moveTo>
                  <a:pt x="337431" y="1181404"/>
                </a:moveTo>
                <a:cubicBezTo>
                  <a:pt x="339608" y="1182493"/>
                  <a:pt x="341240" y="1184669"/>
                  <a:pt x="345050" y="1187934"/>
                </a:cubicBezTo>
                <a:cubicBezTo>
                  <a:pt x="340696" y="1190111"/>
                  <a:pt x="338519" y="1192288"/>
                  <a:pt x="336343" y="1192288"/>
                </a:cubicBezTo>
                <a:cubicBezTo>
                  <a:pt x="331445" y="1192832"/>
                  <a:pt x="330901" y="1189567"/>
                  <a:pt x="330901" y="1185758"/>
                </a:cubicBezTo>
                <a:cubicBezTo>
                  <a:pt x="330901" y="1181404"/>
                  <a:pt x="334166" y="1180860"/>
                  <a:pt x="337431" y="1181404"/>
                </a:cubicBezTo>
                <a:close/>
                <a:moveTo>
                  <a:pt x="499051" y="1171065"/>
                </a:moveTo>
                <a:cubicBezTo>
                  <a:pt x="506125" y="1170521"/>
                  <a:pt x="516465" y="1179772"/>
                  <a:pt x="516465" y="1187390"/>
                </a:cubicBezTo>
                <a:cubicBezTo>
                  <a:pt x="515921" y="1193920"/>
                  <a:pt x="507214" y="1202627"/>
                  <a:pt x="500140" y="1202627"/>
                </a:cubicBezTo>
                <a:cubicBezTo>
                  <a:pt x="493065" y="1202627"/>
                  <a:pt x="484358" y="1195008"/>
                  <a:pt x="483814" y="1187390"/>
                </a:cubicBezTo>
                <a:cubicBezTo>
                  <a:pt x="483270" y="1180316"/>
                  <a:pt x="491977" y="1171065"/>
                  <a:pt x="499051" y="1171065"/>
                </a:cubicBezTo>
                <a:close/>
                <a:moveTo>
                  <a:pt x="662848" y="1165623"/>
                </a:moveTo>
                <a:cubicBezTo>
                  <a:pt x="675364" y="1165623"/>
                  <a:pt x="684615" y="1174874"/>
                  <a:pt x="684615" y="1187390"/>
                </a:cubicBezTo>
                <a:cubicBezTo>
                  <a:pt x="684615" y="1199362"/>
                  <a:pt x="674820" y="1209157"/>
                  <a:pt x="662848" y="1209157"/>
                </a:cubicBezTo>
                <a:cubicBezTo>
                  <a:pt x="651420" y="1209157"/>
                  <a:pt x="641081" y="1198274"/>
                  <a:pt x="641081" y="1186846"/>
                </a:cubicBezTo>
                <a:cubicBezTo>
                  <a:pt x="641081" y="1175418"/>
                  <a:pt x="651420" y="1165623"/>
                  <a:pt x="662848" y="1165623"/>
                </a:cubicBezTo>
                <a:close/>
                <a:moveTo>
                  <a:pt x="825556" y="1160725"/>
                </a:moveTo>
                <a:cubicBezTo>
                  <a:pt x="840249" y="1161270"/>
                  <a:pt x="851677" y="1171609"/>
                  <a:pt x="852765" y="1186846"/>
                </a:cubicBezTo>
                <a:cubicBezTo>
                  <a:pt x="853309" y="1199906"/>
                  <a:pt x="840249" y="1213511"/>
                  <a:pt x="826645" y="1213511"/>
                </a:cubicBezTo>
                <a:cubicBezTo>
                  <a:pt x="813585" y="1214055"/>
                  <a:pt x="799980" y="1200995"/>
                  <a:pt x="798892" y="1188479"/>
                </a:cubicBezTo>
                <a:cubicBezTo>
                  <a:pt x="797803" y="1173241"/>
                  <a:pt x="814129" y="1160181"/>
                  <a:pt x="825556" y="1160725"/>
                </a:cubicBezTo>
                <a:close/>
                <a:moveTo>
                  <a:pt x="989353" y="1158004"/>
                </a:moveTo>
                <a:cubicBezTo>
                  <a:pt x="1007855" y="1159092"/>
                  <a:pt x="1018739" y="1168888"/>
                  <a:pt x="1018195" y="1187934"/>
                </a:cubicBezTo>
                <a:cubicBezTo>
                  <a:pt x="1017651" y="1206436"/>
                  <a:pt x="1007311" y="1216231"/>
                  <a:pt x="988809" y="1216775"/>
                </a:cubicBezTo>
                <a:cubicBezTo>
                  <a:pt x="972484" y="1217319"/>
                  <a:pt x="960512" y="1203715"/>
                  <a:pt x="959968" y="1187934"/>
                </a:cubicBezTo>
                <a:cubicBezTo>
                  <a:pt x="959968" y="1170520"/>
                  <a:pt x="972484" y="1158004"/>
                  <a:pt x="989353" y="1158004"/>
                </a:cubicBezTo>
                <a:close/>
                <a:moveTo>
                  <a:pt x="1152062" y="1153651"/>
                </a:moveTo>
                <a:cubicBezTo>
                  <a:pt x="1166755" y="1152562"/>
                  <a:pt x="1186345" y="1171065"/>
                  <a:pt x="1185801" y="1186301"/>
                </a:cubicBezTo>
                <a:cubicBezTo>
                  <a:pt x="1184713" y="1205348"/>
                  <a:pt x="1171652" y="1218952"/>
                  <a:pt x="1153150" y="1219496"/>
                </a:cubicBezTo>
                <a:cubicBezTo>
                  <a:pt x="1135193" y="1221129"/>
                  <a:pt x="1119412" y="1204259"/>
                  <a:pt x="1119956" y="1187390"/>
                </a:cubicBezTo>
                <a:cubicBezTo>
                  <a:pt x="1120500" y="1168888"/>
                  <a:pt x="1134648" y="1154739"/>
                  <a:pt x="1152062" y="1153651"/>
                </a:cubicBezTo>
                <a:close/>
                <a:moveTo>
                  <a:pt x="1315315" y="1152018"/>
                </a:moveTo>
                <a:cubicBezTo>
                  <a:pt x="1336537" y="1151474"/>
                  <a:pt x="1351230" y="1169432"/>
                  <a:pt x="1351230" y="1186845"/>
                </a:cubicBezTo>
                <a:cubicBezTo>
                  <a:pt x="1350686" y="1205891"/>
                  <a:pt x="1338714" y="1222217"/>
                  <a:pt x="1315859" y="1221673"/>
                </a:cubicBezTo>
                <a:cubicBezTo>
                  <a:pt x="1294092" y="1221128"/>
                  <a:pt x="1282120" y="1209157"/>
                  <a:pt x="1281576" y="1187390"/>
                </a:cubicBezTo>
                <a:cubicBezTo>
                  <a:pt x="1281031" y="1167255"/>
                  <a:pt x="1295724" y="1152562"/>
                  <a:pt x="1315315" y="1152018"/>
                </a:cubicBezTo>
                <a:close/>
                <a:moveTo>
                  <a:pt x="1479656" y="1149298"/>
                </a:moveTo>
                <a:cubicBezTo>
                  <a:pt x="1500878" y="1149842"/>
                  <a:pt x="1517204" y="1168888"/>
                  <a:pt x="1516660" y="1188479"/>
                </a:cubicBezTo>
                <a:cubicBezTo>
                  <a:pt x="1515027" y="1210246"/>
                  <a:pt x="1495981" y="1224938"/>
                  <a:pt x="1478023" y="1224394"/>
                </a:cubicBezTo>
                <a:cubicBezTo>
                  <a:pt x="1457889" y="1223850"/>
                  <a:pt x="1439931" y="1205892"/>
                  <a:pt x="1441563" y="1185758"/>
                </a:cubicBezTo>
                <a:cubicBezTo>
                  <a:pt x="1442652" y="1166167"/>
                  <a:pt x="1458977" y="1149298"/>
                  <a:pt x="1479656" y="1149298"/>
                </a:cubicBezTo>
                <a:close/>
                <a:moveTo>
                  <a:pt x="1642365" y="1148209"/>
                </a:moveTo>
                <a:cubicBezTo>
                  <a:pt x="1659779" y="1147121"/>
                  <a:pt x="1681001" y="1166711"/>
                  <a:pt x="1681001" y="1187390"/>
                </a:cubicBezTo>
                <a:cubicBezTo>
                  <a:pt x="1681001" y="1208613"/>
                  <a:pt x="1658690" y="1226026"/>
                  <a:pt x="1641821" y="1226026"/>
                </a:cubicBezTo>
                <a:cubicBezTo>
                  <a:pt x="1624407" y="1226026"/>
                  <a:pt x="1601007" y="1205348"/>
                  <a:pt x="1603728" y="1186846"/>
                </a:cubicBezTo>
                <a:cubicBezTo>
                  <a:pt x="1603728" y="1165623"/>
                  <a:pt x="1621686" y="1149298"/>
                  <a:pt x="1642365" y="1148209"/>
                </a:cubicBezTo>
                <a:close/>
                <a:moveTo>
                  <a:pt x="1969414" y="1147665"/>
                </a:moveTo>
                <a:cubicBezTo>
                  <a:pt x="1991725" y="1146032"/>
                  <a:pt x="2009139" y="1165623"/>
                  <a:pt x="2009139" y="1187934"/>
                </a:cubicBezTo>
                <a:cubicBezTo>
                  <a:pt x="2008595" y="1209157"/>
                  <a:pt x="1990093" y="1227114"/>
                  <a:pt x="1968870" y="1227114"/>
                </a:cubicBezTo>
                <a:cubicBezTo>
                  <a:pt x="1949824" y="1227114"/>
                  <a:pt x="1928601" y="1209701"/>
                  <a:pt x="1929145" y="1186301"/>
                </a:cubicBezTo>
                <a:cubicBezTo>
                  <a:pt x="1929145" y="1165623"/>
                  <a:pt x="1948191" y="1145488"/>
                  <a:pt x="1969414" y="1147665"/>
                </a:cubicBezTo>
                <a:close/>
                <a:moveTo>
                  <a:pt x="1805617" y="1147665"/>
                </a:moveTo>
                <a:cubicBezTo>
                  <a:pt x="1825752" y="1147665"/>
                  <a:pt x="1845342" y="1165078"/>
                  <a:pt x="1844798" y="1187934"/>
                </a:cubicBezTo>
                <a:cubicBezTo>
                  <a:pt x="1844254" y="1208612"/>
                  <a:pt x="1824664" y="1227115"/>
                  <a:pt x="1805073" y="1226571"/>
                </a:cubicBezTo>
                <a:cubicBezTo>
                  <a:pt x="1787115" y="1226571"/>
                  <a:pt x="1764260" y="1209701"/>
                  <a:pt x="1766981" y="1186845"/>
                </a:cubicBezTo>
                <a:cubicBezTo>
                  <a:pt x="1764804" y="1165623"/>
                  <a:pt x="1786027" y="1147665"/>
                  <a:pt x="1805617" y="1147665"/>
                </a:cubicBezTo>
                <a:close/>
                <a:moveTo>
                  <a:pt x="417425" y="1090527"/>
                </a:moveTo>
                <a:cubicBezTo>
                  <a:pt x="423955" y="1090527"/>
                  <a:pt x="433206" y="1099234"/>
                  <a:pt x="432662" y="1105764"/>
                </a:cubicBezTo>
                <a:cubicBezTo>
                  <a:pt x="432662" y="1111206"/>
                  <a:pt x="423955" y="1119912"/>
                  <a:pt x="417969" y="1120457"/>
                </a:cubicBezTo>
                <a:cubicBezTo>
                  <a:pt x="411439" y="1121001"/>
                  <a:pt x="402188" y="1111750"/>
                  <a:pt x="402732" y="1105219"/>
                </a:cubicBezTo>
                <a:cubicBezTo>
                  <a:pt x="402732" y="1099234"/>
                  <a:pt x="411439" y="1090527"/>
                  <a:pt x="417425" y="1090527"/>
                </a:cubicBezTo>
                <a:close/>
                <a:moveTo>
                  <a:pt x="580677" y="1083996"/>
                </a:moveTo>
                <a:cubicBezTo>
                  <a:pt x="592105" y="1083996"/>
                  <a:pt x="601900" y="1093791"/>
                  <a:pt x="602444" y="1105219"/>
                </a:cubicBezTo>
                <a:cubicBezTo>
                  <a:pt x="602988" y="1116647"/>
                  <a:pt x="593193" y="1126986"/>
                  <a:pt x="581221" y="1127530"/>
                </a:cubicBezTo>
                <a:cubicBezTo>
                  <a:pt x="570338" y="1127530"/>
                  <a:pt x="558910" y="1116102"/>
                  <a:pt x="558910" y="1105219"/>
                </a:cubicBezTo>
                <a:cubicBezTo>
                  <a:pt x="558910" y="1094880"/>
                  <a:pt x="570338" y="1083996"/>
                  <a:pt x="580677" y="1083996"/>
                </a:cubicBezTo>
                <a:close/>
                <a:moveTo>
                  <a:pt x="743386" y="1079099"/>
                </a:moveTo>
                <a:cubicBezTo>
                  <a:pt x="756991" y="1079099"/>
                  <a:pt x="769507" y="1088894"/>
                  <a:pt x="770595" y="1105219"/>
                </a:cubicBezTo>
                <a:cubicBezTo>
                  <a:pt x="771683" y="1116103"/>
                  <a:pt x="760800" y="1131340"/>
                  <a:pt x="745019" y="1132428"/>
                </a:cubicBezTo>
                <a:cubicBezTo>
                  <a:pt x="734135" y="1134061"/>
                  <a:pt x="717810" y="1118280"/>
                  <a:pt x="717810" y="1106308"/>
                </a:cubicBezTo>
                <a:cubicBezTo>
                  <a:pt x="717810" y="1091071"/>
                  <a:pt x="731414" y="1079099"/>
                  <a:pt x="743386" y="1079099"/>
                </a:cubicBezTo>
                <a:close/>
                <a:moveTo>
                  <a:pt x="907727" y="1076378"/>
                </a:moveTo>
                <a:cubicBezTo>
                  <a:pt x="926773" y="1076378"/>
                  <a:pt x="937112" y="1087262"/>
                  <a:pt x="937112" y="1105219"/>
                </a:cubicBezTo>
                <a:cubicBezTo>
                  <a:pt x="937112" y="1121545"/>
                  <a:pt x="928950" y="1134061"/>
                  <a:pt x="908271" y="1134061"/>
                </a:cubicBezTo>
                <a:cubicBezTo>
                  <a:pt x="888681" y="1134605"/>
                  <a:pt x="878341" y="1122633"/>
                  <a:pt x="878885" y="1105764"/>
                </a:cubicBezTo>
                <a:cubicBezTo>
                  <a:pt x="878341" y="1086173"/>
                  <a:pt x="892490" y="1076378"/>
                  <a:pt x="907727" y="1076378"/>
                </a:cubicBezTo>
                <a:close/>
                <a:moveTo>
                  <a:pt x="1071524" y="1072569"/>
                </a:moveTo>
                <a:cubicBezTo>
                  <a:pt x="1089482" y="1072569"/>
                  <a:pt x="1104174" y="1087806"/>
                  <a:pt x="1104174" y="1105220"/>
                </a:cubicBezTo>
                <a:cubicBezTo>
                  <a:pt x="1104174" y="1123722"/>
                  <a:pt x="1090026" y="1137870"/>
                  <a:pt x="1070435" y="1137870"/>
                </a:cubicBezTo>
                <a:cubicBezTo>
                  <a:pt x="1054110" y="1140047"/>
                  <a:pt x="1037241" y="1121545"/>
                  <a:pt x="1038329" y="1105764"/>
                </a:cubicBezTo>
                <a:cubicBezTo>
                  <a:pt x="1039417" y="1086173"/>
                  <a:pt x="1052478" y="1072569"/>
                  <a:pt x="1071524" y="1072569"/>
                </a:cubicBezTo>
                <a:close/>
                <a:moveTo>
                  <a:pt x="1235865" y="1068760"/>
                </a:moveTo>
                <a:cubicBezTo>
                  <a:pt x="1254912" y="1070392"/>
                  <a:pt x="1272325" y="1088894"/>
                  <a:pt x="1271237" y="1106852"/>
                </a:cubicBezTo>
                <a:cubicBezTo>
                  <a:pt x="1270149" y="1124810"/>
                  <a:pt x="1252735" y="1142223"/>
                  <a:pt x="1234777" y="1142223"/>
                </a:cubicBezTo>
                <a:cubicBezTo>
                  <a:pt x="1215187" y="1142223"/>
                  <a:pt x="1197773" y="1124265"/>
                  <a:pt x="1198861" y="1105219"/>
                </a:cubicBezTo>
                <a:cubicBezTo>
                  <a:pt x="1199406" y="1085629"/>
                  <a:pt x="1217908" y="1067127"/>
                  <a:pt x="1235865" y="1068760"/>
                </a:cubicBezTo>
                <a:close/>
                <a:moveTo>
                  <a:pt x="1396397" y="1067127"/>
                </a:moveTo>
                <a:cubicBezTo>
                  <a:pt x="1416532" y="1065494"/>
                  <a:pt x="1437755" y="1087806"/>
                  <a:pt x="1435578" y="1105219"/>
                </a:cubicBezTo>
                <a:cubicBezTo>
                  <a:pt x="1437210" y="1125898"/>
                  <a:pt x="1413267" y="1144400"/>
                  <a:pt x="1396941" y="1143856"/>
                </a:cubicBezTo>
                <a:cubicBezTo>
                  <a:pt x="1377895" y="1143856"/>
                  <a:pt x="1358305" y="1122633"/>
                  <a:pt x="1358849" y="1105763"/>
                </a:cubicBezTo>
                <a:cubicBezTo>
                  <a:pt x="1359393" y="1085629"/>
                  <a:pt x="1376807" y="1068759"/>
                  <a:pt x="1396397" y="1067127"/>
                </a:cubicBezTo>
                <a:close/>
                <a:moveTo>
                  <a:pt x="1560738" y="1066582"/>
                </a:moveTo>
                <a:cubicBezTo>
                  <a:pt x="1581961" y="1063862"/>
                  <a:pt x="1599919" y="1083452"/>
                  <a:pt x="1599919" y="1105763"/>
                </a:cubicBezTo>
                <a:cubicBezTo>
                  <a:pt x="1599919" y="1127530"/>
                  <a:pt x="1581417" y="1144400"/>
                  <a:pt x="1560738" y="1144400"/>
                </a:cubicBezTo>
                <a:cubicBezTo>
                  <a:pt x="1538971" y="1144400"/>
                  <a:pt x="1521557" y="1125898"/>
                  <a:pt x="1521013" y="1105763"/>
                </a:cubicBezTo>
                <a:cubicBezTo>
                  <a:pt x="1521013" y="1085629"/>
                  <a:pt x="1538971" y="1063862"/>
                  <a:pt x="1560738" y="1066582"/>
                </a:cubicBezTo>
                <a:close/>
                <a:moveTo>
                  <a:pt x="1723447" y="1064406"/>
                </a:moveTo>
                <a:cubicBezTo>
                  <a:pt x="1744126" y="1063862"/>
                  <a:pt x="1763716" y="1076378"/>
                  <a:pt x="1764260" y="1104675"/>
                </a:cubicBezTo>
                <a:cubicBezTo>
                  <a:pt x="1764804" y="1130796"/>
                  <a:pt x="1745758" y="1145488"/>
                  <a:pt x="1724535" y="1146032"/>
                </a:cubicBezTo>
                <a:cubicBezTo>
                  <a:pt x="1703313" y="1147121"/>
                  <a:pt x="1683722" y="1130796"/>
                  <a:pt x="1683178" y="1105764"/>
                </a:cubicBezTo>
                <a:cubicBezTo>
                  <a:pt x="1684266" y="1082364"/>
                  <a:pt x="1698415" y="1064950"/>
                  <a:pt x="1723447" y="1064406"/>
                </a:cubicBezTo>
                <a:close/>
                <a:moveTo>
                  <a:pt x="2051041" y="1063318"/>
                </a:moveTo>
                <a:lnTo>
                  <a:pt x="2051041" y="1147740"/>
                </a:lnTo>
                <a:lnTo>
                  <a:pt x="2049952" y="1148210"/>
                </a:lnTo>
                <a:cubicBezTo>
                  <a:pt x="2028730" y="1147121"/>
                  <a:pt x="2008051" y="1128619"/>
                  <a:pt x="2008051" y="1105764"/>
                </a:cubicBezTo>
                <a:cubicBezTo>
                  <a:pt x="2008595" y="1081276"/>
                  <a:pt x="2027641" y="1063862"/>
                  <a:pt x="2051041" y="1063318"/>
                </a:cubicBezTo>
                <a:close/>
                <a:moveTo>
                  <a:pt x="1887787" y="1062773"/>
                </a:moveTo>
                <a:cubicBezTo>
                  <a:pt x="1909554" y="1063862"/>
                  <a:pt x="1930233" y="1084540"/>
                  <a:pt x="1929145" y="1105763"/>
                </a:cubicBezTo>
                <a:cubicBezTo>
                  <a:pt x="1928056" y="1130251"/>
                  <a:pt x="1908466" y="1147121"/>
                  <a:pt x="1886699" y="1147665"/>
                </a:cubicBezTo>
                <a:cubicBezTo>
                  <a:pt x="1862755" y="1145488"/>
                  <a:pt x="1845886" y="1127530"/>
                  <a:pt x="1844798" y="1105219"/>
                </a:cubicBezTo>
                <a:cubicBezTo>
                  <a:pt x="1844253" y="1083996"/>
                  <a:pt x="1867109" y="1061685"/>
                  <a:pt x="1887787" y="1062773"/>
                </a:cubicBezTo>
                <a:close/>
                <a:moveTo>
                  <a:pt x="335798" y="1011621"/>
                </a:moveTo>
                <a:cubicBezTo>
                  <a:pt x="343960" y="1011621"/>
                  <a:pt x="347770" y="1014886"/>
                  <a:pt x="348314" y="1023049"/>
                </a:cubicBezTo>
                <a:cubicBezTo>
                  <a:pt x="348314" y="1031755"/>
                  <a:pt x="344505" y="1036109"/>
                  <a:pt x="336886" y="1036109"/>
                </a:cubicBezTo>
                <a:cubicBezTo>
                  <a:pt x="329268" y="1036109"/>
                  <a:pt x="324914" y="1032300"/>
                  <a:pt x="324370" y="1024681"/>
                </a:cubicBezTo>
                <a:cubicBezTo>
                  <a:pt x="323826" y="1015974"/>
                  <a:pt x="327635" y="1011621"/>
                  <a:pt x="335798" y="1011621"/>
                </a:cubicBezTo>
                <a:close/>
                <a:moveTo>
                  <a:pt x="499051" y="1002914"/>
                </a:moveTo>
                <a:cubicBezTo>
                  <a:pt x="508846" y="1002370"/>
                  <a:pt x="520818" y="1014342"/>
                  <a:pt x="520818" y="1024137"/>
                </a:cubicBezTo>
                <a:cubicBezTo>
                  <a:pt x="520818" y="1032844"/>
                  <a:pt x="508846" y="1045360"/>
                  <a:pt x="499595" y="1045360"/>
                </a:cubicBezTo>
                <a:cubicBezTo>
                  <a:pt x="490888" y="1045360"/>
                  <a:pt x="478372" y="1032844"/>
                  <a:pt x="478372" y="1024137"/>
                </a:cubicBezTo>
                <a:cubicBezTo>
                  <a:pt x="478372" y="1014886"/>
                  <a:pt x="489800" y="1002914"/>
                  <a:pt x="499051" y="1002914"/>
                </a:cubicBezTo>
                <a:close/>
                <a:moveTo>
                  <a:pt x="663392" y="997473"/>
                </a:moveTo>
                <a:cubicBezTo>
                  <a:pt x="675908" y="998561"/>
                  <a:pt x="688968" y="1011622"/>
                  <a:pt x="688424" y="1024138"/>
                </a:cubicBezTo>
                <a:cubicBezTo>
                  <a:pt x="687880" y="1039374"/>
                  <a:pt x="676452" y="1050802"/>
                  <a:pt x="661759" y="1050258"/>
                </a:cubicBezTo>
                <a:cubicBezTo>
                  <a:pt x="647066" y="1049170"/>
                  <a:pt x="637271" y="1036109"/>
                  <a:pt x="636727" y="1023593"/>
                </a:cubicBezTo>
                <a:cubicBezTo>
                  <a:pt x="637271" y="1010533"/>
                  <a:pt x="651420" y="996929"/>
                  <a:pt x="663392" y="997473"/>
                </a:cubicBezTo>
                <a:close/>
                <a:moveTo>
                  <a:pt x="826645" y="995840"/>
                </a:moveTo>
                <a:cubicBezTo>
                  <a:pt x="845147" y="995296"/>
                  <a:pt x="855486" y="1007267"/>
                  <a:pt x="854942" y="1024137"/>
                </a:cubicBezTo>
                <a:cubicBezTo>
                  <a:pt x="855486" y="1039374"/>
                  <a:pt x="845147" y="1052978"/>
                  <a:pt x="825557" y="1052978"/>
                </a:cubicBezTo>
                <a:cubicBezTo>
                  <a:pt x="808143" y="1052434"/>
                  <a:pt x="796715" y="1041006"/>
                  <a:pt x="797260" y="1023593"/>
                </a:cubicBezTo>
                <a:cubicBezTo>
                  <a:pt x="797260" y="1005635"/>
                  <a:pt x="808687" y="995840"/>
                  <a:pt x="826645" y="995840"/>
                </a:cubicBezTo>
                <a:close/>
                <a:moveTo>
                  <a:pt x="990441" y="990942"/>
                </a:moveTo>
                <a:cubicBezTo>
                  <a:pt x="1008943" y="990942"/>
                  <a:pt x="1023092" y="1006179"/>
                  <a:pt x="1022548" y="1025225"/>
                </a:cubicBezTo>
                <a:cubicBezTo>
                  <a:pt x="1022004" y="1043183"/>
                  <a:pt x="1007311" y="1056243"/>
                  <a:pt x="988809" y="1056787"/>
                </a:cubicBezTo>
                <a:cubicBezTo>
                  <a:pt x="973028" y="1057332"/>
                  <a:pt x="956702" y="1041551"/>
                  <a:pt x="956702" y="1023593"/>
                </a:cubicBezTo>
                <a:cubicBezTo>
                  <a:pt x="956158" y="1006723"/>
                  <a:pt x="973572" y="988221"/>
                  <a:pt x="990441" y="990942"/>
                </a:cubicBezTo>
                <a:close/>
                <a:moveTo>
                  <a:pt x="1150974" y="987678"/>
                </a:moveTo>
                <a:cubicBezTo>
                  <a:pt x="1170020" y="986045"/>
                  <a:pt x="1189066" y="1004547"/>
                  <a:pt x="1189610" y="1023593"/>
                </a:cubicBezTo>
                <a:cubicBezTo>
                  <a:pt x="1190154" y="1042095"/>
                  <a:pt x="1170564" y="1061685"/>
                  <a:pt x="1152062" y="1061685"/>
                </a:cubicBezTo>
                <a:cubicBezTo>
                  <a:pt x="1134104" y="1061685"/>
                  <a:pt x="1115602" y="1042639"/>
                  <a:pt x="1115058" y="1024682"/>
                </a:cubicBezTo>
                <a:cubicBezTo>
                  <a:pt x="1115058" y="1006724"/>
                  <a:pt x="1133016" y="988222"/>
                  <a:pt x="1150974" y="987678"/>
                </a:cubicBezTo>
                <a:close/>
                <a:moveTo>
                  <a:pt x="1315314" y="985501"/>
                </a:moveTo>
                <a:cubicBezTo>
                  <a:pt x="1335993" y="983868"/>
                  <a:pt x="1354495" y="1005635"/>
                  <a:pt x="1354495" y="1023593"/>
                </a:cubicBezTo>
                <a:cubicBezTo>
                  <a:pt x="1355039" y="1042639"/>
                  <a:pt x="1333816" y="1065495"/>
                  <a:pt x="1315858" y="1062230"/>
                </a:cubicBezTo>
                <a:cubicBezTo>
                  <a:pt x="1294636" y="1062230"/>
                  <a:pt x="1277222" y="1045360"/>
                  <a:pt x="1277222" y="1024137"/>
                </a:cubicBezTo>
                <a:cubicBezTo>
                  <a:pt x="1277222" y="1002914"/>
                  <a:pt x="1294091" y="986589"/>
                  <a:pt x="1315314" y="985501"/>
                </a:cubicBezTo>
                <a:close/>
                <a:moveTo>
                  <a:pt x="1479656" y="984412"/>
                </a:moveTo>
                <a:cubicBezTo>
                  <a:pt x="1503055" y="984412"/>
                  <a:pt x="1519925" y="1000737"/>
                  <a:pt x="1519380" y="1025225"/>
                </a:cubicBezTo>
                <a:cubicBezTo>
                  <a:pt x="1518836" y="1045904"/>
                  <a:pt x="1502511" y="1065494"/>
                  <a:pt x="1478567" y="1063318"/>
                </a:cubicBezTo>
                <a:cubicBezTo>
                  <a:pt x="1454624" y="1064950"/>
                  <a:pt x="1438842" y="1044816"/>
                  <a:pt x="1439387" y="1023593"/>
                </a:cubicBezTo>
                <a:cubicBezTo>
                  <a:pt x="1439931" y="1000193"/>
                  <a:pt x="1455712" y="983868"/>
                  <a:pt x="1479656" y="984412"/>
                </a:cubicBezTo>
                <a:close/>
                <a:moveTo>
                  <a:pt x="1641820" y="981691"/>
                </a:moveTo>
                <a:cubicBezTo>
                  <a:pt x="1665220" y="981691"/>
                  <a:pt x="1683178" y="999649"/>
                  <a:pt x="1684810" y="1023592"/>
                </a:cubicBezTo>
                <a:cubicBezTo>
                  <a:pt x="1683722" y="1048625"/>
                  <a:pt x="1665220" y="1066038"/>
                  <a:pt x="1642909" y="1066038"/>
                </a:cubicBezTo>
                <a:cubicBezTo>
                  <a:pt x="1618421" y="1066038"/>
                  <a:pt x="1599919" y="1047536"/>
                  <a:pt x="1599919" y="1023592"/>
                </a:cubicBezTo>
                <a:cubicBezTo>
                  <a:pt x="1599919" y="1001281"/>
                  <a:pt x="1616788" y="982235"/>
                  <a:pt x="1641820" y="981691"/>
                </a:cubicBezTo>
                <a:close/>
                <a:moveTo>
                  <a:pt x="1806161" y="980603"/>
                </a:moveTo>
                <a:cubicBezTo>
                  <a:pt x="1829561" y="980603"/>
                  <a:pt x="1848607" y="1000737"/>
                  <a:pt x="1849151" y="1023592"/>
                </a:cubicBezTo>
                <a:cubicBezTo>
                  <a:pt x="1849151" y="1046992"/>
                  <a:pt x="1827928" y="1068215"/>
                  <a:pt x="1805617" y="1067127"/>
                </a:cubicBezTo>
                <a:cubicBezTo>
                  <a:pt x="1781673" y="1068215"/>
                  <a:pt x="1762083" y="1044815"/>
                  <a:pt x="1762083" y="1023592"/>
                </a:cubicBezTo>
                <a:cubicBezTo>
                  <a:pt x="1762083" y="1002370"/>
                  <a:pt x="1781673" y="980058"/>
                  <a:pt x="1806161" y="980603"/>
                </a:cubicBezTo>
                <a:close/>
                <a:moveTo>
                  <a:pt x="1969414" y="980059"/>
                </a:moveTo>
                <a:cubicBezTo>
                  <a:pt x="1993358" y="980603"/>
                  <a:pt x="2012404" y="1001282"/>
                  <a:pt x="2012404" y="1024137"/>
                </a:cubicBezTo>
                <a:cubicBezTo>
                  <a:pt x="2012404" y="1046449"/>
                  <a:pt x="1991726" y="1069304"/>
                  <a:pt x="1968870" y="1067127"/>
                </a:cubicBezTo>
                <a:cubicBezTo>
                  <a:pt x="1946015" y="1068760"/>
                  <a:pt x="1925336" y="1044272"/>
                  <a:pt x="1924792" y="1024137"/>
                </a:cubicBezTo>
                <a:cubicBezTo>
                  <a:pt x="1924792" y="1002914"/>
                  <a:pt x="1944382" y="980059"/>
                  <a:pt x="1969414" y="980059"/>
                </a:cubicBezTo>
                <a:close/>
                <a:moveTo>
                  <a:pt x="254171" y="931083"/>
                </a:moveTo>
                <a:cubicBezTo>
                  <a:pt x="260701" y="931083"/>
                  <a:pt x="265599" y="935437"/>
                  <a:pt x="265599" y="941967"/>
                </a:cubicBezTo>
                <a:cubicBezTo>
                  <a:pt x="265599" y="948497"/>
                  <a:pt x="260701" y="952850"/>
                  <a:pt x="254171" y="952850"/>
                </a:cubicBezTo>
                <a:cubicBezTo>
                  <a:pt x="247641" y="952850"/>
                  <a:pt x="243832" y="948497"/>
                  <a:pt x="243832" y="941967"/>
                </a:cubicBezTo>
                <a:cubicBezTo>
                  <a:pt x="243832" y="935437"/>
                  <a:pt x="247641" y="931627"/>
                  <a:pt x="254171" y="931083"/>
                </a:cubicBezTo>
                <a:close/>
                <a:moveTo>
                  <a:pt x="417968" y="922377"/>
                </a:moveTo>
                <a:cubicBezTo>
                  <a:pt x="427219" y="921833"/>
                  <a:pt x="437559" y="932716"/>
                  <a:pt x="437559" y="942511"/>
                </a:cubicBezTo>
                <a:cubicBezTo>
                  <a:pt x="437559" y="951762"/>
                  <a:pt x="427219" y="961557"/>
                  <a:pt x="417968" y="961557"/>
                </a:cubicBezTo>
                <a:cubicBezTo>
                  <a:pt x="409262" y="961557"/>
                  <a:pt x="397290" y="949585"/>
                  <a:pt x="397834" y="941423"/>
                </a:cubicBezTo>
                <a:cubicBezTo>
                  <a:pt x="398378" y="933260"/>
                  <a:pt x="409806" y="922377"/>
                  <a:pt x="417968" y="922377"/>
                </a:cubicBezTo>
                <a:close/>
                <a:moveTo>
                  <a:pt x="581222" y="916934"/>
                </a:moveTo>
                <a:cubicBezTo>
                  <a:pt x="593738" y="916934"/>
                  <a:pt x="607342" y="931082"/>
                  <a:pt x="606798" y="943054"/>
                </a:cubicBezTo>
                <a:cubicBezTo>
                  <a:pt x="606254" y="955570"/>
                  <a:pt x="593738" y="967542"/>
                  <a:pt x="581222" y="967542"/>
                </a:cubicBezTo>
                <a:cubicBezTo>
                  <a:pt x="567617" y="966454"/>
                  <a:pt x="557278" y="958291"/>
                  <a:pt x="556190" y="943054"/>
                </a:cubicBezTo>
                <a:cubicBezTo>
                  <a:pt x="555101" y="929994"/>
                  <a:pt x="568161" y="916934"/>
                  <a:pt x="581222" y="916934"/>
                </a:cubicBezTo>
                <a:close/>
                <a:moveTo>
                  <a:pt x="744474" y="913669"/>
                </a:moveTo>
                <a:cubicBezTo>
                  <a:pt x="765153" y="913669"/>
                  <a:pt x="773860" y="927273"/>
                  <a:pt x="773315" y="942510"/>
                </a:cubicBezTo>
                <a:cubicBezTo>
                  <a:pt x="772771" y="959924"/>
                  <a:pt x="761344" y="971352"/>
                  <a:pt x="743930" y="970807"/>
                </a:cubicBezTo>
                <a:cubicBezTo>
                  <a:pt x="727061" y="970807"/>
                  <a:pt x="716177" y="959380"/>
                  <a:pt x="716177" y="941966"/>
                </a:cubicBezTo>
                <a:cubicBezTo>
                  <a:pt x="716177" y="923464"/>
                  <a:pt x="727605" y="914213"/>
                  <a:pt x="744474" y="913669"/>
                </a:cubicBezTo>
                <a:close/>
                <a:moveTo>
                  <a:pt x="908271" y="908772"/>
                </a:moveTo>
                <a:cubicBezTo>
                  <a:pt x="927317" y="910405"/>
                  <a:pt x="940922" y="924553"/>
                  <a:pt x="940377" y="944144"/>
                </a:cubicBezTo>
                <a:cubicBezTo>
                  <a:pt x="939833" y="962101"/>
                  <a:pt x="925141" y="975162"/>
                  <a:pt x="906094" y="975162"/>
                </a:cubicBezTo>
                <a:cubicBezTo>
                  <a:pt x="890313" y="975162"/>
                  <a:pt x="873988" y="959925"/>
                  <a:pt x="874532" y="940879"/>
                </a:cubicBezTo>
                <a:cubicBezTo>
                  <a:pt x="874532" y="925641"/>
                  <a:pt x="891402" y="907684"/>
                  <a:pt x="908271" y="908772"/>
                </a:cubicBezTo>
                <a:close/>
                <a:moveTo>
                  <a:pt x="1072068" y="906051"/>
                </a:moveTo>
                <a:cubicBezTo>
                  <a:pt x="1093291" y="907683"/>
                  <a:pt x="1105807" y="921832"/>
                  <a:pt x="1107984" y="942511"/>
                </a:cubicBezTo>
                <a:cubicBezTo>
                  <a:pt x="1107984" y="961013"/>
                  <a:pt x="1088938" y="979515"/>
                  <a:pt x="1070980" y="979515"/>
                </a:cubicBezTo>
                <a:cubicBezTo>
                  <a:pt x="1053022" y="979515"/>
                  <a:pt x="1034520" y="960469"/>
                  <a:pt x="1034520" y="942511"/>
                </a:cubicBezTo>
                <a:cubicBezTo>
                  <a:pt x="1034520" y="923465"/>
                  <a:pt x="1053566" y="904419"/>
                  <a:pt x="1072068" y="906051"/>
                </a:cubicBezTo>
                <a:close/>
                <a:moveTo>
                  <a:pt x="1235321" y="903874"/>
                </a:moveTo>
                <a:cubicBezTo>
                  <a:pt x="1257088" y="903874"/>
                  <a:pt x="1272325" y="920199"/>
                  <a:pt x="1272325" y="943054"/>
                </a:cubicBezTo>
                <a:cubicBezTo>
                  <a:pt x="1275045" y="962645"/>
                  <a:pt x="1251646" y="982779"/>
                  <a:pt x="1233688" y="981147"/>
                </a:cubicBezTo>
                <a:cubicBezTo>
                  <a:pt x="1211921" y="979514"/>
                  <a:pt x="1195052" y="963189"/>
                  <a:pt x="1195596" y="940878"/>
                </a:cubicBezTo>
                <a:cubicBezTo>
                  <a:pt x="1196140" y="919111"/>
                  <a:pt x="1212465" y="903330"/>
                  <a:pt x="1235321" y="903874"/>
                </a:cubicBezTo>
                <a:close/>
                <a:moveTo>
                  <a:pt x="1397486" y="901153"/>
                </a:moveTo>
                <a:cubicBezTo>
                  <a:pt x="1420885" y="901698"/>
                  <a:pt x="1437755" y="917479"/>
                  <a:pt x="1438299" y="942511"/>
                </a:cubicBezTo>
                <a:cubicBezTo>
                  <a:pt x="1437210" y="966999"/>
                  <a:pt x="1420341" y="983324"/>
                  <a:pt x="1396941" y="983324"/>
                </a:cubicBezTo>
                <a:cubicBezTo>
                  <a:pt x="1371909" y="983324"/>
                  <a:pt x="1355584" y="963190"/>
                  <a:pt x="1356128" y="941967"/>
                </a:cubicBezTo>
                <a:cubicBezTo>
                  <a:pt x="1356128" y="919655"/>
                  <a:pt x="1373542" y="900609"/>
                  <a:pt x="1397486" y="901153"/>
                </a:cubicBezTo>
                <a:close/>
                <a:moveTo>
                  <a:pt x="1560738" y="898977"/>
                </a:moveTo>
                <a:cubicBezTo>
                  <a:pt x="1584138" y="899521"/>
                  <a:pt x="1603728" y="917479"/>
                  <a:pt x="1603728" y="942511"/>
                </a:cubicBezTo>
                <a:cubicBezTo>
                  <a:pt x="1603728" y="966999"/>
                  <a:pt x="1581961" y="985501"/>
                  <a:pt x="1560738" y="985501"/>
                </a:cubicBezTo>
                <a:cubicBezTo>
                  <a:pt x="1537883" y="985501"/>
                  <a:pt x="1516660" y="963734"/>
                  <a:pt x="1517204" y="941423"/>
                </a:cubicBezTo>
                <a:cubicBezTo>
                  <a:pt x="1517748" y="919656"/>
                  <a:pt x="1535706" y="898977"/>
                  <a:pt x="1560738" y="898977"/>
                </a:cubicBezTo>
                <a:close/>
                <a:moveTo>
                  <a:pt x="1723990" y="897888"/>
                </a:moveTo>
                <a:cubicBezTo>
                  <a:pt x="1747934" y="897888"/>
                  <a:pt x="1769701" y="919111"/>
                  <a:pt x="1768069" y="942510"/>
                </a:cubicBezTo>
                <a:cubicBezTo>
                  <a:pt x="1770245" y="965366"/>
                  <a:pt x="1746302" y="987133"/>
                  <a:pt x="1723990" y="986589"/>
                </a:cubicBezTo>
                <a:cubicBezTo>
                  <a:pt x="1701679" y="986589"/>
                  <a:pt x="1679912" y="964278"/>
                  <a:pt x="1679912" y="941422"/>
                </a:cubicBezTo>
                <a:cubicBezTo>
                  <a:pt x="1680456" y="919655"/>
                  <a:pt x="1700047" y="897888"/>
                  <a:pt x="1723990" y="897888"/>
                </a:cubicBezTo>
                <a:close/>
                <a:moveTo>
                  <a:pt x="2050497" y="897344"/>
                </a:moveTo>
                <a:lnTo>
                  <a:pt x="2051041" y="897453"/>
                </a:lnTo>
                <a:lnTo>
                  <a:pt x="2051041" y="986917"/>
                </a:lnTo>
                <a:lnTo>
                  <a:pt x="2049952" y="987133"/>
                </a:lnTo>
                <a:cubicBezTo>
                  <a:pt x="2026553" y="987133"/>
                  <a:pt x="2004786" y="965366"/>
                  <a:pt x="2005330" y="941422"/>
                </a:cubicBezTo>
                <a:cubicBezTo>
                  <a:pt x="2005874" y="918023"/>
                  <a:pt x="2026009" y="897344"/>
                  <a:pt x="2050497" y="897344"/>
                </a:cubicBezTo>
                <a:close/>
                <a:moveTo>
                  <a:pt x="1887243" y="897344"/>
                </a:moveTo>
                <a:cubicBezTo>
                  <a:pt x="1910099" y="897344"/>
                  <a:pt x="1931866" y="916390"/>
                  <a:pt x="1931866" y="942511"/>
                </a:cubicBezTo>
                <a:cubicBezTo>
                  <a:pt x="1931866" y="965910"/>
                  <a:pt x="1910099" y="986589"/>
                  <a:pt x="1887243" y="986589"/>
                </a:cubicBezTo>
                <a:cubicBezTo>
                  <a:pt x="1864932" y="987133"/>
                  <a:pt x="1839900" y="965910"/>
                  <a:pt x="1843165" y="941422"/>
                </a:cubicBezTo>
                <a:cubicBezTo>
                  <a:pt x="1840444" y="918567"/>
                  <a:pt x="1863299" y="897344"/>
                  <a:pt x="1887243" y="897344"/>
                </a:cubicBezTo>
                <a:close/>
                <a:moveTo>
                  <a:pt x="172545" y="854354"/>
                </a:moveTo>
                <a:cubicBezTo>
                  <a:pt x="176899" y="854354"/>
                  <a:pt x="179619" y="855442"/>
                  <a:pt x="179619" y="860884"/>
                </a:cubicBezTo>
                <a:cubicBezTo>
                  <a:pt x="180164" y="864693"/>
                  <a:pt x="177987" y="866870"/>
                  <a:pt x="173634" y="866870"/>
                </a:cubicBezTo>
                <a:cubicBezTo>
                  <a:pt x="169824" y="866870"/>
                  <a:pt x="166559" y="866870"/>
                  <a:pt x="166015" y="861973"/>
                </a:cubicBezTo>
                <a:cubicBezTo>
                  <a:pt x="165471" y="857075"/>
                  <a:pt x="167103" y="854354"/>
                  <a:pt x="172545" y="854354"/>
                </a:cubicBezTo>
                <a:close/>
                <a:moveTo>
                  <a:pt x="336342" y="843471"/>
                </a:moveTo>
                <a:cubicBezTo>
                  <a:pt x="346681" y="844015"/>
                  <a:pt x="353211" y="849457"/>
                  <a:pt x="353211" y="860340"/>
                </a:cubicBezTo>
                <a:cubicBezTo>
                  <a:pt x="353211" y="872312"/>
                  <a:pt x="348858" y="876665"/>
                  <a:pt x="336886" y="877210"/>
                </a:cubicBezTo>
                <a:cubicBezTo>
                  <a:pt x="324370" y="877210"/>
                  <a:pt x="320561" y="872856"/>
                  <a:pt x="320017" y="860884"/>
                </a:cubicBezTo>
                <a:cubicBezTo>
                  <a:pt x="319473" y="851089"/>
                  <a:pt x="327635" y="842927"/>
                  <a:pt x="336342" y="843471"/>
                </a:cubicBezTo>
                <a:close/>
                <a:moveTo>
                  <a:pt x="500139" y="837485"/>
                </a:moveTo>
                <a:cubicBezTo>
                  <a:pt x="514832" y="837485"/>
                  <a:pt x="522994" y="846735"/>
                  <a:pt x="522994" y="861428"/>
                </a:cubicBezTo>
                <a:cubicBezTo>
                  <a:pt x="522994" y="876121"/>
                  <a:pt x="513743" y="884284"/>
                  <a:pt x="499595" y="884284"/>
                </a:cubicBezTo>
                <a:cubicBezTo>
                  <a:pt x="485446" y="883740"/>
                  <a:pt x="475651" y="875033"/>
                  <a:pt x="476739" y="860340"/>
                </a:cubicBezTo>
                <a:cubicBezTo>
                  <a:pt x="476195" y="842926"/>
                  <a:pt x="489256" y="836940"/>
                  <a:pt x="500139" y="837485"/>
                </a:cubicBezTo>
                <a:close/>
                <a:moveTo>
                  <a:pt x="662848" y="832587"/>
                </a:moveTo>
                <a:cubicBezTo>
                  <a:pt x="677541" y="832587"/>
                  <a:pt x="691689" y="842926"/>
                  <a:pt x="690057" y="860340"/>
                </a:cubicBezTo>
                <a:cubicBezTo>
                  <a:pt x="691689" y="876121"/>
                  <a:pt x="679718" y="888637"/>
                  <a:pt x="662848" y="888637"/>
                </a:cubicBezTo>
                <a:cubicBezTo>
                  <a:pt x="644890" y="888637"/>
                  <a:pt x="634551" y="874489"/>
                  <a:pt x="634551" y="861428"/>
                </a:cubicBezTo>
                <a:cubicBezTo>
                  <a:pt x="634551" y="842926"/>
                  <a:pt x="647611" y="832587"/>
                  <a:pt x="662848" y="832587"/>
                </a:cubicBezTo>
                <a:close/>
                <a:moveTo>
                  <a:pt x="826101" y="827146"/>
                </a:moveTo>
                <a:cubicBezTo>
                  <a:pt x="840249" y="826602"/>
                  <a:pt x="859840" y="843471"/>
                  <a:pt x="859295" y="860885"/>
                </a:cubicBezTo>
                <a:cubicBezTo>
                  <a:pt x="858751" y="875033"/>
                  <a:pt x="844603" y="894624"/>
                  <a:pt x="825556" y="892991"/>
                </a:cubicBezTo>
                <a:cubicBezTo>
                  <a:pt x="808687" y="894079"/>
                  <a:pt x="793450" y="877754"/>
                  <a:pt x="793450" y="860885"/>
                </a:cubicBezTo>
                <a:cubicBezTo>
                  <a:pt x="793994" y="842927"/>
                  <a:pt x="808143" y="828234"/>
                  <a:pt x="826101" y="827146"/>
                </a:cubicBezTo>
                <a:close/>
                <a:moveTo>
                  <a:pt x="988809" y="824424"/>
                </a:moveTo>
                <a:cubicBezTo>
                  <a:pt x="1010576" y="825512"/>
                  <a:pt x="1024180" y="839661"/>
                  <a:pt x="1025813" y="860339"/>
                </a:cubicBezTo>
                <a:cubicBezTo>
                  <a:pt x="1026901" y="878842"/>
                  <a:pt x="1008399" y="896799"/>
                  <a:pt x="989897" y="897344"/>
                </a:cubicBezTo>
                <a:cubicBezTo>
                  <a:pt x="971939" y="897344"/>
                  <a:pt x="953982" y="880474"/>
                  <a:pt x="953437" y="861972"/>
                </a:cubicBezTo>
                <a:cubicBezTo>
                  <a:pt x="951805" y="842926"/>
                  <a:pt x="969763" y="824968"/>
                  <a:pt x="988809" y="824424"/>
                </a:cubicBezTo>
                <a:close/>
                <a:moveTo>
                  <a:pt x="1153695" y="821704"/>
                </a:moveTo>
                <a:cubicBezTo>
                  <a:pt x="1175462" y="822248"/>
                  <a:pt x="1191243" y="839118"/>
                  <a:pt x="1191243" y="861429"/>
                </a:cubicBezTo>
                <a:cubicBezTo>
                  <a:pt x="1193964" y="882107"/>
                  <a:pt x="1169476" y="900610"/>
                  <a:pt x="1152606" y="899521"/>
                </a:cubicBezTo>
                <a:cubicBezTo>
                  <a:pt x="1130839" y="898433"/>
                  <a:pt x="1114514" y="882107"/>
                  <a:pt x="1114514" y="859252"/>
                </a:cubicBezTo>
                <a:cubicBezTo>
                  <a:pt x="1115058" y="837485"/>
                  <a:pt x="1131928" y="821704"/>
                  <a:pt x="1153695" y="821704"/>
                </a:cubicBezTo>
                <a:close/>
                <a:moveTo>
                  <a:pt x="1316403" y="818982"/>
                </a:moveTo>
                <a:cubicBezTo>
                  <a:pt x="1341979" y="820071"/>
                  <a:pt x="1356128" y="838573"/>
                  <a:pt x="1357216" y="860884"/>
                </a:cubicBezTo>
                <a:cubicBezTo>
                  <a:pt x="1356128" y="884828"/>
                  <a:pt x="1337626" y="901697"/>
                  <a:pt x="1315315" y="901697"/>
                </a:cubicBezTo>
                <a:cubicBezTo>
                  <a:pt x="1293003" y="901697"/>
                  <a:pt x="1273957" y="884284"/>
                  <a:pt x="1274501" y="860340"/>
                </a:cubicBezTo>
                <a:cubicBezTo>
                  <a:pt x="1275046" y="835852"/>
                  <a:pt x="1291915" y="818438"/>
                  <a:pt x="1316403" y="818982"/>
                </a:cubicBezTo>
                <a:close/>
                <a:moveTo>
                  <a:pt x="1479112" y="816806"/>
                </a:moveTo>
                <a:cubicBezTo>
                  <a:pt x="1501423" y="816806"/>
                  <a:pt x="1523190" y="835852"/>
                  <a:pt x="1522646" y="860340"/>
                </a:cubicBezTo>
                <a:cubicBezTo>
                  <a:pt x="1523735" y="885372"/>
                  <a:pt x="1499791" y="904419"/>
                  <a:pt x="1479656" y="904419"/>
                </a:cubicBezTo>
                <a:cubicBezTo>
                  <a:pt x="1457889" y="904419"/>
                  <a:pt x="1436122" y="883740"/>
                  <a:pt x="1435578" y="860884"/>
                </a:cubicBezTo>
                <a:cubicBezTo>
                  <a:pt x="1435578" y="838573"/>
                  <a:pt x="1455713" y="816806"/>
                  <a:pt x="1479112" y="816806"/>
                </a:cubicBezTo>
                <a:close/>
                <a:moveTo>
                  <a:pt x="1642909" y="815718"/>
                </a:moveTo>
                <a:cubicBezTo>
                  <a:pt x="1665764" y="816262"/>
                  <a:pt x="1686987" y="835852"/>
                  <a:pt x="1686987" y="860885"/>
                </a:cubicBezTo>
                <a:cubicBezTo>
                  <a:pt x="1686987" y="884284"/>
                  <a:pt x="1666308" y="906051"/>
                  <a:pt x="1641276" y="905507"/>
                </a:cubicBezTo>
                <a:cubicBezTo>
                  <a:pt x="1619509" y="905507"/>
                  <a:pt x="1595021" y="884284"/>
                  <a:pt x="1597742" y="860340"/>
                </a:cubicBezTo>
                <a:cubicBezTo>
                  <a:pt x="1595021" y="836941"/>
                  <a:pt x="1619509" y="815174"/>
                  <a:pt x="1642909" y="815718"/>
                </a:cubicBezTo>
                <a:close/>
                <a:moveTo>
                  <a:pt x="1806161" y="815173"/>
                </a:moveTo>
                <a:cubicBezTo>
                  <a:pt x="1832282" y="815717"/>
                  <a:pt x="1854593" y="836396"/>
                  <a:pt x="1852416" y="860884"/>
                </a:cubicBezTo>
                <a:cubicBezTo>
                  <a:pt x="1850240" y="885372"/>
                  <a:pt x="1837179" y="906050"/>
                  <a:pt x="1805617" y="906594"/>
                </a:cubicBezTo>
                <a:cubicBezTo>
                  <a:pt x="1776776" y="906594"/>
                  <a:pt x="1759362" y="885916"/>
                  <a:pt x="1759906" y="860884"/>
                </a:cubicBezTo>
                <a:cubicBezTo>
                  <a:pt x="1759906" y="834219"/>
                  <a:pt x="1776776" y="815717"/>
                  <a:pt x="1806161" y="815173"/>
                </a:cubicBezTo>
                <a:close/>
                <a:moveTo>
                  <a:pt x="1968326" y="812453"/>
                </a:moveTo>
                <a:cubicBezTo>
                  <a:pt x="1979754" y="812453"/>
                  <a:pt x="1991726" y="817351"/>
                  <a:pt x="2000977" y="826057"/>
                </a:cubicBezTo>
                <a:cubicBezTo>
                  <a:pt x="2010772" y="835308"/>
                  <a:pt x="2016214" y="847280"/>
                  <a:pt x="2015670" y="859796"/>
                </a:cubicBezTo>
                <a:cubicBezTo>
                  <a:pt x="2014581" y="884828"/>
                  <a:pt x="2000977" y="904963"/>
                  <a:pt x="1969415" y="907684"/>
                </a:cubicBezTo>
                <a:cubicBezTo>
                  <a:pt x="1942206" y="906051"/>
                  <a:pt x="1923704" y="890270"/>
                  <a:pt x="1922071" y="860885"/>
                </a:cubicBezTo>
                <a:cubicBezTo>
                  <a:pt x="1920983" y="836397"/>
                  <a:pt x="1943294" y="812453"/>
                  <a:pt x="1968326" y="812453"/>
                </a:cubicBezTo>
                <a:close/>
                <a:moveTo>
                  <a:pt x="255260" y="762932"/>
                </a:moveTo>
                <a:cubicBezTo>
                  <a:pt x="261790" y="763476"/>
                  <a:pt x="271041" y="773271"/>
                  <a:pt x="270497" y="779802"/>
                </a:cubicBezTo>
                <a:cubicBezTo>
                  <a:pt x="270497" y="786332"/>
                  <a:pt x="261246" y="795038"/>
                  <a:pt x="254172" y="795038"/>
                </a:cubicBezTo>
                <a:cubicBezTo>
                  <a:pt x="246553" y="795038"/>
                  <a:pt x="238391" y="786332"/>
                  <a:pt x="238935" y="778713"/>
                </a:cubicBezTo>
                <a:cubicBezTo>
                  <a:pt x="239479" y="771095"/>
                  <a:pt x="248186" y="762388"/>
                  <a:pt x="255260" y="762932"/>
                </a:cubicBezTo>
                <a:close/>
                <a:moveTo>
                  <a:pt x="416881" y="756402"/>
                </a:moveTo>
                <a:cubicBezTo>
                  <a:pt x="430485" y="756402"/>
                  <a:pt x="439736" y="765109"/>
                  <a:pt x="440280" y="778713"/>
                </a:cubicBezTo>
                <a:cubicBezTo>
                  <a:pt x="440280" y="791229"/>
                  <a:pt x="431573" y="801024"/>
                  <a:pt x="419057" y="801024"/>
                </a:cubicBezTo>
                <a:cubicBezTo>
                  <a:pt x="405997" y="801569"/>
                  <a:pt x="396202" y="792317"/>
                  <a:pt x="396202" y="779257"/>
                </a:cubicBezTo>
                <a:cubicBezTo>
                  <a:pt x="396202" y="766741"/>
                  <a:pt x="404909" y="756946"/>
                  <a:pt x="416881" y="756402"/>
                </a:cubicBezTo>
                <a:close/>
                <a:moveTo>
                  <a:pt x="581766" y="751505"/>
                </a:moveTo>
                <a:cubicBezTo>
                  <a:pt x="598091" y="752594"/>
                  <a:pt x="607887" y="762933"/>
                  <a:pt x="608975" y="779802"/>
                </a:cubicBezTo>
                <a:cubicBezTo>
                  <a:pt x="608975" y="792318"/>
                  <a:pt x="596459" y="808644"/>
                  <a:pt x="580678" y="806467"/>
                </a:cubicBezTo>
                <a:cubicBezTo>
                  <a:pt x="565985" y="808100"/>
                  <a:pt x="553469" y="792318"/>
                  <a:pt x="553469" y="778714"/>
                </a:cubicBezTo>
                <a:cubicBezTo>
                  <a:pt x="553469" y="764021"/>
                  <a:pt x="567618" y="750417"/>
                  <a:pt x="581766" y="751505"/>
                </a:cubicBezTo>
                <a:close/>
                <a:moveTo>
                  <a:pt x="746107" y="746607"/>
                </a:moveTo>
                <a:cubicBezTo>
                  <a:pt x="762432" y="747695"/>
                  <a:pt x="778213" y="765653"/>
                  <a:pt x="777125" y="780346"/>
                </a:cubicBezTo>
                <a:cubicBezTo>
                  <a:pt x="776581" y="795038"/>
                  <a:pt x="762432" y="811908"/>
                  <a:pt x="742842" y="811364"/>
                </a:cubicBezTo>
                <a:cubicBezTo>
                  <a:pt x="725428" y="810276"/>
                  <a:pt x="712368" y="795583"/>
                  <a:pt x="712368" y="778713"/>
                </a:cubicBezTo>
                <a:cubicBezTo>
                  <a:pt x="712368" y="760755"/>
                  <a:pt x="730870" y="745519"/>
                  <a:pt x="746107" y="746607"/>
                </a:cubicBezTo>
                <a:close/>
                <a:moveTo>
                  <a:pt x="907727" y="741710"/>
                </a:moveTo>
                <a:cubicBezTo>
                  <a:pt x="925684" y="741710"/>
                  <a:pt x="944187" y="760756"/>
                  <a:pt x="944187" y="778714"/>
                </a:cubicBezTo>
                <a:cubicBezTo>
                  <a:pt x="944187" y="796672"/>
                  <a:pt x="926229" y="815174"/>
                  <a:pt x="907727" y="815174"/>
                </a:cubicBezTo>
                <a:cubicBezTo>
                  <a:pt x="889225" y="815174"/>
                  <a:pt x="872899" y="798848"/>
                  <a:pt x="872355" y="779258"/>
                </a:cubicBezTo>
                <a:cubicBezTo>
                  <a:pt x="871811" y="759668"/>
                  <a:pt x="888136" y="742254"/>
                  <a:pt x="907727" y="741710"/>
                </a:cubicBezTo>
                <a:close/>
                <a:moveTo>
                  <a:pt x="1070979" y="740621"/>
                </a:moveTo>
                <a:cubicBezTo>
                  <a:pt x="1091114" y="737357"/>
                  <a:pt x="1110704" y="761300"/>
                  <a:pt x="1110160" y="779258"/>
                </a:cubicBezTo>
                <a:cubicBezTo>
                  <a:pt x="1110160" y="798304"/>
                  <a:pt x="1089481" y="817894"/>
                  <a:pt x="1070979" y="817894"/>
                </a:cubicBezTo>
                <a:cubicBezTo>
                  <a:pt x="1049757" y="817894"/>
                  <a:pt x="1031255" y="797216"/>
                  <a:pt x="1031799" y="778714"/>
                </a:cubicBezTo>
                <a:cubicBezTo>
                  <a:pt x="1033431" y="756947"/>
                  <a:pt x="1049212" y="740621"/>
                  <a:pt x="1070979" y="740621"/>
                </a:cubicBezTo>
                <a:close/>
                <a:moveTo>
                  <a:pt x="1233688" y="736268"/>
                </a:moveTo>
                <a:cubicBezTo>
                  <a:pt x="1254367" y="735723"/>
                  <a:pt x="1276134" y="756402"/>
                  <a:pt x="1276134" y="777625"/>
                </a:cubicBezTo>
                <a:cubicBezTo>
                  <a:pt x="1276134" y="801025"/>
                  <a:pt x="1258720" y="819526"/>
                  <a:pt x="1235320" y="820615"/>
                </a:cubicBezTo>
                <a:cubicBezTo>
                  <a:pt x="1211377" y="821159"/>
                  <a:pt x="1193419" y="802657"/>
                  <a:pt x="1192331" y="779258"/>
                </a:cubicBezTo>
                <a:cubicBezTo>
                  <a:pt x="1190698" y="758579"/>
                  <a:pt x="1213009" y="736812"/>
                  <a:pt x="1233688" y="736268"/>
                </a:cubicBezTo>
                <a:close/>
                <a:moveTo>
                  <a:pt x="1397485" y="735724"/>
                </a:moveTo>
                <a:cubicBezTo>
                  <a:pt x="1421973" y="734091"/>
                  <a:pt x="1441564" y="757491"/>
                  <a:pt x="1441019" y="779802"/>
                </a:cubicBezTo>
                <a:cubicBezTo>
                  <a:pt x="1441019" y="803746"/>
                  <a:pt x="1418708" y="823336"/>
                  <a:pt x="1396397" y="823336"/>
                </a:cubicBezTo>
                <a:cubicBezTo>
                  <a:pt x="1374630" y="823336"/>
                  <a:pt x="1352863" y="802113"/>
                  <a:pt x="1352863" y="779258"/>
                </a:cubicBezTo>
                <a:cubicBezTo>
                  <a:pt x="1353407" y="758579"/>
                  <a:pt x="1372453" y="733547"/>
                  <a:pt x="1397485" y="735724"/>
                </a:cubicBezTo>
                <a:close/>
                <a:moveTo>
                  <a:pt x="1562371" y="734636"/>
                </a:moveTo>
                <a:cubicBezTo>
                  <a:pt x="1586314" y="732459"/>
                  <a:pt x="1605905" y="754226"/>
                  <a:pt x="1605905" y="779802"/>
                </a:cubicBezTo>
                <a:cubicBezTo>
                  <a:pt x="1605361" y="805923"/>
                  <a:pt x="1585226" y="823881"/>
                  <a:pt x="1560194" y="823881"/>
                </a:cubicBezTo>
                <a:cubicBezTo>
                  <a:pt x="1535706" y="823881"/>
                  <a:pt x="1515027" y="803202"/>
                  <a:pt x="1515572" y="777626"/>
                </a:cubicBezTo>
                <a:cubicBezTo>
                  <a:pt x="1516116" y="755859"/>
                  <a:pt x="1535162" y="731371"/>
                  <a:pt x="1562371" y="734636"/>
                </a:cubicBezTo>
                <a:close/>
                <a:moveTo>
                  <a:pt x="1724535" y="730827"/>
                </a:moveTo>
                <a:cubicBezTo>
                  <a:pt x="1748478" y="731371"/>
                  <a:pt x="1772422" y="755314"/>
                  <a:pt x="1772422" y="779258"/>
                </a:cubicBezTo>
                <a:cubicBezTo>
                  <a:pt x="1771878" y="804290"/>
                  <a:pt x="1748478" y="826602"/>
                  <a:pt x="1723446" y="826602"/>
                </a:cubicBezTo>
                <a:cubicBezTo>
                  <a:pt x="1696238" y="823881"/>
                  <a:pt x="1677736" y="807011"/>
                  <a:pt x="1676647" y="778714"/>
                </a:cubicBezTo>
                <a:cubicBezTo>
                  <a:pt x="1676103" y="753138"/>
                  <a:pt x="1699503" y="730282"/>
                  <a:pt x="1724535" y="730827"/>
                </a:cubicBezTo>
                <a:close/>
                <a:moveTo>
                  <a:pt x="1886699" y="730826"/>
                </a:moveTo>
                <a:cubicBezTo>
                  <a:pt x="1914452" y="730826"/>
                  <a:pt x="1934587" y="749872"/>
                  <a:pt x="1935131" y="778713"/>
                </a:cubicBezTo>
                <a:cubicBezTo>
                  <a:pt x="1936219" y="804834"/>
                  <a:pt x="1916085" y="826601"/>
                  <a:pt x="1887244" y="827145"/>
                </a:cubicBezTo>
                <a:cubicBezTo>
                  <a:pt x="1860579" y="826601"/>
                  <a:pt x="1838812" y="805922"/>
                  <a:pt x="1838812" y="778713"/>
                </a:cubicBezTo>
                <a:cubicBezTo>
                  <a:pt x="1839356" y="750416"/>
                  <a:pt x="1860035" y="730282"/>
                  <a:pt x="1886699" y="730826"/>
                </a:cubicBezTo>
                <a:close/>
                <a:moveTo>
                  <a:pt x="2050496" y="730282"/>
                </a:moveTo>
                <a:lnTo>
                  <a:pt x="2051041" y="730396"/>
                </a:lnTo>
                <a:lnTo>
                  <a:pt x="2051041" y="826942"/>
                </a:lnTo>
                <a:lnTo>
                  <a:pt x="2049952" y="827145"/>
                </a:lnTo>
                <a:cubicBezTo>
                  <a:pt x="2023832" y="827145"/>
                  <a:pt x="2001521" y="804290"/>
                  <a:pt x="2002065" y="778169"/>
                </a:cubicBezTo>
                <a:cubicBezTo>
                  <a:pt x="2002609" y="751505"/>
                  <a:pt x="2024376" y="730282"/>
                  <a:pt x="2050496" y="730282"/>
                </a:cubicBezTo>
                <a:close/>
                <a:moveTo>
                  <a:pt x="173634" y="685660"/>
                </a:moveTo>
                <a:cubicBezTo>
                  <a:pt x="181253" y="685660"/>
                  <a:pt x="185062" y="690013"/>
                  <a:pt x="184518" y="698176"/>
                </a:cubicBezTo>
                <a:cubicBezTo>
                  <a:pt x="183973" y="705250"/>
                  <a:pt x="180164" y="709059"/>
                  <a:pt x="172546" y="709059"/>
                </a:cubicBezTo>
                <a:cubicBezTo>
                  <a:pt x="164383" y="709059"/>
                  <a:pt x="160574" y="705250"/>
                  <a:pt x="161118" y="697088"/>
                </a:cubicBezTo>
                <a:cubicBezTo>
                  <a:pt x="161662" y="688925"/>
                  <a:pt x="164927" y="685660"/>
                  <a:pt x="173634" y="685660"/>
                </a:cubicBezTo>
                <a:close/>
                <a:moveTo>
                  <a:pt x="335798" y="675320"/>
                </a:moveTo>
                <a:cubicBezTo>
                  <a:pt x="345593" y="675320"/>
                  <a:pt x="357565" y="685115"/>
                  <a:pt x="357565" y="696543"/>
                </a:cubicBezTo>
                <a:cubicBezTo>
                  <a:pt x="357565" y="707426"/>
                  <a:pt x="346682" y="718854"/>
                  <a:pt x="336342" y="718854"/>
                </a:cubicBezTo>
                <a:cubicBezTo>
                  <a:pt x="327091" y="718854"/>
                  <a:pt x="315664" y="707426"/>
                  <a:pt x="315120" y="697631"/>
                </a:cubicBezTo>
                <a:cubicBezTo>
                  <a:pt x="314575" y="687292"/>
                  <a:pt x="325459" y="675864"/>
                  <a:pt x="335798" y="675320"/>
                </a:cubicBezTo>
                <a:close/>
                <a:moveTo>
                  <a:pt x="499051" y="670423"/>
                </a:moveTo>
                <a:cubicBezTo>
                  <a:pt x="512111" y="669335"/>
                  <a:pt x="526804" y="684027"/>
                  <a:pt x="526804" y="697088"/>
                </a:cubicBezTo>
                <a:cubicBezTo>
                  <a:pt x="526804" y="711236"/>
                  <a:pt x="513744" y="724296"/>
                  <a:pt x="499595" y="724296"/>
                </a:cubicBezTo>
                <a:cubicBezTo>
                  <a:pt x="486535" y="724296"/>
                  <a:pt x="472930" y="711236"/>
                  <a:pt x="472930" y="697632"/>
                </a:cubicBezTo>
                <a:cubicBezTo>
                  <a:pt x="472386" y="684027"/>
                  <a:pt x="485446" y="670423"/>
                  <a:pt x="499051" y="670423"/>
                </a:cubicBezTo>
                <a:close/>
                <a:moveTo>
                  <a:pt x="662848" y="665525"/>
                </a:moveTo>
                <a:cubicBezTo>
                  <a:pt x="678629" y="665525"/>
                  <a:pt x="694410" y="681306"/>
                  <a:pt x="694954" y="697087"/>
                </a:cubicBezTo>
                <a:cubicBezTo>
                  <a:pt x="695499" y="712868"/>
                  <a:pt x="679173" y="729194"/>
                  <a:pt x="663392" y="729194"/>
                </a:cubicBezTo>
                <a:cubicBezTo>
                  <a:pt x="647611" y="729194"/>
                  <a:pt x="632374" y="713957"/>
                  <a:pt x="632374" y="698176"/>
                </a:cubicBezTo>
                <a:cubicBezTo>
                  <a:pt x="631286" y="681850"/>
                  <a:pt x="647067" y="665525"/>
                  <a:pt x="662848" y="665525"/>
                </a:cubicBezTo>
                <a:close/>
                <a:moveTo>
                  <a:pt x="825013" y="663349"/>
                </a:moveTo>
                <a:cubicBezTo>
                  <a:pt x="844603" y="662260"/>
                  <a:pt x="861472" y="676953"/>
                  <a:pt x="860384" y="697632"/>
                </a:cubicBezTo>
                <a:cubicBezTo>
                  <a:pt x="861472" y="716134"/>
                  <a:pt x="846780" y="731915"/>
                  <a:pt x="826101" y="731915"/>
                </a:cubicBezTo>
                <a:cubicBezTo>
                  <a:pt x="806511" y="731915"/>
                  <a:pt x="791818" y="719399"/>
                  <a:pt x="791818" y="698176"/>
                </a:cubicBezTo>
                <a:cubicBezTo>
                  <a:pt x="791818" y="676409"/>
                  <a:pt x="805967" y="663893"/>
                  <a:pt x="825013" y="663349"/>
                </a:cubicBezTo>
                <a:close/>
                <a:moveTo>
                  <a:pt x="988809" y="658995"/>
                </a:moveTo>
                <a:cubicBezTo>
                  <a:pt x="1008400" y="657362"/>
                  <a:pt x="1028534" y="679129"/>
                  <a:pt x="1027446" y="697087"/>
                </a:cubicBezTo>
                <a:cubicBezTo>
                  <a:pt x="1026902" y="718310"/>
                  <a:pt x="1010576" y="735723"/>
                  <a:pt x="989353" y="735723"/>
                </a:cubicBezTo>
                <a:cubicBezTo>
                  <a:pt x="968675" y="735723"/>
                  <a:pt x="950717" y="718310"/>
                  <a:pt x="950717" y="697631"/>
                </a:cubicBezTo>
                <a:cubicBezTo>
                  <a:pt x="950717" y="676408"/>
                  <a:pt x="968131" y="660627"/>
                  <a:pt x="988809" y="658995"/>
                </a:cubicBezTo>
                <a:close/>
                <a:moveTo>
                  <a:pt x="1152607" y="655729"/>
                </a:moveTo>
                <a:cubicBezTo>
                  <a:pt x="1173829" y="654097"/>
                  <a:pt x="1194508" y="675864"/>
                  <a:pt x="1195052" y="697087"/>
                </a:cubicBezTo>
                <a:cubicBezTo>
                  <a:pt x="1195596" y="717766"/>
                  <a:pt x="1173829" y="739533"/>
                  <a:pt x="1153151" y="739533"/>
                </a:cubicBezTo>
                <a:cubicBezTo>
                  <a:pt x="1132472" y="740077"/>
                  <a:pt x="1110705" y="718310"/>
                  <a:pt x="1110705" y="697631"/>
                </a:cubicBezTo>
                <a:cubicBezTo>
                  <a:pt x="1112882" y="674231"/>
                  <a:pt x="1127574" y="657362"/>
                  <a:pt x="1152607" y="655729"/>
                </a:cubicBezTo>
                <a:close/>
                <a:moveTo>
                  <a:pt x="1316948" y="653554"/>
                </a:moveTo>
                <a:cubicBezTo>
                  <a:pt x="1340347" y="654098"/>
                  <a:pt x="1359937" y="674777"/>
                  <a:pt x="1359937" y="697632"/>
                </a:cubicBezTo>
                <a:cubicBezTo>
                  <a:pt x="1359937" y="718855"/>
                  <a:pt x="1339803" y="743343"/>
                  <a:pt x="1315315" y="740622"/>
                </a:cubicBezTo>
                <a:cubicBezTo>
                  <a:pt x="1293004" y="742799"/>
                  <a:pt x="1271237" y="718311"/>
                  <a:pt x="1271781" y="696544"/>
                </a:cubicBezTo>
                <a:cubicBezTo>
                  <a:pt x="1271781" y="675321"/>
                  <a:pt x="1292460" y="653010"/>
                  <a:pt x="1316948" y="653554"/>
                </a:cubicBezTo>
                <a:close/>
                <a:moveTo>
                  <a:pt x="1479112" y="651921"/>
                </a:moveTo>
                <a:cubicBezTo>
                  <a:pt x="1506321" y="651377"/>
                  <a:pt x="1524823" y="669335"/>
                  <a:pt x="1524823" y="697088"/>
                </a:cubicBezTo>
                <a:cubicBezTo>
                  <a:pt x="1524823" y="722664"/>
                  <a:pt x="1506865" y="743343"/>
                  <a:pt x="1479112" y="742254"/>
                </a:cubicBezTo>
                <a:cubicBezTo>
                  <a:pt x="1450815" y="743343"/>
                  <a:pt x="1433401" y="721031"/>
                  <a:pt x="1433945" y="697088"/>
                </a:cubicBezTo>
                <a:cubicBezTo>
                  <a:pt x="1434490" y="670423"/>
                  <a:pt x="1451903" y="652465"/>
                  <a:pt x="1479112" y="651921"/>
                </a:cubicBezTo>
                <a:close/>
                <a:moveTo>
                  <a:pt x="1642909" y="649744"/>
                </a:moveTo>
                <a:cubicBezTo>
                  <a:pt x="1671750" y="650288"/>
                  <a:pt x="1690252" y="668790"/>
                  <a:pt x="1690796" y="697087"/>
                </a:cubicBezTo>
                <a:cubicBezTo>
                  <a:pt x="1691340" y="723752"/>
                  <a:pt x="1672294" y="743342"/>
                  <a:pt x="1642909" y="745519"/>
                </a:cubicBezTo>
                <a:cubicBezTo>
                  <a:pt x="1614067" y="743887"/>
                  <a:pt x="1594477" y="725384"/>
                  <a:pt x="1594477" y="697632"/>
                </a:cubicBezTo>
                <a:cubicBezTo>
                  <a:pt x="1594477" y="668790"/>
                  <a:pt x="1614611" y="649200"/>
                  <a:pt x="1642909" y="649744"/>
                </a:cubicBezTo>
                <a:close/>
                <a:moveTo>
                  <a:pt x="1805617" y="648112"/>
                </a:moveTo>
                <a:cubicBezTo>
                  <a:pt x="1829561" y="648112"/>
                  <a:pt x="1857314" y="672055"/>
                  <a:pt x="1854593" y="698176"/>
                </a:cubicBezTo>
                <a:cubicBezTo>
                  <a:pt x="1856770" y="719399"/>
                  <a:pt x="1832826" y="747151"/>
                  <a:pt x="1805073" y="746607"/>
                </a:cubicBezTo>
                <a:cubicBezTo>
                  <a:pt x="1779497" y="746063"/>
                  <a:pt x="1756097" y="721575"/>
                  <a:pt x="1756097" y="697087"/>
                </a:cubicBezTo>
                <a:cubicBezTo>
                  <a:pt x="1756097" y="670423"/>
                  <a:pt x="1782218" y="647567"/>
                  <a:pt x="1805617" y="648112"/>
                </a:cubicBezTo>
                <a:close/>
                <a:moveTo>
                  <a:pt x="1969414" y="647023"/>
                </a:moveTo>
                <a:cubicBezTo>
                  <a:pt x="1992814" y="647023"/>
                  <a:pt x="2020567" y="672055"/>
                  <a:pt x="2018934" y="698176"/>
                </a:cubicBezTo>
                <a:cubicBezTo>
                  <a:pt x="2017302" y="725384"/>
                  <a:pt x="1996623" y="746063"/>
                  <a:pt x="1968326" y="746063"/>
                </a:cubicBezTo>
                <a:cubicBezTo>
                  <a:pt x="1941661" y="748784"/>
                  <a:pt x="1919350" y="721031"/>
                  <a:pt x="1918806" y="697087"/>
                </a:cubicBezTo>
                <a:cubicBezTo>
                  <a:pt x="1918806" y="669878"/>
                  <a:pt x="1945471" y="647023"/>
                  <a:pt x="1969414" y="647023"/>
                </a:cubicBezTo>
                <a:close/>
                <a:moveTo>
                  <a:pt x="90919" y="606754"/>
                </a:moveTo>
                <a:cubicBezTo>
                  <a:pt x="94728" y="608386"/>
                  <a:pt x="99626" y="612195"/>
                  <a:pt x="99626" y="615460"/>
                </a:cubicBezTo>
                <a:cubicBezTo>
                  <a:pt x="100170" y="618181"/>
                  <a:pt x="95816" y="621990"/>
                  <a:pt x="92007" y="627976"/>
                </a:cubicBezTo>
                <a:cubicBezTo>
                  <a:pt x="87654" y="623079"/>
                  <a:pt x="84389" y="619814"/>
                  <a:pt x="82756" y="616005"/>
                </a:cubicBezTo>
                <a:cubicBezTo>
                  <a:pt x="81668" y="613284"/>
                  <a:pt x="88198" y="605665"/>
                  <a:pt x="90919" y="606754"/>
                </a:cubicBezTo>
                <a:close/>
                <a:moveTo>
                  <a:pt x="254172" y="598047"/>
                </a:moveTo>
                <a:cubicBezTo>
                  <a:pt x="265599" y="597503"/>
                  <a:pt x="273218" y="606210"/>
                  <a:pt x="272674" y="614917"/>
                </a:cubicBezTo>
                <a:cubicBezTo>
                  <a:pt x="272674" y="625800"/>
                  <a:pt x="266688" y="632874"/>
                  <a:pt x="255260" y="633419"/>
                </a:cubicBezTo>
                <a:cubicBezTo>
                  <a:pt x="244376" y="633963"/>
                  <a:pt x="237302" y="626889"/>
                  <a:pt x="236758" y="616005"/>
                </a:cubicBezTo>
                <a:cubicBezTo>
                  <a:pt x="236758" y="605122"/>
                  <a:pt x="243832" y="598047"/>
                  <a:pt x="254172" y="598047"/>
                </a:cubicBezTo>
                <a:close/>
                <a:moveTo>
                  <a:pt x="418513" y="590429"/>
                </a:moveTo>
                <a:cubicBezTo>
                  <a:pt x="431029" y="590429"/>
                  <a:pt x="442457" y="601857"/>
                  <a:pt x="443001" y="614917"/>
                </a:cubicBezTo>
                <a:cubicBezTo>
                  <a:pt x="443545" y="627977"/>
                  <a:pt x="432118" y="640493"/>
                  <a:pt x="419058" y="640493"/>
                </a:cubicBezTo>
                <a:cubicBezTo>
                  <a:pt x="404365" y="640493"/>
                  <a:pt x="394570" y="630698"/>
                  <a:pt x="392937" y="616005"/>
                </a:cubicBezTo>
                <a:cubicBezTo>
                  <a:pt x="391849" y="604033"/>
                  <a:pt x="405997" y="590429"/>
                  <a:pt x="418513" y="590429"/>
                </a:cubicBezTo>
                <a:close/>
                <a:moveTo>
                  <a:pt x="581222" y="587163"/>
                </a:moveTo>
                <a:cubicBezTo>
                  <a:pt x="600812" y="588252"/>
                  <a:pt x="610063" y="598047"/>
                  <a:pt x="610063" y="616549"/>
                </a:cubicBezTo>
                <a:cubicBezTo>
                  <a:pt x="610063" y="634507"/>
                  <a:pt x="599179" y="644846"/>
                  <a:pt x="580677" y="645390"/>
                </a:cubicBezTo>
                <a:cubicBezTo>
                  <a:pt x="565440" y="644846"/>
                  <a:pt x="551836" y="634507"/>
                  <a:pt x="551836" y="615461"/>
                </a:cubicBezTo>
                <a:cubicBezTo>
                  <a:pt x="551836" y="594782"/>
                  <a:pt x="567073" y="586075"/>
                  <a:pt x="581222" y="587163"/>
                </a:cubicBezTo>
                <a:close/>
                <a:moveTo>
                  <a:pt x="743930" y="582266"/>
                </a:moveTo>
                <a:cubicBezTo>
                  <a:pt x="761344" y="581178"/>
                  <a:pt x="779301" y="599136"/>
                  <a:pt x="779301" y="616005"/>
                </a:cubicBezTo>
                <a:cubicBezTo>
                  <a:pt x="779301" y="632874"/>
                  <a:pt x="762976" y="649744"/>
                  <a:pt x="745563" y="649744"/>
                </a:cubicBezTo>
                <a:cubicBezTo>
                  <a:pt x="728149" y="649200"/>
                  <a:pt x="710191" y="635595"/>
                  <a:pt x="711824" y="616549"/>
                </a:cubicBezTo>
                <a:cubicBezTo>
                  <a:pt x="711824" y="596415"/>
                  <a:pt x="724340" y="583355"/>
                  <a:pt x="743930" y="582266"/>
                </a:cubicBezTo>
                <a:close/>
                <a:moveTo>
                  <a:pt x="907183" y="577913"/>
                </a:moveTo>
                <a:cubicBezTo>
                  <a:pt x="927318" y="576825"/>
                  <a:pt x="947452" y="598592"/>
                  <a:pt x="945276" y="615461"/>
                </a:cubicBezTo>
                <a:cubicBezTo>
                  <a:pt x="945276" y="635596"/>
                  <a:pt x="927318" y="653554"/>
                  <a:pt x="907727" y="654098"/>
                </a:cubicBezTo>
                <a:cubicBezTo>
                  <a:pt x="890314" y="654642"/>
                  <a:pt x="869091" y="635052"/>
                  <a:pt x="869091" y="616006"/>
                </a:cubicBezTo>
                <a:cubicBezTo>
                  <a:pt x="869635" y="595871"/>
                  <a:pt x="887049" y="578457"/>
                  <a:pt x="907183" y="577913"/>
                </a:cubicBezTo>
                <a:close/>
                <a:moveTo>
                  <a:pt x="1069891" y="574648"/>
                </a:moveTo>
                <a:cubicBezTo>
                  <a:pt x="1092202" y="574648"/>
                  <a:pt x="1111793" y="589885"/>
                  <a:pt x="1111248" y="615461"/>
                </a:cubicBezTo>
                <a:cubicBezTo>
                  <a:pt x="1111793" y="639405"/>
                  <a:pt x="1093835" y="656274"/>
                  <a:pt x="1070435" y="656274"/>
                </a:cubicBezTo>
                <a:cubicBezTo>
                  <a:pt x="1045403" y="656274"/>
                  <a:pt x="1029622" y="635052"/>
                  <a:pt x="1029622" y="614917"/>
                </a:cubicBezTo>
                <a:cubicBezTo>
                  <a:pt x="1030166" y="593150"/>
                  <a:pt x="1046491" y="574648"/>
                  <a:pt x="1069891" y="574648"/>
                </a:cubicBezTo>
                <a:close/>
                <a:moveTo>
                  <a:pt x="1235321" y="572472"/>
                </a:moveTo>
                <a:cubicBezTo>
                  <a:pt x="1256543" y="572472"/>
                  <a:pt x="1279399" y="590973"/>
                  <a:pt x="1277222" y="616550"/>
                </a:cubicBezTo>
                <a:cubicBezTo>
                  <a:pt x="1278855" y="639949"/>
                  <a:pt x="1255455" y="660084"/>
                  <a:pt x="1233688" y="660084"/>
                </a:cubicBezTo>
                <a:cubicBezTo>
                  <a:pt x="1211377" y="660084"/>
                  <a:pt x="1189610" y="637773"/>
                  <a:pt x="1190154" y="614917"/>
                </a:cubicBezTo>
                <a:cubicBezTo>
                  <a:pt x="1190698" y="594783"/>
                  <a:pt x="1209200" y="571927"/>
                  <a:pt x="1235321" y="572472"/>
                </a:cubicBezTo>
                <a:close/>
                <a:moveTo>
                  <a:pt x="1397485" y="569206"/>
                </a:moveTo>
                <a:cubicBezTo>
                  <a:pt x="1423606" y="569750"/>
                  <a:pt x="1443196" y="587708"/>
                  <a:pt x="1443196" y="616005"/>
                </a:cubicBezTo>
                <a:cubicBezTo>
                  <a:pt x="1443196" y="642670"/>
                  <a:pt x="1424150" y="661716"/>
                  <a:pt x="1396941" y="661172"/>
                </a:cubicBezTo>
                <a:cubicBezTo>
                  <a:pt x="1369188" y="661172"/>
                  <a:pt x="1350686" y="638860"/>
                  <a:pt x="1351775" y="614373"/>
                </a:cubicBezTo>
                <a:cubicBezTo>
                  <a:pt x="1352319" y="587164"/>
                  <a:pt x="1371365" y="569206"/>
                  <a:pt x="1397485" y="569206"/>
                </a:cubicBezTo>
                <a:close/>
                <a:moveTo>
                  <a:pt x="1560738" y="567029"/>
                </a:moveTo>
                <a:cubicBezTo>
                  <a:pt x="1586859" y="567029"/>
                  <a:pt x="1608082" y="587708"/>
                  <a:pt x="1609714" y="615461"/>
                </a:cubicBezTo>
                <a:cubicBezTo>
                  <a:pt x="1608082" y="641581"/>
                  <a:pt x="1589580" y="663892"/>
                  <a:pt x="1561283" y="663892"/>
                </a:cubicBezTo>
                <a:cubicBezTo>
                  <a:pt x="1534074" y="663892"/>
                  <a:pt x="1512851" y="642669"/>
                  <a:pt x="1512851" y="616005"/>
                </a:cubicBezTo>
                <a:cubicBezTo>
                  <a:pt x="1512851" y="587163"/>
                  <a:pt x="1535706" y="567029"/>
                  <a:pt x="1560738" y="567029"/>
                </a:cubicBezTo>
                <a:close/>
                <a:moveTo>
                  <a:pt x="1725624" y="565397"/>
                </a:moveTo>
                <a:cubicBezTo>
                  <a:pt x="1747935" y="565941"/>
                  <a:pt x="1775144" y="590429"/>
                  <a:pt x="1774599" y="616005"/>
                </a:cubicBezTo>
                <a:cubicBezTo>
                  <a:pt x="1774055" y="638317"/>
                  <a:pt x="1751744" y="668246"/>
                  <a:pt x="1723447" y="664981"/>
                </a:cubicBezTo>
                <a:cubicBezTo>
                  <a:pt x="1700592" y="667158"/>
                  <a:pt x="1674471" y="643758"/>
                  <a:pt x="1674471" y="615461"/>
                </a:cubicBezTo>
                <a:cubicBezTo>
                  <a:pt x="1674471" y="588797"/>
                  <a:pt x="1700592" y="565397"/>
                  <a:pt x="1725624" y="565397"/>
                </a:cubicBezTo>
                <a:close/>
                <a:moveTo>
                  <a:pt x="1886699" y="564853"/>
                </a:moveTo>
                <a:cubicBezTo>
                  <a:pt x="1914996" y="564309"/>
                  <a:pt x="1938396" y="589341"/>
                  <a:pt x="1938396" y="614917"/>
                </a:cubicBezTo>
                <a:cubicBezTo>
                  <a:pt x="1938396" y="640493"/>
                  <a:pt x="1917717" y="667702"/>
                  <a:pt x="1887787" y="665525"/>
                </a:cubicBezTo>
                <a:cubicBezTo>
                  <a:pt x="1860034" y="667702"/>
                  <a:pt x="1837723" y="644302"/>
                  <a:pt x="1837179" y="615461"/>
                </a:cubicBezTo>
                <a:cubicBezTo>
                  <a:pt x="1837179" y="586620"/>
                  <a:pt x="1861667" y="565397"/>
                  <a:pt x="1886699" y="564853"/>
                </a:cubicBezTo>
                <a:close/>
                <a:moveTo>
                  <a:pt x="2050496" y="564852"/>
                </a:moveTo>
                <a:lnTo>
                  <a:pt x="2051041" y="564962"/>
                </a:lnTo>
                <a:lnTo>
                  <a:pt x="2051041" y="665899"/>
                </a:lnTo>
                <a:lnTo>
                  <a:pt x="2049952" y="666069"/>
                </a:lnTo>
                <a:cubicBezTo>
                  <a:pt x="2018934" y="667157"/>
                  <a:pt x="1999344" y="642669"/>
                  <a:pt x="1999344" y="615460"/>
                </a:cubicBezTo>
                <a:cubicBezTo>
                  <a:pt x="1999344" y="587163"/>
                  <a:pt x="2021655" y="564852"/>
                  <a:pt x="2050496" y="564852"/>
                </a:cubicBezTo>
                <a:close/>
                <a:moveTo>
                  <a:pt x="173090" y="517509"/>
                </a:moveTo>
                <a:cubicBezTo>
                  <a:pt x="181252" y="517509"/>
                  <a:pt x="189415" y="525672"/>
                  <a:pt x="189959" y="533834"/>
                </a:cubicBezTo>
                <a:cubicBezTo>
                  <a:pt x="189959" y="542541"/>
                  <a:pt x="182341" y="550160"/>
                  <a:pt x="173634" y="550160"/>
                </a:cubicBezTo>
                <a:cubicBezTo>
                  <a:pt x="165471" y="550160"/>
                  <a:pt x="157853" y="543085"/>
                  <a:pt x="157308" y="534923"/>
                </a:cubicBezTo>
                <a:cubicBezTo>
                  <a:pt x="156764" y="526216"/>
                  <a:pt x="164383" y="518053"/>
                  <a:pt x="173090" y="517509"/>
                </a:cubicBezTo>
                <a:close/>
                <a:moveTo>
                  <a:pt x="335798" y="511523"/>
                </a:moveTo>
                <a:cubicBezTo>
                  <a:pt x="349947" y="512067"/>
                  <a:pt x="357565" y="519686"/>
                  <a:pt x="358654" y="533834"/>
                </a:cubicBezTo>
                <a:cubicBezTo>
                  <a:pt x="359742" y="547439"/>
                  <a:pt x="348314" y="557778"/>
                  <a:pt x="336343" y="556689"/>
                </a:cubicBezTo>
                <a:cubicBezTo>
                  <a:pt x="324371" y="558322"/>
                  <a:pt x="312943" y="545806"/>
                  <a:pt x="312943" y="534378"/>
                </a:cubicBezTo>
                <a:cubicBezTo>
                  <a:pt x="312943" y="522951"/>
                  <a:pt x="322738" y="510979"/>
                  <a:pt x="335798" y="511523"/>
                </a:cubicBezTo>
                <a:close/>
                <a:moveTo>
                  <a:pt x="500139" y="506626"/>
                </a:moveTo>
                <a:cubicBezTo>
                  <a:pt x="517553" y="507170"/>
                  <a:pt x="527892" y="517509"/>
                  <a:pt x="527348" y="535467"/>
                </a:cubicBezTo>
                <a:cubicBezTo>
                  <a:pt x="526804" y="552880"/>
                  <a:pt x="515920" y="562131"/>
                  <a:pt x="497963" y="561587"/>
                </a:cubicBezTo>
                <a:cubicBezTo>
                  <a:pt x="481093" y="561043"/>
                  <a:pt x="472386" y="550704"/>
                  <a:pt x="471842" y="533290"/>
                </a:cubicBezTo>
                <a:cubicBezTo>
                  <a:pt x="471298" y="516965"/>
                  <a:pt x="485447" y="506081"/>
                  <a:pt x="500139" y="506626"/>
                </a:cubicBezTo>
                <a:close/>
                <a:moveTo>
                  <a:pt x="662304" y="500639"/>
                </a:moveTo>
                <a:cubicBezTo>
                  <a:pt x="677540" y="497919"/>
                  <a:pt x="696587" y="518597"/>
                  <a:pt x="696042" y="533290"/>
                </a:cubicBezTo>
                <a:cubicBezTo>
                  <a:pt x="694954" y="551792"/>
                  <a:pt x="681894" y="565396"/>
                  <a:pt x="663392" y="566485"/>
                </a:cubicBezTo>
                <a:cubicBezTo>
                  <a:pt x="643802" y="567573"/>
                  <a:pt x="629653" y="549615"/>
                  <a:pt x="630197" y="534378"/>
                </a:cubicBezTo>
                <a:cubicBezTo>
                  <a:pt x="630741" y="515876"/>
                  <a:pt x="644346" y="501184"/>
                  <a:pt x="662304" y="500639"/>
                </a:cubicBezTo>
                <a:close/>
                <a:moveTo>
                  <a:pt x="825557" y="496830"/>
                </a:moveTo>
                <a:cubicBezTo>
                  <a:pt x="846780" y="496286"/>
                  <a:pt x="862561" y="513700"/>
                  <a:pt x="863649" y="534923"/>
                </a:cubicBezTo>
                <a:cubicBezTo>
                  <a:pt x="862017" y="556690"/>
                  <a:pt x="845147" y="571927"/>
                  <a:pt x="825557" y="571383"/>
                </a:cubicBezTo>
                <a:cubicBezTo>
                  <a:pt x="805422" y="570838"/>
                  <a:pt x="788553" y="555057"/>
                  <a:pt x="788553" y="534379"/>
                </a:cubicBezTo>
                <a:cubicBezTo>
                  <a:pt x="788553" y="514244"/>
                  <a:pt x="804334" y="497375"/>
                  <a:pt x="825557" y="496830"/>
                </a:cubicBezTo>
                <a:close/>
                <a:moveTo>
                  <a:pt x="989898" y="494110"/>
                </a:moveTo>
                <a:cubicBezTo>
                  <a:pt x="1012209" y="494654"/>
                  <a:pt x="1029622" y="513156"/>
                  <a:pt x="1029078" y="534923"/>
                </a:cubicBezTo>
                <a:cubicBezTo>
                  <a:pt x="1028534" y="556146"/>
                  <a:pt x="1010576" y="574104"/>
                  <a:pt x="989353" y="574104"/>
                </a:cubicBezTo>
                <a:cubicBezTo>
                  <a:pt x="969763" y="574648"/>
                  <a:pt x="947452" y="556690"/>
                  <a:pt x="949629" y="533835"/>
                </a:cubicBezTo>
                <a:cubicBezTo>
                  <a:pt x="947996" y="512068"/>
                  <a:pt x="968675" y="494110"/>
                  <a:pt x="989898" y="494110"/>
                </a:cubicBezTo>
                <a:close/>
                <a:moveTo>
                  <a:pt x="1152062" y="490301"/>
                </a:moveTo>
                <a:cubicBezTo>
                  <a:pt x="1174917" y="490301"/>
                  <a:pt x="1196140" y="509347"/>
                  <a:pt x="1196140" y="533835"/>
                </a:cubicBezTo>
                <a:cubicBezTo>
                  <a:pt x="1197228" y="558867"/>
                  <a:pt x="1173829" y="577913"/>
                  <a:pt x="1152606" y="577369"/>
                </a:cubicBezTo>
                <a:cubicBezTo>
                  <a:pt x="1130839" y="577369"/>
                  <a:pt x="1109616" y="556690"/>
                  <a:pt x="1109072" y="534379"/>
                </a:cubicBezTo>
                <a:cubicBezTo>
                  <a:pt x="1108528" y="510980"/>
                  <a:pt x="1128662" y="490301"/>
                  <a:pt x="1152062" y="490301"/>
                </a:cubicBezTo>
                <a:close/>
                <a:moveTo>
                  <a:pt x="1316947" y="489212"/>
                </a:moveTo>
                <a:cubicBezTo>
                  <a:pt x="1343612" y="489756"/>
                  <a:pt x="1361570" y="510435"/>
                  <a:pt x="1361570" y="534923"/>
                </a:cubicBezTo>
                <a:cubicBezTo>
                  <a:pt x="1361570" y="560499"/>
                  <a:pt x="1341980" y="580090"/>
                  <a:pt x="1315859" y="580090"/>
                </a:cubicBezTo>
                <a:cubicBezTo>
                  <a:pt x="1291915" y="580090"/>
                  <a:pt x="1269060" y="560499"/>
                  <a:pt x="1270693" y="533835"/>
                </a:cubicBezTo>
                <a:cubicBezTo>
                  <a:pt x="1269604" y="508258"/>
                  <a:pt x="1291371" y="488124"/>
                  <a:pt x="1316947" y="489212"/>
                </a:cubicBezTo>
                <a:close/>
                <a:moveTo>
                  <a:pt x="1479112" y="484315"/>
                </a:moveTo>
                <a:cubicBezTo>
                  <a:pt x="1503599" y="484315"/>
                  <a:pt x="1528087" y="508259"/>
                  <a:pt x="1528087" y="533835"/>
                </a:cubicBezTo>
                <a:cubicBezTo>
                  <a:pt x="1528087" y="558867"/>
                  <a:pt x="1506865" y="582267"/>
                  <a:pt x="1479656" y="582267"/>
                </a:cubicBezTo>
                <a:cubicBezTo>
                  <a:pt x="1453535" y="582267"/>
                  <a:pt x="1431224" y="560500"/>
                  <a:pt x="1431224" y="533835"/>
                </a:cubicBezTo>
                <a:cubicBezTo>
                  <a:pt x="1430680" y="506626"/>
                  <a:pt x="1454624" y="485403"/>
                  <a:pt x="1479112" y="484315"/>
                </a:cubicBezTo>
                <a:close/>
                <a:moveTo>
                  <a:pt x="1643452" y="484314"/>
                </a:moveTo>
                <a:cubicBezTo>
                  <a:pt x="1667396" y="481049"/>
                  <a:pt x="1693517" y="509891"/>
                  <a:pt x="1692973" y="534923"/>
                </a:cubicBezTo>
                <a:cubicBezTo>
                  <a:pt x="1692428" y="558867"/>
                  <a:pt x="1669573" y="584987"/>
                  <a:pt x="1641276" y="583898"/>
                </a:cubicBezTo>
                <a:cubicBezTo>
                  <a:pt x="1616788" y="583354"/>
                  <a:pt x="1592300" y="562676"/>
                  <a:pt x="1592300" y="532202"/>
                </a:cubicBezTo>
                <a:cubicBezTo>
                  <a:pt x="1592300" y="509891"/>
                  <a:pt x="1615155" y="481049"/>
                  <a:pt x="1643452" y="484314"/>
                </a:cubicBezTo>
                <a:close/>
                <a:moveTo>
                  <a:pt x="1806162" y="481594"/>
                </a:moveTo>
                <a:cubicBezTo>
                  <a:pt x="1839901" y="484859"/>
                  <a:pt x="1858947" y="504993"/>
                  <a:pt x="1857858" y="536011"/>
                </a:cubicBezTo>
                <a:cubicBezTo>
                  <a:pt x="1855682" y="568662"/>
                  <a:pt x="1834459" y="584987"/>
                  <a:pt x="1803441" y="586075"/>
                </a:cubicBezTo>
                <a:cubicBezTo>
                  <a:pt x="1775144" y="584443"/>
                  <a:pt x="1751744" y="559955"/>
                  <a:pt x="1753377" y="533290"/>
                </a:cubicBezTo>
                <a:cubicBezTo>
                  <a:pt x="1755009" y="504993"/>
                  <a:pt x="1780041" y="479417"/>
                  <a:pt x="1806162" y="481594"/>
                </a:cubicBezTo>
                <a:close/>
                <a:moveTo>
                  <a:pt x="1968326" y="480505"/>
                </a:moveTo>
                <a:cubicBezTo>
                  <a:pt x="1998256" y="483226"/>
                  <a:pt x="2020023" y="501728"/>
                  <a:pt x="2022200" y="534379"/>
                </a:cubicBezTo>
                <a:cubicBezTo>
                  <a:pt x="2023832" y="560499"/>
                  <a:pt x="1996079" y="588252"/>
                  <a:pt x="1969415" y="588252"/>
                </a:cubicBezTo>
                <a:cubicBezTo>
                  <a:pt x="1943294" y="588796"/>
                  <a:pt x="1916085" y="561587"/>
                  <a:pt x="1915541" y="534923"/>
                </a:cubicBezTo>
                <a:cubicBezTo>
                  <a:pt x="1914453" y="508258"/>
                  <a:pt x="1941117" y="480505"/>
                  <a:pt x="1968326" y="480505"/>
                </a:cubicBezTo>
                <a:close/>
                <a:moveTo>
                  <a:pt x="91464" y="440780"/>
                </a:moveTo>
                <a:cubicBezTo>
                  <a:pt x="99082" y="440780"/>
                  <a:pt x="102347" y="443501"/>
                  <a:pt x="102891" y="451664"/>
                </a:cubicBezTo>
                <a:cubicBezTo>
                  <a:pt x="102891" y="460915"/>
                  <a:pt x="100171" y="464179"/>
                  <a:pt x="92008" y="464179"/>
                </a:cubicBezTo>
                <a:cubicBezTo>
                  <a:pt x="83301" y="464179"/>
                  <a:pt x="80036" y="461459"/>
                  <a:pt x="80036" y="452752"/>
                </a:cubicBezTo>
                <a:cubicBezTo>
                  <a:pt x="80036" y="444045"/>
                  <a:pt x="83301" y="440780"/>
                  <a:pt x="91464" y="440780"/>
                </a:cubicBezTo>
                <a:close/>
                <a:moveTo>
                  <a:pt x="254172" y="430441"/>
                </a:moveTo>
                <a:cubicBezTo>
                  <a:pt x="263967" y="430441"/>
                  <a:pt x="276483" y="440236"/>
                  <a:pt x="275939" y="452208"/>
                </a:cubicBezTo>
                <a:cubicBezTo>
                  <a:pt x="275939" y="463092"/>
                  <a:pt x="265600" y="473975"/>
                  <a:pt x="254716" y="473975"/>
                </a:cubicBezTo>
                <a:cubicBezTo>
                  <a:pt x="244377" y="473975"/>
                  <a:pt x="232949" y="463092"/>
                  <a:pt x="232405" y="452752"/>
                </a:cubicBezTo>
                <a:cubicBezTo>
                  <a:pt x="232405" y="442413"/>
                  <a:pt x="243833" y="430985"/>
                  <a:pt x="254172" y="430441"/>
                </a:cubicBezTo>
                <a:close/>
                <a:moveTo>
                  <a:pt x="417969" y="424999"/>
                </a:moveTo>
                <a:cubicBezTo>
                  <a:pt x="432118" y="424999"/>
                  <a:pt x="444634" y="438059"/>
                  <a:pt x="444634" y="452752"/>
                </a:cubicBezTo>
                <a:cubicBezTo>
                  <a:pt x="445178" y="464180"/>
                  <a:pt x="432662" y="481049"/>
                  <a:pt x="417425" y="479417"/>
                </a:cubicBezTo>
                <a:cubicBezTo>
                  <a:pt x="405453" y="481049"/>
                  <a:pt x="389672" y="465268"/>
                  <a:pt x="390760" y="452208"/>
                </a:cubicBezTo>
                <a:cubicBezTo>
                  <a:pt x="391849" y="437515"/>
                  <a:pt x="403276" y="424999"/>
                  <a:pt x="417969" y="424999"/>
                </a:cubicBezTo>
                <a:close/>
                <a:moveTo>
                  <a:pt x="580677" y="419558"/>
                </a:moveTo>
                <a:cubicBezTo>
                  <a:pt x="596458" y="419013"/>
                  <a:pt x="612783" y="434795"/>
                  <a:pt x="612783" y="452208"/>
                </a:cubicBezTo>
                <a:cubicBezTo>
                  <a:pt x="612783" y="469622"/>
                  <a:pt x="599723" y="483226"/>
                  <a:pt x="581221" y="484315"/>
                </a:cubicBezTo>
                <a:cubicBezTo>
                  <a:pt x="561087" y="482138"/>
                  <a:pt x="549659" y="470710"/>
                  <a:pt x="549115" y="452208"/>
                </a:cubicBezTo>
                <a:cubicBezTo>
                  <a:pt x="548571" y="433162"/>
                  <a:pt x="564352" y="420102"/>
                  <a:pt x="580677" y="419558"/>
                </a:cubicBezTo>
                <a:close/>
                <a:moveTo>
                  <a:pt x="743931" y="415748"/>
                </a:moveTo>
                <a:cubicBezTo>
                  <a:pt x="761888" y="414660"/>
                  <a:pt x="779846" y="432618"/>
                  <a:pt x="780390" y="452208"/>
                </a:cubicBezTo>
                <a:cubicBezTo>
                  <a:pt x="780934" y="471254"/>
                  <a:pt x="764065" y="488668"/>
                  <a:pt x="744475" y="489212"/>
                </a:cubicBezTo>
                <a:cubicBezTo>
                  <a:pt x="727061" y="489212"/>
                  <a:pt x="709103" y="472342"/>
                  <a:pt x="708559" y="453840"/>
                </a:cubicBezTo>
                <a:cubicBezTo>
                  <a:pt x="707471" y="435883"/>
                  <a:pt x="725428" y="416836"/>
                  <a:pt x="743931" y="415748"/>
                </a:cubicBezTo>
                <a:close/>
                <a:moveTo>
                  <a:pt x="908271" y="414116"/>
                </a:moveTo>
                <a:cubicBezTo>
                  <a:pt x="927861" y="411395"/>
                  <a:pt x="946907" y="431529"/>
                  <a:pt x="946363" y="453296"/>
                </a:cubicBezTo>
                <a:cubicBezTo>
                  <a:pt x="946363" y="473975"/>
                  <a:pt x="927317" y="491933"/>
                  <a:pt x="906638" y="491933"/>
                </a:cubicBezTo>
                <a:cubicBezTo>
                  <a:pt x="887048" y="491933"/>
                  <a:pt x="866913" y="473431"/>
                  <a:pt x="868546" y="452208"/>
                </a:cubicBezTo>
                <a:cubicBezTo>
                  <a:pt x="870179" y="428808"/>
                  <a:pt x="884871" y="413571"/>
                  <a:pt x="908271" y="414116"/>
                </a:cubicBezTo>
                <a:close/>
                <a:moveTo>
                  <a:pt x="1072068" y="409218"/>
                </a:moveTo>
                <a:cubicBezTo>
                  <a:pt x="1097100" y="410307"/>
                  <a:pt x="1113970" y="427720"/>
                  <a:pt x="1113970" y="452752"/>
                </a:cubicBezTo>
                <a:cubicBezTo>
                  <a:pt x="1113970" y="478329"/>
                  <a:pt x="1092203" y="495198"/>
                  <a:pt x="1070436" y="495198"/>
                </a:cubicBezTo>
                <a:cubicBezTo>
                  <a:pt x="1048124" y="494654"/>
                  <a:pt x="1027446" y="475063"/>
                  <a:pt x="1028534" y="451120"/>
                </a:cubicBezTo>
                <a:cubicBezTo>
                  <a:pt x="1029622" y="427720"/>
                  <a:pt x="1048669" y="408130"/>
                  <a:pt x="1072068" y="409218"/>
                </a:cubicBezTo>
                <a:close/>
                <a:moveTo>
                  <a:pt x="1235865" y="408130"/>
                </a:moveTo>
                <a:cubicBezTo>
                  <a:pt x="1258721" y="405953"/>
                  <a:pt x="1279400" y="427176"/>
                  <a:pt x="1279400" y="453296"/>
                </a:cubicBezTo>
                <a:cubicBezTo>
                  <a:pt x="1278855" y="478328"/>
                  <a:pt x="1258177" y="497374"/>
                  <a:pt x="1233689" y="497374"/>
                </a:cubicBezTo>
                <a:cubicBezTo>
                  <a:pt x="1209745" y="496830"/>
                  <a:pt x="1189066" y="476151"/>
                  <a:pt x="1189611" y="451664"/>
                </a:cubicBezTo>
                <a:cubicBezTo>
                  <a:pt x="1189611" y="429352"/>
                  <a:pt x="1209201" y="404864"/>
                  <a:pt x="1235865" y="408130"/>
                </a:cubicBezTo>
                <a:close/>
                <a:moveTo>
                  <a:pt x="1396941" y="403776"/>
                </a:moveTo>
                <a:cubicBezTo>
                  <a:pt x="1425238" y="403232"/>
                  <a:pt x="1445373" y="423911"/>
                  <a:pt x="1446461" y="450575"/>
                </a:cubicBezTo>
                <a:cubicBezTo>
                  <a:pt x="1447005" y="476696"/>
                  <a:pt x="1426327" y="500096"/>
                  <a:pt x="1399118" y="500640"/>
                </a:cubicBezTo>
                <a:cubicBezTo>
                  <a:pt x="1372453" y="501184"/>
                  <a:pt x="1349598" y="479961"/>
                  <a:pt x="1349598" y="453296"/>
                </a:cubicBezTo>
                <a:cubicBezTo>
                  <a:pt x="1349598" y="424999"/>
                  <a:pt x="1370277" y="404865"/>
                  <a:pt x="1396941" y="403776"/>
                </a:cubicBezTo>
                <a:close/>
                <a:moveTo>
                  <a:pt x="1560738" y="402144"/>
                </a:moveTo>
                <a:cubicBezTo>
                  <a:pt x="1588491" y="402144"/>
                  <a:pt x="1611347" y="427176"/>
                  <a:pt x="1611347" y="453297"/>
                </a:cubicBezTo>
                <a:cubicBezTo>
                  <a:pt x="1610803" y="476152"/>
                  <a:pt x="1590668" y="502817"/>
                  <a:pt x="1560194" y="502272"/>
                </a:cubicBezTo>
                <a:cubicBezTo>
                  <a:pt x="1534074" y="501728"/>
                  <a:pt x="1508498" y="479961"/>
                  <a:pt x="1511218" y="451664"/>
                </a:cubicBezTo>
                <a:cubicBezTo>
                  <a:pt x="1508498" y="425544"/>
                  <a:pt x="1534618" y="402144"/>
                  <a:pt x="1560738" y="402144"/>
                </a:cubicBezTo>
                <a:close/>
                <a:moveTo>
                  <a:pt x="1723991" y="399423"/>
                </a:moveTo>
                <a:cubicBezTo>
                  <a:pt x="1756097" y="402688"/>
                  <a:pt x="1777320" y="422278"/>
                  <a:pt x="1776776" y="452752"/>
                </a:cubicBezTo>
                <a:cubicBezTo>
                  <a:pt x="1776232" y="483226"/>
                  <a:pt x="1757730" y="501728"/>
                  <a:pt x="1725079" y="504993"/>
                </a:cubicBezTo>
                <a:cubicBezTo>
                  <a:pt x="1697870" y="507714"/>
                  <a:pt x="1670117" y="479961"/>
                  <a:pt x="1671750" y="452752"/>
                </a:cubicBezTo>
                <a:cubicBezTo>
                  <a:pt x="1673382" y="420102"/>
                  <a:pt x="1692428" y="403232"/>
                  <a:pt x="1723991" y="399423"/>
                </a:cubicBezTo>
                <a:close/>
                <a:moveTo>
                  <a:pt x="2051040" y="398335"/>
                </a:moveTo>
                <a:lnTo>
                  <a:pt x="2051041" y="398335"/>
                </a:lnTo>
                <a:lnTo>
                  <a:pt x="2051041" y="506936"/>
                </a:lnTo>
                <a:lnTo>
                  <a:pt x="2049952" y="507170"/>
                </a:lnTo>
                <a:cubicBezTo>
                  <a:pt x="2020566" y="506626"/>
                  <a:pt x="1995534" y="481593"/>
                  <a:pt x="1995534" y="452208"/>
                </a:cubicBezTo>
                <a:cubicBezTo>
                  <a:pt x="1996078" y="424455"/>
                  <a:pt x="2021655" y="397246"/>
                  <a:pt x="2051040" y="398335"/>
                </a:cubicBezTo>
                <a:close/>
                <a:moveTo>
                  <a:pt x="1888332" y="398335"/>
                </a:moveTo>
                <a:cubicBezTo>
                  <a:pt x="1915541" y="398879"/>
                  <a:pt x="1941661" y="423911"/>
                  <a:pt x="1941661" y="452208"/>
                </a:cubicBezTo>
                <a:cubicBezTo>
                  <a:pt x="1941661" y="481594"/>
                  <a:pt x="1916085" y="507170"/>
                  <a:pt x="1886699" y="506082"/>
                </a:cubicBezTo>
                <a:cubicBezTo>
                  <a:pt x="1857314" y="505538"/>
                  <a:pt x="1833914" y="481594"/>
                  <a:pt x="1833370" y="452208"/>
                </a:cubicBezTo>
                <a:cubicBezTo>
                  <a:pt x="1833370" y="423911"/>
                  <a:pt x="1860035" y="398335"/>
                  <a:pt x="1888332" y="398335"/>
                </a:cubicBezTo>
                <a:close/>
                <a:moveTo>
                  <a:pt x="12014" y="364052"/>
                </a:moveTo>
                <a:cubicBezTo>
                  <a:pt x="13102" y="365140"/>
                  <a:pt x="15279" y="367317"/>
                  <a:pt x="15823" y="370038"/>
                </a:cubicBezTo>
                <a:cubicBezTo>
                  <a:pt x="16911" y="374391"/>
                  <a:pt x="14191" y="377656"/>
                  <a:pt x="9293" y="377656"/>
                </a:cubicBezTo>
                <a:cubicBezTo>
                  <a:pt x="4940" y="377656"/>
                  <a:pt x="3307" y="374936"/>
                  <a:pt x="3307" y="371126"/>
                </a:cubicBezTo>
                <a:cubicBezTo>
                  <a:pt x="3307" y="367317"/>
                  <a:pt x="4940" y="364052"/>
                  <a:pt x="12014" y="364052"/>
                </a:cubicBezTo>
                <a:close/>
                <a:moveTo>
                  <a:pt x="172545" y="353713"/>
                </a:moveTo>
                <a:cubicBezTo>
                  <a:pt x="184517" y="353713"/>
                  <a:pt x="190503" y="359154"/>
                  <a:pt x="190503" y="370582"/>
                </a:cubicBezTo>
                <a:cubicBezTo>
                  <a:pt x="190503" y="381466"/>
                  <a:pt x="184517" y="387996"/>
                  <a:pt x="173090" y="387996"/>
                </a:cubicBezTo>
                <a:cubicBezTo>
                  <a:pt x="163839" y="388540"/>
                  <a:pt x="155676" y="381466"/>
                  <a:pt x="155676" y="371126"/>
                </a:cubicBezTo>
                <a:cubicBezTo>
                  <a:pt x="155676" y="362419"/>
                  <a:pt x="161662" y="352080"/>
                  <a:pt x="172545" y="353713"/>
                </a:cubicBezTo>
                <a:close/>
                <a:moveTo>
                  <a:pt x="336886" y="345550"/>
                </a:moveTo>
                <a:cubicBezTo>
                  <a:pt x="350490" y="346094"/>
                  <a:pt x="362462" y="358610"/>
                  <a:pt x="361374" y="371670"/>
                </a:cubicBezTo>
                <a:cubicBezTo>
                  <a:pt x="360286" y="385275"/>
                  <a:pt x="348858" y="395614"/>
                  <a:pt x="335798" y="395070"/>
                </a:cubicBezTo>
                <a:cubicBezTo>
                  <a:pt x="319472" y="394526"/>
                  <a:pt x="311854" y="381466"/>
                  <a:pt x="311854" y="370038"/>
                </a:cubicBezTo>
                <a:cubicBezTo>
                  <a:pt x="311854" y="356978"/>
                  <a:pt x="324370" y="345550"/>
                  <a:pt x="336886" y="345550"/>
                </a:cubicBezTo>
                <a:close/>
                <a:moveTo>
                  <a:pt x="499596" y="342284"/>
                </a:moveTo>
                <a:cubicBezTo>
                  <a:pt x="518642" y="341196"/>
                  <a:pt x="528437" y="354256"/>
                  <a:pt x="528437" y="370582"/>
                </a:cubicBezTo>
                <a:cubicBezTo>
                  <a:pt x="528437" y="386363"/>
                  <a:pt x="518642" y="399967"/>
                  <a:pt x="499051" y="399423"/>
                </a:cubicBezTo>
                <a:cubicBezTo>
                  <a:pt x="481094" y="399423"/>
                  <a:pt x="470210" y="387995"/>
                  <a:pt x="470210" y="370037"/>
                </a:cubicBezTo>
                <a:cubicBezTo>
                  <a:pt x="470754" y="352624"/>
                  <a:pt x="481638" y="341740"/>
                  <a:pt x="499596" y="342284"/>
                </a:cubicBezTo>
                <a:close/>
                <a:moveTo>
                  <a:pt x="663392" y="337387"/>
                </a:moveTo>
                <a:cubicBezTo>
                  <a:pt x="680262" y="337387"/>
                  <a:pt x="697675" y="354801"/>
                  <a:pt x="697131" y="371126"/>
                </a:cubicBezTo>
                <a:cubicBezTo>
                  <a:pt x="696043" y="390172"/>
                  <a:pt x="682982" y="404321"/>
                  <a:pt x="662304" y="404321"/>
                </a:cubicBezTo>
                <a:cubicBezTo>
                  <a:pt x="643258" y="405953"/>
                  <a:pt x="629109" y="389084"/>
                  <a:pt x="629109" y="371126"/>
                </a:cubicBezTo>
                <a:cubicBezTo>
                  <a:pt x="629109" y="352624"/>
                  <a:pt x="645434" y="337387"/>
                  <a:pt x="663392" y="337387"/>
                </a:cubicBezTo>
                <a:close/>
                <a:moveTo>
                  <a:pt x="825556" y="332489"/>
                </a:moveTo>
                <a:cubicBezTo>
                  <a:pt x="847323" y="333577"/>
                  <a:pt x="864193" y="349358"/>
                  <a:pt x="864737" y="370037"/>
                </a:cubicBezTo>
                <a:cubicBezTo>
                  <a:pt x="864193" y="391260"/>
                  <a:pt x="847323" y="409218"/>
                  <a:pt x="826645" y="409218"/>
                </a:cubicBezTo>
                <a:cubicBezTo>
                  <a:pt x="808687" y="412483"/>
                  <a:pt x="788008" y="387995"/>
                  <a:pt x="787464" y="371126"/>
                </a:cubicBezTo>
                <a:cubicBezTo>
                  <a:pt x="787464" y="353712"/>
                  <a:pt x="808687" y="331945"/>
                  <a:pt x="825556" y="332489"/>
                </a:cubicBezTo>
                <a:close/>
                <a:moveTo>
                  <a:pt x="989898" y="328680"/>
                </a:moveTo>
                <a:cubicBezTo>
                  <a:pt x="1013297" y="329224"/>
                  <a:pt x="1030167" y="347182"/>
                  <a:pt x="1031255" y="371126"/>
                </a:cubicBezTo>
                <a:cubicBezTo>
                  <a:pt x="1029623" y="396702"/>
                  <a:pt x="1010576" y="413027"/>
                  <a:pt x="989354" y="413027"/>
                </a:cubicBezTo>
                <a:cubicBezTo>
                  <a:pt x="964866" y="412483"/>
                  <a:pt x="946908" y="393981"/>
                  <a:pt x="947452" y="370037"/>
                </a:cubicBezTo>
                <a:cubicBezTo>
                  <a:pt x="947996" y="346094"/>
                  <a:pt x="964866" y="328680"/>
                  <a:pt x="989898" y="328680"/>
                </a:cubicBezTo>
                <a:close/>
                <a:moveTo>
                  <a:pt x="1153150" y="326504"/>
                </a:moveTo>
                <a:cubicBezTo>
                  <a:pt x="1177094" y="326504"/>
                  <a:pt x="1197228" y="347727"/>
                  <a:pt x="1197228" y="370582"/>
                </a:cubicBezTo>
                <a:cubicBezTo>
                  <a:pt x="1197228" y="392894"/>
                  <a:pt x="1176550" y="417925"/>
                  <a:pt x="1152606" y="414661"/>
                </a:cubicBezTo>
                <a:cubicBezTo>
                  <a:pt x="1130295" y="417925"/>
                  <a:pt x="1107984" y="393982"/>
                  <a:pt x="1108528" y="370038"/>
                </a:cubicBezTo>
                <a:cubicBezTo>
                  <a:pt x="1109072" y="347727"/>
                  <a:pt x="1129751" y="326504"/>
                  <a:pt x="1153150" y="326504"/>
                </a:cubicBezTo>
                <a:close/>
                <a:moveTo>
                  <a:pt x="1317492" y="323239"/>
                </a:moveTo>
                <a:cubicBezTo>
                  <a:pt x="1341979" y="322151"/>
                  <a:pt x="1367012" y="348271"/>
                  <a:pt x="1364835" y="372215"/>
                </a:cubicBezTo>
                <a:cubicBezTo>
                  <a:pt x="1361026" y="399968"/>
                  <a:pt x="1344700" y="416837"/>
                  <a:pt x="1314771" y="419014"/>
                </a:cubicBezTo>
                <a:cubicBezTo>
                  <a:pt x="1286474" y="415205"/>
                  <a:pt x="1267972" y="398879"/>
                  <a:pt x="1268516" y="370582"/>
                </a:cubicBezTo>
                <a:cubicBezTo>
                  <a:pt x="1268516" y="341197"/>
                  <a:pt x="1288650" y="324327"/>
                  <a:pt x="1317492" y="323239"/>
                </a:cubicBezTo>
                <a:close/>
                <a:moveTo>
                  <a:pt x="1479112" y="320517"/>
                </a:moveTo>
                <a:cubicBezTo>
                  <a:pt x="1503600" y="319973"/>
                  <a:pt x="1530265" y="343917"/>
                  <a:pt x="1529720" y="371670"/>
                </a:cubicBezTo>
                <a:cubicBezTo>
                  <a:pt x="1528632" y="395069"/>
                  <a:pt x="1506321" y="423366"/>
                  <a:pt x="1478568" y="420101"/>
                </a:cubicBezTo>
                <a:cubicBezTo>
                  <a:pt x="1452447" y="422822"/>
                  <a:pt x="1429592" y="397246"/>
                  <a:pt x="1429592" y="370037"/>
                </a:cubicBezTo>
                <a:cubicBezTo>
                  <a:pt x="1429592" y="342284"/>
                  <a:pt x="1455713" y="320517"/>
                  <a:pt x="1479112" y="320517"/>
                </a:cubicBezTo>
                <a:close/>
                <a:moveTo>
                  <a:pt x="1642364" y="318341"/>
                </a:moveTo>
                <a:cubicBezTo>
                  <a:pt x="1670661" y="318341"/>
                  <a:pt x="1692973" y="339020"/>
                  <a:pt x="1695694" y="370582"/>
                </a:cubicBezTo>
                <a:cubicBezTo>
                  <a:pt x="1696238" y="397791"/>
                  <a:pt x="1671206" y="423367"/>
                  <a:pt x="1643453" y="424455"/>
                </a:cubicBezTo>
                <a:cubicBezTo>
                  <a:pt x="1616788" y="425544"/>
                  <a:pt x="1589035" y="398335"/>
                  <a:pt x="1589035" y="371670"/>
                </a:cubicBezTo>
                <a:cubicBezTo>
                  <a:pt x="1589035" y="345006"/>
                  <a:pt x="1615155" y="317797"/>
                  <a:pt x="1642364" y="318341"/>
                </a:cubicBezTo>
                <a:close/>
                <a:moveTo>
                  <a:pt x="90919" y="273718"/>
                </a:moveTo>
                <a:cubicBezTo>
                  <a:pt x="96361" y="273174"/>
                  <a:pt x="106156" y="282425"/>
                  <a:pt x="106700" y="288411"/>
                </a:cubicBezTo>
                <a:cubicBezTo>
                  <a:pt x="106700" y="294941"/>
                  <a:pt x="97993" y="303648"/>
                  <a:pt x="91463" y="303648"/>
                </a:cubicBezTo>
                <a:cubicBezTo>
                  <a:pt x="84933" y="303648"/>
                  <a:pt x="76226" y="294941"/>
                  <a:pt x="76770" y="288411"/>
                </a:cubicBezTo>
                <a:cubicBezTo>
                  <a:pt x="76770" y="283513"/>
                  <a:pt x="86021" y="274262"/>
                  <a:pt x="90919" y="273718"/>
                </a:cubicBezTo>
                <a:close/>
                <a:moveTo>
                  <a:pt x="254716" y="267733"/>
                </a:moveTo>
                <a:cubicBezTo>
                  <a:pt x="267776" y="267733"/>
                  <a:pt x="276483" y="276440"/>
                  <a:pt x="276483" y="288956"/>
                </a:cubicBezTo>
                <a:cubicBezTo>
                  <a:pt x="276483" y="301472"/>
                  <a:pt x="266688" y="311811"/>
                  <a:pt x="254172" y="311811"/>
                </a:cubicBezTo>
                <a:cubicBezTo>
                  <a:pt x="243289" y="311811"/>
                  <a:pt x="232405" y="300384"/>
                  <a:pt x="232405" y="289500"/>
                </a:cubicBezTo>
                <a:cubicBezTo>
                  <a:pt x="232405" y="276984"/>
                  <a:pt x="242744" y="267733"/>
                  <a:pt x="254716" y="267733"/>
                </a:cubicBezTo>
                <a:close/>
                <a:moveTo>
                  <a:pt x="1941117" y="263202"/>
                </a:moveTo>
                <a:cubicBezTo>
                  <a:pt x="1937852" y="261570"/>
                  <a:pt x="1936219" y="263202"/>
                  <a:pt x="1936219" y="266467"/>
                </a:cubicBezTo>
                <a:cubicBezTo>
                  <a:pt x="1936763" y="268644"/>
                  <a:pt x="1937852" y="270276"/>
                  <a:pt x="1938396" y="272453"/>
                </a:cubicBezTo>
                <a:cubicBezTo>
                  <a:pt x="1944382" y="290955"/>
                  <a:pt x="1943838" y="308913"/>
                  <a:pt x="1932954" y="325782"/>
                </a:cubicBezTo>
                <a:cubicBezTo>
                  <a:pt x="1931866" y="327415"/>
                  <a:pt x="1931866" y="329047"/>
                  <a:pt x="1930777" y="331224"/>
                </a:cubicBezTo>
                <a:cubicBezTo>
                  <a:pt x="1932410" y="331224"/>
                  <a:pt x="1935131" y="331224"/>
                  <a:pt x="1936219" y="330136"/>
                </a:cubicBezTo>
                <a:cubicBezTo>
                  <a:pt x="1945470" y="323061"/>
                  <a:pt x="1955265" y="320885"/>
                  <a:pt x="1966693" y="320340"/>
                </a:cubicBezTo>
                <a:cubicBezTo>
                  <a:pt x="1978121" y="319796"/>
                  <a:pt x="1989004" y="323061"/>
                  <a:pt x="1998799" y="328503"/>
                </a:cubicBezTo>
                <a:cubicBezTo>
                  <a:pt x="2000432" y="329047"/>
                  <a:pt x="2001520" y="329592"/>
                  <a:pt x="2003153" y="330136"/>
                </a:cubicBezTo>
                <a:cubicBezTo>
                  <a:pt x="2002609" y="328503"/>
                  <a:pt x="2002609" y="326326"/>
                  <a:pt x="2001520" y="324694"/>
                </a:cubicBezTo>
                <a:cubicBezTo>
                  <a:pt x="1999344" y="319796"/>
                  <a:pt x="1995534" y="314899"/>
                  <a:pt x="1994446" y="309457"/>
                </a:cubicBezTo>
                <a:cubicBezTo>
                  <a:pt x="1992269" y="295308"/>
                  <a:pt x="1990093" y="281160"/>
                  <a:pt x="1998255" y="267555"/>
                </a:cubicBezTo>
                <a:cubicBezTo>
                  <a:pt x="2000432" y="267555"/>
                  <a:pt x="2000432" y="265923"/>
                  <a:pt x="2000976" y="263746"/>
                </a:cubicBezTo>
                <a:cubicBezTo>
                  <a:pt x="1998799" y="263746"/>
                  <a:pt x="1996623" y="262658"/>
                  <a:pt x="1995534" y="263746"/>
                </a:cubicBezTo>
                <a:cubicBezTo>
                  <a:pt x="1977577" y="272997"/>
                  <a:pt x="1959075" y="272997"/>
                  <a:pt x="1941117" y="263202"/>
                </a:cubicBezTo>
                <a:close/>
                <a:moveTo>
                  <a:pt x="417425" y="262291"/>
                </a:moveTo>
                <a:cubicBezTo>
                  <a:pt x="434839" y="262291"/>
                  <a:pt x="445178" y="272086"/>
                  <a:pt x="445178" y="288956"/>
                </a:cubicBezTo>
                <a:cubicBezTo>
                  <a:pt x="445178" y="305825"/>
                  <a:pt x="434839" y="316164"/>
                  <a:pt x="417969" y="317253"/>
                </a:cubicBezTo>
                <a:cubicBezTo>
                  <a:pt x="404909" y="317797"/>
                  <a:pt x="389672" y="306369"/>
                  <a:pt x="390216" y="290044"/>
                </a:cubicBezTo>
                <a:cubicBezTo>
                  <a:pt x="391305" y="272086"/>
                  <a:pt x="400011" y="262291"/>
                  <a:pt x="417425" y="262291"/>
                </a:cubicBezTo>
                <a:close/>
                <a:moveTo>
                  <a:pt x="580678" y="256304"/>
                </a:moveTo>
                <a:cubicBezTo>
                  <a:pt x="596459" y="255760"/>
                  <a:pt x="616049" y="273174"/>
                  <a:pt x="613872" y="288955"/>
                </a:cubicBezTo>
                <a:cubicBezTo>
                  <a:pt x="615505" y="304736"/>
                  <a:pt x="598635" y="322150"/>
                  <a:pt x="581222" y="322150"/>
                </a:cubicBezTo>
                <a:cubicBezTo>
                  <a:pt x="564352" y="322150"/>
                  <a:pt x="548571" y="308001"/>
                  <a:pt x="548027" y="289499"/>
                </a:cubicBezTo>
                <a:cubicBezTo>
                  <a:pt x="547483" y="272086"/>
                  <a:pt x="565441" y="256849"/>
                  <a:pt x="580678" y="256304"/>
                </a:cubicBezTo>
                <a:close/>
                <a:moveTo>
                  <a:pt x="743930" y="251951"/>
                </a:moveTo>
                <a:cubicBezTo>
                  <a:pt x="764609" y="251951"/>
                  <a:pt x="782566" y="268820"/>
                  <a:pt x="782022" y="289499"/>
                </a:cubicBezTo>
                <a:cubicBezTo>
                  <a:pt x="781478" y="311266"/>
                  <a:pt x="765153" y="326503"/>
                  <a:pt x="744474" y="326503"/>
                </a:cubicBezTo>
                <a:cubicBezTo>
                  <a:pt x="723795" y="326503"/>
                  <a:pt x="708014" y="311266"/>
                  <a:pt x="707470" y="289499"/>
                </a:cubicBezTo>
                <a:cubicBezTo>
                  <a:pt x="706926" y="271541"/>
                  <a:pt x="722163" y="252495"/>
                  <a:pt x="743930" y="251951"/>
                </a:cubicBezTo>
                <a:close/>
                <a:moveTo>
                  <a:pt x="907183" y="249775"/>
                </a:moveTo>
                <a:cubicBezTo>
                  <a:pt x="929494" y="249775"/>
                  <a:pt x="946908" y="263924"/>
                  <a:pt x="947452" y="289500"/>
                </a:cubicBezTo>
                <a:cubicBezTo>
                  <a:pt x="947996" y="311811"/>
                  <a:pt x="931127" y="330313"/>
                  <a:pt x="908271" y="329225"/>
                </a:cubicBezTo>
                <a:cubicBezTo>
                  <a:pt x="885960" y="330857"/>
                  <a:pt x="868002" y="312355"/>
                  <a:pt x="867458" y="290044"/>
                </a:cubicBezTo>
                <a:cubicBezTo>
                  <a:pt x="867458" y="266100"/>
                  <a:pt x="884872" y="249775"/>
                  <a:pt x="907183" y="249775"/>
                </a:cubicBezTo>
                <a:close/>
                <a:moveTo>
                  <a:pt x="1070435" y="245965"/>
                </a:moveTo>
                <a:cubicBezTo>
                  <a:pt x="1093291" y="245421"/>
                  <a:pt x="1116146" y="264467"/>
                  <a:pt x="1114513" y="290043"/>
                </a:cubicBezTo>
                <a:cubicBezTo>
                  <a:pt x="1115602" y="312899"/>
                  <a:pt x="1092202" y="334122"/>
                  <a:pt x="1069347" y="333578"/>
                </a:cubicBezTo>
                <a:cubicBezTo>
                  <a:pt x="1047036" y="333034"/>
                  <a:pt x="1026357" y="311266"/>
                  <a:pt x="1026357" y="288955"/>
                </a:cubicBezTo>
                <a:cubicBezTo>
                  <a:pt x="1026901" y="268276"/>
                  <a:pt x="1045403" y="245965"/>
                  <a:pt x="1070435" y="245965"/>
                </a:cubicBezTo>
                <a:close/>
                <a:moveTo>
                  <a:pt x="1233689" y="241613"/>
                </a:moveTo>
                <a:cubicBezTo>
                  <a:pt x="1257632" y="241068"/>
                  <a:pt x="1281032" y="263924"/>
                  <a:pt x="1282120" y="288412"/>
                </a:cubicBezTo>
                <a:cubicBezTo>
                  <a:pt x="1282665" y="312900"/>
                  <a:pt x="1260898" y="336299"/>
                  <a:pt x="1235321" y="335755"/>
                </a:cubicBezTo>
                <a:cubicBezTo>
                  <a:pt x="1206480" y="335211"/>
                  <a:pt x="1190155" y="318886"/>
                  <a:pt x="1187434" y="289500"/>
                </a:cubicBezTo>
                <a:cubicBezTo>
                  <a:pt x="1184713" y="266100"/>
                  <a:pt x="1208657" y="242701"/>
                  <a:pt x="1233689" y="241613"/>
                </a:cubicBezTo>
                <a:close/>
                <a:moveTo>
                  <a:pt x="1397485" y="238891"/>
                </a:moveTo>
                <a:cubicBezTo>
                  <a:pt x="1421973" y="237259"/>
                  <a:pt x="1448638" y="264467"/>
                  <a:pt x="1448094" y="288955"/>
                </a:cubicBezTo>
                <a:cubicBezTo>
                  <a:pt x="1447005" y="312355"/>
                  <a:pt x="1424150" y="341196"/>
                  <a:pt x="1398029" y="338475"/>
                </a:cubicBezTo>
                <a:cubicBezTo>
                  <a:pt x="1372453" y="340652"/>
                  <a:pt x="1347421" y="315620"/>
                  <a:pt x="1348509" y="289499"/>
                </a:cubicBezTo>
                <a:cubicBezTo>
                  <a:pt x="1349598" y="261202"/>
                  <a:pt x="1369732" y="240524"/>
                  <a:pt x="1397485" y="238891"/>
                </a:cubicBezTo>
                <a:close/>
                <a:moveTo>
                  <a:pt x="1559650" y="237258"/>
                </a:moveTo>
                <a:cubicBezTo>
                  <a:pt x="1590668" y="236170"/>
                  <a:pt x="1611891" y="259570"/>
                  <a:pt x="1613523" y="288955"/>
                </a:cubicBezTo>
                <a:cubicBezTo>
                  <a:pt x="1613523" y="316164"/>
                  <a:pt x="1587403" y="342829"/>
                  <a:pt x="1560738" y="342829"/>
                </a:cubicBezTo>
                <a:cubicBezTo>
                  <a:pt x="1534618" y="342829"/>
                  <a:pt x="1505776" y="315620"/>
                  <a:pt x="1507953" y="289499"/>
                </a:cubicBezTo>
                <a:cubicBezTo>
                  <a:pt x="1510130" y="261202"/>
                  <a:pt x="1526455" y="238347"/>
                  <a:pt x="1559650" y="237258"/>
                </a:cubicBezTo>
                <a:close/>
                <a:moveTo>
                  <a:pt x="9837" y="198078"/>
                </a:moveTo>
                <a:cubicBezTo>
                  <a:pt x="14190" y="198078"/>
                  <a:pt x="19632" y="202976"/>
                  <a:pt x="19632" y="207873"/>
                </a:cubicBezTo>
                <a:cubicBezTo>
                  <a:pt x="19632" y="212227"/>
                  <a:pt x="14190" y="217668"/>
                  <a:pt x="10381" y="218213"/>
                </a:cubicBezTo>
                <a:cubicBezTo>
                  <a:pt x="5483" y="218757"/>
                  <a:pt x="-503" y="212771"/>
                  <a:pt x="42" y="207873"/>
                </a:cubicBezTo>
                <a:cubicBezTo>
                  <a:pt x="42" y="202976"/>
                  <a:pt x="5483" y="198078"/>
                  <a:pt x="9837" y="198078"/>
                </a:cubicBezTo>
                <a:close/>
                <a:moveTo>
                  <a:pt x="173090" y="187739"/>
                </a:moveTo>
                <a:cubicBezTo>
                  <a:pt x="183429" y="188283"/>
                  <a:pt x="192136" y="196990"/>
                  <a:pt x="192136" y="207329"/>
                </a:cubicBezTo>
                <a:cubicBezTo>
                  <a:pt x="192136" y="217669"/>
                  <a:pt x="182341" y="228008"/>
                  <a:pt x="172546" y="227464"/>
                </a:cubicBezTo>
                <a:cubicBezTo>
                  <a:pt x="163839" y="226920"/>
                  <a:pt x="154588" y="217669"/>
                  <a:pt x="154044" y="208418"/>
                </a:cubicBezTo>
                <a:cubicBezTo>
                  <a:pt x="153500" y="198078"/>
                  <a:pt x="162751" y="187739"/>
                  <a:pt x="173090" y="187739"/>
                </a:cubicBezTo>
                <a:close/>
                <a:moveTo>
                  <a:pt x="336887" y="182297"/>
                </a:moveTo>
                <a:cubicBezTo>
                  <a:pt x="350491" y="182841"/>
                  <a:pt x="361919" y="191548"/>
                  <a:pt x="363007" y="207329"/>
                </a:cubicBezTo>
                <a:cubicBezTo>
                  <a:pt x="363551" y="219845"/>
                  <a:pt x="349947" y="233449"/>
                  <a:pt x="336887" y="233994"/>
                </a:cubicBezTo>
                <a:cubicBezTo>
                  <a:pt x="324371" y="233994"/>
                  <a:pt x="311311" y="221478"/>
                  <a:pt x="310766" y="208961"/>
                </a:cubicBezTo>
                <a:cubicBezTo>
                  <a:pt x="310222" y="195357"/>
                  <a:pt x="323282" y="181753"/>
                  <a:pt x="336887" y="182297"/>
                </a:cubicBezTo>
                <a:close/>
                <a:moveTo>
                  <a:pt x="1856225" y="180487"/>
                </a:moveTo>
                <a:cubicBezTo>
                  <a:pt x="1856225" y="182664"/>
                  <a:pt x="1855137" y="184841"/>
                  <a:pt x="1855681" y="185929"/>
                </a:cubicBezTo>
                <a:cubicBezTo>
                  <a:pt x="1863844" y="206064"/>
                  <a:pt x="1863844" y="226198"/>
                  <a:pt x="1851872" y="244700"/>
                </a:cubicBezTo>
                <a:cubicBezTo>
                  <a:pt x="1851328" y="245788"/>
                  <a:pt x="1851328" y="246877"/>
                  <a:pt x="1851328" y="247965"/>
                </a:cubicBezTo>
                <a:cubicBezTo>
                  <a:pt x="1852416" y="247965"/>
                  <a:pt x="1854049" y="247965"/>
                  <a:pt x="1854593" y="247421"/>
                </a:cubicBezTo>
                <a:cubicBezTo>
                  <a:pt x="1868197" y="237082"/>
                  <a:pt x="1883434" y="237082"/>
                  <a:pt x="1899215" y="238714"/>
                </a:cubicBezTo>
                <a:cubicBezTo>
                  <a:pt x="1904113" y="239258"/>
                  <a:pt x="1909010" y="241979"/>
                  <a:pt x="1913908" y="243067"/>
                </a:cubicBezTo>
                <a:cubicBezTo>
                  <a:pt x="1915541" y="243612"/>
                  <a:pt x="1917173" y="242523"/>
                  <a:pt x="1918806" y="242523"/>
                </a:cubicBezTo>
                <a:cubicBezTo>
                  <a:pt x="1918806" y="240891"/>
                  <a:pt x="1918806" y="239258"/>
                  <a:pt x="1918261" y="238170"/>
                </a:cubicBezTo>
                <a:cubicBezTo>
                  <a:pt x="1908466" y="220756"/>
                  <a:pt x="1910099" y="203887"/>
                  <a:pt x="1917173" y="185929"/>
                </a:cubicBezTo>
                <a:cubicBezTo>
                  <a:pt x="1917717" y="184297"/>
                  <a:pt x="1917717" y="183208"/>
                  <a:pt x="1918261" y="181576"/>
                </a:cubicBezTo>
                <a:cubicBezTo>
                  <a:pt x="1916629" y="182120"/>
                  <a:pt x="1914996" y="182120"/>
                  <a:pt x="1913908" y="182664"/>
                </a:cubicBezTo>
                <a:cubicBezTo>
                  <a:pt x="1895950" y="189738"/>
                  <a:pt x="1877992" y="190827"/>
                  <a:pt x="1860579" y="180487"/>
                </a:cubicBezTo>
                <a:cubicBezTo>
                  <a:pt x="1858946" y="181031"/>
                  <a:pt x="1857858" y="181031"/>
                  <a:pt x="1856225" y="180487"/>
                </a:cubicBezTo>
                <a:close/>
                <a:moveTo>
                  <a:pt x="499595" y="175767"/>
                </a:moveTo>
                <a:cubicBezTo>
                  <a:pt x="514832" y="175767"/>
                  <a:pt x="531702" y="193181"/>
                  <a:pt x="531158" y="207874"/>
                </a:cubicBezTo>
                <a:cubicBezTo>
                  <a:pt x="530613" y="223110"/>
                  <a:pt x="513744" y="239980"/>
                  <a:pt x="498507" y="238347"/>
                </a:cubicBezTo>
                <a:cubicBezTo>
                  <a:pt x="479461" y="236715"/>
                  <a:pt x="469666" y="224743"/>
                  <a:pt x="468033" y="207329"/>
                </a:cubicBezTo>
                <a:cubicBezTo>
                  <a:pt x="466945" y="192636"/>
                  <a:pt x="484903" y="175767"/>
                  <a:pt x="499595" y="175767"/>
                </a:cubicBezTo>
                <a:close/>
                <a:moveTo>
                  <a:pt x="662304" y="173046"/>
                </a:moveTo>
                <a:cubicBezTo>
                  <a:pt x="683527" y="171958"/>
                  <a:pt x="698220" y="189916"/>
                  <a:pt x="697676" y="207873"/>
                </a:cubicBezTo>
                <a:cubicBezTo>
                  <a:pt x="697131" y="227464"/>
                  <a:pt x="684615" y="243245"/>
                  <a:pt x="662304" y="242156"/>
                </a:cubicBezTo>
                <a:cubicBezTo>
                  <a:pt x="639993" y="241612"/>
                  <a:pt x="628565" y="229096"/>
                  <a:pt x="628021" y="207873"/>
                </a:cubicBezTo>
                <a:cubicBezTo>
                  <a:pt x="628021" y="187739"/>
                  <a:pt x="642714" y="172502"/>
                  <a:pt x="662304" y="173046"/>
                </a:cubicBezTo>
                <a:close/>
                <a:moveTo>
                  <a:pt x="826645" y="168148"/>
                </a:moveTo>
                <a:cubicBezTo>
                  <a:pt x="844602" y="168148"/>
                  <a:pt x="867458" y="187194"/>
                  <a:pt x="864737" y="207329"/>
                </a:cubicBezTo>
                <a:cubicBezTo>
                  <a:pt x="867458" y="229096"/>
                  <a:pt x="844058" y="247054"/>
                  <a:pt x="826100" y="247054"/>
                </a:cubicBezTo>
                <a:cubicBezTo>
                  <a:pt x="808687" y="247054"/>
                  <a:pt x="787464" y="228552"/>
                  <a:pt x="787464" y="207873"/>
                </a:cubicBezTo>
                <a:cubicBezTo>
                  <a:pt x="787464" y="187194"/>
                  <a:pt x="807054" y="168148"/>
                  <a:pt x="826645" y="168148"/>
                </a:cubicBezTo>
                <a:close/>
                <a:moveTo>
                  <a:pt x="987721" y="164883"/>
                </a:moveTo>
                <a:cubicBezTo>
                  <a:pt x="1012209" y="164339"/>
                  <a:pt x="1030711" y="181753"/>
                  <a:pt x="1031799" y="207329"/>
                </a:cubicBezTo>
                <a:cubicBezTo>
                  <a:pt x="1031255" y="232361"/>
                  <a:pt x="1011665" y="250319"/>
                  <a:pt x="988809" y="250319"/>
                </a:cubicBezTo>
                <a:cubicBezTo>
                  <a:pt x="965954" y="250319"/>
                  <a:pt x="946364" y="231273"/>
                  <a:pt x="945819" y="208417"/>
                </a:cubicBezTo>
                <a:cubicBezTo>
                  <a:pt x="945275" y="185018"/>
                  <a:pt x="962689" y="165428"/>
                  <a:pt x="987721" y="164883"/>
                </a:cubicBezTo>
                <a:close/>
                <a:moveTo>
                  <a:pt x="1153150" y="162707"/>
                </a:moveTo>
                <a:cubicBezTo>
                  <a:pt x="1177638" y="161619"/>
                  <a:pt x="1197772" y="180665"/>
                  <a:pt x="1197772" y="207874"/>
                </a:cubicBezTo>
                <a:cubicBezTo>
                  <a:pt x="1197772" y="235083"/>
                  <a:pt x="1176005" y="253584"/>
                  <a:pt x="1151517" y="253584"/>
                </a:cubicBezTo>
                <a:cubicBezTo>
                  <a:pt x="1128118" y="253040"/>
                  <a:pt x="1106895" y="234538"/>
                  <a:pt x="1107439" y="207329"/>
                </a:cubicBezTo>
                <a:cubicBezTo>
                  <a:pt x="1107983" y="179576"/>
                  <a:pt x="1129206" y="161075"/>
                  <a:pt x="1153150" y="162707"/>
                </a:cubicBezTo>
                <a:close/>
                <a:moveTo>
                  <a:pt x="1315315" y="158353"/>
                </a:moveTo>
                <a:cubicBezTo>
                  <a:pt x="1341435" y="156177"/>
                  <a:pt x="1365923" y="184474"/>
                  <a:pt x="1365379" y="206785"/>
                </a:cubicBezTo>
                <a:cubicBezTo>
                  <a:pt x="1365379" y="229640"/>
                  <a:pt x="1344156" y="256849"/>
                  <a:pt x="1315859" y="256305"/>
                </a:cubicBezTo>
                <a:cubicBezTo>
                  <a:pt x="1290283" y="256305"/>
                  <a:pt x="1267427" y="233994"/>
                  <a:pt x="1266883" y="207873"/>
                </a:cubicBezTo>
                <a:cubicBezTo>
                  <a:pt x="1265795" y="181209"/>
                  <a:pt x="1292460" y="157265"/>
                  <a:pt x="1315315" y="158353"/>
                </a:cubicBezTo>
                <a:close/>
                <a:moveTo>
                  <a:pt x="1478567" y="156721"/>
                </a:moveTo>
                <a:cubicBezTo>
                  <a:pt x="1510129" y="156721"/>
                  <a:pt x="1530264" y="180665"/>
                  <a:pt x="1529720" y="207329"/>
                </a:cubicBezTo>
                <a:cubicBezTo>
                  <a:pt x="1530264" y="236715"/>
                  <a:pt x="1510129" y="258482"/>
                  <a:pt x="1478567" y="258482"/>
                </a:cubicBezTo>
                <a:cubicBezTo>
                  <a:pt x="1449182" y="257938"/>
                  <a:pt x="1428503" y="238892"/>
                  <a:pt x="1427959" y="207874"/>
                </a:cubicBezTo>
                <a:cubicBezTo>
                  <a:pt x="1427415" y="179576"/>
                  <a:pt x="1447549" y="156721"/>
                  <a:pt x="1478567" y="156721"/>
                </a:cubicBezTo>
                <a:close/>
                <a:moveTo>
                  <a:pt x="1644541" y="153456"/>
                </a:moveTo>
                <a:cubicBezTo>
                  <a:pt x="1672294" y="154544"/>
                  <a:pt x="1697870" y="180665"/>
                  <a:pt x="1697326" y="209506"/>
                </a:cubicBezTo>
                <a:cubicBezTo>
                  <a:pt x="1696782" y="238347"/>
                  <a:pt x="1669573" y="263924"/>
                  <a:pt x="1641276" y="262835"/>
                </a:cubicBezTo>
                <a:cubicBezTo>
                  <a:pt x="1612979" y="261203"/>
                  <a:pt x="1587402" y="236715"/>
                  <a:pt x="1587947" y="206785"/>
                </a:cubicBezTo>
                <a:cubicBezTo>
                  <a:pt x="1587947" y="180121"/>
                  <a:pt x="1613523" y="152368"/>
                  <a:pt x="1644541" y="153456"/>
                </a:cubicBezTo>
                <a:close/>
                <a:moveTo>
                  <a:pt x="91463" y="109922"/>
                </a:moveTo>
                <a:cubicBezTo>
                  <a:pt x="97993" y="109922"/>
                  <a:pt x="107244" y="119173"/>
                  <a:pt x="107244" y="126247"/>
                </a:cubicBezTo>
                <a:cubicBezTo>
                  <a:pt x="107788" y="132777"/>
                  <a:pt x="98537" y="142028"/>
                  <a:pt x="91463" y="142028"/>
                </a:cubicBezTo>
                <a:cubicBezTo>
                  <a:pt x="83845" y="142028"/>
                  <a:pt x="75682" y="133866"/>
                  <a:pt x="75682" y="126247"/>
                </a:cubicBezTo>
                <a:cubicBezTo>
                  <a:pt x="75682" y="118629"/>
                  <a:pt x="84389" y="109922"/>
                  <a:pt x="91463" y="109922"/>
                </a:cubicBezTo>
                <a:close/>
                <a:moveTo>
                  <a:pt x="1942341" y="104915"/>
                </a:moveTo>
                <a:cubicBezTo>
                  <a:pt x="1941389" y="105799"/>
                  <a:pt x="1941389" y="107840"/>
                  <a:pt x="1942205" y="111377"/>
                </a:cubicBezTo>
                <a:cubicBezTo>
                  <a:pt x="1943294" y="118451"/>
                  <a:pt x="1944926" y="124437"/>
                  <a:pt x="1946559" y="131511"/>
                </a:cubicBezTo>
                <a:cubicBezTo>
                  <a:pt x="1944382" y="139674"/>
                  <a:pt x="1941661" y="148381"/>
                  <a:pt x="1939484" y="157088"/>
                </a:cubicBezTo>
                <a:cubicBezTo>
                  <a:pt x="1939484" y="158176"/>
                  <a:pt x="1941117" y="160353"/>
                  <a:pt x="1941117" y="160353"/>
                </a:cubicBezTo>
                <a:cubicBezTo>
                  <a:pt x="1955810" y="154367"/>
                  <a:pt x="1971046" y="150558"/>
                  <a:pt x="1986828" y="157088"/>
                </a:cubicBezTo>
                <a:cubicBezTo>
                  <a:pt x="1987372" y="157088"/>
                  <a:pt x="1987916" y="157088"/>
                  <a:pt x="1987916" y="157088"/>
                </a:cubicBezTo>
                <a:cubicBezTo>
                  <a:pt x="1994990" y="157632"/>
                  <a:pt x="1996623" y="155999"/>
                  <a:pt x="1993902" y="150013"/>
                </a:cubicBezTo>
                <a:cubicBezTo>
                  <a:pt x="1988460" y="136409"/>
                  <a:pt x="1988460" y="123349"/>
                  <a:pt x="1993902" y="109744"/>
                </a:cubicBezTo>
                <a:cubicBezTo>
                  <a:pt x="1995534" y="105935"/>
                  <a:pt x="1994446" y="103214"/>
                  <a:pt x="1989004" y="105391"/>
                </a:cubicBezTo>
                <a:cubicBezTo>
                  <a:pt x="1975400" y="109744"/>
                  <a:pt x="1961796" y="109744"/>
                  <a:pt x="1948191" y="105391"/>
                </a:cubicBezTo>
                <a:cubicBezTo>
                  <a:pt x="1945198" y="104303"/>
                  <a:pt x="1943294" y="104031"/>
                  <a:pt x="1942341" y="104915"/>
                </a:cubicBezTo>
                <a:close/>
                <a:moveTo>
                  <a:pt x="255804" y="103392"/>
                </a:moveTo>
                <a:cubicBezTo>
                  <a:pt x="269409" y="103392"/>
                  <a:pt x="277571" y="112643"/>
                  <a:pt x="277571" y="126791"/>
                </a:cubicBezTo>
                <a:cubicBezTo>
                  <a:pt x="277027" y="139852"/>
                  <a:pt x="267776" y="148558"/>
                  <a:pt x="254172" y="148014"/>
                </a:cubicBezTo>
                <a:cubicBezTo>
                  <a:pt x="241112" y="148014"/>
                  <a:pt x="231861" y="138763"/>
                  <a:pt x="232405" y="125159"/>
                </a:cubicBezTo>
                <a:cubicBezTo>
                  <a:pt x="232405" y="112099"/>
                  <a:pt x="242200" y="102848"/>
                  <a:pt x="255804" y="103392"/>
                </a:cubicBezTo>
                <a:close/>
                <a:moveTo>
                  <a:pt x="1773511" y="99405"/>
                </a:moveTo>
                <a:cubicBezTo>
                  <a:pt x="1773511" y="102126"/>
                  <a:pt x="1772966" y="104303"/>
                  <a:pt x="1773511" y="107023"/>
                </a:cubicBezTo>
                <a:cubicBezTo>
                  <a:pt x="1776232" y="114098"/>
                  <a:pt x="1778408" y="121716"/>
                  <a:pt x="1780585" y="130423"/>
                </a:cubicBezTo>
                <a:cubicBezTo>
                  <a:pt x="1778408" y="139130"/>
                  <a:pt x="1775687" y="147293"/>
                  <a:pt x="1773511" y="155999"/>
                </a:cubicBezTo>
                <a:cubicBezTo>
                  <a:pt x="1772966" y="157632"/>
                  <a:pt x="1772966" y="160897"/>
                  <a:pt x="1774055" y="161985"/>
                </a:cubicBezTo>
                <a:cubicBezTo>
                  <a:pt x="1775143" y="163074"/>
                  <a:pt x="1778408" y="163074"/>
                  <a:pt x="1780041" y="162529"/>
                </a:cubicBezTo>
                <a:cubicBezTo>
                  <a:pt x="1789836" y="155455"/>
                  <a:pt x="1800719" y="157632"/>
                  <a:pt x="1811059" y="157632"/>
                </a:cubicBezTo>
                <a:cubicBezTo>
                  <a:pt x="1817589" y="157632"/>
                  <a:pt x="1824119" y="156543"/>
                  <a:pt x="1829561" y="161985"/>
                </a:cubicBezTo>
                <a:cubicBezTo>
                  <a:pt x="1830649" y="163074"/>
                  <a:pt x="1834458" y="161985"/>
                  <a:pt x="1836635" y="161985"/>
                </a:cubicBezTo>
                <a:cubicBezTo>
                  <a:pt x="1835547" y="160353"/>
                  <a:pt x="1835002" y="158720"/>
                  <a:pt x="1833914" y="157088"/>
                </a:cubicBezTo>
                <a:cubicBezTo>
                  <a:pt x="1826840" y="139674"/>
                  <a:pt x="1826296" y="121716"/>
                  <a:pt x="1834458" y="104303"/>
                </a:cubicBezTo>
                <a:cubicBezTo>
                  <a:pt x="1835002" y="102670"/>
                  <a:pt x="1835547" y="101038"/>
                  <a:pt x="1835547" y="99405"/>
                </a:cubicBezTo>
                <a:cubicBezTo>
                  <a:pt x="1833914" y="99949"/>
                  <a:pt x="1832282" y="99949"/>
                  <a:pt x="1831193" y="101038"/>
                </a:cubicBezTo>
                <a:cubicBezTo>
                  <a:pt x="1814324" y="109200"/>
                  <a:pt x="1797454" y="109200"/>
                  <a:pt x="1780041" y="101582"/>
                </a:cubicBezTo>
                <a:cubicBezTo>
                  <a:pt x="1777864" y="100493"/>
                  <a:pt x="1775687" y="100493"/>
                  <a:pt x="1773511" y="99405"/>
                </a:cubicBezTo>
                <a:close/>
                <a:moveTo>
                  <a:pt x="417424" y="97950"/>
                </a:moveTo>
                <a:cubicBezTo>
                  <a:pt x="435382" y="97950"/>
                  <a:pt x="445721" y="108289"/>
                  <a:pt x="445721" y="126247"/>
                </a:cubicBezTo>
                <a:cubicBezTo>
                  <a:pt x="445721" y="143661"/>
                  <a:pt x="435382" y="153456"/>
                  <a:pt x="417424" y="153456"/>
                </a:cubicBezTo>
                <a:cubicBezTo>
                  <a:pt x="402187" y="155088"/>
                  <a:pt x="389127" y="141484"/>
                  <a:pt x="390215" y="125159"/>
                </a:cubicBezTo>
                <a:cubicBezTo>
                  <a:pt x="391304" y="107745"/>
                  <a:pt x="400555" y="97950"/>
                  <a:pt x="417424" y="97950"/>
                </a:cubicBezTo>
                <a:close/>
                <a:moveTo>
                  <a:pt x="580677" y="92508"/>
                </a:moveTo>
                <a:cubicBezTo>
                  <a:pt x="599724" y="92508"/>
                  <a:pt x="613328" y="106112"/>
                  <a:pt x="614960" y="125159"/>
                </a:cubicBezTo>
                <a:cubicBezTo>
                  <a:pt x="616049" y="141484"/>
                  <a:pt x="598091" y="161618"/>
                  <a:pt x="581766" y="158353"/>
                </a:cubicBezTo>
                <a:cubicBezTo>
                  <a:pt x="561631" y="158353"/>
                  <a:pt x="548571" y="145293"/>
                  <a:pt x="548571" y="125703"/>
                </a:cubicBezTo>
                <a:cubicBezTo>
                  <a:pt x="548571" y="106657"/>
                  <a:pt x="562175" y="92508"/>
                  <a:pt x="580677" y="92508"/>
                </a:cubicBezTo>
                <a:close/>
                <a:moveTo>
                  <a:pt x="745019" y="88154"/>
                </a:moveTo>
                <a:cubicBezTo>
                  <a:pt x="763521" y="87610"/>
                  <a:pt x="783111" y="107745"/>
                  <a:pt x="782567" y="126791"/>
                </a:cubicBezTo>
                <a:cubicBezTo>
                  <a:pt x="782023" y="147469"/>
                  <a:pt x="761344" y="164339"/>
                  <a:pt x="743930" y="164339"/>
                </a:cubicBezTo>
                <a:cubicBezTo>
                  <a:pt x="723796" y="163795"/>
                  <a:pt x="705838" y="144204"/>
                  <a:pt x="706382" y="125702"/>
                </a:cubicBezTo>
                <a:cubicBezTo>
                  <a:pt x="706926" y="109377"/>
                  <a:pt x="723252" y="87066"/>
                  <a:pt x="745019" y="88154"/>
                </a:cubicBezTo>
                <a:close/>
                <a:moveTo>
                  <a:pt x="1685898" y="84712"/>
                </a:moveTo>
                <a:lnTo>
                  <a:pt x="1685681" y="85147"/>
                </a:lnTo>
                <a:lnTo>
                  <a:pt x="1685354" y="85256"/>
                </a:lnTo>
                <a:cubicBezTo>
                  <a:pt x="1685354" y="85256"/>
                  <a:pt x="1685898" y="84712"/>
                  <a:pt x="1685898" y="84712"/>
                </a:cubicBezTo>
                <a:close/>
                <a:moveTo>
                  <a:pt x="907183" y="84345"/>
                </a:moveTo>
                <a:cubicBezTo>
                  <a:pt x="916978" y="84345"/>
                  <a:pt x="926773" y="87610"/>
                  <a:pt x="934935" y="95228"/>
                </a:cubicBezTo>
                <a:cubicBezTo>
                  <a:pt x="944187" y="103935"/>
                  <a:pt x="946907" y="114819"/>
                  <a:pt x="949628" y="125158"/>
                </a:cubicBezTo>
                <a:cubicBezTo>
                  <a:pt x="946907" y="150190"/>
                  <a:pt x="932759" y="166515"/>
                  <a:pt x="908271" y="167060"/>
                </a:cubicBezTo>
                <a:cubicBezTo>
                  <a:pt x="884871" y="167604"/>
                  <a:pt x="867458" y="150734"/>
                  <a:pt x="866369" y="125702"/>
                </a:cubicBezTo>
                <a:cubicBezTo>
                  <a:pt x="865825" y="103935"/>
                  <a:pt x="884871" y="83801"/>
                  <a:pt x="907183" y="84345"/>
                </a:cubicBezTo>
                <a:close/>
                <a:moveTo>
                  <a:pt x="1070979" y="82169"/>
                </a:moveTo>
                <a:cubicBezTo>
                  <a:pt x="1095467" y="79448"/>
                  <a:pt x="1115602" y="103936"/>
                  <a:pt x="1115602" y="126247"/>
                </a:cubicBezTo>
                <a:cubicBezTo>
                  <a:pt x="1115602" y="148014"/>
                  <a:pt x="1094923" y="170325"/>
                  <a:pt x="1071524" y="170325"/>
                </a:cubicBezTo>
                <a:cubicBezTo>
                  <a:pt x="1047580" y="170325"/>
                  <a:pt x="1026357" y="148558"/>
                  <a:pt x="1026357" y="125703"/>
                </a:cubicBezTo>
                <a:cubicBezTo>
                  <a:pt x="1026357" y="103936"/>
                  <a:pt x="1047036" y="79448"/>
                  <a:pt x="1070979" y="82169"/>
                </a:cubicBezTo>
                <a:close/>
                <a:moveTo>
                  <a:pt x="1684811" y="82168"/>
                </a:moveTo>
                <a:cubicBezTo>
                  <a:pt x="1684811" y="82168"/>
                  <a:pt x="1684266" y="82713"/>
                  <a:pt x="1684266" y="82713"/>
                </a:cubicBezTo>
                <a:lnTo>
                  <a:pt x="1684469" y="82365"/>
                </a:lnTo>
                <a:close/>
                <a:moveTo>
                  <a:pt x="1234777" y="78360"/>
                </a:moveTo>
                <a:cubicBezTo>
                  <a:pt x="1259809" y="76727"/>
                  <a:pt x="1284297" y="101759"/>
                  <a:pt x="1282664" y="126791"/>
                </a:cubicBezTo>
                <a:cubicBezTo>
                  <a:pt x="1280487" y="152912"/>
                  <a:pt x="1264162" y="171958"/>
                  <a:pt x="1234232" y="174135"/>
                </a:cubicBezTo>
                <a:cubicBezTo>
                  <a:pt x="1205935" y="172502"/>
                  <a:pt x="1186345" y="153456"/>
                  <a:pt x="1186889" y="126791"/>
                </a:cubicBezTo>
                <a:cubicBezTo>
                  <a:pt x="1187433" y="96318"/>
                  <a:pt x="1207024" y="79992"/>
                  <a:pt x="1234777" y="78360"/>
                </a:cubicBezTo>
                <a:close/>
                <a:moveTo>
                  <a:pt x="1398574" y="76182"/>
                </a:moveTo>
                <a:cubicBezTo>
                  <a:pt x="1424150" y="74006"/>
                  <a:pt x="1448638" y="99582"/>
                  <a:pt x="1448094" y="127335"/>
                </a:cubicBezTo>
                <a:cubicBezTo>
                  <a:pt x="1447549" y="151823"/>
                  <a:pt x="1426327" y="176311"/>
                  <a:pt x="1396941" y="175766"/>
                </a:cubicBezTo>
                <a:cubicBezTo>
                  <a:pt x="1367011" y="175222"/>
                  <a:pt x="1347421" y="151278"/>
                  <a:pt x="1347421" y="125702"/>
                </a:cubicBezTo>
                <a:cubicBezTo>
                  <a:pt x="1347421" y="99038"/>
                  <a:pt x="1369732" y="74006"/>
                  <a:pt x="1398574" y="76182"/>
                </a:cubicBezTo>
                <a:close/>
                <a:moveTo>
                  <a:pt x="1561282" y="72373"/>
                </a:moveTo>
                <a:cubicBezTo>
                  <a:pt x="1588491" y="72373"/>
                  <a:pt x="1614611" y="96861"/>
                  <a:pt x="1614611" y="126247"/>
                </a:cubicBezTo>
                <a:cubicBezTo>
                  <a:pt x="1614067" y="155632"/>
                  <a:pt x="1590667" y="180120"/>
                  <a:pt x="1560738" y="179576"/>
                </a:cubicBezTo>
                <a:cubicBezTo>
                  <a:pt x="1530808" y="179576"/>
                  <a:pt x="1507953" y="156176"/>
                  <a:pt x="1507409" y="126247"/>
                </a:cubicBezTo>
                <a:cubicBezTo>
                  <a:pt x="1506864" y="96861"/>
                  <a:pt x="1532441" y="72373"/>
                  <a:pt x="1561282" y="72373"/>
                </a:cubicBezTo>
                <a:close/>
                <a:moveTo>
                  <a:pt x="10381" y="33737"/>
                </a:moveTo>
                <a:cubicBezTo>
                  <a:pt x="15822" y="33737"/>
                  <a:pt x="20720" y="39179"/>
                  <a:pt x="20720" y="45165"/>
                </a:cubicBezTo>
                <a:cubicBezTo>
                  <a:pt x="20176" y="50606"/>
                  <a:pt x="14734" y="55504"/>
                  <a:pt x="9292" y="54960"/>
                </a:cubicBezTo>
                <a:cubicBezTo>
                  <a:pt x="4395" y="54416"/>
                  <a:pt x="41" y="49518"/>
                  <a:pt x="41" y="44621"/>
                </a:cubicBezTo>
                <a:cubicBezTo>
                  <a:pt x="-503" y="38635"/>
                  <a:pt x="4395" y="33737"/>
                  <a:pt x="10381" y="33737"/>
                </a:cubicBezTo>
                <a:close/>
                <a:moveTo>
                  <a:pt x="172546" y="23942"/>
                </a:moveTo>
                <a:cubicBezTo>
                  <a:pt x="181796" y="22854"/>
                  <a:pt x="193224" y="34826"/>
                  <a:pt x="193224" y="44621"/>
                </a:cubicBezTo>
                <a:cubicBezTo>
                  <a:pt x="193224" y="53872"/>
                  <a:pt x="182341" y="64755"/>
                  <a:pt x="173090" y="64755"/>
                </a:cubicBezTo>
                <a:cubicBezTo>
                  <a:pt x="164383" y="64755"/>
                  <a:pt x="152411" y="52784"/>
                  <a:pt x="152411" y="44621"/>
                </a:cubicBezTo>
                <a:cubicBezTo>
                  <a:pt x="152411" y="36458"/>
                  <a:pt x="164927" y="24486"/>
                  <a:pt x="172546" y="23942"/>
                </a:cubicBezTo>
                <a:close/>
                <a:moveTo>
                  <a:pt x="1861123" y="22132"/>
                </a:moveTo>
                <a:cubicBezTo>
                  <a:pt x="1861123" y="26485"/>
                  <a:pt x="1860035" y="31383"/>
                  <a:pt x="1861123" y="35737"/>
                </a:cubicBezTo>
                <a:cubicBezTo>
                  <a:pt x="1863844" y="44443"/>
                  <a:pt x="1864932" y="52606"/>
                  <a:pt x="1861123" y="61313"/>
                </a:cubicBezTo>
                <a:cubicBezTo>
                  <a:pt x="1860035" y="64034"/>
                  <a:pt x="1860035" y="67299"/>
                  <a:pt x="1858946" y="72740"/>
                </a:cubicBezTo>
                <a:cubicBezTo>
                  <a:pt x="1858402" y="76550"/>
                  <a:pt x="1861123" y="77638"/>
                  <a:pt x="1866021" y="76550"/>
                </a:cubicBezTo>
                <a:cubicBezTo>
                  <a:pt x="1868741" y="76006"/>
                  <a:pt x="1871462" y="76006"/>
                  <a:pt x="1873639" y="74917"/>
                </a:cubicBezTo>
                <a:cubicBezTo>
                  <a:pt x="1882346" y="71108"/>
                  <a:pt x="1891053" y="71108"/>
                  <a:pt x="1900304" y="74373"/>
                </a:cubicBezTo>
                <a:cubicBezTo>
                  <a:pt x="1902480" y="75461"/>
                  <a:pt x="1905201" y="76006"/>
                  <a:pt x="1907922" y="76006"/>
                </a:cubicBezTo>
                <a:cubicBezTo>
                  <a:pt x="1912276" y="76550"/>
                  <a:pt x="1914996" y="75461"/>
                  <a:pt x="1912820" y="70020"/>
                </a:cubicBezTo>
                <a:cubicBezTo>
                  <a:pt x="1907378" y="55871"/>
                  <a:pt x="1906834" y="41178"/>
                  <a:pt x="1912820" y="27030"/>
                </a:cubicBezTo>
                <a:cubicBezTo>
                  <a:pt x="1914996" y="22132"/>
                  <a:pt x="1911731" y="21588"/>
                  <a:pt x="1908466" y="22132"/>
                </a:cubicBezTo>
                <a:cubicBezTo>
                  <a:pt x="1906290" y="22676"/>
                  <a:pt x="1904657" y="24309"/>
                  <a:pt x="1902480" y="24309"/>
                </a:cubicBezTo>
                <a:cubicBezTo>
                  <a:pt x="1892685" y="24309"/>
                  <a:pt x="1882890" y="24853"/>
                  <a:pt x="1873095" y="24309"/>
                </a:cubicBezTo>
                <a:cubicBezTo>
                  <a:pt x="1868741" y="24309"/>
                  <a:pt x="1864932" y="22676"/>
                  <a:pt x="1861123" y="22132"/>
                </a:cubicBezTo>
                <a:close/>
                <a:moveTo>
                  <a:pt x="336886" y="17412"/>
                </a:moveTo>
                <a:cubicBezTo>
                  <a:pt x="347770" y="17412"/>
                  <a:pt x="363551" y="31016"/>
                  <a:pt x="363007" y="44077"/>
                </a:cubicBezTo>
                <a:cubicBezTo>
                  <a:pt x="363007" y="57681"/>
                  <a:pt x="350491" y="70741"/>
                  <a:pt x="337431" y="71285"/>
                </a:cubicBezTo>
                <a:cubicBezTo>
                  <a:pt x="324370" y="71830"/>
                  <a:pt x="310766" y="58769"/>
                  <a:pt x="310222" y="45165"/>
                </a:cubicBezTo>
                <a:cubicBezTo>
                  <a:pt x="309678" y="31016"/>
                  <a:pt x="323282" y="17956"/>
                  <a:pt x="336886" y="17412"/>
                </a:cubicBezTo>
                <a:close/>
                <a:moveTo>
                  <a:pt x="498507" y="13059"/>
                </a:moveTo>
                <a:cubicBezTo>
                  <a:pt x="514832" y="11970"/>
                  <a:pt x="531702" y="28296"/>
                  <a:pt x="531702" y="44621"/>
                </a:cubicBezTo>
                <a:cubicBezTo>
                  <a:pt x="531702" y="60402"/>
                  <a:pt x="515376" y="76183"/>
                  <a:pt x="499595" y="76727"/>
                </a:cubicBezTo>
                <a:cubicBezTo>
                  <a:pt x="483270" y="76727"/>
                  <a:pt x="467489" y="61490"/>
                  <a:pt x="467489" y="45165"/>
                </a:cubicBezTo>
                <a:cubicBezTo>
                  <a:pt x="467489" y="28840"/>
                  <a:pt x="482182" y="13059"/>
                  <a:pt x="498507" y="13059"/>
                </a:cubicBezTo>
                <a:close/>
                <a:moveTo>
                  <a:pt x="662303" y="7616"/>
                </a:moveTo>
                <a:cubicBezTo>
                  <a:pt x="680805" y="7072"/>
                  <a:pt x="698763" y="25030"/>
                  <a:pt x="698763" y="44076"/>
                </a:cubicBezTo>
                <a:cubicBezTo>
                  <a:pt x="698763" y="62578"/>
                  <a:pt x="680261" y="81624"/>
                  <a:pt x="662303" y="81080"/>
                </a:cubicBezTo>
                <a:cubicBezTo>
                  <a:pt x="644346" y="80536"/>
                  <a:pt x="626932" y="62578"/>
                  <a:pt x="626932" y="44076"/>
                </a:cubicBezTo>
                <a:cubicBezTo>
                  <a:pt x="626932" y="25574"/>
                  <a:pt x="643257" y="8160"/>
                  <a:pt x="662303" y="7616"/>
                </a:cubicBezTo>
                <a:close/>
                <a:moveTo>
                  <a:pt x="825557" y="5440"/>
                </a:moveTo>
                <a:cubicBezTo>
                  <a:pt x="847868" y="5440"/>
                  <a:pt x="865281" y="23942"/>
                  <a:pt x="865281" y="44621"/>
                </a:cubicBezTo>
                <a:cubicBezTo>
                  <a:pt x="865281" y="63667"/>
                  <a:pt x="847324" y="85978"/>
                  <a:pt x="826101" y="83257"/>
                </a:cubicBezTo>
                <a:cubicBezTo>
                  <a:pt x="805422" y="85978"/>
                  <a:pt x="786920" y="64211"/>
                  <a:pt x="786920" y="44621"/>
                </a:cubicBezTo>
                <a:cubicBezTo>
                  <a:pt x="786920" y="22854"/>
                  <a:pt x="805422" y="5440"/>
                  <a:pt x="825557" y="5440"/>
                </a:cubicBezTo>
                <a:close/>
                <a:moveTo>
                  <a:pt x="989353" y="1086"/>
                </a:moveTo>
                <a:cubicBezTo>
                  <a:pt x="1013297" y="1086"/>
                  <a:pt x="1032343" y="21220"/>
                  <a:pt x="1032343" y="43532"/>
                </a:cubicBezTo>
                <a:cubicBezTo>
                  <a:pt x="1032887" y="66931"/>
                  <a:pt x="1012753" y="88698"/>
                  <a:pt x="989897" y="87610"/>
                </a:cubicBezTo>
                <a:cubicBezTo>
                  <a:pt x="967042" y="88698"/>
                  <a:pt x="945819" y="65843"/>
                  <a:pt x="945819" y="44620"/>
                </a:cubicBezTo>
                <a:cubicBezTo>
                  <a:pt x="945819" y="23941"/>
                  <a:pt x="964321" y="1086"/>
                  <a:pt x="989353" y="1086"/>
                </a:cubicBezTo>
                <a:close/>
                <a:moveTo>
                  <a:pt x="1614056" y="0"/>
                </a:moveTo>
                <a:lnTo>
                  <a:pt x="1675529" y="0"/>
                </a:lnTo>
                <a:lnTo>
                  <a:pt x="1682905" y="4720"/>
                </a:lnTo>
                <a:lnTo>
                  <a:pt x="1933639" y="4720"/>
                </a:lnTo>
                <a:cubicBezTo>
                  <a:pt x="1966059" y="4720"/>
                  <a:pt x="1995409" y="17861"/>
                  <a:pt x="2016655" y="39107"/>
                </a:cubicBezTo>
                <a:lnTo>
                  <a:pt x="2028934" y="57318"/>
                </a:lnTo>
                <a:lnTo>
                  <a:pt x="2026008" y="71108"/>
                </a:lnTo>
                <a:cubicBezTo>
                  <a:pt x="2023832" y="74917"/>
                  <a:pt x="2026552" y="77094"/>
                  <a:pt x="2030906" y="75461"/>
                </a:cubicBezTo>
                <a:lnTo>
                  <a:pt x="2039929" y="73627"/>
                </a:lnTo>
                <a:lnTo>
                  <a:pt x="2041815" y="76424"/>
                </a:lnTo>
                <a:cubicBezTo>
                  <a:pt x="2047756" y="90470"/>
                  <a:pt x="2051041" y="105912"/>
                  <a:pt x="2051041" y="122122"/>
                </a:cubicBezTo>
                <a:lnTo>
                  <a:pt x="2051041" y="186473"/>
                </a:lnTo>
                <a:lnTo>
                  <a:pt x="2029818" y="186473"/>
                </a:lnTo>
                <a:cubicBezTo>
                  <a:pt x="2023832" y="184297"/>
                  <a:pt x="2022743" y="185929"/>
                  <a:pt x="2023287" y="192459"/>
                </a:cubicBezTo>
                <a:cubicBezTo>
                  <a:pt x="2023287" y="193548"/>
                  <a:pt x="2023287" y="195180"/>
                  <a:pt x="2023832" y="196268"/>
                </a:cubicBezTo>
                <a:cubicBezTo>
                  <a:pt x="2028185" y="210961"/>
                  <a:pt x="2026008" y="225110"/>
                  <a:pt x="2019478" y="239258"/>
                </a:cubicBezTo>
                <a:cubicBezTo>
                  <a:pt x="2018934" y="240347"/>
                  <a:pt x="2019478" y="241979"/>
                  <a:pt x="2020022" y="242523"/>
                </a:cubicBezTo>
                <a:cubicBezTo>
                  <a:pt x="2020566" y="243067"/>
                  <a:pt x="2022743" y="243612"/>
                  <a:pt x="2023287" y="243067"/>
                </a:cubicBezTo>
                <a:cubicBezTo>
                  <a:pt x="2032266" y="238986"/>
                  <a:pt x="2041245" y="237082"/>
                  <a:pt x="2050224" y="237150"/>
                </a:cubicBezTo>
                <a:lnTo>
                  <a:pt x="2051041" y="237329"/>
                </a:lnTo>
                <a:lnTo>
                  <a:pt x="2051041" y="348996"/>
                </a:lnTo>
                <a:lnTo>
                  <a:pt x="2036552" y="347754"/>
                </a:lnTo>
                <a:cubicBezTo>
                  <a:pt x="2031178" y="346733"/>
                  <a:pt x="2026009" y="344829"/>
                  <a:pt x="2021111" y="341019"/>
                </a:cubicBezTo>
                <a:cubicBezTo>
                  <a:pt x="2020022" y="339931"/>
                  <a:pt x="2018390" y="339387"/>
                  <a:pt x="2016757" y="338842"/>
                </a:cubicBezTo>
                <a:cubicBezTo>
                  <a:pt x="2016757" y="340475"/>
                  <a:pt x="2016757" y="343196"/>
                  <a:pt x="2017301" y="344284"/>
                </a:cubicBezTo>
                <a:cubicBezTo>
                  <a:pt x="2022743" y="354079"/>
                  <a:pt x="2026008" y="364419"/>
                  <a:pt x="2025464" y="376391"/>
                </a:cubicBezTo>
                <a:cubicBezTo>
                  <a:pt x="2024376" y="398702"/>
                  <a:pt x="2014580" y="413939"/>
                  <a:pt x="1994446" y="424278"/>
                </a:cubicBezTo>
                <a:cubicBezTo>
                  <a:pt x="1972135" y="435706"/>
                  <a:pt x="1950912" y="431352"/>
                  <a:pt x="1933498" y="416115"/>
                </a:cubicBezTo>
                <a:cubicBezTo>
                  <a:pt x="1917173" y="401967"/>
                  <a:pt x="1908466" y="378567"/>
                  <a:pt x="1920438" y="352447"/>
                </a:cubicBezTo>
                <a:cubicBezTo>
                  <a:pt x="1922615" y="348093"/>
                  <a:pt x="1923703" y="343196"/>
                  <a:pt x="1925336" y="338298"/>
                </a:cubicBezTo>
                <a:cubicBezTo>
                  <a:pt x="1920982" y="339931"/>
                  <a:pt x="1916085" y="341563"/>
                  <a:pt x="1911731" y="343196"/>
                </a:cubicBezTo>
                <a:cubicBezTo>
                  <a:pt x="1907378" y="344828"/>
                  <a:pt x="1903024" y="347005"/>
                  <a:pt x="1898671" y="347005"/>
                </a:cubicBezTo>
                <a:cubicBezTo>
                  <a:pt x="1882890" y="348638"/>
                  <a:pt x="1867653" y="348638"/>
                  <a:pt x="1854593" y="336666"/>
                </a:cubicBezTo>
                <a:lnTo>
                  <a:pt x="1847690" y="333480"/>
                </a:lnTo>
                <a:lnTo>
                  <a:pt x="1852961" y="344461"/>
                </a:lnTo>
                <a:cubicBezTo>
                  <a:pt x="1868742" y="372214"/>
                  <a:pt x="1855137" y="408674"/>
                  <a:pt x="1826840" y="420646"/>
                </a:cubicBezTo>
                <a:cubicBezTo>
                  <a:pt x="1803441" y="430985"/>
                  <a:pt x="1777864" y="422278"/>
                  <a:pt x="1765893" y="408130"/>
                </a:cubicBezTo>
                <a:cubicBezTo>
                  <a:pt x="1749567" y="388539"/>
                  <a:pt x="1744126" y="368405"/>
                  <a:pt x="1759362" y="342829"/>
                </a:cubicBezTo>
                <a:cubicBezTo>
                  <a:pt x="1771199" y="322422"/>
                  <a:pt x="1795584" y="313341"/>
                  <a:pt x="1815991" y="317193"/>
                </a:cubicBezTo>
                <a:cubicBezTo>
                  <a:pt x="1822793" y="318477"/>
                  <a:pt x="1829153" y="321198"/>
                  <a:pt x="1834459" y="325415"/>
                </a:cubicBezTo>
                <a:lnTo>
                  <a:pt x="1845023" y="330169"/>
                </a:lnTo>
                <a:lnTo>
                  <a:pt x="1840444" y="321429"/>
                </a:lnTo>
                <a:cubicBezTo>
                  <a:pt x="1831193" y="306736"/>
                  <a:pt x="1832282" y="290955"/>
                  <a:pt x="1834458" y="275174"/>
                </a:cubicBezTo>
                <a:cubicBezTo>
                  <a:pt x="1835002" y="269732"/>
                  <a:pt x="1838812" y="265379"/>
                  <a:pt x="1840988" y="259937"/>
                </a:cubicBezTo>
                <a:cubicBezTo>
                  <a:pt x="1841533" y="258849"/>
                  <a:pt x="1842077" y="257216"/>
                  <a:pt x="1842077" y="255584"/>
                </a:cubicBezTo>
                <a:cubicBezTo>
                  <a:pt x="1840444" y="256128"/>
                  <a:pt x="1838812" y="256672"/>
                  <a:pt x="1837723" y="257216"/>
                </a:cubicBezTo>
                <a:cubicBezTo>
                  <a:pt x="1831193" y="259937"/>
                  <a:pt x="1824663" y="263746"/>
                  <a:pt x="1817589" y="264834"/>
                </a:cubicBezTo>
                <a:cubicBezTo>
                  <a:pt x="1799631" y="268100"/>
                  <a:pt x="1782762" y="264290"/>
                  <a:pt x="1768069" y="251774"/>
                </a:cubicBezTo>
                <a:lnTo>
                  <a:pt x="1764740" y="250110"/>
                </a:lnTo>
                <a:lnTo>
                  <a:pt x="1773510" y="267189"/>
                </a:lnTo>
                <a:cubicBezTo>
                  <a:pt x="1786571" y="292765"/>
                  <a:pt x="1773510" y="323239"/>
                  <a:pt x="1750655" y="336843"/>
                </a:cubicBezTo>
                <a:cubicBezTo>
                  <a:pt x="1721270" y="354257"/>
                  <a:pt x="1685354" y="337388"/>
                  <a:pt x="1673926" y="310723"/>
                </a:cubicBezTo>
                <a:cubicBezTo>
                  <a:pt x="1664675" y="289500"/>
                  <a:pt x="1669029" y="271542"/>
                  <a:pt x="1681545" y="254673"/>
                </a:cubicBezTo>
                <a:cubicBezTo>
                  <a:pt x="1694605" y="237803"/>
                  <a:pt x="1712563" y="231817"/>
                  <a:pt x="1733786" y="235083"/>
                </a:cubicBezTo>
                <a:cubicBezTo>
                  <a:pt x="1739771" y="236171"/>
                  <a:pt x="1745757" y="239980"/>
                  <a:pt x="1751743" y="242157"/>
                </a:cubicBezTo>
                <a:lnTo>
                  <a:pt x="1762506" y="246769"/>
                </a:lnTo>
                <a:lnTo>
                  <a:pt x="1757185" y="236537"/>
                </a:lnTo>
                <a:cubicBezTo>
                  <a:pt x="1747934" y="219668"/>
                  <a:pt x="1747390" y="203343"/>
                  <a:pt x="1756097" y="185929"/>
                </a:cubicBezTo>
                <a:cubicBezTo>
                  <a:pt x="1757185" y="183752"/>
                  <a:pt x="1756641" y="180487"/>
                  <a:pt x="1757185" y="177766"/>
                </a:cubicBezTo>
                <a:cubicBezTo>
                  <a:pt x="1754464" y="177766"/>
                  <a:pt x="1751199" y="177222"/>
                  <a:pt x="1749023" y="178311"/>
                </a:cubicBezTo>
                <a:cubicBezTo>
                  <a:pt x="1722358" y="193003"/>
                  <a:pt x="1688075" y="178855"/>
                  <a:pt x="1676103" y="154911"/>
                </a:cubicBezTo>
                <a:cubicBezTo>
                  <a:pt x="1665220" y="133688"/>
                  <a:pt x="1667396" y="113554"/>
                  <a:pt x="1681001" y="94507"/>
                </a:cubicBezTo>
                <a:lnTo>
                  <a:pt x="1685681" y="85147"/>
                </a:lnTo>
                <a:lnTo>
                  <a:pt x="1693517" y="82536"/>
                </a:lnTo>
                <a:cubicBezTo>
                  <a:pt x="1710930" y="71108"/>
                  <a:pt x="1728888" y="71108"/>
                  <a:pt x="1747934" y="77638"/>
                </a:cubicBezTo>
                <a:cubicBezTo>
                  <a:pt x="1750655" y="78726"/>
                  <a:pt x="1753920" y="78726"/>
                  <a:pt x="1756641" y="79271"/>
                </a:cubicBezTo>
                <a:cubicBezTo>
                  <a:pt x="1756097" y="76550"/>
                  <a:pt x="1755553" y="74373"/>
                  <a:pt x="1754464" y="71652"/>
                </a:cubicBezTo>
                <a:cubicBezTo>
                  <a:pt x="1753920" y="70564"/>
                  <a:pt x="1753376" y="69475"/>
                  <a:pt x="1752832" y="68387"/>
                </a:cubicBezTo>
                <a:cubicBezTo>
                  <a:pt x="1747934" y="52062"/>
                  <a:pt x="1747390" y="35737"/>
                  <a:pt x="1756097" y="20500"/>
                </a:cubicBezTo>
                <a:cubicBezTo>
                  <a:pt x="1756641" y="19411"/>
                  <a:pt x="1757185" y="16690"/>
                  <a:pt x="1756641" y="16146"/>
                </a:cubicBezTo>
                <a:cubicBezTo>
                  <a:pt x="1755553" y="15058"/>
                  <a:pt x="1753376" y="14514"/>
                  <a:pt x="1751744" y="15058"/>
                </a:cubicBezTo>
                <a:cubicBezTo>
                  <a:pt x="1747934" y="16146"/>
                  <a:pt x="1744669" y="19411"/>
                  <a:pt x="1741404" y="19955"/>
                </a:cubicBezTo>
                <a:cubicBezTo>
                  <a:pt x="1724535" y="21588"/>
                  <a:pt x="1707121" y="23765"/>
                  <a:pt x="1691884" y="11249"/>
                </a:cubicBezTo>
                <a:lnTo>
                  <a:pt x="1685645" y="8369"/>
                </a:lnTo>
                <a:lnTo>
                  <a:pt x="1688620" y="14691"/>
                </a:lnTo>
                <a:cubicBezTo>
                  <a:pt x="1700048" y="32648"/>
                  <a:pt x="1700048" y="50606"/>
                  <a:pt x="1691885" y="69652"/>
                </a:cubicBezTo>
                <a:lnTo>
                  <a:pt x="1684469" y="82365"/>
                </a:lnTo>
                <a:lnTo>
                  <a:pt x="1663044" y="94684"/>
                </a:lnTo>
                <a:cubicBezTo>
                  <a:pt x="1651072" y="101759"/>
                  <a:pt x="1638556" y="100126"/>
                  <a:pt x="1626584" y="96861"/>
                </a:cubicBezTo>
                <a:cubicBezTo>
                  <a:pt x="1608082" y="91419"/>
                  <a:pt x="1595566" y="78359"/>
                  <a:pt x="1590124" y="60401"/>
                </a:cubicBezTo>
                <a:cubicBezTo>
                  <a:pt x="1586315" y="48974"/>
                  <a:pt x="1586315" y="37002"/>
                  <a:pt x="1591757" y="25030"/>
                </a:cubicBezTo>
                <a:close/>
                <a:moveTo>
                  <a:pt x="1460066" y="0"/>
                </a:moveTo>
                <a:lnTo>
                  <a:pt x="1498513" y="0"/>
                </a:lnTo>
                <a:lnTo>
                  <a:pt x="1517204" y="8092"/>
                </a:lnTo>
                <a:cubicBezTo>
                  <a:pt x="1526183" y="17411"/>
                  <a:pt x="1531352" y="30199"/>
                  <a:pt x="1531896" y="45164"/>
                </a:cubicBezTo>
                <a:cubicBezTo>
                  <a:pt x="1532985" y="71829"/>
                  <a:pt x="1505776" y="97949"/>
                  <a:pt x="1479111" y="97949"/>
                </a:cubicBezTo>
                <a:cubicBezTo>
                  <a:pt x="1451902" y="97949"/>
                  <a:pt x="1425238" y="71829"/>
                  <a:pt x="1426870" y="45164"/>
                </a:cubicBezTo>
                <a:cubicBezTo>
                  <a:pt x="1427687" y="29655"/>
                  <a:pt x="1432720" y="16867"/>
                  <a:pt x="1441631" y="7684"/>
                </a:cubicBezTo>
                <a:close/>
                <a:moveTo>
                  <a:pt x="1296749" y="0"/>
                </a:moveTo>
                <a:lnTo>
                  <a:pt x="1335755" y="0"/>
                </a:lnTo>
                <a:lnTo>
                  <a:pt x="1350278" y="10270"/>
                </a:lnTo>
                <a:cubicBezTo>
                  <a:pt x="1359937" y="19861"/>
                  <a:pt x="1366467" y="32649"/>
                  <a:pt x="1365923" y="45165"/>
                </a:cubicBezTo>
                <a:cubicBezTo>
                  <a:pt x="1364291" y="71829"/>
                  <a:pt x="1343068" y="93052"/>
                  <a:pt x="1315315" y="93052"/>
                </a:cubicBezTo>
                <a:cubicBezTo>
                  <a:pt x="1290283" y="95229"/>
                  <a:pt x="1266339" y="69109"/>
                  <a:pt x="1266339" y="44076"/>
                </a:cubicBezTo>
                <a:cubicBezTo>
                  <a:pt x="1266339" y="30472"/>
                  <a:pt x="1273141" y="18228"/>
                  <a:pt x="1282732" y="9317"/>
                </a:cubicBezTo>
                <a:close/>
                <a:moveTo>
                  <a:pt x="1148085" y="0"/>
                </a:moveTo>
                <a:lnTo>
                  <a:pt x="1161802" y="0"/>
                </a:lnTo>
                <a:lnTo>
                  <a:pt x="1169637" y="1315"/>
                </a:lnTo>
                <a:cubicBezTo>
                  <a:pt x="1186447" y="8432"/>
                  <a:pt x="1199813" y="26798"/>
                  <a:pt x="1199405" y="45164"/>
                </a:cubicBezTo>
                <a:cubicBezTo>
                  <a:pt x="1198861" y="69652"/>
                  <a:pt x="1175462" y="93596"/>
                  <a:pt x="1151518" y="91419"/>
                </a:cubicBezTo>
                <a:cubicBezTo>
                  <a:pt x="1123765" y="88154"/>
                  <a:pt x="1109072" y="72373"/>
                  <a:pt x="1105807" y="44620"/>
                </a:cubicBezTo>
                <a:cubicBezTo>
                  <a:pt x="1107440" y="30472"/>
                  <a:pt x="1111657" y="19588"/>
                  <a:pt x="1119139" y="11902"/>
                </a:cubicBezTo>
                <a:close/>
              </a:path>
            </a:pathLst>
          </a:custGeom>
          <a:solidFill>
            <a:srgbClr val="9AA8C5">
              <a:alpha val="17000"/>
            </a:srgbClr>
          </a:solidFill>
          <a:ln w="5432" cap="flat">
            <a:noFill/>
            <a:prstDash val="solid"/>
            <a:miter/>
          </a:ln>
        </p:spPr>
        <p:txBody>
          <a:bodyPr rtlCol="0" anchor="ctr"/>
          <a:lstStyle/>
          <a:p>
            <a:endParaRPr lang="en-IN"/>
          </a:p>
        </p:txBody>
      </p:sp>
    </p:spTree>
    <p:extLst>
      <p:ext uri="{BB962C8B-B14F-4D97-AF65-F5344CB8AC3E}">
        <p14:creationId xmlns:p14="http://schemas.microsoft.com/office/powerpoint/2010/main" val="344041321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4_Header 2">
    <p:spTree>
      <p:nvGrpSpPr>
        <p:cNvPr id="1" name=""/>
        <p:cNvGrpSpPr/>
        <p:nvPr/>
      </p:nvGrpSpPr>
      <p:grpSpPr>
        <a:xfrm>
          <a:off x="0" y="0"/>
          <a:ext cx="0" cy="0"/>
          <a:chOff x="0" y="0"/>
          <a:chExt cx="0" cy="0"/>
        </a:xfrm>
      </p:grpSpPr>
      <p:sp>
        <p:nvSpPr>
          <p:cNvPr id="12" name="Title 11">
            <a:extLst>
              <a:ext uri="{FF2B5EF4-FFF2-40B4-BE49-F238E27FC236}">
                <a16:creationId xmlns:a16="http://schemas.microsoft.com/office/drawing/2014/main" id="{42DBC9BA-C3A4-427D-94AA-551C24394CA8}"/>
              </a:ext>
            </a:extLst>
          </p:cNvPr>
          <p:cNvSpPr>
            <a:spLocks noGrp="1"/>
          </p:cNvSpPr>
          <p:nvPr>
            <p:ph type="title" hasCustomPrompt="1"/>
          </p:nvPr>
        </p:nvSpPr>
        <p:spPr>
          <a:xfrm>
            <a:off x="374011" y="185817"/>
            <a:ext cx="10515600" cy="608663"/>
          </a:xfrm>
          <a:prstGeom prst="rect">
            <a:avLst/>
          </a:prstGeom>
        </p:spPr>
        <p:txBody>
          <a:bodyPr/>
          <a:lstStyle>
            <a:lvl1pPr>
              <a:defRPr sz="2600" b="1">
                <a:solidFill>
                  <a:srgbClr val="334D8B"/>
                </a:solidFill>
                <a:latin typeface="+mn-lt"/>
              </a:defRPr>
            </a:lvl1pPr>
          </a:lstStyle>
          <a:p>
            <a:r>
              <a:rPr lang="en-US"/>
              <a:t>Write your Heading here</a:t>
            </a:r>
          </a:p>
        </p:txBody>
      </p:sp>
      <p:cxnSp>
        <p:nvCxnSpPr>
          <p:cNvPr id="6" name="Straight Connector 5">
            <a:extLst>
              <a:ext uri="{FF2B5EF4-FFF2-40B4-BE49-F238E27FC236}">
                <a16:creationId xmlns:a16="http://schemas.microsoft.com/office/drawing/2014/main" id="{F2515AFA-A079-DA47-9A97-FE0CE1B94EB7}"/>
              </a:ext>
            </a:extLst>
          </p:cNvPr>
          <p:cNvCxnSpPr>
            <a:cxnSpLocks/>
          </p:cNvCxnSpPr>
          <p:nvPr/>
        </p:nvCxnSpPr>
        <p:spPr>
          <a:xfrm>
            <a:off x="634034" y="2076830"/>
            <a:ext cx="2571412" cy="0"/>
          </a:xfrm>
          <a:prstGeom prst="line">
            <a:avLst/>
          </a:prstGeom>
          <a:ln w="12700">
            <a:solidFill>
              <a:srgbClr val="33ADAD"/>
            </a:solidFill>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2A133960-AA27-1F47-BC95-4517A482344B}"/>
              </a:ext>
            </a:extLst>
          </p:cNvPr>
          <p:cNvCxnSpPr>
            <a:cxnSpLocks/>
          </p:cNvCxnSpPr>
          <p:nvPr/>
        </p:nvCxnSpPr>
        <p:spPr>
          <a:xfrm>
            <a:off x="4811579" y="4562328"/>
            <a:ext cx="2569464" cy="0"/>
          </a:xfrm>
          <a:prstGeom prst="line">
            <a:avLst/>
          </a:prstGeom>
          <a:ln w="12700">
            <a:solidFill>
              <a:srgbClr val="33ADAD"/>
            </a:solidFill>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3823507D-4793-8E4C-8360-995B35436BB8}"/>
              </a:ext>
            </a:extLst>
          </p:cNvPr>
          <p:cNvCxnSpPr>
            <a:cxnSpLocks/>
          </p:cNvCxnSpPr>
          <p:nvPr/>
        </p:nvCxnSpPr>
        <p:spPr>
          <a:xfrm>
            <a:off x="635008" y="4562328"/>
            <a:ext cx="2569464" cy="0"/>
          </a:xfrm>
          <a:prstGeom prst="line">
            <a:avLst/>
          </a:prstGeom>
          <a:ln w="12700">
            <a:solidFill>
              <a:srgbClr val="33ADAD"/>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5312C0D-13F3-BB4A-BA7F-1CFA6E15EE39}"/>
              </a:ext>
            </a:extLst>
          </p:cNvPr>
          <p:cNvCxnSpPr>
            <a:cxnSpLocks/>
          </p:cNvCxnSpPr>
          <p:nvPr/>
        </p:nvCxnSpPr>
        <p:spPr>
          <a:xfrm>
            <a:off x="8713779" y="4562328"/>
            <a:ext cx="2569464" cy="0"/>
          </a:xfrm>
          <a:prstGeom prst="line">
            <a:avLst/>
          </a:prstGeom>
          <a:ln w="12700">
            <a:solidFill>
              <a:srgbClr val="33ADAD"/>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FFC95F05-C1DA-B042-B68B-A70F4AA97A28}"/>
              </a:ext>
            </a:extLst>
          </p:cNvPr>
          <p:cNvCxnSpPr>
            <a:cxnSpLocks/>
          </p:cNvCxnSpPr>
          <p:nvPr/>
        </p:nvCxnSpPr>
        <p:spPr>
          <a:xfrm>
            <a:off x="4811579" y="2076830"/>
            <a:ext cx="2569464" cy="0"/>
          </a:xfrm>
          <a:prstGeom prst="line">
            <a:avLst/>
          </a:prstGeom>
          <a:ln w="12700">
            <a:solidFill>
              <a:srgbClr val="33ADAD"/>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1D4D3208-0759-F64B-80D0-494D0FF2B409}"/>
              </a:ext>
            </a:extLst>
          </p:cNvPr>
          <p:cNvCxnSpPr>
            <a:cxnSpLocks/>
          </p:cNvCxnSpPr>
          <p:nvPr/>
        </p:nvCxnSpPr>
        <p:spPr>
          <a:xfrm>
            <a:off x="8713779" y="2076830"/>
            <a:ext cx="2569464" cy="0"/>
          </a:xfrm>
          <a:prstGeom prst="line">
            <a:avLst/>
          </a:prstGeom>
          <a:ln w="12700">
            <a:solidFill>
              <a:srgbClr val="33ADAD"/>
            </a:solidFill>
          </a:ln>
        </p:spPr>
        <p:style>
          <a:lnRef idx="1">
            <a:schemeClr val="accent1"/>
          </a:lnRef>
          <a:fillRef idx="0">
            <a:schemeClr val="accent1"/>
          </a:fillRef>
          <a:effectRef idx="0">
            <a:schemeClr val="accent1"/>
          </a:effectRef>
          <a:fontRef idx="minor">
            <a:schemeClr val="tx1"/>
          </a:fontRef>
        </p:style>
      </p:cxnSp>
      <p:sp>
        <p:nvSpPr>
          <p:cNvPr id="13" name="Text Placeholder 3">
            <a:extLst>
              <a:ext uri="{FF2B5EF4-FFF2-40B4-BE49-F238E27FC236}">
                <a16:creationId xmlns:a16="http://schemas.microsoft.com/office/drawing/2014/main" id="{4CE2C74A-A3F6-A247-A2B6-82FA21C549E3}"/>
              </a:ext>
            </a:extLst>
          </p:cNvPr>
          <p:cNvSpPr>
            <a:spLocks noGrp="1"/>
          </p:cNvSpPr>
          <p:nvPr>
            <p:ph type="body" sz="half" idx="2" hasCustomPrompt="1"/>
          </p:nvPr>
        </p:nvSpPr>
        <p:spPr>
          <a:xfrm>
            <a:off x="749373" y="2295862"/>
            <a:ext cx="2340734" cy="608663"/>
          </a:xfrm>
          <a:prstGeom prst="rect">
            <a:avLst/>
          </a:prstGeom>
        </p:spPr>
        <p:txBody>
          <a:bodyPr>
            <a:normAutofit/>
          </a:bodyPr>
          <a:lstStyle>
            <a:lvl1pPr marL="0" indent="0" algn="ctr">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Write your text here</a:t>
            </a:r>
          </a:p>
        </p:txBody>
      </p:sp>
      <p:sp>
        <p:nvSpPr>
          <p:cNvPr id="17" name="Text Placeholder 3">
            <a:extLst>
              <a:ext uri="{FF2B5EF4-FFF2-40B4-BE49-F238E27FC236}">
                <a16:creationId xmlns:a16="http://schemas.microsoft.com/office/drawing/2014/main" id="{37779FAB-07B5-7343-83D8-744FF392B2EB}"/>
              </a:ext>
            </a:extLst>
          </p:cNvPr>
          <p:cNvSpPr>
            <a:spLocks noGrp="1"/>
          </p:cNvSpPr>
          <p:nvPr>
            <p:ph type="body" sz="half" idx="10" hasCustomPrompt="1"/>
          </p:nvPr>
        </p:nvSpPr>
        <p:spPr>
          <a:xfrm>
            <a:off x="4925944" y="2282610"/>
            <a:ext cx="2340734" cy="608663"/>
          </a:xfrm>
          <a:prstGeom prst="rect">
            <a:avLst/>
          </a:prstGeom>
        </p:spPr>
        <p:txBody>
          <a:bodyPr>
            <a:normAutofit/>
          </a:bodyPr>
          <a:lstStyle>
            <a:lvl1pPr marL="0" indent="0" algn="ctr">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Write your text here</a:t>
            </a:r>
          </a:p>
        </p:txBody>
      </p:sp>
      <p:sp>
        <p:nvSpPr>
          <p:cNvPr id="18" name="Text Placeholder 3">
            <a:extLst>
              <a:ext uri="{FF2B5EF4-FFF2-40B4-BE49-F238E27FC236}">
                <a16:creationId xmlns:a16="http://schemas.microsoft.com/office/drawing/2014/main" id="{CBB22329-98EB-3C48-BF83-01FA427AA91E}"/>
              </a:ext>
            </a:extLst>
          </p:cNvPr>
          <p:cNvSpPr>
            <a:spLocks noGrp="1"/>
          </p:cNvSpPr>
          <p:nvPr>
            <p:ph type="body" sz="half" idx="11" hasCustomPrompt="1"/>
          </p:nvPr>
        </p:nvSpPr>
        <p:spPr>
          <a:xfrm>
            <a:off x="8828144" y="2189845"/>
            <a:ext cx="2340734" cy="608663"/>
          </a:xfrm>
          <a:prstGeom prst="rect">
            <a:avLst/>
          </a:prstGeom>
        </p:spPr>
        <p:txBody>
          <a:bodyPr>
            <a:normAutofit/>
          </a:bodyPr>
          <a:lstStyle>
            <a:lvl1pPr marL="0" indent="0" algn="ctr">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Write your text here</a:t>
            </a:r>
          </a:p>
        </p:txBody>
      </p:sp>
      <p:sp>
        <p:nvSpPr>
          <p:cNvPr id="19" name="Text Placeholder 3">
            <a:extLst>
              <a:ext uri="{FF2B5EF4-FFF2-40B4-BE49-F238E27FC236}">
                <a16:creationId xmlns:a16="http://schemas.microsoft.com/office/drawing/2014/main" id="{1C504C75-5A39-D44C-B548-9A07AFB12F5F}"/>
              </a:ext>
            </a:extLst>
          </p:cNvPr>
          <p:cNvSpPr>
            <a:spLocks noGrp="1"/>
          </p:cNvSpPr>
          <p:nvPr>
            <p:ph type="body" sz="half" idx="12" hasCustomPrompt="1"/>
          </p:nvPr>
        </p:nvSpPr>
        <p:spPr>
          <a:xfrm>
            <a:off x="8828144" y="4813776"/>
            <a:ext cx="2340734" cy="608663"/>
          </a:xfrm>
          <a:prstGeom prst="rect">
            <a:avLst/>
          </a:prstGeom>
        </p:spPr>
        <p:txBody>
          <a:bodyPr>
            <a:normAutofit/>
          </a:bodyPr>
          <a:lstStyle>
            <a:lvl1pPr marL="0" indent="0" algn="ctr">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Write your text here</a:t>
            </a:r>
          </a:p>
        </p:txBody>
      </p:sp>
      <p:sp>
        <p:nvSpPr>
          <p:cNvPr id="20" name="Text Placeholder 3">
            <a:extLst>
              <a:ext uri="{FF2B5EF4-FFF2-40B4-BE49-F238E27FC236}">
                <a16:creationId xmlns:a16="http://schemas.microsoft.com/office/drawing/2014/main" id="{9FAB3876-2FFD-8142-8206-2D21FDA31F6F}"/>
              </a:ext>
            </a:extLst>
          </p:cNvPr>
          <p:cNvSpPr>
            <a:spLocks noGrp="1"/>
          </p:cNvSpPr>
          <p:nvPr>
            <p:ph type="body" sz="half" idx="13" hasCustomPrompt="1"/>
          </p:nvPr>
        </p:nvSpPr>
        <p:spPr>
          <a:xfrm>
            <a:off x="4925944" y="4813776"/>
            <a:ext cx="2340734" cy="608663"/>
          </a:xfrm>
          <a:prstGeom prst="rect">
            <a:avLst/>
          </a:prstGeom>
        </p:spPr>
        <p:txBody>
          <a:bodyPr>
            <a:normAutofit/>
          </a:bodyPr>
          <a:lstStyle>
            <a:lvl1pPr marL="0" indent="0" algn="ctr">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Write your text here</a:t>
            </a:r>
          </a:p>
        </p:txBody>
      </p:sp>
      <p:sp>
        <p:nvSpPr>
          <p:cNvPr id="21" name="Text Placeholder 3">
            <a:extLst>
              <a:ext uri="{FF2B5EF4-FFF2-40B4-BE49-F238E27FC236}">
                <a16:creationId xmlns:a16="http://schemas.microsoft.com/office/drawing/2014/main" id="{94B9D3E6-EA3D-B64E-BE53-59E748987A6A}"/>
              </a:ext>
            </a:extLst>
          </p:cNvPr>
          <p:cNvSpPr>
            <a:spLocks noGrp="1"/>
          </p:cNvSpPr>
          <p:nvPr>
            <p:ph type="body" sz="half" idx="14" hasCustomPrompt="1"/>
          </p:nvPr>
        </p:nvSpPr>
        <p:spPr>
          <a:xfrm>
            <a:off x="749373" y="4813776"/>
            <a:ext cx="2340734" cy="608663"/>
          </a:xfrm>
          <a:prstGeom prst="rect">
            <a:avLst/>
          </a:prstGeom>
        </p:spPr>
        <p:txBody>
          <a:bodyPr>
            <a:normAutofit/>
          </a:bodyPr>
          <a:lstStyle>
            <a:lvl1pPr marL="0" indent="0" algn="ctr">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Write your text here</a:t>
            </a:r>
          </a:p>
        </p:txBody>
      </p:sp>
      <p:sp>
        <p:nvSpPr>
          <p:cNvPr id="3" name="Picture Placeholder 2">
            <a:extLst>
              <a:ext uri="{FF2B5EF4-FFF2-40B4-BE49-F238E27FC236}">
                <a16:creationId xmlns:a16="http://schemas.microsoft.com/office/drawing/2014/main" id="{3B9C0C68-5443-C442-8E55-BE64103C16E3}"/>
              </a:ext>
            </a:extLst>
          </p:cNvPr>
          <p:cNvSpPr>
            <a:spLocks noGrp="1"/>
          </p:cNvSpPr>
          <p:nvPr>
            <p:ph type="pic" sz="quarter" idx="15" hasCustomPrompt="1"/>
          </p:nvPr>
        </p:nvSpPr>
        <p:spPr>
          <a:xfrm>
            <a:off x="810078" y="1451110"/>
            <a:ext cx="2219325" cy="530225"/>
          </a:xfrm>
          <a:prstGeom prst="rect">
            <a:avLst/>
          </a:prstGeom>
          <a:solidFill>
            <a:schemeClr val="bg1">
              <a:lumMod val="95000"/>
            </a:schemeClr>
          </a:solidFill>
        </p:spPr>
        <p:txBody>
          <a:bodyPr anchor="ctr"/>
          <a:lstStyle>
            <a:lvl1pPr algn="ctr">
              <a:defRPr/>
            </a:lvl1pPr>
          </a:lstStyle>
          <a:p>
            <a:r>
              <a:rPr lang="en-GB"/>
              <a:t>logo</a:t>
            </a:r>
          </a:p>
        </p:txBody>
      </p:sp>
      <p:sp>
        <p:nvSpPr>
          <p:cNvPr id="24" name="Picture Placeholder 2">
            <a:extLst>
              <a:ext uri="{FF2B5EF4-FFF2-40B4-BE49-F238E27FC236}">
                <a16:creationId xmlns:a16="http://schemas.microsoft.com/office/drawing/2014/main" id="{3D1B758D-8DA9-F444-9F3F-EE673D938405}"/>
              </a:ext>
            </a:extLst>
          </p:cNvPr>
          <p:cNvSpPr>
            <a:spLocks noGrp="1"/>
          </p:cNvSpPr>
          <p:nvPr>
            <p:ph type="pic" sz="quarter" idx="16" hasCustomPrompt="1"/>
          </p:nvPr>
        </p:nvSpPr>
        <p:spPr>
          <a:xfrm>
            <a:off x="4986649" y="1451110"/>
            <a:ext cx="2219325" cy="530225"/>
          </a:xfrm>
          <a:prstGeom prst="rect">
            <a:avLst/>
          </a:prstGeom>
          <a:solidFill>
            <a:schemeClr val="bg1">
              <a:lumMod val="95000"/>
            </a:schemeClr>
          </a:solidFill>
        </p:spPr>
        <p:txBody>
          <a:bodyPr anchor="ctr"/>
          <a:lstStyle>
            <a:lvl1pPr algn="ctr">
              <a:defRPr/>
            </a:lvl1pPr>
          </a:lstStyle>
          <a:p>
            <a:r>
              <a:rPr lang="en-GB"/>
              <a:t>logo</a:t>
            </a:r>
          </a:p>
        </p:txBody>
      </p:sp>
      <p:sp>
        <p:nvSpPr>
          <p:cNvPr id="25" name="Picture Placeholder 2">
            <a:extLst>
              <a:ext uri="{FF2B5EF4-FFF2-40B4-BE49-F238E27FC236}">
                <a16:creationId xmlns:a16="http://schemas.microsoft.com/office/drawing/2014/main" id="{604643BB-9D2E-4E43-898B-FBBEBC2FD32D}"/>
              </a:ext>
            </a:extLst>
          </p:cNvPr>
          <p:cNvSpPr>
            <a:spLocks noGrp="1"/>
          </p:cNvSpPr>
          <p:nvPr>
            <p:ph type="pic" sz="quarter" idx="17" hasCustomPrompt="1"/>
          </p:nvPr>
        </p:nvSpPr>
        <p:spPr>
          <a:xfrm>
            <a:off x="8888849" y="1451110"/>
            <a:ext cx="2219325" cy="530225"/>
          </a:xfrm>
          <a:prstGeom prst="rect">
            <a:avLst/>
          </a:prstGeom>
          <a:solidFill>
            <a:schemeClr val="bg1">
              <a:lumMod val="95000"/>
            </a:schemeClr>
          </a:solidFill>
        </p:spPr>
        <p:txBody>
          <a:bodyPr anchor="ctr"/>
          <a:lstStyle>
            <a:lvl1pPr algn="ctr">
              <a:defRPr/>
            </a:lvl1pPr>
          </a:lstStyle>
          <a:p>
            <a:r>
              <a:rPr lang="en-GB"/>
              <a:t>logo</a:t>
            </a:r>
          </a:p>
        </p:txBody>
      </p:sp>
      <p:sp>
        <p:nvSpPr>
          <p:cNvPr id="26" name="Picture Placeholder 2">
            <a:extLst>
              <a:ext uri="{FF2B5EF4-FFF2-40B4-BE49-F238E27FC236}">
                <a16:creationId xmlns:a16="http://schemas.microsoft.com/office/drawing/2014/main" id="{148E8F29-6A48-E94D-9DE7-710611C6E76F}"/>
              </a:ext>
            </a:extLst>
          </p:cNvPr>
          <p:cNvSpPr>
            <a:spLocks noGrp="1"/>
          </p:cNvSpPr>
          <p:nvPr>
            <p:ph type="pic" sz="quarter" idx="18" hasCustomPrompt="1"/>
          </p:nvPr>
        </p:nvSpPr>
        <p:spPr>
          <a:xfrm>
            <a:off x="8888849" y="3902762"/>
            <a:ext cx="2219325" cy="530225"/>
          </a:xfrm>
          <a:prstGeom prst="rect">
            <a:avLst/>
          </a:prstGeom>
          <a:solidFill>
            <a:schemeClr val="bg1">
              <a:lumMod val="95000"/>
            </a:schemeClr>
          </a:solidFill>
        </p:spPr>
        <p:txBody>
          <a:bodyPr anchor="ctr"/>
          <a:lstStyle>
            <a:lvl1pPr algn="ctr">
              <a:defRPr/>
            </a:lvl1pPr>
          </a:lstStyle>
          <a:p>
            <a:r>
              <a:rPr lang="en-GB"/>
              <a:t>logo</a:t>
            </a:r>
          </a:p>
        </p:txBody>
      </p:sp>
      <p:sp>
        <p:nvSpPr>
          <p:cNvPr id="27" name="Picture Placeholder 2">
            <a:extLst>
              <a:ext uri="{FF2B5EF4-FFF2-40B4-BE49-F238E27FC236}">
                <a16:creationId xmlns:a16="http://schemas.microsoft.com/office/drawing/2014/main" id="{12C4449A-6004-4244-BEE2-CACA47283D0A}"/>
              </a:ext>
            </a:extLst>
          </p:cNvPr>
          <p:cNvSpPr>
            <a:spLocks noGrp="1"/>
          </p:cNvSpPr>
          <p:nvPr>
            <p:ph type="pic" sz="quarter" idx="19" hasCustomPrompt="1"/>
          </p:nvPr>
        </p:nvSpPr>
        <p:spPr>
          <a:xfrm>
            <a:off x="4986649" y="3902762"/>
            <a:ext cx="2219325" cy="530225"/>
          </a:xfrm>
          <a:prstGeom prst="rect">
            <a:avLst/>
          </a:prstGeom>
          <a:solidFill>
            <a:schemeClr val="bg1">
              <a:lumMod val="95000"/>
            </a:schemeClr>
          </a:solidFill>
        </p:spPr>
        <p:txBody>
          <a:bodyPr anchor="ctr"/>
          <a:lstStyle>
            <a:lvl1pPr algn="ctr">
              <a:defRPr/>
            </a:lvl1pPr>
          </a:lstStyle>
          <a:p>
            <a:r>
              <a:rPr lang="en-GB"/>
              <a:t>logo</a:t>
            </a:r>
          </a:p>
        </p:txBody>
      </p:sp>
      <p:sp>
        <p:nvSpPr>
          <p:cNvPr id="28" name="Picture Placeholder 2">
            <a:extLst>
              <a:ext uri="{FF2B5EF4-FFF2-40B4-BE49-F238E27FC236}">
                <a16:creationId xmlns:a16="http://schemas.microsoft.com/office/drawing/2014/main" id="{39B4FAA6-6C6A-E34B-8111-4E43847761EB}"/>
              </a:ext>
            </a:extLst>
          </p:cNvPr>
          <p:cNvSpPr>
            <a:spLocks noGrp="1"/>
          </p:cNvSpPr>
          <p:nvPr>
            <p:ph type="pic" sz="quarter" idx="20" hasCustomPrompt="1"/>
          </p:nvPr>
        </p:nvSpPr>
        <p:spPr>
          <a:xfrm>
            <a:off x="810078" y="3902762"/>
            <a:ext cx="2219325" cy="530225"/>
          </a:xfrm>
          <a:prstGeom prst="rect">
            <a:avLst/>
          </a:prstGeom>
          <a:solidFill>
            <a:schemeClr val="bg1">
              <a:lumMod val="95000"/>
            </a:schemeClr>
          </a:solidFill>
        </p:spPr>
        <p:txBody>
          <a:bodyPr anchor="ctr"/>
          <a:lstStyle>
            <a:lvl1pPr algn="ctr">
              <a:defRPr/>
            </a:lvl1pPr>
          </a:lstStyle>
          <a:p>
            <a:r>
              <a:rPr lang="en-GB"/>
              <a:t>logo</a:t>
            </a:r>
          </a:p>
        </p:txBody>
      </p:sp>
      <p:sp>
        <p:nvSpPr>
          <p:cNvPr id="31" name="Slide Number Placeholder 5">
            <a:extLst>
              <a:ext uri="{FF2B5EF4-FFF2-40B4-BE49-F238E27FC236}">
                <a16:creationId xmlns:a16="http://schemas.microsoft.com/office/drawing/2014/main" id="{FD174F0C-4CBB-476B-A7EE-4FF60D029BD4}"/>
              </a:ext>
            </a:extLst>
          </p:cNvPr>
          <p:cNvSpPr txBox="1">
            <a:spLocks/>
          </p:cNvSpPr>
          <p:nvPr userDrawn="1"/>
        </p:nvSpPr>
        <p:spPr>
          <a:xfrm>
            <a:off x="11373135" y="6506785"/>
            <a:ext cx="609600" cy="261610"/>
          </a:xfrm>
          <a:prstGeom prst="rect">
            <a:avLst/>
          </a:prstGeom>
          <a:noFill/>
        </p:spPr>
        <p:txBody>
          <a:bodyPr>
            <a:spAutoFit/>
          </a:bodyPr>
          <a:lstStyle>
            <a:defPPr>
              <a:defRPr lang="en-US"/>
            </a:defPPr>
            <a:lvl1pPr marL="0" algn="ctr" defTabSz="914400" rtl="0" eaLnBrk="1" latinLnBrk="0" hangingPunct="1">
              <a:defRPr lang="en-US" sz="1800" kern="1200" smtClean="0">
                <a:solidFill>
                  <a:schemeClr val="bg1"/>
                </a:solidFill>
                <a:latin typeface="Tahoma" pitchFamily="34" charset="0"/>
                <a:ea typeface="Tahoma" pitchFamily="34" charset="0"/>
                <a:cs typeface="Tahoma"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fld id="{3413C1ED-5599-4BB6-878F-244F2E6B8E4A}" type="slidenum">
              <a:rPr lang="en-IN" sz="1100">
                <a:solidFill>
                  <a:prstClr val="black">
                    <a:lumMod val="50000"/>
                    <a:lumOff val="50000"/>
                  </a:prstClr>
                </a:solidFill>
              </a:rPr>
              <a:pPr fontAlgn="auto">
                <a:spcBef>
                  <a:spcPts val="0"/>
                </a:spcBef>
                <a:spcAft>
                  <a:spcPts val="0"/>
                </a:spcAft>
                <a:defRPr/>
              </a:pPr>
              <a:t>‹#›</a:t>
            </a:fld>
            <a:endParaRPr lang="en-IN" sz="1100">
              <a:solidFill>
                <a:prstClr val="black">
                  <a:lumMod val="50000"/>
                  <a:lumOff val="50000"/>
                </a:prstClr>
              </a:solidFill>
            </a:endParaRPr>
          </a:p>
        </p:txBody>
      </p:sp>
      <p:pic>
        <p:nvPicPr>
          <p:cNvPr id="32" name="Picture 31">
            <a:extLst>
              <a:ext uri="{FF2B5EF4-FFF2-40B4-BE49-F238E27FC236}">
                <a16:creationId xmlns:a16="http://schemas.microsoft.com/office/drawing/2014/main" id="{77562C4D-D786-4C37-9B18-9D9394CCC427}"/>
              </a:ext>
            </a:extLst>
          </p:cNvPr>
          <p:cNvPicPr>
            <a:picLocks noChangeAspect="1"/>
          </p:cNvPicPr>
          <p:nvPr userDrawn="1"/>
        </p:nvPicPr>
        <p:blipFill>
          <a:blip r:embed="rId2"/>
          <a:stretch>
            <a:fillRect/>
          </a:stretch>
        </p:blipFill>
        <p:spPr>
          <a:xfrm>
            <a:off x="464908" y="6506785"/>
            <a:ext cx="1148260" cy="138938"/>
          </a:xfrm>
          <a:prstGeom prst="rect">
            <a:avLst/>
          </a:prstGeom>
        </p:spPr>
      </p:pic>
      <p:sp>
        <p:nvSpPr>
          <p:cNvPr id="33" name="Freeform: Shape 14">
            <a:extLst>
              <a:ext uri="{FF2B5EF4-FFF2-40B4-BE49-F238E27FC236}">
                <a16:creationId xmlns:a16="http://schemas.microsoft.com/office/drawing/2014/main" id="{750F9F9C-006A-4A83-8F4A-E519431862B5}"/>
              </a:ext>
            </a:extLst>
          </p:cNvPr>
          <p:cNvSpPr/>
          <p:nvPr userDrawn="1"/>
        </p:nvSpPr>
        <p:spPr>
          <a:xfrm rot="5400000" flipH="1">
            <a:off x="10650813" y="-6388"/>
            <a:ext cx="1528833" cy="1553542"/>
          </a:xfrm>
          <a:custGeom>
            <a:avLst/>
            <a:gdLst>
              <a:gd name="connsiteX0" fmla="*/ 2051041 w 2051041"/>
              <a:gd name="connsiteY0" fmla="*/ 2080382 h 2084191"/>
              <a:gd name="connsiteX1" fmla="*/ 2051041 w 2051041"/>
              <a:gd name="connsiteY1" fmla="*/ 2083967 h 2084191"/>
              <a:gd name="connsiteX2" fmla="*/ 2047231 w 2051041"/>
              <a:gd name="connsiteY2" fmla="*/ 2084191 h 2084191"/>
              <a:gd name="connsiteX3" fmla="*/ 2045599 w 2051041"/>
              <a:gd name="connsiteY3" fmla="*/ 2081470 h 2084191"/>
              <a:gd name="connsiteX4" fmla="*/ 1478568 w 2051041"/>
              <a:gd name="connsiteY4" fmla="*/ 1997668 h 2084191"/>
              <a:gd name="connsiteX5" fmla="*/ 1484554 w 2051041"/>
              <a:gd name="connsiteY5" fmla="*/ 2004743 h 2084191"/>
              <a:gd name="connsiteX6" fmla="*/ 1478568 w 2051041"/>
              <a:gd name="connsiteY6" fmla="*/ 2009096 h 2084191"/>
              <a:gd name="connsiteX7" fmla="*/ 1473126 w 2051041"/>
              <a:gd name="connsiteY7" fmla="*/ 2003654 h 2084191"/>
              <a:gd name="connsiteX8" fmla="*/ 1478568 w 2051041"/>
              <a:gd name="connsiteY8" fmla="*/ 1997668 h 2084191"/>
              <a:gd name="connsiteX9" fmla="*/ 1641820 w 2051041"/>
              <a:gd name="connsiteY9" fmla="*/ 1993859 h 2084191"/>
              <a:gd name="connsiteX10" fmla="*/ 1652160 w 2051041"/>
              <a:gd name="connsiteY10" fmla="*/ 2003654 h 2084191"/>
              <a:gd name="connsiteX11" fmla="*/ 1641820 w 2051041"/>
              <a:gd name="connsiteY11" fmla="*/ 2013449 h 2084191"/>
              <a:gd name="connsiteX12" fmla="*/ 1632025 w 2051041"/>
              <a:gd name="connsiteY12" fmla="*/ 2003654 h 2084191"/>
              <a:gd name="connsiteX13" fmla="*/ 1641820 w 2051041"/>
              <a:gd name="connsiteY13" fmla="*/ 1993859 h 2084191"/>
              <a:gd name="connsiteX14" fmla="*/ 1969414 w 2051041"/>
              <a:gd name="connsiteY14" fmla="*/ 1992226 h 2084191"/>
              <a:gd name="connsiteX15" fmla="*/ 1979753 w 2051041"/>
              <a:gd name="connsiteY15" fmla="*/ 2003654 h 2084191"/>
              <a:gd name="connsiteX16" fmla="*/ 1968325 w 2051041"/>
              <a:gd name="connsiteY16" fmla="*/ 2014537 h 2084191"/>
              <a:gd name="connsiteX17" fmla="*/ 1957986 w 2051041"/>
              <a:gd name="connsiteY17" fmla="*/ 2003110 h 2084191"/>
              <a:gd name="connsiteX18" fmla="*/ 1969414 w 2051041"/>
              <a:gd name="connsiteY18" fmla="*/ 1992226 h 2084191"/>
              <a:gd name="connsiteX19" fmla="*/ 1805073 w 2051041"/>
              <a:gd name="connsiteY19" fmla="*/ 1992226 h 2084191"/>
              <a:gd name="connsiteX20" fmla="*/ 1815956 w 2051041"/>
              <a:gd name="connsiteY20" fmla="*/ 2002565 h 2084191"/>
              <a:gd name="connsiteX21" fmla="*/ 1805073 w 2051041"/>
              <a:gd name="connsiteY21" fmla="*/ 2014537 h 2084191"/>
              <a:gd name="connsiteX22" fmla="*/ 1794189 w 2051041"/>
              <a:gd name="connsiteY22" fmla="*/ 2004198 h 2084191"/>
              <a:gd name="connsiteX23" fmla="*/ 1805073 w 2051041"/>
              <a:gd name="connsiteY23" fmla="*/ 1992226 h 2084191"/>
              <a:gd name="connsiteX24" fmla="*/ 1234233 w 2051041"/>
              <a:gd name="connsiteY24" fmla="*/ 1916042 h 2084191"/>
              <a:gd name="connsiteX25" fmla="*/ 1240219 w 2051041"/>
              <a:gd name="connsiteY25" fmla="*/ 1923660 h 2084191"/>
              <a:gd name="connsiteX26" fmla="*/ 1236953 w 2051041"/>
              <a:gd name="connsiteY26" fmla="*/ 1926381 h 2084191"/>
              <a:gd name="connsiteX27" fmla="*/ 1229335 w 2051041"/>
              <a:gd name="connsiteY27" fmla="*/ 1918762 h 2084191"/>
              <a:gd name="connsiteX28" fmla="*/ 1234233 w 2051041"/>
              <a:gd name="connsiteY28" fmla="*/ 1916042 h 2084191"/>
              <a:gd name="connsiteX29" fmla="*/ 1397486 w 2051041"/>
              <a:gd name="connsiteY29" fmla="*/ 1911144 h 2084191"/>
              <a:gd name="connsiteX30" fmla="*/ 1408369 w 2051041"/>
              <a:gd name="connsiteY30" fmla="*/ 1921483 h 2084191"/>
              <a:gd name="connsiteX31" fmla="*/ 1399118 w 2051041"/>
              <a:gd name="connsiteY31" fmla="*/ 1931823 h 2084191"/>
              <a:gd name="connsiteX32" fmla="*/ 1387146 w 2051041"/>
              <a:gd name="connsiteY32" fmla="*/ 1922028 h 2084191"/>
              <a:gd name="connsiteX33" fmla="*/ 1397486 w 2051041"/>
              <a:gd name="connsiteY33" fmla="*/ 1911144 h 2084191"/>
              <a:gd name="connsiteX34" fmla="*/ 1560194 w 2051041"/>
              <a:gd name="connsiteY34" fmla="*/ 1906790 h 2084191"/>
              <a:gd name="connsiteX35" fmla="*/ 1574342 w 2051041"/>
              <a:gd name="connsiteY35" fmla="*/ 1921482 h 2084191"/>
              <a:gd name="connsiteX36" fmla="*/ 1560738 w 2051041"/>
              <a:gd name="connsiteY36" fmla="*/ 1935631 h 2084191"/>
              <a:gd name="connsiteX37" fmla="*/ 1547134 w 2051041"/>
              <a:gd name="connsiteY37" fmla="*/ 1922027 h 2084191"/>
              <a:gd name="connsiteX38" fmla="*/ 1560194 w 2051041"/>
              <a:gd name="connsiteY38" fmla="*/ 1906790 h 2084191"/>
              <a:gd name="connsiteX39" fmla="*/ 2049952 w 2051041"/>
              <a:gd name="connsiteY39" fmla="*/ 1905702 h 2084191"/>
              <a:gd name="connsiteX40" fmla="*/ 2051041 w 2051041"/>
              <a:gd name="connsiteY40" fmla="*/ 1906027 h 2084191"/>
              <a:gd name="connsiteX41" fmla="*/ 2051041 w 2051041"/>
              <a:gd name="connsiteY41" fmla="*/ 1938133 h 2084191"/>
              <a:gd name="connsiteX42" fmla="*/ 2050496 w 2051041"/>
              <a:gd name="connsiteY42" fmla="*/ 1938353 h 2084191"/>
              <a:gd name="connsiteX43" fmla="*/ 2034171 w 2051041"/>
              <a:gd name="connsiteY43" fmla="*/ 1922572 h 2084191"/>
              <a:gd name="connsiteX44" fmla="*/ 2049952 w 2051041"/>
              <a:gd name="connsiteY44" fmla="*/ 1905702 h 2084191"/>
              <a:gd name="connsiteX45" fmla="*/ 1723447 w 2051041"/>
              <a:gd name="connsiteY45" fmla="*/ 1905702 h 2084191"/>
              <a:gd name="connsiteX46" fmla="*/ 1739772 w 2051041"/>
              <a:gd name="connsiteY46" fmla="*/ 1920939 h 2084191"/>
              <a:gd name="connsiteX47" fmla="*/ 1724535 w 2051041"/>
              <a:gd name="connsiteY47" fmla="*/ 1937264 h 2084191"/>
              <a:gd name="connsiteX48" fmla="*/ 1708210 w 2051041"/>
              <a:gd name="connsiteY48" fmla="*/ 1922027 h 2084191"/>
              <a:gd name="connsiteX49" fmla="*/ 1723447 w 2051041"/>
              <a:gd name="connsiteY49" fmla="*/ 1905702 h 2084191"/>
              <a:gd name="connsiteX50" fmla="*/ 1887787 w 2051041"/>
              <a:gd name="connsiteY50" fmla="*/ 1905158 h 2084191"/>
              <a:gd name="connsiteX51" fmla="*/ 1904113 w 2051041"/>
              <a:gd name="connsiteY51" fmla="*/ 1922028 h 2084191"/>
              <a:gd name="connsiteX52" fmla="*/ 1886699 w 2051041"/>
              <a:gd name="connsiteY52" fmla="*/ 1937809 h 2084191"/>
              <a:gd name="connsiteX53" fmla="*/ 1870918 w 2051041"/>
              <a:gd name="connsiteY53" fmla="*/ 1921483 h 2084191"/>
              <a:gd name="connsiteX54" fmla="*/ 1887787 w 2051041"/>
              <a:gd name="connsiteY54" fmla="*/ 1905158 h 2084191"/>
              <a:gd name="connsiteX55" fmla="*/ 1152606 w 2051041"/>
              <a:gd name="connsiteY55" fmla="*/ 1831693 h 2084191"/>
              <a:gd name="connsiteX56" fmla="*/ 1161313 w 2051041"/>
              <a:gd name="connsiteY56" fmla="*/ 1839312 h 2084191"/>
              <a:gd name="connsiteX57" fmla="*/ 1153694 w 2051041"/>
              <a:gd name="connsiteY57" fmla="*/ 1852916 h 2084191"/>
              <a:gd name="connsiteX58" fmla="*/ 1144988 w 2051041"/>
              <a:gd name="connsiteY58" fmla="*/ 1841489 h 2084191"/>
              <a:gd name="connsiteX59" fmla="*/ 1152606 w 2051041"/>
              <a:gd name="connsiteY59" fmla="*/ 1831693 h 2084191"/>
              <a:gd name="connsiteX60" fmla="*/ 1315315 w 2051041"/>
              <a:gd name="connsiteY60" fmla="*/ 1825708 h 2084191"/>
              <a:gd name="connsiteX61" fmla="*/ 1330552 w 2051041"/>
              <a:gd name="connsiteY61" fmla="*/ 1840401 h 2084191"/>
              <a:gd name="connsiteX62" fmla="*/ 1316404 w 2051041"/>
              <a:gd name="connsiteY62" fmla="*/ 1854549 h 2084191"/>
              <a:gd name="connsiteX63" fmla="*/ 1301711 w 2051041"/>
              <a:gd name="connsiteY63" fmla="*/ 1840945 h 2084191"/>
              <a:gd name="connsiteX64" fmla="*/ 1315315 w 2051041"/>
              <a:gd name="connsiteY64" fmla="*/ 1825708 h 2084191"/>
              <a:gd name="connsiteX65" fmla="*/ 1479656 w 2051041"/>
              <a:gd name="connsiteY65" fmla="*/ 1822987 h 2084191"/>
              <a:gd name="connsiteX66" fmla="*/ 1495981 w 2051041"/>
              <a:gd name="connsiteY66" fmla="*/ 1840401 h 2084191"/>
              <a:gd name="connsiteX67" fmla="*/ 1478567 w 2051041"/>
              <a:gd name="connsiteY67" fmla="*/ 1856182 h 2084191"/>
              <a:gd name="connsiteX68" fmla="*/ 1462242 w 2051041"/>
              <a:gd name="connsiteY68" fmla="*/ 1839312 h 2084191"/>
              <a:gd name="connsiteX69" fmla="*/ 1479656 w 2051041"/>
              <a:gd name="connsiteY69" fmla="*/ 1822987 h 2084191"/>
              <a:gd name="connsiteX70" fmla="*/ 1642365 w 2051041"/>
              <a:gd name="connsiteY70" fmla="*/ 1821355 h 2084191"/>
              <a:gd name="connsiteX71" fmla="*/ 1660867 w 2051041"/>
              <a:gd name="connsiteY71" fmla="*/ 1840401 h 2084191"/>
              <a:gd name="connsiteX72" fmla="*/ 1642365 w 2051041"/>
              <a:gd name="connsiteY72" fmla="*/ 1857270 h 2084191"/>
              <a:gd name="connsiteX73" fmla="*/ 1624407 w 2051041"/>
              <a:gd name="connsiteY73" fmla="*/ 1839857 h 2084191"/>
              <a:gd name="connsiteX74" fmla="*/ 1642365 w 2051041"/>
              <a:gd name="connsiteY74" fmla="*/ 1821355 h 2084191"/>
              <a:gd name="connsiteX75" fmla="*/ 1806162 w 2051041"/>
              <a:gd name="connsiteY75" fmla="*/ 1819723 h 2084191"/>
              <a:gd name="connsiteX76" fmla="*/ 1826840 w 2051041"/>
              <a:gd name="connsiteY76" fmla="*/ 1840945 h 2084191"/>
              <a:gd name="connsiteX77" fmla="*/ 1804529 w 2051041"/>
              <a:gd name="connsiteY77" fmla="*/ 1861080 h 2084191"/>
              <a:gd name="connsiteX78" fmla="*/ 1784395 w 2051041"/>
              <a:gd name="connsiteY78" fmla="*/ 1839313 h 2084191"/>
              <a:gd name="connsiteX79" fmla="*/ 1806162 w 2051041"/>
              <a:gd name="connsiteY79" fmla="*/ 1819723 h 2084191"/>
              <a:gd name="connsiteX80" fmla="*/ 1968870 w 2051041"/>
              <a:gd name="connsiteY80" fmla="*/ 1819178 h 2084191"/>
              <a:gd name="connsiteX81" fmla="*/ 1990093 w 2051041"/>
              <a:gd name="connsiteY81" fmla="*/ 1840401 h 2084191"/>
              <a:gd name="connsiteX82" fmla="*/ 1968870 w 2051041"/>
              <a:gd name="connsiteY82" fmla="*/ 1861624 h 2084191"/>
              <a:gd name="connsiteX83" fmla="*/ 1947647 w 2051041"/>
              <a:gd name="connsiteY83" fmla="*/ 1840401 h 2084191"/>
              <a:gd name="connsiteX84" fmla="*/ 1968870 w 2051041"/>
              <a:gd name="connsiteY84" fmla="*/ 1819178 h 2084191"/>
              <a:gd name="connsiteX85" fmla="*/ 1070436 w 2051041"/>
              <a:gd name="connsiteY85" fmla="*/ 1747347 h 2084191"/>
              <a:gd name="connsiteX86" fmla="*/ 1081863 w 2051041"/>
              <a:gd name="connsiteY86" fmla="*/ 1758231 h 2084191"/>
              <a:gd name="connsiteX87" fmla="*/ 1070980 w 2051041"/>
              <a:gd name="connsiteY87" fmla="*/ 1769658 h 2084191"/>
              <a:gd name="connsiteX88" fmla="*/ 1059552 w 2051041"/>
              <a:gd name="connsiteY88" fmla="*/ 1758775 h 2084191"/>
              <a:gd name="connsiteX89" fmla="*/ 1070436 w 2051041"/>
              <a:gd name="connsiteY89" fmla="*/ 1747347 h 2084191"/>
              <a:gd name="connsiteX90" fmla="*/ 1233688 w 2051041"/>
              <a:gd name="connsiteY90" fmla="*/ 1742449 h 2084191"/>
              <a:gd name="connsiteX91" fmla="*/ 1250558 w 2051041"/>
              <a:gd name="connsiteY91" fmla="*/ 1758774 h 2084191"/>
              <a:gd name="connsiteX92" fmla="*/ 1233688 w 2051041"/>
              <a:gd name="connsiteY92" fmla="*/ 1775099 h 2084191"/>
              <a:gd name="connsiteX93" fmla="*/ 1217907 w 2051041"/>
              <a:gd name="connsiteY93" fmla="*/ 1759318 h 2084191"/>
              <a:gd name="connsiteX94" fmla="*/ 1233688 w 2051041"/>
              <a:gd name="connsiteY94" fmla="*/ 1742449 h 2084191"/>
              <a:gd name="connsiteX95" fmla="*/ 1399662 w 2051041"/>
              <a:gd name="connsiteY95" fmla="*/ 1739728 h 2084191"/>
              <a:gd name="connsiteX96" fmla="*/ 1417076 w 2051041"/>
              <a:gd name="connsiteY96" fmla="*/ 1760407 h 2084191"/>
              <a:gd name="connsiteX97" fmla="*/ 1396941 w 2051041"/>
              <a:gd name="connsiteY97" fmla="*/ 1779453 h 2084191"/>
              <a:gd name="connsiteX98" fmla="*/ 1377895 w 2051041"/>
              <a:gd name="connsiteY98" fmla="*/ 1757686 h 2084191"/>
              <a:gd name="connsiteX99" fmla="*/ 1399662 w 2051041"/>
              <a:gd name="connsiteY99" fmla="*/ 1739728 h 2084191"/>
              <a:gd name="connsiteX100" fmla="*/ 1723991 w 2051041"/>
              <a:gd name="connsiteY100" fmla="*/ 1735919 h 2084191"/>
              <a:gd name="connsiteX101" fmla="*/ 1746847 w 2051041"/>
              <a:gd name="connsiteY101" fmla="*/ 1758774 h 2084191"/>
              <a:gd name="connsiteX102" fmla="*/ 1723991 w 2051041"/>
              <a:gd name="connsiteY102" fmla="*/ 1781086 h 2084191"/>
              <a:gd name="connsiteX103" fmla="*/ 1701680 w 2051041"/>
              <a:gd name="connsiteY103" fmla="*/ 1758774 h 2084191"/>
              <a:gd name="connsiteX104" fmla="*/ 1723991 w 2051041"/>
              <a:gd name="connsiteY104" fmla="*/ 1735919 h 2084191"/>
              <a:gd name="connsiteX105" fmla="*/ 1560194 w 2051041"/>
              <a:gd name="connsiteY105" fmla="*/ 1735919 h 2084191"/>
              <a:gd name="connsiteX106" fmla="*/ 1582505 w 2051041"/>
              <a:gd name="connsiteY106" fmla="*/ 1758230 h 2084191"/>
              <a:gd name="connsiteX107" fmla="*/ 1560738 w 2051041"/>
              <a:gd name="connsiteY107" fmla="*/ 1779997 h 2084191"/>
              <a:gd name="connsiteX108" fmla="*/ 1538427 w 2051041"/>
              <a:gd name="connsiteY108" fmla="*/ 1758230 h 2084191"/>
              <a:gd name="connsiteX109" fmla="*/ 1560194 w 2051041"/>
              <a:gd name="connsiteY109" fmla="*/ 1735919 h 2084191"/>
              <a:gd name="connsiteX110" fmla="*/ 2051041 w 2051041"/>
              <a:gd name="connsiteY110" fmla="*/ 1734831 h 2084191"/>
              <a:gd name="connsiteX111" fmla="*/ 2051041 w 2051041"/>
              <a:gd name="connsiteY111" fmla="*/ 1781438 h 2084191"/>
              <a:gd name="connsiteX112" fmla="*/ 2050496 w 2051041"/>
              <a:gd name="connsiteY112" fmla="*/ 1781630 h 2084191"/>
              <a:gd name="connsiteX113" fmla="*/ 2027097 w 2051041"/>
              <a:gd name="connsiteY113" fmla="*/ 1758775 h 2084191"/>
              <a:gd name="connsiteX114" fmla="*/ 2051041 w 2051041"/>
              <a:gd name="connsiteY114" fmla="*/ 1734831 h 2084191"/>
              <a:gd name="connsiteX115" fmla="*/ 1887788 w 2051041"/>
              <a:gd name="connsiteY115" fmla="*/ 1734831 h 2084191"/>
              <a:gd name="connsiteX116" fmla="*/ 1910099 w 2051041"/>
              <a:gd name="connsiteY116" fmla="*/ 1758775 h 2084191"/>
              <a:gd name="connsiteX117" fmla="*/ 1886699 w 2051041"/>
              <a:gd name="connsiteY117" fmla="*/ 1781086 h 2084191"/>
              <a:gd name="connsiteX118" fmla="*/ 1863844 w 2051041"/>
              <a:gd name="connsiteY118" fmla="*/ 1757687 h 2084191"/>
              <a:gd name="connsiteX119" fmla="*/ 1887788 w 2051041"/>
              <a:gd name="connsiteY119" fmla="*/ 1734831 h 2084191"/>
              <a:gd name="connsiteX120" fmla="*/ 826100 w 2051041"/>
              <a:gd name="connsiteY120" fmla="*/ 1671706 h 2084191"/>
              <a:gd name="connsiteX121" fmla="*/ 832086 w 2051041"/>
              <a:gd name="connsiteY121" fmla="*/ 1677692 h 2084191"/>
              <a:gd name="connsiteX122" fmla="*/ 825556 w 2051041"/>
              <a:gd name="connsiteY122" fmla="*/ 1683134 h 2084191"/>
              <a:gd name="connsiteX123" fmla="*/ 820658 w 2051041"/>
              <a:gd name="connsiteY123" fmla="*/ 1676603 h 2084191"/>
              <a:gd name="connsiteX124" fmla="*/ 826100 w 2051041"/>
              <a:gd name="connsiteY124" fmla="*/ 1671706 h 2084191"/>
              <a:gd name="connsiteX125" fmla="*/ 989354 w 2051041"/>
              <a:gd name="connsiteY125" fmla="*/ 1661912 h 2084191"/>
              <a:gd name="connsiteX126" fmla="*/ 1004046 w 2051041"/>
              <a:gd name="connsiteY126" fmla="*/ 1676604 h 2084191"/>
              <a:gd name="connsiteX127" fmla="*/ 989354 w 2051041"/>
              <a:gd name="connsiteY127" fmla="*/ 1690209 h 2084191"/>
              <a:gd name="connsiteX128" fmla="*/ 975205 w 2051041"/>
              <a:gd name="connsiteY128" fmla="*/ 1677693 h 2084191"/>
              <a:gd name="connsiteX129" fmla="*/ 989354 w 2051041"/>
              <a:gd name="connsiteY129" fmla="*/ 1661912 h 2084191"/>
              <a:gd name="connsiteX130" fmla="*/ 1153151 w 2051041"/>
              <a:gd name="connsiteY130" fmla="*/ 1659734 h 2084191"/>
              <a:gd name="connsiteX131" fmla="*/ 1170564 w 2051041"/>
              <a:gd name="connsiteY131" fmla="*/ 1677692 h 2084191"/>
              <a:gd name="connsiteX132" fmla="*/ 1152062 w 2051041"/>
              <a:gd name="connsiteY132" fmla="*/ 1694562 h 2084191"/>
              <a:gd name="connsiteX133" fmla="*/ 1135737 w 2051041"/>
              <a:gd name="connsiteY133" fmla="*/ 1677148 h 2084191"/>
              <a:gd name="connsiteX134" fmla="*/ 1153151 w 2051041"/>
              <a:gd name="connsiteY134" fmla="*/ 1659734 h 2084191"/>
              <a:gd name="connsiteX135" fmla="*/ 1315315 w 2051041"/>
              <a:gd name="connsiteY135" fmla="*/ 1655381 h 2084191"/>
              <a:gd name="connsiteX136" fmla="*/ 1337082 w 2051041"/>
              <a:gd name="connsiteY136" fmla="*/ 1676603 h 2084191"/>
              <a:gd name="connsiteX137" fmla="*/ 1315315 w 2051041"/>
              <a:gd name="connsiteY137" fmla="*/ 1698915 h 2084191"/>
              <a:gd name="connsiteX138" fmla="*/ 1294092 w 2051041"/>
              <a:gd name="connsiteY138" fmla="*/ 1677148 h 2084191"/>
              <a:gd name="connsiteX139" fmla="*/ 1315315 w 2051041"/>
              <a:gd name="connsiteY139" fmla="*/ 1655381 h 2084191"/>
              <a:gd name="connsiteX140" fmla="*/ 1479111 w 2051041"/>
              <a:gd name="connsiteY140" fmla="*/ 1654293 h 2084191"/>
              <a:gd name="connsiteX141" fmla="*/ 1501967 w 2051041"/>
              <a:gd name="connsiteY141" fmla="*/ 1677692 h 2084191"/>
              <a:gd name="connsiteX142" fmla="*/ 1479111 w 2051041"/>
              <a:gd name="connsiteY142" fmla="*/ 1700548 h 2084191"/>
              <a:gd name="connsiteX143" fmla="*/ 1455712 w 2051041"/>
              <a:gd name="connsiteY143" fmla="*/ 1676604 h 2084191"/>
              <a:gd name="connsiteX144" fmla="*/ 1479111 w 2051041"/>
              <a:gd name="connsiteY144" fmla="*/ 1654293 h 2084191"/>
              <a:gd name="connsiteX145" fmla="*/ 1643452 w 2051041"/>
              <a:gd name="connsiteY145" fmla="*/ 1650483 h 2084191"/>
              <a:gd name="connsiteX146" fmla="*/ 1668484 w 2051041"/>
              <a:gd name="connsiteY146" fmla="*/ 1676603 h 2084191"/>
              <a:gd name="connsiteX147" fmla="*/ 1643452 w 2051041"/>
              <a:gd name="connsiteY147" fmla="*/ 1703268 h 2084191"/>
              <a:gd name="connsiteX148" fmla="*/ 1617332 w 2051041"/>
              <a:gd name="connsiteY148" fmla="*/ 1677692 h 2084191"/>
              <a:gd name="connsiteX149" fmla="*/ 1643452 w 2051041"/>
              <a:gd name="connsiteY149" fmla="*/ 1650483 h 2084191"/>
              <a:gd name="connsiteX150" fmla="*/ 1968326 w 2051041"/>
              <a:gd name="connsiteY150" fmla="*/ 1649940 h 2084191"/>
              <a:gd name="connsiteX151" fmla="*/ 1995535 w 2051041"/>
              <a:gd name="connsiteY151" fmla="*/ 1676604 h 2084191"/>
              <a:gd name="connsiteX152" fmla="*/ 1968870 w 2051041"/>
              <a:gd name="connsiteY152" fmla="*/ 1704357 h 2084191"/>
              <a:gd name="connsiteX153" fmla="*/ 1941661 w 2051041"/>
              <a:gd name="connsiteY153" fmla="*/ 1677148 h 2084191"/>
              <a:gd name="connsiteX154" fmla="*/ 1968326 w 2051041"/>
              <a:gd name="connsiteY154" fmla="*/ 1649940 h 2084191"/>
              <a:gd name="connsiteX155" fmla="*/ 1805617 w 2051041"/>
              <a:gd name="connsiteY155" fmla="*/ 1649939 h 2084191"/>
              <a:gd name="connsiteX156" fmla="*/ 1832826 w 2051041"/>
              <a:gd name="connsiteY156" fmla="*/ 1677148 h 2084191"/>
              <a:gd name="connsiteX157" fmla="*/ 1805073 w 2051041"/>
              <a:gd name="connsiteY157" fmla="*/ 1704357 h 2084191"/>
              <a:gd name="connsiteX158" fmla="*/ 1778409 w 2051041"/>
              <a:gd name="connsiteY158" fmla="*/ 1677148 h 2084191"/>
              <a:gd name="connsiteX159" fmla="*/ 1805617 w 2051041"/>
              <a:gd name="connsiteY159" fmla="*/ 1649939 h 2084191"/>
              <a:gd name="connsiteX160" fmla="*/ 744474 w 2051041"/>
              <a:gd name="connsiteY160" fmla="*/ 1588992 h 2084191"/>
              <a:gd name="connsiteX161" fmla="*/ 751004 w 2051041"/>
              <a:gd name="connsiteY161" fmla="*/ 1594978 h 2084191"/>
              <a:gd name="connsiteX162" fmla="*/ 745562 w 2051041"/>
              <a:gd name="connsiteY162" fmla="*/ 1602052 h 2084191"/>
              <a:gd name="connsiteX163" fmla="*/ 738488 w 2051041"/>
              <a:gd name="connsiteY163" fmla="*/ 1594978 h 2084191"/>
              <a:gd name="connsiteX164" fmla="*/ 744474 w 2051041"/>
              <a:gd name="connsiteY164" fmla="*/ 1588992 h 2084191"/>
              <a:gd name="connsiteX165" fmla="*/ 907183 w 2051041"/>
              <a:gd name="connsiteY165" fmla="*/ 1579741 h 2084191"/>
              <a:gd name="connsiteX166" fmla="*/ 923508 w 2051041"/>
              <a:gd name="connsiteY166" fmla="*/ 1594978 h 2084191"/>
              <a:gd name="connsiteX167" fmla="*/ 908815 w 2051041"/>
              <a:gd name="connsiteY167" fmla="*/ 1610759 h 2084191"/>
              <a:gd name="connsiteX168" fmla="*/ 892490 w 2051041"/>
              <a:gd name="connsiteY168" fmla="*/ 1595522 h 2084191"/>
              <a:gd name="connsiteX169" fmla="*/ 907183 w 2051041"/>
              <a:gd name="connsiteY169" fmla="*/ 1579741 h 2084191"/>
              <a:gd name="connsiteX170" fmla="*/ 1071524 w 2051041"/>
              <a:gd name="connsiteY170" fmla="*/ 1574843 h 2084191"/>
              <a:gd name="connsiteX171" fmla="*/ 1091114 w 2051041"/>
              <a:gd name="connsiteY171" fmla="*/ 1595522 h 2084191"/>
              <a:gd name="connsiteX172" fmla="*/ 1070980 w 2051041"/>
              <a:gd name="connsiteY172" fmla="*/ 1615656 h 2084191"/>
              <a:gd name="connsiteX173" fmla="*/ 1050301 w 2051041"/>
              <a:gd name="connsiteY173" fmla="*/ 1595522 h 2084191"/>
              <a:gd name="connsiteX174" fmla="*/ 1071524 w 2051041"/>
              <a:gd name="connsiteY174" fmla="*/ 1574843 h 2084191"/>
              <a:gd name="connsiteX175" fmla="*/ 1233688 w 2051041"/>
              <a:gd name="connsiteY175" fmla="*/ 1573210 h 2084191"/>
              <a:gd name="connsiteX176" fmla="*/ 1256544 w 2051041"/>
              <a:gd name="connsiteY176" fmla="*/ 1595522 h 2084191"/>
              <a:gd name="connsiteX177" fmla="*/ 1233688 w 2051041"/>
              <a:gd name="connsiteY177" fmla="*/ 1618377 h 2084191"/>
              <a:gd name="connsiteX178" fmla="*/ 1211377 w 2051041"/>
              <a:gd name="connsiteY178" fmla="*/ 1596610 h 2084191"/>
              <a:gd name="connsiteX179" fmla="*/ 1233688 w 2051041"/>
              <a:gd name="connsiteY179" fmla="*/ 1573210 h 2084191"/>
              <a:gd name="connsiteX180" fmla="*/ 1398030 w 2051041"/>
              <a:gd name="connsiteY180" fmla="*/ 1569402 h 2084191"/>
              <a:gd name="connsiteX181" fmla="*/ 1423062 w 2051041"/>
              <a:gd name="connsiteY181" fmla="*/ 1595522 h 2084191"/>
              <a:gd name="connsiteX182" fmla="*/ 1397485 w 2051041"/>
              <a:gd name="connsiteY182" fmla="*/ 1621099 h 2084191"/>
              <a:gd name="connsiteX183" fmla="*/ 1371365 w 2051041"/>
              <a:gd name="connsiteY183" fmla="*/ 1595522 h 2084191"/>
              <a:gd name="connsiteX184" fmla="*/ 1398030 w 2051041"/>
              <a:gd name="connsiteY184" fmla="*/ 1569402 h 2084191"/>
              <a:gd name="connsiteX185" fmla="*/ 1560194 w 2051041"/>
              <a:gd name="connsiteY185" fmla="*/ 1568313 h 2084191"/>
              <a:gd name="connsiteX186" fmla="*/ 1587947 w 2051041"/>
              <a:gd name="connsiteY186" fmla="*/ 1594433 h 2084191"/>
              <a:gd name="connsiteX187" fmla="*/ 1560194 w 2051041"/>
              <a:gd name="connsiteY187" fmla="*/ 1622730 h 2084191"/>
              <a:gd name="connsiteX188" fmla="*/ 1532985 w 2051041"/>
              <a:gd name="connsiteY188" fmla="*/ 1594977 h 2084191"/>
              <a:gd name="connsiteX189" fmla="*/ 1560194 w 2051041"/>
              <a:gd name="connsiteY189" fmla="*/ 1568313 h 2084191"/>
              <a:gd name="connsiteX190" fmla="*/ 1887244 w 2051041"/>
              <a:gd name="connsiteY190" fmla="*/ 1567225 h 2084191"/>
              <a:gd name="connsiteX191" fmla="*/ 1915541 w 2051041"/>
              <a:gd name="connsiteY191" fmla="*/ 1594978 h 2084191"/>
              <a:gd name="connsiteX192" fmla="*/ 1886699 w 2051041"/>
              <a:gd name="connsiteY192" fmla="*/ 1623819 h 2084191"/>
              <a:gd name="connsiteX193" fmla="*/ 1858947 w 2051041"/>
              <a:gd name="connsiteY193" fmla="*/ 1594978 h 2084191"/>
              <a:gd name="connsiteX194" fmla="*/ 1887244 w 2051041"/>
              <a:gd name="connsiteY194" fmla="*/ 1567225 h 2084191"/>
              <a:gd name="connsiteX195" fmla="*/ 1724535 w 2051041"/>
              <a:gd name="connsiteY195" fmla="*/ 1567225 h 2084191"/>
              <a:gd name="connsiteX196" fmla="*/ 1752288 w 2051041"/>
              <a:gd name="connsiteY196" fmla="*/ 1594978 h 2084191"/>
              <a:gd name="connsiteX197" fmla="*/ 1724535 w 2051041"/>
              <a:gd name="connsiteY197" fmla="*/ 1623275 h 2084191"/>
              <a:gd name="connsiteX198" fmla="*/ 1696238 w 2051041"/>
              <a:gd name="connsiteY198" fmla="*/ 1594978 h 2084191"/>
              <a:gd name="connsiteX199" fmla="*/ 1724535 w 2051041"/>
              <a:gd name="connsiteY199" fmla="*/ 1567225 h 2084191"/>
              <a:gd name="connsiteX200" fmla="*/ 2050496 w 2051041"/>
              <a:gd name="connsiteY200" fmla="*/ 1566680 h 2084191"/>
              <a:gd name="connsiteX201" fmla="*/ 2051041 w 2051041"/>
              <a:gd name="connsiteY201" fmla="*/ 1566888 h 2084191"/>
              <a:gd name="connsiteX202" fmla="*/ 2051041 w 2051041"/>
              <a:gd name="connsiteY202" fmla="*/ 1623794 h 2084191"/>
              <a:gd name="connsiteX203" fmla="*/ 2049408 w 2051041"/>
              <a:gd name="connsiteY203" fmla="*/ 1624363 h 2084191"/>
              <a:gd name="connsiteX204" fmla="*/ 2021655 w 2051041"/>
              <a:gd name="connsiteY204" fmla="*/ 1594977 h 2084191"/>
              <a:gd name="connsiteX205" fmla="*/ 2050496 w 2051041"/>
              <a:gd name="connsiteY205" fmla="*/ 1566680 h 2084191"/>
              <a:gd name="connsiteX206" fmla="*/ 663392 w 2051041"/>
              <a:gd name="connsiteY206" fmla="*/ 1505188 h 2084191"/>
              <a:gd name="connsiteX207" fmla="*/ 674819 w 2051041"/>
              <a:gd name="connsiteY207" fmla="*/ 1513895 h 2084191"/>
              <a:gd name="connsiteX208" fmla="*/ 662848 w 2051041"/>
              <a:gd name="connsiteY208" fmla="*/ 1522058 h 2084191"/>
              <a:gd name="connsiteX209" fmla="*/ 654685 w 2051041"/>
              <a:gd name="connsiteY209" fmla="*/ 1513351 h 2084191"/>
              <a:gd name="connsiteX210" fmla="*/ 663392 w 2051041"/>
              <a:gd name="connsiteY210" fmla="*/ 1505188 h 2084191"/>
              <a:gd name="connsiteX211" fmla="*/ 826101 w 2051041"/>
              <a:gd name="connsiteY211" fmla="*/ 1497570 h 2084191"/>
              <a:gd name="connsiteX212" fmla="*/ 842970 w 2051041"/>
              <a:gd name="connsiteY212" fmla="*/ 1513351 h 2084191"/>
              <a:gd name="connsiteX213" fmla="*/ 826645 w 2051041"/>
              <a:gd name="connsiteY213" fmla="*/ 1529676 h 2084191"/>
              <a:gd name="connsiteX214" fmla="*/ 810319 w 2051041"/>
              <a:gd name="connsiteY214" fmla="*/ 1514983 h 2084191"/>
              <a:gd name="connsiteX215" fmla="*/ 826101 w 2051041"/>
              <a:gd name="connsiteY215" fmla="*/ 1497570 h 2084191"/>
              <a:gd name="connsiteX216" fmla="*/ 988265 w 2051041"/>
              <a:gd name="connsiteY216" fmla="*/ 1492128 h 2084191"/>
              <a:gd name="connsiteX217" fmla="*/ 1010577 w 2051041"/>
              <a:gd name="connsiteY217" fmla="*/ 1513351 h 2084191"/>
              <a:gd name="connsiteX218" fmla="*/ 989354 w 2051041"/>
              <a:gd name="connsiteY218" fmla="*/ 1534574 h 2084191"/>
              <a:gd name="connsiteX219" fmla="*/ 968131 w 2051041"/>
              <a:gd name="connsiteY219" fmla="*/ 1513895 h 2084191"/>
              <a:gd name="connsiteX220" fmla="*/ 988265 w 2051041"/>
              <a:gd name="connsiteY220" fmla="*/ 1492128 h 2084191"/>
              <a:gd name="connsiteX221" fmla="*/ 1152606 w 2051041"/>
              <a:gd name="connsiteY221" fmla="*/ 1490496 h 2084191"/>
              <a:gd name="connsiteX222" fmla="*/ 1176006 w 2051041"/>
              <a:gd name="connsiteY222" fmla="*/ 1513351 h 2084191"/>
              <a:gd name="connsiteX223" fmla="*/ 1152606 w 2051041"/>
              <a:gd name="connsiteY223" fmla="*/ 1537839 h 2084191"/>
              <a:gd name="connsiteX224" fmla="*/ 1129207 w 2051041"/>
              <a:gd name="connsiteY224" fmla="*/ 1514984 h 2084191"/>
              <a:gd name="connsiteX225" fmla="*/ 1152606 w 2051041"/>
              <a:gd name="connsiteY225" fmla="*/ 1490496 h 2084191"/>
              <a:gd name="connsiteX226" fmla="*/ 1316403 w 2051041"/>
              <a:gd name="connsiteY226" fmla="*/ 1487231 h 2084191"/>
              <a:gd name="connsiteX227" fmla="*/ 1342523 w 2051041"/>
              <a:gd name="connsiteY227" fmla="*/ 1513896 h 2084191"/>
              <a:gd name="connsiteX228" fmla="*/ 1315314 w 2051041"/>
              <a:gd name="connsiteY228" fmla="*/ 1540560 h 2084191"/>
              <a:gd name="connsiteX229" fmla="*/ 1288650 w 2051041"/>
              <a:gd name="connsiteY229" fmla="*/ 1513896 h 2084191"/>
              <a:gd name="connsiteX230" fmla="*/ 1316403 w 2051041"/>
              <a:gd name="connsiteY230" fmla="*/ 1487231 h 2084191"/>
              <a:gd name="connsiteX231" fmla="*/ 1479656 w 2051041"/>
              <a:gd name="connsiteY231" fmla="*/ 1485054 h 2084191"/>
              <a:gd name="connsiteX232" fmla="*/ 1507409 w 2051041"/>
              <a:gd name="connsiteY232" fmla="*/ 1513895 h 2084191"/>
              <a:gd name="connsiteX233" fmla="*/ 1479112 w 2051041"/>
              <a:gd name="connsiteY233" fmla="*/ 1541648 h 2084191"/>
              <a:gd name="connsiteX234" fmla="*/ 1451359 w 2051041"/>
              <a:gd name="connsiteY234" fmla="*/ 1513351 h 2084191"/>
              <a:gd name="connsiteX235" fmla="*/ 1479656 w 2051041"/>
              <a:gd name="connsiteY235" fmla="*/ 1485054 h 2084191"/>
              <a:gd name="connsiteX236" fmla="*/ 1641820 w 2051041"/>
              <a:gd name="connsiteY236" fmla="*/ 1482334 h 2084191"/>
              <a:gd name="connsiteX237" fmla="*/ 1673382 w 2051041"/>
              <a:gd name="connsiteY237" fmla="*/ 1512807 h 2084191"/>
              <a:gd name="connsiteX238" fmla="*/ 1642909 w 2051041"/>
              <a:gd name="connsiteY238" fmla="*/ 1544370 h 2084191"/>
              <a:gd name="connsiteX239" fmla="*/ 1612435 w 2051041"/>
              <a:gd name="connsiteY239" fmla="*/ 1513351 h 2084191"/>
              <a:gd name="connsiteX240" fmla="*/ 1641820 w 2051041"/>
              <a:gd name="connsiteY240" fmla="*/ 1482334 h 2084191"/>
              <a:gd name="connsiteX241" fmla="*/ 1804529 w 2051041"/>
              <a:gd name="connsiteY241" fmla="*/ 1481788 h 2084191"/>
              <a:gd name="connsiteX242" fmla="*/ 1837180 w 2051041"/>
              <a:gd name="connsiteY242" fmla="*/ 1513351 h 2084191"/>
              <a:gd name="connsiteX243" fmla="*/ 1805617 w 2051041"/>
              <a:gd name="connsiteY243" fmla="*/ 1545457 h 2084191"/>
              <a:gd name="connsiteX244" fmla="*/ 1773511 w 2051041"/>
              <a:gd name="connsiteY244" fmla="*/ 1514983 h 2084191"/>
              <a:gd name="connsiteX245" fmla="*/ 1804529 w 2051041"/>
              <a:gd name="connsiteY245" fmla="*/ 1481788 h 2084191"/>
              <a:gd name="connsiteX246" fmla="*/ 1968870 w 2051041"/>
              <a:gd name="connsiteY246" fmla="*/ 1480700 h 2084191"/>
              <a:gd name="connsiteX247" fmla="*/ 2000977 w 2051041"/>
              <a:gd name="connsiteY247" fmla="*/ 1513351 h 2084191"/>
              <a:gd name="connsiteX248" fmla="*/ 1968870 w 2051041"/>
              <a:gd name="connsiteY248" fmla="*/ 1545457 h 2084191"/>
              <a:gd name="connsiteX249" fmla="*/ 1936764 w 2051041"/>
              <a:gd name="connsiteY249" fmla="*/ 1513351 h 2084191"/>
              <a:gd name="connsiteX250" fmla="*/ 1968870 w 2051041"/>
              <a:gd name="connsiteY250" fmla="*/ 1480700 h 2084191"/>
              <a:gd name="connsiteX251" fmla="*/ 581221 w 2051041"/>
              <a:gd name="connsiteY251" fmla="*/ 1423562 h 2084191"/>
              <a:gd name="connsiteX252" fmla="*/ 588840 w 2051041"/>
              <a:gd name="connsiteY252" fmla="*/ 1431725 h 2084191"/>
              <a:gd name="connsiteX253" fmla="*/ 581765 w 2051041"/>
              <a:gd name="connsiteY253" fmla="*/ 1443153 h 2084191"/>
              <a:gd name="connsiteX254" fmla="*/ 573059 w 2051041"/>
              <a:gd name="connsiteY254" fmla="*/ 1432813 h 2084191"/>
              <a:gd name="connsiteX255" fmla="*/ 581221 w 2051041"/>
              <a:gd name="connsiteY255" fmla="*/ 1423562 h 2084191"/>
              <a:gd name="connsiteX256" fmla="*/ 745562 w 2051041"/>
              <a:gd name="connsiteY256" fmla="*/ 1414855 h 2084191"/>
              <a:gd name="connsiteX257" fmla="*/ 761344 w 2051041"/>
              <a:gd name="connsiteY257" fmla="*/ 1432269 h 2084191"/>
              <a:gd name="connsiteX258" fmla="*/ 745018 w 2051041"/>
              <a:gd name="connsiteY258" fmla="*/ 1448050 h 2084191"/>
              <a:gd name="connsiteX259" fmla="*/ 728693 w 2051041"/>
              <a:gd name="connsiteY259" fmla="*/ 1431725 h 2084191"/>
              <a:gd name="connsiteX260" fmla="*/ 745562 w 2051041"/>
              <a:gd name="connsiteY260" fmla="*/ 1414855 h 2084191"/>
              <a:gd name="connsiteX261" fmla="*/ 908815 w 2051041"/>
              <a:gd name="connsiteY261" fmla="*/ 1409958 h 2084191"/>
              <a:gd name="connsiteX262" fmla="*/ 930038 w 2051041"/>
              <a:gd name="connsiteY262" fmla="*/ 1431725 h 2084191"/>
              <a:gd name="connsiteX263" fmla="*/ 907183 w 2051041"/>
              <a:gd name="connsiteY263" fmla="*/ 1453492 h 2084191"/>
              <a:gd name="connsiteX264" fmla="*/ 885960 w 2051041"/>
              <a:gd name="connsiteY264" fmla="*/ 1431725 h 2084191"/>
              <a:gd name="connsiteX265" fmla="*/ 908815 w 2051041"/>
              <a:gd name="connsiteY265" fmla="*/ 1409958 h 2084191"/>
              <a:gd name="connsiteX266" fmla="*/ 1070436 w 2051041"/>
              <a:gd name="connsiteY266" fmla="*/ 1406693 h 2084191"/>
              <a:gd name="connsiteX267" fmla="*/ 1096012 w 2051041"/>
              <a:gd name="connsiteY267" fmla="*/ 1432269 h 2084191"/>
              <a:gd name="connsiteX268" fmla="*/ 1070436 w 2051041"/>
              <a:gd name="connsiteY268" fmla="*/ 1457846 h 2084191"/>
              <a:gd name="connsiteX269" fmla="*/ 1045404 w 2051041"/>
              <a:gd name="connsiteY269" fmla="*/ 1431181 h 2084191"/>
              <a:gd name="connsiteX270" fmla="*/ 1070436 w 2051041"/>
              <a:gd name="connsiteY270" fmla="*/ 1406693 h 2084191"/>
              <a:gd name="connsiteX271" fmla="*/ 1235865 w 2051041"/>
              <a:gd name="connsiteY271" fmla="*/ 1404516 h 2084191"/>
              <a:gd name="connsiteX272" fmla="*/ 1261986 w 2051041"/>
              <a:gd name="connsiteY272" fmla="*/ 1433358 h 2084191"/>
              <a:gd name="connsiteX273" fmla="*/ 1233689 w 2051041"/>
              <a:gd name="connsiteY273" fmla="*/ 1459478 h 2084191"/>
              <a:gd name="connsiteX274" fmla="*/ 1206480 w 2051041"/>
              <a:gd name="connsiteY274" fmla="*/ 1432269 h 2084191"/>
              <a:gd name="connsiteX275" fmla="*/ 1235865 w 2051041"/>
              <a:gd name="connsiteY275" fmla="*/ 1404516 h 2084191"/>
              <a:gd name="connsiteX276" fmla="*/ 1397485 w 2051041"/>
              <a:gd name="connsiteY276" fmla="*/ 1400162 h 2084191"/>
              <a:gd name="connsiteX277" fmla="*/ 1427959 w 2051041"/>
              <a:gd name="connsiteY277" fmla="*/ 1431724 h 2084191"/>
              <a:gd name="connsiteX278" fmla="*/ 1398029 w 2051041"/>
              <a:gd name="connsiteY278" fmla="*/ 1463287 h 2084191"/>
              <a:gd name="connsiteX279" fmla="*/ 1366467 w 2051041"/>
              <a:gd name="connsiteY279" fmla="*/ 1432813 h 2084191"/>
              <a:gd name="connsiteX280" fmla="*/ 1397485 w 2051041"/>
              <a:gd name="connsiteY280" fmla="*/ 1400162 h 2084191"/>
              <a:gd name="connsiteX281" fmla="*/ 1561282 w 2051041"/>
              <a:gd name="connsiteY281" fmla="*/ 1399618 h 2084191"/>
              <a:gd name="connsiteX282" fmla="*/ 1593388 w 2051041"/>
              <a:gd name="connsiteY282" fmla="*/ 1432269 h 2084191"/>
              <a:gd name="connsiteX283" fmla="*/ 1560738 w 2051041"/>
              <a:gd name="connsiteY283" fmla="*/ 1464375 h 2084191"/>
              <a:gd name="connsiteX284" fmla="*/ 1528631 w 2051041"/>
              <a:gd name="connsiteY284" fmla="*/ 1432813 h 2084191"/>
              <a:gd name="connsiteX285" fmla="*/ 1561282 w 2051041"/>
              <a:gd name="connsiteY285" fmla="*/ 1399618 h 2084191"/>
              <a:gd name="connsiteX286" fmla="*/ 1723446 w 2051041"/>
              <a:gd name="connsiteY286" fmla="*/ 1399074 h 2084191"/>
              <a:gd name="connsiteX287" fmla="*/ 1757185 w 2051041"/>
              <a:gd name="connsiteY287" fmla="*/ 1432269 h 2084191"/>
              <a:gd name="connsiteX288" fmla="*/ 1723991 w 2051041"/>
              <a:gd name="connsiteY288" fmla="*/ 1465464 h 2084191"/>
              <a:gd name="connsiteX289" fmla="*/ 1691340 w 2051041"/>
              <a:gd name="connsiteY289" fmla="*/ 1433357 h 2084191"/>
              <a:gd name="connsiteX290" fmla="*/ 1723446 w 2051041"/>
              <a:gd name="connsiteY290" fmla="*/ 1399074 h 2084191"/>
              <a:gd name="connsiteX291" fmla="*/ 1886700 w 2051041"/>
              <a:gd name="connsiteY291" fmla="*/ 1398530 h 2084191"/>
              <a:gd name="connsiteX292" fmla="*/ 1920439 w 2051041"/>
              <a:gd name="connsiteY292" fmla="*/ 1432269 h 2084191"/>
              <a:gd name="connsiteX293" fmla="*/ 1887788 w 2051041"/>
              <a:gd name="connsiteY293" fmla="*/ 1464920 h 2084191"/>
              <a:gd name="connsiteX294" fmla="*/ 1854049 w 2051041"/>
              <a:gd name="connsiteY294" fmla="*/ 1433358 h 2084191"/>
              <a:gd name="connsiteX295" fmla="*/ 1886700 w 2051041"/>
              <a:gd name="connsiteY295" fmla="*/ 1398530 h 2084191"/>
              <a:gd name="connsiteX296" fmla="*/ 2051041 w 2051041"/>
              <a:gd name="connsiteY296" fmla="*/ 1398217 h 2084191"/>
              <a:gd name="connsiteX297" fmla="*/ 2051041 w 2051041"/>
              <a:gd name="connsiteY297" fmla="*/ 1464535 h 2084191"/>
              <a:gd name="connsiteX298" fmla="*/ 2049953 w 2051041"/>
              <a:gd name="connsiteY298" fmla="*/ 1464920 h 2084191"/>
              <a:gd name="connsiteX299" fmla="*/ 2017302 w 2051041"/>
              <a:gd name="connsiteY299" fmla="*/ 1431725 h 2084191"/>
              <a:gd name="connsiteX300" fmla="*/ 2027709 w 2051041"/>
              <a:gd name="connsiteY300" fmla="*/ 1408121 h 2084191"/>
              <a:gd name="connsiteX301" fmla="*/ 500139 w 2051041"/>
              <a:gd name="connsiteY301" fmla="*/ 1341936 h 2084191"/>
              <a:gd name="connsiteX302" fmla="*/ 511023 w 2051041"/>
              <a:gd name="connsiteY302" fmla="*/ 1350643 h 2084191"/>
              <a:gd name="connsiteX303" fmla="*/ 499595 w 2051041"/>
              <a:gd name="connsiteY303" fmla="*/ 1358261 h 2084191"/>
              <a:gd name="connsiteX304" fmla="*/ 491432 w 2051041"/>
              <a:gd name="connsiteY304" fmla="*/ 1349010 h 2084191"/>
              <a:gd name="connsiteX305" fmla="*/ 500139 w 2051041"/>
              <a:gd name="connsiteY305" fmla="*/ 1341936 h 2084191"/>
              <a:gd name="connsiteX306" fmla="*/ 662848 w 2051041"/>
              <a:gd name="connsiteY306" fmla="*/ 1333773 h 2084191"/>
              <a:gd name="connsiteX307" fmla="*/ 679173 w 2051041"/>
              <a:gd name="connsiteY307" fmla="*/ 1350643 h 2084191"/>
              <a:gd name="connsiteX308" fmla="*/ 662848 w 2051041"/>
              <a:gd name="connsiteY308" fmla="*/ 1366424 h 2084191"/>
              <a:gd name="connsiteX309" fmla="*/ 647067 w 2051041"/>
              <a:gd name="connsiteY309" fmla="*/ 1350098 h 2084191"/>
              <a:gd name="connsiteX310" fmla="*/ 662848 w 2051041"/>
              <a:gd name="connsiteY310" fmla="*/ 1333773 h 2084191"/>
              <a:gd name="connsiteX311" fmla="*/ 826645 w 2051041"/>
              <a:gd name="connsiteY311" fmla="*/ 1328331 h 2084191"/>
              <a:gd name="connsiteX312" fmla="*/ 847868 w 2051041"/>
              <a:gd name="connsiteY312" fmla="*/ 1350642 h 2084191"/>
              <a:gd name="connsiteX313" fmla="*/ 825556 w 2051041"/>
              <a:gd name="connsiteY313" fmla="*/ 1372409 h 2084191"/>
              <a:gd name="connsiteX314" fmla="*/ 804334 w 2051041"/>
              <a:gd name="connsiteY314" fmla="*/ 1349554 h 2084191"/>
              <a:gd name="connsiteX315" fmla="*/ 826645 w 2051041"/>
              <a:gd name="connsiteY315" fmla="*/ 1328331 h 2084191"/>
              <a:gd name="connsiteX316" fmla="*/ 989353 w 2051041"/>
              <a:gd name="connsiteY316" fmla="*/ 1323978 h 2084191"/>
              <a:gd name="connsiteX317" fmla="*/ 1015473 w 2051041"/>
              <a:gd name="connsiteY317" fmla="*/ 1350098 h 2084191"/>
              <a:gd name="connsiteX318" fmla="*/ 989353 w 2051041"/>
              <a:gd name="connsiteY318" fmla="*/ 1376763 h 2084191"/>
              <a:gd name="connsiteX319" fmla="*/ 963777 w 2051041"/>
              <a:gd name="connsiteY319" fmla="*/ 1350642 h 2084191"/>
              <a:gd name="connsiteX320" fmla="*/ 989353 w 2051041"/>
              <a:gd name="connsiteY320" fmla="*/ 1323978 h 2084191"/>
              <a:gd name="connsiteX321" fmla="*/ 1152606 w 2051041"/>
              <a:gd name="connsiteY321" fmla="*/ 1322889 h 2084191"/>
              <a:gd name="connsiteX322" fmla="*/ 1181447 w 2051041"/>
              <a:gd name="connsiteY322" fmla="*/ 1350098 h 2084191"/>
              <a:gd name="connsiteX323" fmla="*/ 1152606 w 2051041"/>
              <a:gd name="connsiteY323" fmla="*/ 1379483 h 2084191"/>
              <a:gd name="connsiteX324" fmla="*/ 1124853 w 2051041"/>
              <a:gd name="connsiteY324" fmla="*/ 1350642 h 2084191"/>
              <a:gd name="connsiteX325" fmla="*/ 1152606 w 2051041"/>
              <a:gd name="connsiteY325" fmla="*/ 1322889 h 2084191"/>
              <a:gd name="connsiteX326" fmla="*/ 1315315 w 2051041"/>
              <a:gd name="connsiteY326" fmla="*/ 1318536 h 2084191"/>
              <a:gd name="connsiteX327" fmla="*/ 1347966 w 2051041"/>
              <a:gd name="connsiteY327" fmla="*/ 1350098 h 2084191"/>
              <a:gd name="connsiteX328" fmla="*/ 1315315 w 2051041"/>
              <a:gd name="connsiteY328" fmla="*/ 1381661 h 2084191"/>
              <a:gd name="connsiteX329" fmla="*/ 1284297 w 2051041"/>
              <a:gd name="connsiteY329" fmla="*/ 1350098 h 2084191"/>
              <a:gd name="connsiteX330" fmla="*/ 1315315 w 2051041"/>
              <a:gd name="connsiteY330" fmla="*/ 1318536 h 2084191"/>
              <a:gd name="connsiteX331" fmla="*/ 1480744 w 2051041"/>
              <a:gd name="connsiteY331" fmla="*/ 1317448 h 2084191"/>
              <a:gd name="connsiteX332" fmla="*/ 1512306 w 2051041"/>
              <a:gd name="connsiteY332" fmla="*/ 1351731 h 2084191"/>
              <a:gd name="connsiteX333" fmla="*/ 1477479 w 2051041"/>
              <a:gd name="connsiteY333" fmla="*/ 1383293 h 2084191"/>
              <a:gd name="connsiteX334" fmla="*/ 1446461 w 2051041"/>
              <a:gd name="connsiteY334" fmla="*/ 1349554 h 2084191"/>
              <a:gd name="connsiteX335" fmla="*/ 1480744 w 2051041"/>
              <a:gd name="connsiteY335" fmla="*/ 1317448 h 2084191"/>
              <a:gd name="connsiteX336" fmla="*/ 1642908 w 2051041"/>
              <a:gd name="connsiteY336" fmla="*/ 1315815 h 2084191"/>
              <a:gd name="connsiteX337" fmla="*/ 1676647 w 2051041"/>
              <a:gd name="connsiteY337" fmla="*/ 1351731 h 2084191"/>
              <a:gd name="connsiteX338" fmla="*/ 1640732 w 2051041"/>
              <a:gd name="connsiteY338" fmla="*/ 1383837 h 2084191"/>
              <a:gd name="connsiteX339" fmla="*/ 1608081 w 2051041"/>
              <a:gd name="connsiteY339" fmla="*/ 1349554 h 2084191"/>
              <a:gd name="connsiteX340" fmla="*/ 1642908 w 2051041"/>
              <a:gd name="connsiteY340" fmla="*/ 1315815 h 2084191"/>
              <a:gd name="connsiteX341" fmla="*/ 1968870 w 2051041"/>
              <a:gd name="connsiteY341" fmla="*/ 1314183 h 2084191"/>
              <a:gd name="connsiteX342" fmla="*/ 2005329 w 2051041"/>
              <a:gd name="connsiteY342" fmla="*/ 1351187 h 2084191"/>
              <a:gd name="connsiteX343" fmla="*/ 1967781 w 2051041"/>
              <a:gd name="connsiteY343" fmla="*/ 1388191 h 2084191"/>
              <a:gd name="connsiteX344" fmla="*/ 1931866 w 2051041"/>
              <a:gd name="connsiteY344" fmla="*/ 1350098 h 2084191"/>
              <a:gd name="connsiteX345" fmla="*/ 1968870 w 2051041"/>
              <a:gd name="connsiteY345" fmla="*/ 1314183 h 2084191"/>
              <a:gd name="connsiteX346" fmla="*/ 1806161 w 2051041"/>
              <a:gd name="connsiteY346" fmla="*/ 1313639 h 2084191"/>
              <a:gd name="connsiteX347" fmla="*/ 1841533 w 2051041"/>
              <a:gd name="connsiteY347" fmla="*/ 1351187 h 2084191"/>
              <a:gd name="connsiteX348" fmla="*/ 1830105 w 2051041"/>
              <a:gd name="connsiteY348" fmla="*/ 1376763 h 2084191"/>
              <a:gd name="connsiteX349" fmla="*/ 1803984 w 2051041"/>
              <a:gd name="connsiteY349" fmla="*/ 1387102 h 2084191"/>
              <a:gd name="connsiteX350" fmla="*/ 1768613 w 2051041"/>
              <a:gd name="connsiteY350" fmla="*/ 1350098 h 2084191"/>
              <a:gd name="connsiteX351" fmla="*/ 1806161 w 2051041"/>
              <a:gd name="connsiteY351" fmla="*/ 1313639 h 2084191"/>
              <a:gd name="connsiteX352" fmla="*/ 419057 w 2051041"/>
              <a:gd name="connsiteY352" fmla="*/ 1262486 h 2084191"/>
              <a:gd name="connsiteX353" fmla="*/ 424499 w 2051041"/>
              <a:gd name="connsiteY353" fmla="*/ 1269016 h 2084191"/>
              <a:gd name="connsiteX354" fmla="*/ 417969 w 2051041"/>
              <a:gd name="connsiteY354" fmla="*/ 1278811 h 2084191"/>
              <a:gd name="connsiteX355" fmla="*/ 411983 w 2051041"/>
              <a:gd name="connsiteY355" fmla="*/ 1269016 h 2084191"/>
              <a:gd name="connsiteX356" fmla="*/ 419057 w 2051041"/>
              <a:gd name="connsiteY356" fmla="*/ 1262486 h 2084191"/>
              <a:gd name="connsiteX357" fmla="*/ 581221 w 2051041"/>
              <a:gd name="connsiteY357" fmla="*/ 1252147 h 2084191"/>
              <a:gd name="connsiteX358" fmla="*/ 597547 w 2051041"/>
              <a:gd name="connsiteY358" fmla="*/ 1269017 h 2084191"/>
              <a:gd name="connsiteX359" fmla="*/ 580133 w 2051041"/>
              <a:gd name="connsiteY359" fmla="*/ 1284254 h 2084191"/>
              <a:gd name="connsiteX360" fmla="*/ 564896 w 2051041"/>
              <a:gd name="connsiteY360" fmla="*/ 1268472 h 2084191"/>
              <a:gd name="connsiteX361" fmla="*/ 581221 w 2051041"/>
              <a:gd name="connsiteY361" fmla="*/ 1252147 h 2084191"/>
              <a:gd name="connsiteX362" fmla="*/ 745018 w 2051041"/>
              <a:gd name="connsiteY362" fmla="*/ 1246705 h 2084191"/>
              <a:gd name="connsiteX363" fmla="*/ 766241 w 2051041"/>
              <a:gd name="connsiteY363" fmla="*/ 1269560 h 2084191"/>
              <a:gd name="connsiteX364" fmla="*/ 744474 w 2051041"/>
              <a:gd name="connsiteY364" fmla="*/ 1290783 h 2084191"/>
              <a:gd name="connsiteX365" fmla="*/ 722707 w 2051041"/>
              <a:gd name="connsiteY365" fmla="*/ 1267928 h 2084191"/>
              <a:gd name="connsiteX366" fmla="*/ 745018 w 2051041"/>
              <a:gd name="connsiteY366" fmla="*/ 1246705 h 2084191"/>
              <a:gd name="connsiteX367" fmla="*/ 907727 w 2051041"/>
              <a:gd name="connsiteY367" fmla="*/ 1241807 h 2084191"/>
              <a:gd name="connsiteX368" fmla="*/ 933847 w 2051041"/>
              <a:gd name="connsiteY368" fmla="*/ 1269016 h 2084191"/>
              <a:gd name="connsiteX369" fmla="*/ 907183 w 2051041"/>
              <a:gd name="connsiteY369" fmla="*/ 1295136 h 2084191"/>
              <a:gd name="connsiteX370" fmla="*/ 880518 w 2051041"/>
              <a:gd name="connsiteY370" fmla="*/ 1267927 h 2084191"/>
              <a:gd name="connsiteX371" fmla="*/ 907727 w 2051041"/>
              <a:gd name="connsiteY371" fmla="*/ 1241807 h 2084191"/>
              <a:gd name="connsiteX372" fmla="*/ 1070979 w 2051041"/>
              <a:gd name="connsiteY372" fmla="*/ 1240719 h 2084191"/>
              <a:gd name="connsiteX373" fmla="*/ 1099821 w 2051041"/>
              <a:gd name="connsiteY373" fmla="*/ 1268472 h 2084191"/>
              <a:gd name="connsiteX374" fmla="*/ 1070435 w 2051041"/>
              <a:gd name="connsiteY374" fmla="*/ 1297858 h 2084191"/>
              <a:gd name="connsiteX375" fmla="*/ 1042138 w 2051041"/>
              <a:gd name="connsiteY375" fmla="*/ 1269560 h 2084191"/>
              <a:gd name="connsiteX376" fmla="*/ 1070979 w 2051041"/>
              <a:gd name="connsiteY376" fmla="*/ 1240719 h 2084191"/>
              <a:gd name="connsiteX377" fmla="*/ 1234233 w 2051041"/>
              <a:gd name="connsiteY377" fmla="*/ 1235821 h 2084191"/>
              <a:gd name="connsiteX378" fmla="*/ 1266883 w 2051041"/>
              <a:gd name="connsiteY378" fmla="*/ 1269016 h 2084191"/>
              <a:gd name="connsiteX379" fmla="*/ 1234233 w 2051041"/>
              <a:gd name="connsiteY379" fmla="*/ 1300578 h 2084191"/>
              <a:gd name="connsiteX380" fmla="*/ 1201582 w 2051041"/>
              <a:gd name="connsiteY380" fmla="*/ 1267383 h 2084191"/>
              <a:gd name="connsiteX381" fmla="*/ 1234233 w 2051041"/>
              <a:gd name="connsiteY381" fmla="*/ 1235821 h 2084191"/>
              <a:gd name="connsiteX382" fmla="*/ 1396397 w 2051041"/>
              <a:gd name="connsiteY382" fmla="*/ 1234733 h 2084191"/>
              <a:gd name="connsiteX383" fmla="*/ 1431224 w 2051041"/>
              <a:gd name="connsiteY383" fmla="*/ 1268472 h 2084191"/>
              <a:gd name="connsiteX384" fmla="*/ 1396941 w 2051041"/>
              <a:gd name="connsiteY384" fmla="*/ 1302755 h 2084191"/>
              <a:gd name="connsiteX385" fmla="*/ 1363746 w 2051041"/>
              <a:gd name="connsiteY385" fmla="*/ 1269016 h 2084191"/>
              <a:gd name="connsiteX386" fmla="*/ 1396397 w 2051041"/>
              <a:gd name="connsiteY386" fmla="*/ 1234733 h 2084191"/>
              <a:gd name="connsiteX387" fmla="*/ 1559649 w 2051041"/>
              <a:gd name="connsiteY387" fmla="*/ 1232557 h 2084191"/>
              <a:gd name="connsiteX388" fmla="*/ 1597742 w 2051041"/>
              <a:gd name="connsiteY388" fmla="*/ 1268472 h 2084191"/>
              <a:gd name="connsiteX389" fmla="*/ 1561826 w 2051041"/>
              <a:gd name="connsiteY389" fmla="*/ 1305476 h 2084191"/>
              <a:gd name="connsiteX390" fmla="*/ 1523734 w 2051041"/>
              <a:gd name="connsiteY390" fmla="*/ 1269561 h 2084191"/>
              <a:gd name="connsiteX391" fmla="*/ 1559649 w 2051041"/>
              <a:gd name="connsiteY391" fmla="*/ 1232557 h 2084191"/>
              <a:gd name="connsiteX392" fmla="*/ 1723990 w 2051041"/>
              <a:gd name="connsiteY392" fmla="*/ 1231468 h 2084191"/>
              <a:gd name="connsiteX393" fmla="*/ 1762083 w 2051041"/>
              <a:gd name="connsiteY393" fmla="*/ 1268472 h 2084191"/>
              <a:gd name="connsiteX394" fmla="*/ 1724535 w 2051041"/>
              <a:gd name="connsiteY394" fmla="*/ 1307109 h 2084191"/>
              <a:gd name="connsiteX395" fmla="*/ 1686442 w 2051041"/>
              <a:gd name="connsiteY395" fmla="*/ 1270105 h 2084191"/>
              <a:gd name="connsiteX396" fmla="*/ 1723990 w 2051041"/>
              <a:gd name="connsiteY396" fmla="*/ 1231468 h 2084191"/>
              <a:gd name="connsiteX397" fmla="*/ 1888332 w 2051041"/>
              <a:gd name="connsiteY397" fmla="*/ 1230924 h 2084191"/>
              <a:gd name="connsiteX398" fmla="*/ 1925336 w 2051041"/>
              <a:gd name="connsiteY398" fmla="*/ 1269561 h 2084191"/>
              <a:gd name="connsiteX399" fmla="*/ 1887243 w 2051041"/>
              <a:gd name="connsiteY399" fmla="*/ 1307653 h 2084191"/>
              <a:gd name="connsiteX400" fmla="*/ 1849151 w 2051041"/>
              <a:gd name="connsiteY400" fmla="*/ 1267928 h 2084191"/>
              <a:gd name="connsiteX401" fmla="*/ 1888332 w 2051041"/>
              <a:gd name="connsiteY401" fmla="*/ 1230924 h 2084191"/>
              <a:gd name="connsiteX402" fmla="*/ 2049952 w 2051041"/>
              <a:gd name="connsiteY402" fmla="*/ 1230380 h 2084191"/>
              <a:gd name="connsiteX403" fmla="*/ 2051041 w 2051041"/>
              <a:gd name="connsiteY403" fmla="*/ 1230805 h 2084191"/>
              <a:gd name="connsiteX404" fmla="*/ 2051041 w 2051041"/>
              <a:gd name="connsiteY404" fmla="*/ 1307109 h 2084191"/>
              <a:gd name="connsiteX405" fmla="*/ 2012404 w 2051041"/>
              <a:gd name="connsiteY405" fmla="*/ 1268472 h 2084191"/>
              <a:gd name="connsiteX406" fmla="*/ 2049952 w 2051041"/>
              <a:gd name="connsiteY406" fmla="*/ 1230380 h 2084191"/>
              <a:gd name="connsiteX407" fmla="*/ 337431 w 2051041"/>
              <a:gd name="connsiteY407" fmla="*/ 1181404 h 2084191"/>
              <a:gd name="connsiteX408" fmla="*/ 345050 w 2051041"/>
              <a:gd name="connsiteY408" fmla="*/ 1187934 h 2084191"/>
              <a:gd name="connsiteX409" fmla="*/ 336343 w 2051041"/>
              <a:gd name="connsiteY409" fmla="*/ 1192288 h 2084191"/>
              <a:gd name="connsiteX410" fmla="*/ 330901 w 2051041"/>
              <a:gd name="connsiteY410" fmla="*/ 1185758 h 2084191"/>
              <a:gd name="connsiteX411" fmla="*/ 337431 w 2051041"/>
              <a:gd name="connsiteY411" fmla="*/ 1181404 h 2084191"/>
              <a:gd name="connsiteX412" fmla="*/ 499051 w 2051041"/>
              <a:gd name="connsiteY412" fmla="*/ 1171065 h 2084191"/>
              <a:gd name="connsiteX413" fmla="*/ 516465 w 2051041"/>
              <a:gd name="connsiteY413" fmla="*/ 1187390 h 2084191"/>
              <a:gd name="connsiteX414" fmla="*/ 500140 w 2051041"/>
              <a:gd name="connsiteY414" fmla="*/ 1202627 h 2084191"/>
              <a:gd name="connsiteX415" fmla="*/ 483814 w 2051041"/>
              <a:gd name="connsiteY415" fmla="*/ 1187390 h 2084191"/>
              <a:gd name="connsiteX416" fmla="*/ 499051 w 2051041"/>
              <a:gd name="connsiteY416" fmla="*/ 1171065 h 2084191"/>
              <a:gd name="connsiteX417" fmla="*/ 662848 w 2051041"/>
              <a:gd name="connsiteY417" fmla="*/ 1165623 h 2084191"/>
              <a:gd name="connsiteX418" fmla="*/ 684615 w 2051041"/>
              <a:gd name="connsiteY418" fmla="*/ 1187390 h 2084191"/>
              <a:gd name="connsiteX419" fmla="*/ 662848 w 2051041"/>
              <a:gd name="connsiteY419" fmla="*/ 1209157 h 2084191"/>
              <a:gd name="connsiteX420" fmla="*/ 641081 w 2051041"/>
              <a:gd name="connsiteY420" fmla="*/ 1186846 h 2084191"/>
              <a:gd name="connsiteX421" fmla="*/ 662848 w 2051041"/>
              <a:gd name="connsiteY421" fmla="*/ 1165623 h 2084191"/>
              <a:gd name="connsiteX422" fmla="*/ 825556 w 2051041"/>
              <a:gd name="connsiteY422" fmla="*/ 1160725 h 2084191"/>
              <a:gd name="connsiteX423" fmla="*/ 852765 w 2051041"/>
              <a:gd name="connsiteY423" fmla="*/ 1186846 h 2084191"/>
              <a:gd name="connsiteX424" fmla="*/ 826645 w 2051041"/>
              <a:gd name="connsiteY424" fmla="*/ 1213511 h 2084191"/>
              <a:gd name="connsiteX425" fmla="*/ 798892 w 2051041"/>
              <a:gd name="connsiteY425" fmla="*/ 1188479 h 2084191"/>
              <a:gd name="connsiteX426" fmla="*/ 825556 w 2051041"/>
              <a:gd name="connsiteY426" fmla="*/ 1160725 h 2084191"/>
              <a:gd name="connsiteX427" fmla="*/ 989353 w 2051041"/>
              <a:gd name="connsiteY427" fmla="*/ 1158004 h 2084191"/>
              <a:gd name="connsiteX428" fmla="*/ 1018195 w 2051041"/>
              <a:gd name="connsiteY428" fmla="*/ 1187934 h 2084191"/>
              <a:gd name="connsiteX429" fmla="*/ 988809 w 2051041"/>
              <a:gd name="connsiteY429" fmla="*/ 1216775 h 2084191"/>
              <a:gd name="connsiteX430" fmla="*/ 959968 w 2051041"/>
              <a:gd name="connsiteY430" fmla="*/ 1187934 h 2084191"/>
              <a:gd name="connsiteX431" fmla="*/ 989353 w 2051041"/>
              <a:gd name="connsiteY431" fmla="*/ 1158004 h 2084191"/>
              <a:gd name="connsiteX432" fmla="*/ 1152062 w 2051041"/>
              <a:gd name="connsiteY432" fmla="*/ 1153651 h 2084191"/>
              <a:gd name="connsiteX433" fmla="*/ 1185801 w 2051041"/>
              <a:gd name="connsiteY433" fmla="*/ 1186301 h 2084191"/>
              <a:gd name="connsiteX434" fmla="*/ 1153150 w 2051041"/>
              <a:gd name="connsiteY434" fmla="*/ 1219496 h 2084191"/>
              <a:gd name="connsiteX435" fmla="*/ 1119956 w 2051041"/>
              <a:gd name="connsiteY435" fmla="*/ 1187390 h 2084191"/>
              <a:gd name="connsiteX436" fmla="*/ 1152062 w 2051041"/>
              <a:gd name="connsiteY436" fmla="*/ 1153651 h 2084191"/>
              <a:gd name="connsiteX437" fmla="*/ 1315315 w 2051041"/>
              <a:gd name="connsiteY437" fmla="*/ 1152018 h 2084191"/>
              <a:gd name="connsiteX438" fmla="*/ 1351230 w 2051041"/>
              <a:gd name="connsiteY438" fmla="*/ 1186845 h 2084191"/>
              <a:gd name="connsiteX439" fmla="*/ 1315859 w 2051041"/>
              <a:gd name="connsiteY439" fmla="*/ 1221673 h 2084191"/>
              <a:gd name="connsiteX440" fmla="*/ 1281576 w 2051041"/>
              <a:gd name="connsiteY440" fmla="*/ 1187390 h 2084191"/>
              <a:gd name="connsiteX441" fmla="*/ 1315315 w 2051041"/>
              <a:gd name="connsiteY441" fmla="*/ 1152018 h 2084191"/>
              <a:gd name="connsiteX442" fmla="*/ 1479656 w 2051041"/>
              <a:gd name="connsiteY442" fmla="*/ 1149298 h 2084191"/>
              <a:gd name="connsiteX443" fmla="*/ 1516660 w 2051041"/>
              <a:gd name="connsiteY443" fmla="*/ 1188479 h 2084191"/>
              <a:gd name="connsiteX444" fmla="*/ 1478023 w 2051041"/>
              <a:gd name="connsiteY444" fmla="*/ 1224394 h 2084191"/>
              <a:gd name="connsiteX445" fmla="*/ 1441563 w 2051041"/>
              <a:gd name="connsiteY445" fmla="*/ 1185758 h 2084191"/>
              <a:gd name="connsiteX446" fmla="*/ 1479656 w 2051041"/>
              <a:gd name="connsiteY446" fmla="*/ 1149298 h 2084191"/>
              <a:gd name="connsiteX447" fmla="*/ 1642365 w 2051041"/>
              <a:gd name="connsiteY447" fmla="*/ 1148209 h 2084191"/>
              <a:gd name="connsiteX448" fmla="*/ 1681001 w 2051041"/>
              <a:gd name="connsiteY448" fmla="*/ 1187390 h 2084191"/>
              <a:gd name="connsiteX449" fmla="*/ 1641821 w 2051041"/>
              <a:gd name="connsiteY449" fmla="*/ 1226026 h 2084191"/>
              <a:gd name="connsiteX450" fmla="*/ 1603728 w 2051041"/>
              <a:gd name="connsiteY450" fmla="*/ 1186846 h 2084191"/>
              <a:gd name="connsiteX451" fmla="*/ 1642365 w 2051041"/>
              <a:gd name="connsiteY451" fmla="*/ 1148209 h 2084191"/>
              <a:gd name="connsiteX452" fmla="*/ 1969414 w 2051041"/>
              <a:gd name="connsiteY452" fmla="*/ 1147665 h 2084191"/>
              <a:gd name="connsiteX453" fmla="*/ 2009139 w 2051041"/>
              <a:gd name="connsiteY453" fmla="*/ 1187934 h 2084191"/>
              <a:gd name="connsiteX454" fmla="*/ 1968870 w 2051041"/>
              <a:gd name="connsiteY454" fmla="*/ 1227114 h 2084191"/>
              <a:gd name="connsiteX455" fmla="*/ 1929145 w 2051041"/>
              <a:gd name="connsiteY455" fmla="*/ 1186301 h 2084191"/>
              <a:gd name="connsiteX456" fmla="*/ 1969414 w 2051041"/>
              <a:gd name="connsiteY456" fmla="*/ 1147665 h 2084191"/>
              <a:gd name="connsiteX457" fmla="*/ 1805617 w 2051041"/>
              <a:gd name="connsiteY457" fmla="*/ 1147665 h 2084191"/>
              <a:gd name="connsiteX458" fmla="*/ 1844798 w 2051041"/>
              <a:gd name="connsiteY458" fmla="*/ 1187934 h 2084191"/>
              <a:gd name="connsiteX459" fmla="*/ 1805073 w 2051041"/>
              <a:gd name="connsiteY459" fmla="*/ 1226571 h 2084191"/>
              <a:gd name="connsiteX460" fmla="*/ 1766981 w 2051041"/>
              <a:gd name="connsiteY460" fmla="*/ 1186845 h 2084191"/>
              <a:gd name="connsiteX461" fmla="*/ 1805617 w 2051041"/>
              <a:gd name="connsiteY461" fmla="*/ 1147665 h 2084191"/>
              <a:gd name="connsiteX462" fmla="*/ 417425 w 2051041"/>
              <a:gd name="connsiteY462" fmla="*/ 1090527 h 2084191"/>
              <a:gd name="connsiteX463" fmla="*/ 432662 w 2051041"/>
              <a:gd name="connsiteY463" fmla="*/ 1105764 h 2084191"/>
              <a:gd name="connsiteX464" fmla="*/ 417969 w 2051041"/>
              <a:gd name="connsiteY464" fmla="*/ 1120457 h 2084191"/>
              <a:gd name="connsiteX465" fmla="*/ 402732 w 2051041"/>
              <a:gd name="connsiteY465" fmla="*/ 1105219 h 2084191"/>
              <a:gd name="connsiteX466" fmla="*/ 417425 w 2051041"/>
              <a:gd name="connsiteY466" fmla="*/ 1090527 h 2084191"/>
              <a:gd name="connsiteX467" fmla="*/ 580677 w 2051041"/>
              <a:gd name="connsiteY467" fmla="*/ 1083996 h 2084191"/>
              <a:gd name="connsiteX468" fmla="*/ 602444 w 2051041"/>
              <a:gd name="connsiteY468" fmla="*/ 1105219 h 2084191"/>
              <a:gd name="connsiteX469" fmla="*/ 581221 w 2051041"/>
              <a:gd name="connsiteY469" fmla="*/ 1127530 h 2084191"/>
              <a:gd name="connsiteX470" fmla="*/ 558910 w 2051041"/>
              <a:gd name="connsiteY470" fmla="*/ 1105219 h 2084191"/>
              <a:gd name="connsiteX471" fmla="*/ 580677 w 2051041"/>
              <a:gd name="connsiteY471" fmla="*/ 1083996 h 2084191"/>
              <a:gd name="connsiteX472" fmla="*/ 743386 w 2051041"/>
              <a:gd name="connsiteY472" fmla="*/ 1079099 h 2084191"/>
              <a:gd name="connsiteX473" fmla="*/ 770595 w 2051041"/>
              <a:gd name="connsiteY473" fmla="*/ 1105219 h 2084191"/>
              <a:gd name="connsiteX474" fmla="*/ 745019 w 2051041"/>
              <a:gd name="connsiteY474" fmla="*/ 1132428 h 2084191"/>
              <a:gd name="connsiteX475" fmla="*/ 717810 w 2051041"/>
              <a:gd name="connsiteY475" fmla="*/ 1106308 h 2084191"/>
              <a:gd name="connsiteX476" fmla="*/ 743386 w 2051041"/>
              <a:gd name="connsiteY476" fmla="*/ 1079099 h 2084191"/>
              <a:gd name="connsiteX477" fmla="*/ 907727 w 2051041"/>
              <a:gd name="connsiteY477" fmla="*/ 1076378 h 2084191"/>
              <a:gd name="connsiteX478" fmla="*/ 937112 w 2051041"/>
              <a:gd name="connsiteY478" fmla="*/ 1105219 h 2084191"/>
              <a:gd name="connsiteX479" fmla="*/ 908271 w 2051041"/>
              <a:gd name="connsiteY479" fmla="*/ 1134061 h 2084191"/>
              <a:gd name="connsiteX480" fmla="*/ 878885 w 2051041"/>
              <a:gd name="connsiteY480" fmla="*/ 1105764 h 2084191"/>
              <a:gd name="connsiteX481" fmla="*/ 907727 w 2051041"/>
              <a:gd name="connsiteY481" fmla="*/ 1076378 h 2084191"/>
              <a:gd name="connsiteX482" fmla="*/ 1071524 w 2051041"/>
              <a:gd name="connsiteY482" fmla="*/ 1072569 h 2084191"/>
              <a:gd name="connsiteX483" fmla="*/ 1104174 w 2051041"/>
              <a:gd name="connsiteY483" fmla="*/ 1105220 h 2084191"/>
              <a:gd name="connsiteX484" fmla="*/ 1070435 w 2051041"/>
              <a:gd name="connsiteY484" fmla="*/ 1137870 h 2084191"/>
              <a:gd name="connsiteX485" fmla="*/ 1038329 w 2051041"/>
              <a:gd name="connsiteY485" fmla="*/ 1105764 h 2084191"/>
              <a:gd name="connsiteX486" fmla="*/ 1071524 w 2051041"/>
              <a:gd name="connsiteY486" fmla="*/ 1072569 h 2084191"/>
              <a:gd name="connsiteX487" fmla="*/ 1235865 w 2051041"/>
              <a:gd name="connsiteY487" fmla="*/ 1068760 h 2084191"/>
              <a:gd name="connsiteX488" fmla="*/ 1271237 w 2051041"/>
              <a:gd name="connsiteY488" fmla="*/ 1106852 h 2084191"/>
              <a:gd name="connsiteX489" fmla="*/ 1234777 w 2051041"/>
              <a:gd name="connsiteY489" fmla="*/ 1142223 h 2084191"/>
              <a:gd name="connsiteX490" fmla="*/ 1198861 w 2051041"/>
              <a:gd name="connsiteY490" fmla="*/ 1105219 h 2084191"/>
              <a:gd name="connsiteX491" fmla="*/ 1235865 w 2051041"/>
              <a:gd name="connsiteY491" fmla="*/ 1068760 h 2084191"/>
              <a:gd name="connsiteX492" fmla="*/ 1396397 w 2051041"/>
              <a:gd name="connsiteY492" fmla="*/ 1067127 h 2084191"/>
              <a:gd name="connsiteX493" fmla="*/ 1435578 w 2051041"/>
              <a:gd name="connsiteY493" fmla="*/ 1105219 h 2084191"/>
              <a:gd name="connsiteX494" fmla="*/ 1396941 w 2051041"/>
              <a:gd name="connsiteY494" fmla="*/ 1143856 h 2084191"/>
              <a:gd name="connsiteX495" fmla="*/ 1358849 w 2051041"/>
              <a:gd name="connsiteY495" fmla="*/ 1105763 h 2084191"/>
              <a:gd name="connsiteX496" fmla="*/ 1396397 w 2051041"/>
              <a:gd name="connsiteY496" fmla="*/ 1067127 h 2084191"/>
              <a:gd name="connsiteX497" fmla="*/ 1560738 w 2051041"/>
              <a:gd name="connsiteY497" fmla="*/ 1066582 h 2084191"/>
              <a:gd name="connsiteX498" fmla="*/ 1599919 w 2051041"/>
              <a:gd name="connsiteY498" fmla="*/ 1105763 h 2084191"/>
              <a:gd name="connsiteX499" fmla="*/ 1560738 w 2051041"/>
              <a:gd name="connsiteY499" fmla="*/ 1144400 h 2084191"/>
              <a:gd name="connsiteX500" fmla="*/ 1521013 w 2051041"/>
              <a:gd name="connsiteY500" fmla="*/ 1105763 h 2084191"/>
              <a:gd name="connsiteX501" fmla="*/ 1560738 w 2051041"/>
              <a:gd name="connsiteY501" fmla="*/ 1066582 h 2084191"/>
              <a:gd name="connsiteX502" fmla="*/ 1723447 w 2051041"/>
              <a:gd name="connsiteY502" fmla="*/ 1064406 h 2084191"/>
              <a:gd name="connsiteX503" fmla="*/ 1764260 w 2051041"/>
              <a:gd name="connsiteY503" fmla="*/ 1104675 h 2084191"/>
              <a:gd name="connsiteX504" fmla="*/ 1724535 w 2051041"/>
              <a:gd name="connsiteY504" fmla="*/ 1146032 h 2084191"/>
              <a:gd name="connsiteX505" fmla="*/ 1683178 w 2051041"/>
              <a:gd name="connsiteY505" fmla="*/ 1105764 h 2084191"/>
              <a:gd name="connsiteX506" fmla="*/ 1723447 w 2051041"/>
              <a:gd name="connsiteY506" fmla="*/ 1064406 h 2084191"/>
              <a:gd name="connsiteX507" fmla="*/ 2051041 w 2051041"/>
              <a:gd name="connsiteY507" fmla="*/ 1063318 h 2084191"/>
              <a:gd name="connsiteX508" fmla="*/ 2051041 w 2051041"/>
              <a:gd name="connsiteY508" fmla="*/ 1147740 h 2084191"/>
              <a:gd name="connsiteX509" fmla="*/ 2049952 w 2051041"/>
              <a:gd name="connsiteY509" fmla="*/ 1148210 h 2084191"/>
              <a:gd name="connsiteX510" fmla="*/ 2008051 w 2051041"/>
              <a:gd name="connsiteY510" fmla="*/ 1105764 h 2084191"/>
              <a:gd name="connsiteX511" fmla="*/ 2051041 w 2051041"/>
              <a:gd name="connsiteY511" fmla="*/ 1063318 h 2084191"/>
              <a:gd name="connsiteX512" fmla="*/ 1887787 w 2051041"/>
              <a:gd name="connsiteY512" fmla="*/ 1062773 h 2084191"/>
              <a:gd name="connsiteX513" fmla="*/ 1929145 w 2051041"/>
              <a:gd name="connsiteY513" fmla="*/ 1105763 h 2084191"/>
              <a:gd name="connsiteX514" fmla="*/ 1886699 w 2051041"/>
              <a:gd name="connsiteY514" fmla="*/ 1147665 h 2084191"/>
              <a:gd name="connsiteX515" fmla="*/ 1844798 w 2051041"/>
              <a:gd name="connsiteY515" fmla="*/ 1105219 h 2084191"/>
              <a:gd name="connsiteX516" fmla="*/ 1887787 w 2051041"/>
              <a:gd name="connsiteY516" fmla="*/ 1062773 h 2084191"/>
              <a:gd name="connsiteX517" fmla="*/ 335798 w 2051041"/>
              <a:gd name="connsiteY517" fmla="*/ 1011621 h 2084191"/>
              <a:gd name="connsiteX518" fmla="*/ 348314 w 2051041"/>
              <a:gd name="connsiteY518" fmla="*/ 1023049 h 2084191"/>
              <a:gd name="connsiteX519" fmla="*/ 336886 w 2051041"/>
              <a:gd name="connsiteY519" fmla="*/ 1036109 h 2084191"/>
              <a:gd name="connsiteX520" fmla="*/ 324370 w 2051041"/>
              <a:gd name="connsiteY520" fmla="*/ 1024681 h 2084191"/>
              <a:gd name="connsiteX521" fmla="*/ 335798 w 2051041"/>
              <a:gd name="connsiteY521" fmla="*/ 1011621 h 2084191"/>
              <a:gd name="connsiteX522" fmla="*/ 499051 w 2051041"/>
              <a:gd name="connsiteY522" fmla="*/ 1002914 h 2084191"/>
              <a:gd name="connsiteX523" fmla="*/ 520818 w 2051041"/>
              <a:gd name="connsiteY523" fmla="*/ 1024137 h 2084191"/>
              <a:gd name="connsiteX524" fmla="*/ 499595 w 2051041"/>
              <a:gd name="connsiteY524" fmla="*/ 1045360 h 2084191"/>
              <a:gd name="connsiteX525" fmla="*/ 478372 w 2051041"/>
              <a:gd name="connsiteY525" fmla="*/ 1024137 h 2084191"/>
              <a:gd name="connsiteX526" fmla="*/ 499051 w 2051041"/>
              <a:gd name="connsiteY526" fmla="*/ 1002914 h 2084191"/>
              <a:gd name="connsiteX527" fmla="*/ 663392 w 2051041"/>
              <a:gd name="connsiteY527" fmla="*/ 997473 h 2084191"/>
              <a:gd name="connsiteX528" fmla="*/ 688424 w 2051041"/>
              <a:gd name="connsiteY528" fmla="*/ 1024138 h 2084191"/>
              <a:gd name="connsiteX529" fmla="*/ 661759 w 2051041"/>
              <a:gd name="connsiteY529" fmla="*/ 1050258 h 2084191"/>
              <a:gd name="connsiteX530" fmla="*/ 636727 w 2051041"/>
              <a:gd name="connsiteY530" fmla="*/ 1023593 h 2084191"/>
              <a:gd name="connsiteX531" fmla="*/ 663392 w 2051041"/>
              <a:gd name="connsiteY531" fmla="*/ 997473 h 2084191"/>
              <a:gd name="connsiteX532" fmla="*/ 826645 w 2051041"/>
              <a:gd name="connsiteY532" fmla="*/ 995840 h 2084191"/>
              <a:gd name="connsiteX533" fmla="*/ 854942 w 2051041"/>
              <a:gd name="connsiteY533" fmla="*/ 1024137 h 2084191"/>
              <a:gd name="connsiteX534" fmla="*/ 825557 w 2051041"/>
              <a:gd name="connsiteY534" fmla="*/ 1052978 h 2084191"/>
              <a:gd name="connsiteX535" fmla="*/ 797260 w 2051041"/>
              <a:gd name="connsiteY535" fmla="*/ 1023593 h 2084191"/>
              <a:gd name="connsiteX536" fmla="*/ 826645 w 2051041"/>
              <a:gd name="connsiteY536" fmla="*/ 995840 h 2084191"/>
              <a:gd name="connsiteX537" fmla="*/ 990441 w 2051041"/>
              <a:gd name="connsiteY537" fmla="*/ 990942 h 2084191"/>
              <a:gd name="connsiteX538" fmla="*/ 1022548 w 2051041"/>
              <a:gd name="connsiteY538" fmla="*/ 1025225 h 2084191"/>
              <a:gd name="connsiteX539" fmla="*/ 988809 w 2051041"/>
              <a:gd name="connsiteY539" fmla="*/ 1056787 h 2084191"/>
              <a:gd name="connsiteX540" fmla="*/ 956702 w 2051041"/>
              <a:gd name="connsiteY540" fmla="*/ 1023593 h 2084191"/>
              <a:gd name="connsiteX541" fmla="*/ 990441 w 2051041"/>
              <a:gd name="connsiteY541" fmla="*/ 990942 h 2084191"/>
              <a:gd name="connsiteX542" fmla="*/ 1150974 w 2051041"/>
              <a:gd name="connsiteY542" fmla="*/ 987678 h 2084191"/>
              <a:gd name="connsiteX543" fmla="*/ 1189610 w 2051041"/>
              <a:gd name="connsiteY543" fmla="*/ 1023593 h 2084191"/>
              <a:gd name="connsiteX544" fmla="*/ 1152062 w 2051041"/>
              <a:gd name="connsiteY544" fmla="*/ 1061685 h 2084191"/>
              <a:gd name="connsiteX545" fmla="*/ 1115058 w 2051041"/>
              <a:gd name="connsiteY545" fmla="*/ 1024682 h 2084191"/>
              <a:gd name="connsiteX546" fmla="*/ 1150974 w 2051041"/>
              <a:gd name="connsiteY546" fmla="*/ 987678 h 2084191"/>
              <a:gd name="connsiteX547" fmla="*/ 1315314 w 2051041"/>
              <a:gd name="connsiteY547" fmla="*/ 985501 h 2084191"/>
              <a:gd name="connsiteX548" fmla="*/ 1354495 w 2051041"/>
              <a:gd name="connsiteY548" fmla="*/ 1023593 h 2084191"/>
              <a:gd name="connsiteX549" fmla="*/ 1315858 w 2051041"/>
              <a:gd name="connsiteY549" fmla="*/ 1062230 h 2084191"/>
              <a:gd name="connsiteX550" fmla="*/ 1277222 w 2051041"/>
              <a:gd name="connsiteY550" fmla="*/ 1024137 h 2084191"/>
              <a:gd name="connsiteX551" fmla="*/ 1315314 w 2051041"/>
              <a:gd name="connsiteY551" fmla="*/ 985501 h 2084191"/>
              <a:gd name="connsiteX552" fmla="*/ 1479656 w 2051041"/>
              <a:gd name="connsiteY552" fmla="*/ 984412 h 2084191"/>
              <a:gd name="connsiteX553" fmla="*/ 1519380 w 2051041"/>
              <a:gd name="connsiteY553" fmla="*/ 1025225 h 2084191"/>
              <a:gd name="connsiteX554" fmla="*/ 1478567 w 2051041"/>
              <a:gd name="connsiteY554" fmla="*/ 1063318 h 2084191"/>
              <a:gd name="connsiteX555" fmla="*/ 1439387 w 2051041"/>
              <a:gd name="connsiteY555" fmla="*/ 1023593 h 2084191"/>
              <a:gd name="connsiteX556" fmla="*/ 1479656 w 2051041"/>
              <a:gd name="connsiteY556" fmla="*/ 984412 h 2084191"/>
              <a:gd name="connsiteX557" fmla="*/ 1641820 w 2051041"/>
              <a:gd name="connsiteY557" fmla="*/ 981691 h 2084191"/>
              <a:gd name="connsiteX558" fmla="*/ 1684810 w 2051041"/>
              <a:gd name="connsiteY558" fmla="*/ 1023592 h 2084191"/>
              <a:gd name="connsiteX559" fmla="*/ 1642909 w 2051041"/>
              <a:gd name="connsiteY559" fmla="*/ 1066038 h 2084191"/>
              <a:gd name="connsiteX560" fmla="*/ 1599919 w 2051041"/>
              <a:gd name="connsiteY560" fmla="*/ 1023592 h 2084191"/>
              <a:gd name="connsiteX561" fmla="*/ 1641820 w 2051041"/>
              <a:gd name="connsiteY561" fmla="*/ 981691 h 2084191"/>
              <a:gd name="connsiteX562" fmla="*/ 1806161 w 2051041"/>
              <a:gd name="connsiteY562" fmla="*/ 980603 h 2084191"/>
              <a:gd name="connsiteX563" fmla="*/ 1849151 w 2051041"/>
              <a:gd name="connsiteY563" fmla="*/ 1023592 h 2084191"/>
              <a:gd name="connsiteX564" fmla="*/ 1805617 w 2051041"/>
              <a:gd name="connsiteY564" fmla="*/ 1067127 h 2084191"/>
              <a:gd name="connsiteX565" fmla="*/ 1762083 w 2051041"/>
              <a:gd name="connsiteY565" fmla="*/ 1023592 h 2084191"/>
              <a:gd name="connsiteX566" fmla="*/ 1806161 w 2051041"/>
              <a:gd name="connsiteY566" fmla="*/ 980603 h 2084191"/>
              <a:gd name="connsiteX567" fmla="*/ 1969414 w 2051041"/>
              <a:gd name="connsiteY567" fmla="*/ 980059 h 2084191"/>
              <a:gd name="connsiteX568" fmla="*/ 2012404 w 2051041"/>
              <a:gd name="connsiteY568" fmla="*/ 1024137 h 2084191"/>
              <a:gd name="connsiteX569" fmla="*/ 1968870 w 2051041"/>
              <a:gd name="connsiteY569" fmla="*/ 1067127 h 2084191"/>
              <a:gd name="connsiteX570" fmla="*/ 1924792 w 2051041"/>
              <a:gd name="connsiteY570" fmla="*/ 1024137 h 2084191"/>
              <a:gd name="connsiteX571" fmla="*/ 1969414 w 2051041"/>
              <a:gd name="connsiteY571" fmla="*/ 980059 h 2084191"/>
              <a:gd name="connsiteX572" fmla="*/ 254171 w 2051041"/>
              <a:gd name="connsiteY572" fmla="*/ 931083 h 2084191"/>
              <a:gd name="connsiteX573" fmla="*/ 265599 w 2051041"/>
              <a:gd name="connsiteY573" fmla="*/ 941967 h 2084191"/>
              <a:gd name="connsiteX574" fmla="*/ 254171 w 2051041"/>
              <a:gd name="connsiteY574" fmla="*/ 952850 h 2084191"/>
              <a:gd name="connsiteX575" fmla="*/ 243832 w 2051041"/>
              <a:gd name="connsiteY575" fmla="*/ 941967 h 2084191"/>
              <a:gd name="connsiteX576" fmla="*/ 254171 w 2051041"/>
              <a:gd name="connsiteY576" fmla="*/ 931083 h 2084191"/>
              <a:gd name="connsiteX577" fmla="*/ 417968 w 2051041"/>
              <a:gd name="connsiteY577" fmla="*/ 922377 h 2084191"/>
              <a:gd name="connsiteX578" fmla="*/ 437559 w 2051041"/>
              <a:gd name="connsiteY578" fmla="*/ 942511 h 2084191"/>
              <a:gd name="connsiteX579" fmla="*/ 417968 w 2051041"/>
              <a:gd name="connsiteY579" fmla="*/ 961557 h 2084191"/>
              <a:gd name="connsiteX580" fmla="*/ 397834 w 2051041"/>
              <a:gd name="connsiteY580" fmla="*/ 941423 h 2084191"/>
              <a:gd name="connsiteX581" fmla="*/ 417968 w 2051041"/>
              <a:gd name="connsiteY581" fmla="*/ 922377 h 2084191"/>
              <a:gd name="connsiteX582" fmla="*/ 581222 w 2051041"/>
              <a:gd name="connsiteY582" fmla="*/ 916934 h 2084191"/>
              <a:gd name="connsiteX583" fmla="*/ 606798 w 2051041"/>
              <a:gd name="connsiteY583" fmla="*/ 943054 h 2084191"/>
              <a:gd name="connsiteX584" fmla="*/ 581222 w 2051041"/>
              <a:gd name="connsiteY584" fmla="*/ 967542 h 2084191"/>
              <a:gd name="connsiteX585" fmla="*/ 556190 w 2051041"/>
              <a:gd name="connsiteY585" fmla="*/ 943054 h 2084191"/>
              <a:gd name="connsiteX586" fmla="*/ 581222 w 2051041"/>
              <a:gd name="connsiteY586" fmla="*/ 916934 h 2084191"/>
              <a:gd name="connsiteX587" fmla="*/ 744474 w 2051041"/>
              <a:gd name="connsiteY587" fmla="*/ 913669 h 2084191"/>
              <a:gd name="connsiteX588" fmla="*/ 773315 w 2051041"/>
              <a:gd name="connsiteY588" fmla="*/ 942510 h 2084191"/>
              <a:gd name="connsiteX589" fmla="*/ 743930 w 2051041"/>
              <a:gd name="connsiteY589" fmla="*/ 970807 h 2084191"/>
              <a:gd name="connsiteX590" fmla="*/ 716177 w 2051041"/>
              <a:gd name="connsiteY590" fmla="*/ 941966 h 2084191"/>
              <a:gd name="connsiteX591" fmla="*/ 744474 w 2051041"/>
              <a:gd name="connsiteY591" fmla="*/ 913669 h 2084191"/>
              <a:gd name="connsiteX592" fmla="*/ 908271 w 2051041"/>
              <a:gd name="connsiteY592" fmla="*/ 908772 h 2084191"/>
              <a:gd name="connsiteX593" fmla="*/ 940377 w 2051041"/>
              <a:gd name="connsiteY593" fmla="*/ 944144 h 2084191"/>
              <a:gd name="connsiteX594" fmla="*/ 906094 w 2051041"/>
              <a:gd name="connsiteY594" fmla="*/ 975162 h 2084191"/>
              <a:gd name="connsiteX595" fmla="*/ 874532 w 2051041"/>
              <a:gd name="connsiteY595" fmla="*/ 940879 h 2084191"/>
              <a:gd name="connsiteX596" fmla="*/ 908271 w 2051041"/>
              <a:gd name="connsiteY596" fmla="*/ 908772 h 2084191"/>
              <a:gd name="connsiteX597" fmla="*/ 1072068 w 2051041"/>
              <a:gd name="connsiteY597" fmla="*/ 906051 h 2084191"/>
              <a:gd name="connsiteX598" fmla="*/ 1107984 w 2051041"/>
              <a:gd name="connsiteY598" fmla="*/ 942511 h 2084191"/>
              <a:gd name="connsiteX599" fmla="*/ 1070980 w 2051041"/>
              <a:gd name="connsiteY599" fmla="*/ 979515 h 2084191"/>
              <a:gd name="connsiteX600" fmla="*/ 1034520 w 2051041"/>
              <a:gd name="connsiteY600" fmla="*/ 942511 h 2084191"/>
              <a:gd name="connsiteX601" fmla="*/ 1072068 w 2051041"/>
              <a:gd name="connsiteY601" fmla="*/ 906051 h 2084191"/>
              <a:gd name="connsiteX602" fmla="*/ 1235321 w 2051041"/>
              <a:gd name="connsiteY602" fmla="*/ 903874 h 2084191"/>
              <a:gd name="connsiteX603" fmla="*/ 1272325 w 2051041"/>
              <a:gd name="connsiteY603" fmla="*/ 943054 h 2084191"/>
              <a:gd name="connsiteX604" fmla="*/ 1233688 w 2051041"/>
              <a:gd name="connsiteY604" fmla="*/ 981147 h 2084191"/>
              <a:gd name="connsiteX605" fmla="*/ 1195596 w 2051041"/>
              <a:gd name="connsiteY605" fmla="*/ 940878 h 2084191"/>
              <a:gd name="connsiteX606" fmla="*/ 1235321 w 2051041"/>
              <a:gd name="connsiteY606" fmla="*/ 903874 h 2084191"/>
              <a:gd name="connsiteX607" fmla="*/ 1397486 w 2051041"/>
              <a:gd name="connsiteY607" fmla="*/ 901153 h 2084191"/>
              <a:gd name="connsiteX608" fmla="*/ 1438299 w 2051041"/>
              <a:gd name="connsiteY608" fmla="*/ 942511 h 2084191"/>
              <a:gd name="connsiteX609" fmla="*/ 1396941 w 2051041"/>
              <a:gd name="connsiteY609" fmla="*/ 983324 h 2084191"/>
              <a:gd name="connsiteX610" fmla="*/ 1356128 w 2051041"/>
              <a:gd name="connsiteY610" fmla="*/ 941967 h 2084191"/>
              <a:gd name="connsiteX611" fmla="*/ 1397486 w 2051041"/>
              <a:gd name="connsiteY611" fmla="*/ 901153 h 2084191"/>
              <a:gd name="connsiteX612" fmla="*/ 1560738 w 2051041"/>
              <a:gd name="connsiteY612" fmla="*/ 898977 h 2084191"/>
              <a:gd name="connsiteX613" fmla="*/ 1603728 w 2051041"/>
              <a:gd name="connsiteY613" fmla="*/ 942511 h 2084191"/>
              <a:gd name="connsiteX614" fmla="*/ 1560738 w 2051041"/>
              <a:gd name="connsiteY614" fmla="*/ 985501 h 2084191"/>
              <a:gd name="connsiteX615" fmla="*/ 1517204 w 2051041"/>
              <a:gd name="connsiteY615" fmla="*/ 941423 h 2084191"/>
              <a:gd name="connsiteX616" fmla="*/ 1560738 w 2051041"/>
              <a:gd name="connsiteY616" fmla="*/ 898977 h 2084191"/>
              <a:gd name="connsiteX617" fmla="*/ 1723990 w 2051041"/>
              <a:gd name="connsiteY617" fmla="*/ 897888 h 2084191"/>
              <a:gd name="connsiteX618" fmla="*/ 1768069 w 2051041"/>
              <a:gd name="connsiteY618" fmla="*/ 942510 h 2084191"/>
              <a:gd name="connsiteX619" fmla="*/ 1723990 w 2051041"/>
              <a:gd name="connsiteY619" fmla="*/ 986589 h 2084191"/>
              <a:gd name="connsiteX620" fmla="*/ 1679912 w 2051041"/>
              <a:gd name="connsiteY620" fmla="*/ 941422 h 2084191"/>
              <a:gd name="connsiteX621" fmla="*/ 1723990 w 2051041"/>
              <a:gd name="connsiteY621" fmla="*/ 897888 h 2084191"/>
              <a:gd name="connsiteX622" fmla="*/ 2050497 w 2051041"/>
              <a:gd name="connsiteY622" fmla="*/ 897344 h 2084191"/>
              <a:gd name="connsiteX623" fmla="*/ 2051041 w 2051041"/>
              <a:gd name="connsiteY623" fmla="*/ 897453 h 2084191"/>
              <a:gd name="connsiteX624" fmla="*/ 2051041 w 2051041"/>
              <a:gd name="connsiteY624" fmla="*/ 986917 h 2084191"/>
              <a:gd name="connsiteX625" fmla="*/ 2049952 w 2051041"/>
              <a:gd name="connsiteY625" fmla="*/ 987133 h 2084191"/>
              <a:gd name="connsiteX626" fmla="*/ 2005330 w 2051041"/>
              <a:gd name="connsiteY626" fmla="*/ 941422 h 2084191"/>
              <a:gd name="connsiteX627" fmla="*/ 2050497 w 2051041"/>
              <a:gd name="connsiteY627" fmla="*/ 897344 h 2084191"/>
              <a:gd name="connsiteX628" fmla="*/ 1887243 w 2051041"/>
              <a:gd name="connsiteY628" fmla="*/ 897344 h 2084191"/>
              <a:gd name="connsiteX629" fmla="*/ 1931866 w 2051041"/>
              <a:gd name="connsiteY629" fmla="*/ 942511 h 2084191"/>
              <a:gd name="connsiteX630" fmla="*/ 1887243 w 2051041"/>
              <a:gd name="connsiteY630" fmla="*/ 986589 h 2084191"/>
              <a:gd name="connsiteX631" fmla="*/ 1843165 w 2051041"/>
              <a:gd name="connsiteY631" fmla="*/ 941422 h 2084191"/>
              <a:gd name="connsiteX632" fmla="*/ 1887243 w 2051041"/>
              <a:gd name="connsiteY632" fmla="*/ 897344 h 2084191"/>
              <a:gd name="connsiteX633" fmla="*/ 172545 w 2051041"/>
              <a:gd name="connsiteY633" fmla="*/ 854354 h 2084191"/>
              <a:gd name="connsiteX634" fmla="*/ 179619 w 2051041"/>
              <a:gd name="connsiteY634" fmla="*/ 860884 h 2084191"/>
              <a:gd name="connsiteX635" fmla="*/ 173634 w 2051041"/>
              <a:gd name="connsiteY635" fmla="*/ 866870 h 2084191"/>
              <a:gd name="connsiteX636" fmla="*/ 166015 w 2051041"/>
              <a:gd name="connsiteY636" fmla="*/ 861973 h 2084191"/>
              <a:gd name="connsiteX637" fmla="*/ 172545 w 2051041"/>
              <a:gd name="connsiteY637" fmla="*/ 854354 h 2084191"/>
              <a:gd name="connsiteX638" fmla="*/ 336342 w 2051041"/>
              <a:gd name="connsiteY638" fmla="*/ 843471 h 2084191"/>
              <a:gd name="connsiteX639" fmla="*/ 353211 w 2051041"/>
              <a:gd name="connsiteY639" fmla="*/ 860340 h 2084191"/>
              <a:gd name="connsiteX640" fmla="*/ 336886 w 2051041"/>
              <a:gd name="connsiteY640" fmla="*/ 877210 h 2084191"/>
              <a:gd name="connsiteX641" fmla="*/ 320017 w 2051041"/>
              <a:gd name="connsiteY641" fmla="*/ 860884 h 2084191"/>
              <a:gd name="connsiteX642" fmla="*/ 336342 w 2051041"/>
              <a:gd name="connsiteY642" fmla="*/ 843471 h 2084191"/>
              <a:gd name="connsiteX643" fmla="*/ 500139 w 2051041"/>
              <a:gd name="connsiteY643" fmla="*/ 837485 h 2084191"/>
              <a:gd name="connsiteX644" fmla="*/ 522994 w 2051041"/>
              <a:gd name="connsiteY644" fmla="*/ 861428 h 2084191"/>
              <a:gd name="connsiteX645" fmla="*/ 499595 w 2051041"/>
              <a:gd name="connsiteY645" fmla="*/ 884284 h 2084191"/>
              <a:gd name="connsiteX646" fmla="*/ 476739 w 2051041"/>
              <a:gd name="connsiteY646" fmla="*/ 860340 h 2084191"/>
              <a:gd name="connsiteX647" fmla="*/ 500139 w 2051041"/>
              <a:gd name="connsiteY647" fmla="*/ 837485 h 2084191"/>
              <a:gd name="connsiteX648" fmla="*/ 662848 w 2051041"/>
              <a:gd name="connsiteY648" fmla="*/ 832587 h 2084191"/>
              <a:gd name="connsiteX649" fmla="*/ 690057 w 2051041"/>
              <a:gd name="connsiteY649" fmla="*/ 860340 h 2084191"/>
              <a:gd name="connsiteX650" fmla="*/ 662848 w 2051041"/>
              <a:gd name="connsiteY650" fmla="*/ 888637 h 2084191"/>
              <a:gd name="connsiteX651" fmla="*/ 634551 w 2051041"/>
              <a:gd name="connsiteY651" fmla="*/ 861428 h 2084191"/>
              <a:gd name="connsiteX652" fmla="*/ 662848 w 2051041"/>
              <a:gd name="connsiteY652" fmla="*/ 832587 h 2084191"/>
              <a:gd name="connsiteX653" fmla="*/ 826101 w 2051041"/>
              <a:gd name="connsiteY653" fmla="*/ 827146 h 2084191"/>
              <a:gd name="connsiteX654" fmla="*/ 859295 w 2051041"/>
              <a:gd name="connsiteY654" fmla="*/ 860885 h 2084191"/>
              <a:gd name="connsiteX655" fmla="*/ 825556 w 2051041"/>
              <a:gd name="connsiteY655" fmla="*/ 892991 h 2084191"/>
              <a:gd name="connsiteX656" fmla="*/ 793450 w 2051041"/>
              <a:gd name="connsiteY656" fmla="*/ 860885 h 2084191"/>
              <a:gd name="connsiteX657" fmla="*/ 826101 w 2051041"/>
              <a:gd name="connsiteY657" fmla="*/ 827146 h 2084191"/>
              <a:gd name="connsiteX658" fmla="*/ 988809 w 2051041"/>
              <a:gd name="connsiteY658" fmla="*/ 824424 h 2084191"/>
              <a:gd name="connsiteX659" fmla="*/ 1025813 w 2051041"/>
              <a:gd name="connsiteY659" fmla="*/ 860339 h 2084191"/>
              <a:gd name="connsiteX660" fmla="*/ 989897 w 2051041"/>
              <a:gd name="connsiteY660" fmla="*/ 897344 h 2084191"/>
              <a:gd name="connsiteX661" fmla="*/ 953437 w 2051041"/>
              <a:gd name="connsiteY661" fmla="*/ 861972 h 2084191"/>
              <a:gd name="connsiteX662" fmla="*/ 988809 w 2051041"/>
              <a:gd name="connsiteY662" fmla="*/ 824424 h 2084191"/>
              <a:gd name="connsiteX663" fmla="*/ 1153695 w 2051041"/>
              <a:gd name="connsiteY663" fmla="*/ 821704 h 2084191"/>
              <a:gd name="connsiteX664" fmla="*/ 1191243 w 2051041"/>
              <a:gd name="connsiteY664" fmla="*/ 861429 h 2084191"/>
              <a:gd name="connsiteX665" fmla="*/ 1152606 w 2051041"/>
              <a:gd name="connsiteY665" fmla="*/ 899521 h 2084191"/>
              <a:gd name="connsiteX666" fmla="*/ 1114514 w 2051041"/>
              <a:gd name="connsiteY666" fmla="*/ 859252 h 2084191"/>
              <a:gd name="connsiteX667" fmla="*/ 1153695 w 2051041"/>
              <a:gd name="connsiteY667" fmla="*/ 821704 h 2084191"/>
              <a:gd name="connsiteX668" fmla="*/ 1316403 w 2051041"/>
              <a:gd name="connsiteY668" fmla="*/ 818982 h 2084191"/>
              <a:gd name="connsiteX669" fmla="*/ 1357216 w 2051041"/>
              <a:gd name="connsiteY669" fmla="*/ 860884 h 2084191"/>
              <a:gd name="connsiteX670" fmla="*/ 1315315 w 2051041"/>
              <a:gd name="connsiteY670" fmla="*/ 901697 h 2084191"/>
              <a:gd name="connsiteX671" fmla="*/ 1274501 w 2051041"/>
              <a:gd name="connsiteY671" fmla="*/ 860340 h 2084191"/>
              <a:gd name="connsiteX672" fmla="*/ 1316403 w 2051041"/>
              <a:gd name="connsiteY672" fmla="*/ 818982 h 2084191"/>
              <a:gd name="connsiteX673" fmla="*/ 1479112 w 2051041"/>
              <a:gd name="connsiteY673" fmla="*/ 816806 h 2084191"/>
              <a:gd name="connsiteX674" fmla="*/ 1522646 w 2051041"/>
              <a:gd name="connsiteY674" fmla="*/ 860340 h 2084191"/>
              <a:gd name="connsiteX675" fmla="*/ 1479656 w 2051041"/>
              <a:gd name="connsiteY675" fmla="*/ 904419 h 2084191"/>
              <a:gd name="connsiteX676" fmla="*/ 1435578 w 2051041"/>
              <a:gd name="connsiteY676" fmla="*/ 860884 h 2084191"/>
              <a:gd name="connsiteX677" fmla="*/ 1479112 w 2051041"/>
              <a:gd name="connsiteY677" fmla="*/ 816806 h 2084191"/>
              <a:gd name="connsiteX678" fmla="*/ 1642909 w 2051041"/>
              <a:gd name="connsiteY678" fmla="*/ 815718 h 2084191"/>
              <a:gd name="connsiteX679" fmla="*/ 1686987 w 2051041"/>
              <a:gd name="connsiteY679" fmla="*/ 860885 h 2084191"/>
              <a:gd name="connsiteX680" fmla="*/ 1641276 w 2051041"/>
              <a:gd name="connsiteY680" fmla="*/ 905507 h 2084191"/>
              <a:gd name="connsiteX681" fmla="*/ 1597742 w 2051041"/>
              <a:gd name="connsiteY681" fmla="*/ 860340 h 2084191"/>
              <a:gd name="connsiteX682" fmla="*/ 1642909 w 2051041"/>
              <a:gd name="connsiteY682" fmla="*/ 815718 h 2084191"/>
              <a:gd name="connsiteX683" fmla="*/ 1806161 w 2051041"/>
              <a:gd name="connsiteY683" fmla="*/ 815173 h 2084191"/>
              <a:gd name="connsiteX684" fmla="*/ 1852416 w 2051041"/>
              <a:gd name="connsiteY684" fmla="*/ 860884 h 2084191"/>
              <a:gd name="connsiteX685" fmla="*/ 1805617 w 2051041"/>
              <a:gd name="connsiteY685" fmla="*/ 906594 h 2084191"/>
              <a:gd name="connsiteX686" fmla="*/ 1759906 w 2051041"/>
              <a:gd name="connsiteY686" fmla="*/ 860884 h 2084191"/>
              <a:gd name="connsiteX687" fmla="*/ 1806161 w 2051041"/>
              <a:gd name="connsiteY687" fmla="*/ 815173 h 2084191"/>
              <a:gd name="connsiteX688" fmla="*/ 1968326 w 2051041"/>
              <a:gd name="connsiteY688" fmla="*/ 812453 h 2084191"/>
              <a:gd name="connsiteX689" fmla="*/ 2000977 w 2051041"/>
              <a:gd name="connsiteY689" fmla="*/ 826057 h 2084191"/>
              <a:gd name="connsiteX690" fmla="*/ 2015670 w 2051041"/>
              <a:gd name="connsiteY690" fmla="*/ 859796 h 2084191"/>
              <a:gd name="connsiteX691" fmla="*/ 1969415 w 2051041"/>
              <a:gd name="connsiteY691" fmla="*/ 907684 h 2084191"/>
              <a:gd name="connsiteX692" fmla="*/ 1922071 w 2051041"/>
              <a:gd name="connsiteY692" fmla="*/ 860885 h 2084191"/>
              <a:gd name="connsiteX693" fmla="*/ 1968326 w 2051041"/>
              <a:gd name="connsiteY693" fmla="*/ 812453 h 2084191"/>
              <a:gd name="connsiteX694" fmla="*/ 255260 w 2051041"/>
              <a:gd name="connsiteY694" fmla="*/ 762932 h 2084191"/>
              <a:gd name="connsiteX695" fmla="*/ 270497 w 2051041"/>
              <a:gd name="connsiteY695" fmla="*/ 779802 h 2084191"/>
              <a:gd name="connsiteX696" fmla="*/ 254172 w 2051041"/>
              <a:gd name="connsiteY696" fmla="*/ 795038 h 2084191"/>
              <a:gd name="connsiteX697" fmla="*/ 238935 w 2051041"/>
              <a:gd name="connsiteY697" fmla="*/ 778713 h 2084191"/>
              <a:gd name="connsiteX698" fmla="*/ 255260 w 2051041"/>
              <a:gd name="connsiteY698" fmla="*/ 762932 h 2084191"/>
              <a:gd name="connsiteX699" fmla="*/ 416881 w 2051041"/>
              <a:gd name="connsiteY699" fmla="*/ 756402 h 2084191"/>
              <a:gd name="connsiteX700" fmla="*/ 440280 w 2051041"/>
              <a:gd name="connsiteY700" fmla="*/ 778713 h 2084191"/>
              <a:gd name="connsiteX701" fmla="*/ 419057 w 2051041"/>
              <a:gd name="connsiteY701" fmla="*/ 801024 h 2084191"/>
              <a:gd name="connsiteX702" fmla="*/ 396202 w 2051041"/>
              <a:gd name="connsiteY702" fmla="*/ 779257 h 2084191"/>
              <a:gd name="connsiteX703" fmla="*/ 416881 w 2051041"/>
              <a:gd name="connsiteY703" fmla="*/ 756402 h 2084191"/>
              <a:gd name="connsiteX704" fmla="*/ 581766 w 2051041"/>
              <a:gd name="connsiteY704" fmla="*/ 751505 h 2084191"/>
              <a:gd name="connsiteX705" fmla="*/ 608975 w 2051041"/>
              <a:gd name="connsiteY705" fmla="*/ 779802 h 2084191"/>
              <a:gd name="connsiteX706" fmla="*/ 580678 w 2051041"/>
              <a:gd name="connsiteY706" fmla="*/ 806467 h 2084191"/>
              <a:gd name="connsiteX707" fmla="*/ 553469 w 2051041"/>
              <a:gd name="connsiteY707" fmla="*/ 778714 h 2084191"/>
              <a:gd name="connsiteX708" fmla="*/ 581766 w 2051041"/>
              <a:gd name="connsiteY708" fmla="*/ 751505 h 2084191"/>
              <a:gd name="connsiteX709" fmla="*/ 746107 w 2051041"/>
              <a:gd name="connsiteY709" fmla="*/ 746607 h 2084191"/>
              <a:gd name="connsiteX710" fmla="*/ 777125 w 2051041"/>
              <a:gd name="connsiteY710" fmla="*/ 780346 h 2084191"/>
              <a:gd name="connsiteX711" fmla="*/ 742842 w 2051041"/>
              <a:gd name="connsiteY711" fmla="*/ 811364 h 2084191"/>
              <a:gd name="connsiteX712" fmla="*/ 712368 w 2051041"/>
              <a:gd name="connsiteY712" fmla="*/ 778713 h 2084191"/>
              <a:gd name="connsiteX713" fmla="*/ 746107 w 2051041"/>
              <a:gd name="connsiteY713" fmla="*/ 746607 h 2084191"/>
              <a:gd name="connsiteX714" fmla="*/ 907727 w 2051041"/>
              <a:gd name="connsiteY714" fmla="*/ 741710 h 2084191"/>
              <a:gd name="connsiteX715" fmla="*/ 944187 w 2051041"/>
              <a:gd name="connsiteY715" fmla="*/ 778714 h 2084191"/>
              <a:gd name="connsiteX716" fmla="*/ 907727 w 2051041"/>
              <a:gd name="connsiteY716" fmla="*/ 815174 h 2084191"/>
              <a:gd name="connsiteX717" fmla="*/ 872355 w 2051041"/>
              <a:gd name="connsiteY717" fmla="*/ 779258 h 2084191"/>
              <a:gd name="connsiteX718" fmla="*/ 907727 w 2051041"/>
              <a:gd name="connsiteY718" fmla="*/ 741710 h 2084191"/>
              <a:gd name="connsiteX719" fmla="*/ 1070979 w 2051041"/>
              <a:gd name="connsiteY719" fmla="*/ 740621 h 2084191"/>
              <a:gd name="connsiteX720" fmla="*/ 1110160 w 2051041"/>
              <a:gd name="connsiteY720" fmla="*/ 779258 h 2084191"/>
              <a:gd name="connsiteX721" fmla="*/ 1070979 w 2051041"/>
              <a:gd name="connsiteY721" fmla="*/ 817894 h 2084191"/>
              <a:gd name="connsiteX722" fmla="*/ 1031799 w 2051041"/>
              <a:gd name="connsiteY722" fmla="*/ 778714 h 2084191"/>
              <a:gd name="connsiteX723" fmla="*/ 1070979 w 2051041"/>
              <a:gd name="connsiteY723" fmla="*/ 740621 h 2084191"/>
              <a:gd name="connsiteX724" fmla="*/ 1233688 w 2051041"/>
              <a:gd name="connsiteY724" fmla="*/ 736268 h 2084191"/>
              <a:gd name="connsiteX725" fmla="*/ 1276134 w 2051041"/>
              <a:gd name="connsiteY725" fmla="*/ 777625 h 2084191"/>
              <a:gd name="connsiteX726" fmla="*/ 1235320 w 2051041"/>
              <a:gd name="connsiteY726" fmla="*/ 820615 h 2084191"/>
              <a:gd name="connsiteX727" fmla="*/ 1192331 w 2051041"/>
              <a:gd name="connsiteY727" fmla="*/ 779258 h 2084191"/>
              <a:gd name="connsiteX728" fmla="*/ 1233688 w 2051041"/>
              <a:gd name="connsiteY728" fmla="*/ 736268 h 2084191"/>
              <a:gd name="connsiteX729" fmla="*/ 1397485 w 2051041"/>
              <a:gd name="connsiteY729" fmla="*/ 735724 h 2084191"/>
              <a:gd name="connsiteX730" fmla="*/ 1441019 w 2051041"/>
              <a:gd name="connsiteY730" fmla="*/ 779802 h 2084191"/>
              <a:gd name="connsiteX731" fmla="*/ 1396397 w 2051041"/>
              <a:gd name="connsiteY731" fmla="*/ 823336 h 2084191"/>
              <a:gd name="connsiteX732" fmla="*/ 1352863 w 2051041"/>
              <a:gd name="connsiteY732" fmla="*/ 779258 h 2084191"/>
              <a:gd name="connsiteX733" fmla="*/ 1397485 w 2051041"/>
              <a:gd name="connsiteY733" fmla="*/ 735724 h 2084191"/>
              <a:gd name="connsiteX734" fmla="*/ 1562371 w 2051041"/>
              <a:gd name="connsiteY734" fmla="*/ 734636 h 2084191"/>
              <a:gd name="connsiteX735" fmla="*/ 1605905 w 2051041"/>
              <a:gd name="connsiteY735" fmla="*/ 779802 h 2084191"/>
              <a:gd name="connsiteX736" fmla="*/ 1560194 w 2051041"/>
              <a:gd name="connsiteY736" fmla="*/ 823881 h 2084191"/>
              <a:gd name="connsiteX737" fmla="*/ 1515572 w 2051041"/>
              <a:gd name="connsiteY737" fmla="*/ 777626 h 2084191"/>
              <a:gd name="connsiteX738" fmla="*/ 1562371 w 2051041"/>
              <a:gd name="connsiteY738" fmla="*/ 734636 h 2084191"/>
              <a:gd name="connsiteX739" fmla="*/ 1724535 w 2051041"/>
              <a:gd name="connsiteY739" fmla="*/ 730827 h 2084191"/>
              <a:gd name="connsiteX740" fmla="*/ 1772422 w 2051041"/>
              <a:gd name="connsiteY740" fmla="*/ 779258 h 2084191"/>
              <a:gd name="connsiteX741" fmla="*/ 1723446 w 2051041"/>
              <a:gd name="connsiteY741" fmla="*/ 826602 h 2084191"/>
              <a:gd name="connsiteX742" fmla="*/ 1676647 w 2051041"/>
              <a:gd name="connsiteY742" fmla="*/ 778714 h 2084191"/>
              <a:gd name="connsiteX743" fmla="*/ 1724535 w 2051041"/>
              <a:gd name="connsiteY743" fmla="*/ 730827 h 2084191"/>
              <a:gd name="connsiteX744" fmla="*/ 1886699 w 2051041"/>
              <a:gd name="connsiteY744" fmla="*/ 730826 h 2084191"/>
              <a:gd name="connsiteX745" fmla="*/ 1935131 w 2051041"/>
              <a:gd name="connsiteY745" fmla="*/ 778713 h 2084191"/>
              <a:gd name="connsiteX746" fmla="*/ 1887244 w 2051041"/>
              <a:gd name="connsiteY746" fmla="*/ 827145 h 2084191"/>
              <a:gd name="connsiteX747" fmla="*/ 1838812 w 2051041"/>
              <a:gd name="connsiteY747" fmla="*/ 778713 h 2084191"/>
              <a:gd name="connsiteX748" fmla="*/ 1886699 w 2051041"/>
              <a:gd name="connsiteY748" fmla="*/ 730826 h 2084191"/>
              <a:gd name="connsiteX749" fmla="*/ 2050496 w 2051041"/>
              <a:gd name="connsiteY749" fmla="*/ 730282 h 2084191"/>
              <a:gd name="connsiteX750" fmla="*/ 2051041 w 2051041"/>
              <a:gd name="connsiteY750" fmla="*/ 730396 h 2084191"/>
              <a:gd name="connsiteX751" fmla="*/ 2051041 w 2051041"/>
              <a:gd name="connsiteY751" fmla="*/ 826942 h 2084191"/>
              <a:gd name="connsiteX752" fmla="*/ 2049952 w 2051041"/>
              <a:gd name="connsiteY752" fmla="*/ 827145 h 2084191"/>
              <a:gd name="connsiteX753" fmla="*/ 2002065 w 2051041"/>
              <a:gd name="connsiteY753" fmla="*/ 778169 h 2084191"/>
              <a:gd name="connsiteX754" fmla="*/ 2050496 w 2051041"/>
              <a:gd name="connsiteY754" fmla="*/ 730282 h 2084191"/>
              <a:gd name="connsiteX755" fmla="*/ 173634 w 2051041"/>
              <a:gd name="connsiteY755" fmla="*/ 685660 h 2084191"/>
              <a:gd name="connsiteX756" fmla="*/ 184518 w 2051041"/>
              <a:gd name="connsiteY756" fmla="*/ 698176 h 2084191"/>
              <a:gd name="connsiteX757" fmla="*/ 172546 w 2051041"/>
              <a:gd name="connsiteY757" fmla="*/ 709059 h 2084191"/>
              <a:gd name="connsiteX758" fmla="*/ 161118 w 2051041"/>
              <a:gd name="connsiteY758" fmla="*/ 697088 h 2084191"/>
              <a:gd name="connsiteX759" fmla="*/ 173634 w 2051041"/>
              <a:gd name="connsiteY759" fmla="*/ 685660 h 2084191"/>
              <a:gd name="connsiteX760" fmla="*/ 335798 w 2051041"/>
              <a:gd name="connsiteY760" fmla="*/ 675320 h 2084191"/>
              <a:gd name="connsiteX761" fmla="*/ 357565 w 2051041"/>
              <a:gd name="connsiteY761" fmla="*/ 696543 h 2084191"/>
              <a:gd name="connsiteX762" fmla="*/ 336342 w 2051041"/>
              <a:gd name="connsiteY762" fmla="*/ 718854 h 2084191"/>
              <a:gd name="connsiteX763" fmla="*/ 315120 w 2051041"/>
              <a:gd name="connsiteY763" fmla="*/ 697631 h 2084191"/>
              <a:gd name="connsiteX764" fmla="*/ 335798 w 2051041"/>
              <a:gd name="connsiteY764" fmla="*/ 675320 h 2084191"/>
              <a:gd name="connsiteX765" fmla="*/ 499051 w 2051041"/>
              <a:gd name="connsiteY765" fmla="*/ 670423 h 2084191"/>
              <a:gd name="connsiteX766" fmla="*/ 526804 w 2051041"/>
              <a:gd name="connsiteY766" fmla="*/ 697088 h 2084191"/>
              <a:gd name="connsiteX767" fmla="*/ 499595 w 2051041"/>
              <a:gd name="connsiteY767" fmla="*/ 724296 h 2084191"/>
              <a:gd name="connsiteX768" fmla="*/ 472930 w 2051041"/>
              <a:gd name="connsiteY768" fmla="*/ 697632 h 2084191"/>
              <a:gd name="connsiteX769" fmla="*/ 499051 w 2051041"/>
              <a:gd name="connsiteY769" fmla="*/ 670423 h 2084191"/>
              <a:gd name="connsiteX770" fmla="*/ 662848 w 2051041"/>
              <a:gd name="connsiteY770" fmla="*/ 665525 h 2084191"/>
              <a:gd name="connsiteX771" fmla="*/ 694954 w 2051041"/>
              <a:gd name="connsiteY771" fmla="*/ 697087 h 2084191"/>
              <a:gd name="connsiteX772" fmla="*/ 663392 w 2051041"/>
              <a:gd name="connsiteY772" fmla="*/ 729194 h 2084191"/>
              <a:gd name="connsiteX773" fmla="*/ 632374 w 2051041"/>
              <a:gd name="connsiteY773" fmla="*/ 698176 h 2084191"/>
              <a:gd name="connsiteX774" fmla="*/ 662848 w 2051041"/>
              <a:gd name="connsiteY774" fmla="*/ 665525 h 2084191"/>
              <a:gd name="connsiteX775" fmla="*/ 825013 w 2051041"/>
              <a:gd name="connsiteY775" fmla="*/ 663349 h 2084191"/>
              <a:gd name="connsiteX776" fmla="*/ 860384 w 2051041"/>
              <a:gd name="connsiteY776" fmla="*/ 697632 h 2084191"/>
              <a:gd name="connsiteX777" fmla="*/ 826101 w 2051041"/>
              <a:gd name="connsiteY777" fmla="*/ 731915 h 2084191"/>
              <a:gd name="connsiteX778" fmla="*/ 791818 w 2051041"/>
              <a:gd name="connsiteY778" fmla="*/ 698176 h 2084191"/>
              <a:gd name="connsiteX779" fmla="*/ 825013 w 2051041"/>
              <a:gd name="connsiteY779" fmla="*/ 663349 h 2084191"/>
              <a:gd name="connsiteX780" fmla="*/ 988809 w 2051041"/>
              <a:gd name="connsiteY780" fmla="*/ 658995 h 2084191"/>
              <a:gd name="connsiteX781" fmla="*/ 1027446 w 2051041"/>
              <a:gd name="connsiteY781" fmla="*/ 697087 h 2084191"/>
              <a:gd name="connsiteX782" fmla="*/ 989353 w 2051041"/>
              <a:gd name="connsiteY782" fmla="*/ 735723 h 2084191"/>
              <a:gd name="connsiteX783" fmla="*/ 950717 w 2051041"/>
              <a:gd name="connsiteY783" fmla="*/ 697631 h 2084191"/>
              <a:gd name="connsiteX784" fmla="*/ 988809 w 2051041"/>
              <a:gd name="connsiteY784" fmla="*/ 658995 h 2084191"/>
              <a:gd name="connsiteX785" fmla="*/ 1152607 w 2051041"/>
              <a:gd name="connsiteY785" fmla="*/ 655729 h 2084191"/>
              <a:gd name="connsiteX786" fmla="*/ 1195052 w 2051041"/>
              <a:gd name="connsiteY786" fmla="*/ 697087 h 2084191"/>
              <a:gd name="connsiteX787" fmla="*/ 1153151 w 2051041"/>
              <a:gd name="connsiteY787" fmla="*/ 739533 h 2084191"/>
              <a:gd name="connsiteX788" fmla="*/ 1110705 w 2051041"/>
              <a:gd name="connsiteY788" fmla="*/ 697631 h 2084191"/>
              <a:gd name="connsiteX789" fmla="*/ 1152607 w 2051041"/>
              <a:gd name="connsiteY789" fmla="*/ 655729 h 2084191"/>
              <a:gd name="connsiteX790" fmla="*/ 1316948 w 2051041"/>
              <a:gd name="connsiteY790" fmla="*/ 653554 h 2084191"/>
              <a:gd name="connsiteX791" fmla="*/ 1359937 w 2051041"/>
              <a:gd name="connsiteY791" fmla="*/ 697632 h 2084191"/>
              <a:gd name="connsiteX792" fmla="*/ 1315315 w 2051041"/>
              <a:gd name="connsiteY792" fmla="*/ 740622 h 2084191"/>
              <a:gd name="connsiteX793" fmla="*/ 1271781 w 2051041"/>
              <a:gd name="connsiteY793" fmla="*/ 696544 h 2084191"/>
              <a:gd name="connsiteX794" fmla="*/ 1316948 w 2051041"/>
              <a:gd name="connsiteY794" fmla="*/ 653554 h 2084191"/>
              <a:gd name="connsiteX795" fmla="*/ 1479112 w 2051041"/>
              <a:gd name="connsiteY795" fmla="*/ 651921 h 2084191"/>
              <a:gd name="connsiteX796" fmla="*/ 1524823 w 2051041"/>
              <a:gd name="connsiteY796" fmla="*/ 697088 h 2084191"/>
              <a:gd name="connsiteX797" fmla="*/ 1479112 w 2051041"/>
              <a:gd name="connsiteY797" fmla="*/ 742254 h 2084191"/>
              <a:gd name="connsiteX798" fmla="*/ 1433945 w 2051041"/>
              <a:gd name="connsiteY798" fmla="*/ 697088 h 2084191"/>
              <a:gd name="connsiteX799" fmla="*/ 1479112 w 2051041"/>
              <a:gd name="connsiteY799" fmla="*/ 651921 h 2084191"/>
              <a:gd name="connsiteX800" fmla="*/ 1642909 w 2051041"/>
              <a:gd name="connsiteY800" fmla="*/ 649744 h 2084191"/>
              <a:gd name="connsiteX801" fmla="*/ 1690796 w 2051041"/>
              <a:gd name="connsiteY801" fmla="*/ 697087 h 2084191"/>
              <a:gd name="connsiteX802" fmla="*/ 1642909 w 2051041"/>
              <a:gd name="connsiteY802" fmla="*/ 745519 h 2084191"/>
              <a:gd name="connsiteX803" fmla="*/ 1594477 w 2051041"/>
              <a:gd name="connsiteY803" fmla="*/ 697632 h 2084191"/>
              <a:gd name="connsiteX804" fmla="*/ 1642909 w 2051041"/>
              <a:gd name="connsiteY804" fmla="*/ 649744 h 2084191"/>
              <a:gd name="connsiteX805" fmla="*/ 1805617 w 2051041"/>
              <a:gd name="connsiteY805" fmla="*/ 648112 h 2084191"/>
              <a:gd name="connsiteX806" fmla="*/ 1854593 w 2051041"/>
              <a:gd name="connsiteY806" fmla="*/ 698176 h 2084191"/>
              <a:gd name="connsiteX807" fmla="*/ 1805073 w 2051041"/>
              <a:gd name="connsiteY807" fmla="*/ 746607 h 2084191"/>
              <a:gd name="connsiteX808" fmla="*/ 1756097 w 2051041"/>
              <a:gd name="connsiteY808" fmla="*/ 697087 h 2084191"/>
              <a:gd name="connsiteX809" fmla="*/ 1805617 w 2051041"/>
              <a:gd name="connsiteY809" fmla="*/ 648112 h 2084191"/>
              <a:gd name="connsiteX810" fmla="*/ 1969414 w 2051041"/>
              <a:gd name="connsiteY810" fmla="*/ 647023 h 2084191"/>
              <a:gd name="connsiteX811" fmla="*/ 2018934 w 2051041"/>
              <a:gd name="connsiteY811" fmla="*/ 698176 h 2084191"/>
              <a:gd name="connsiteX812" fmla="*/ 1968326 w 2051041"/>
              <a:gd name="connsiteY812" fmla="*/ 746063 h 2084191"/>
              <a:gd name="connsiteX813" fmla="*/ 1918806 w 2051041"/>
              <a:gd name="connsiteY813" fmla="*/ 697087 h 2084191"/>
              <a:gd name="connsiteX814" fmla="*/ 1969414 w 2051041"/>
              <a:gd name="connsiteY814" fmla="*/ 647023 h 2084191"/>
              <a:gd name="connsiteX815" fmla="*/ 90919 w 2051041"/>
              <a:gd name="connsiteY815" fmla="*/ 606754 h 2084191"/>
              <a:gd name="connsiteX816" fmla="*/ 99626 w 2051041"/>
              <a:gd name="connsiteY816" fmla="*/ 615460 h 2084191"/>
              <a:gd name="connsiteX817" fmla="*/ 92007 w 2051041"/>
              <a:gd name="connsiteY817" fmla="*/ 627976 h 2084191"/>
              <a:gd name="connsiteX818" fmla="*/ 82756 w 2051041"/>
              <a:gd name="connsiteY818" fmla="*/ 616005 h 2084191"/>
              <a:gd name="connsiteX819" fmla="*/ 90919 w 2051041"/>
              <a:gd name="connsiteY819" fmla="*/ 606754 h 2084191"/>
              <a:gd name="connsiteX820" fmla="*/ 254172 w 2051041"/>
              <a:gd name="connsiteY820" fmla="*/ 598047 h 2084191"/>
              <a:gd name="connsiteX821" fmla="*/ 272674 w 2051041"/>
              <a:gd name="connsiteY821" fmla="*/ 614917 h 2084191"/>
              <a:gd name="connsiteX822" fmla="*/ 255260 w 2051041"/>
              <a:gd name="connsiteY822" fmla="*/ 633419 h 2084191"/>
              <a:gd name="connsiteX823" fmla="*/ 236758 w 2051041"/>
              <a:gd name="connsiteY823" fmla="*/ 616005 h 2084191"/>
              <a:gd name="connsiteX824" fmla="*/ 254172 w 2051041"/>
              <a:gd name="connsiteY824" fmla="*/ 598047 h 2084191"/>
              <a:gd name="connsiteX825" fmla="*/ 418513 w 2051041"/>
              <a:gd name="connsiteY825" fmla="*/ 590429 h 2084191"/>
              <a:gd name="connsiteX826" fmla="*/ 443001 w 2051041"/>
              <a:gd name="connsiteY826" fmla="*/ 614917 h 2084191"/>
              <a:gd name="connsiteX827" fmla="*/ 419058 w 2051041"/>
              <a:gd name="connsiteY827" fmla="*/ 640493 h 2084191"/>
              <a:gd name="connsiteX828" fmla="*/ 392937 w 2051041"/>
              <a:gd name="connsiteY828" fmla="*/ 616005 h 2084191"/>
              <a:gd name="connsiteX829" fmla="*/ 418513 w 2051041"/>
              <a:gd name="connsiteY829" fmla="*/ 590429 h 2084191"/>
              <a:gd name="connsiteX830" fmla="*/ 581222 w 2051041"/>
              <a:gd name="connsiteY830" fmla="*/ 587163 h 2084191"/>
              <a:gd name="connsiteX831" fmla="*/ 610063 w 2051041"/>
              <a:gd name="connsiteY831" fmla="*/ 616549 h 2084191"/>
              <a:gd name="connsiteX832" fmla="*/ 580677 w 2051041"/>
              <a:gd name="connsiteY832" fmla="*/ 645390 h 2084191"/>
              <a:gd name="connsiteX833" fmla="*/ 551836 w 2051041"/>
              <a:gd name="connsiteY833" fmla="*/ 615461 h 2084191"/>
              <a:gd name="connsiteX834" fmla="*/ 581222 w 2051041"/>
              <a:gd name="connsiteY834" fmla="*/ 587163 h 2084191"/>
              <a:gd name="connsiteX835" fmla="*/ 743930 w 2051041"/>
              <a:gd name="connsiteY835" fmla="*/ 582266 h 2084191"/>
              <a:gd name="connsiteX836" fmla="*/ 779301 w 2051041"/>
              <a:gd name="connsiteY836" fmla="*/ 616005 h 2084191"/>
              <a:gd name="connsiteX837" fmla="*/ 745563 w 2051041"/>
              <a:gd name="connsiteY837" fmla="*/ 649744 h 2084191"/>
              <a:gd name="connsiteX838" fmla="*/ 711824 w 2051041"/>
              <a:gd name="connsiteY838" fmla="*/ 616549 h 2084191"/>
              <a:gd name="connsiteX839" fmla="*/ 743930 w 2051041"/>
              <a:gd name="connsiteY839" fmla="*/ 582266 h 2084191"/>
              <a:gd name="connsiteX840" fmla="*/ 907183 w 2051041"/>
              <a:gd name="connsiteY840" fmla="*/ 577913 h 2084191"/>
              <a:gd name="connsiteX841" fmla="*/ 945276 w 2051041"/>
              <a:gd name="connsiteY841" fmla="*/ 615461 h 2084191"/>
              <a:gd name="connsiteX842" fmla="*/ 907727 w 2051041"/>
              <a:gd name="connsiteY842" fmla="*/ 654098 h 2084191"/>
              <a:gd name="connsiteX843" fmla="*/ 869091 w 2051041"/>
              <a:gd name="connsiteY843" fmla="*/ 616006 h 2084191"/>
              <a:gd name="connsiteX844" fmla="*/ 907183 w 2051041"/>
              <a:gd name="connsiteY844" fmla="*/ 577913 h 2084191"/>
              <a:gd name="connsiteX845" fmla="*/ 1069891 w 2051041"/>
              <a:gd name="connsiteY845" fmla="*/ 574648 h 2084191"/>
              <a:gd name="connsiteX846" fmla="*/ 1111248 w 2051041"/>
              <a:gd name="connsiteY846" fmla="*/ 615461 h 2084191"/>
              <a:gd name="connsiteX847" fmla="*/ 1070435 w 2051041"/>
              <a:gd name="connsiteY847" fmla="*/ 656274 h 2084191"/>
              <a:gd name="connsiteX848" fmla="*/ 1029622 w 2051041"/>
              <a:gd name="connsiteY848" fmla="*/ 614917 h 2084191"/>
              <a:gd name="connsiteX849" fmla="*/ 1069891 w 2051041"/>
              <a:gd name="connsiteY849" fmla="*/ 574648 h 2084191"/>
              <a:gd name="connsiteX850" fmla="*/ 1235321 w 2051041"/>
              <a:gd name="connsiteY850" fmla="*/ 572472 h 2084191"/>
              <a:gd name="connsiteX851" fmla="*/ 1277222 w 2051041"/>
              <a:gd name="connsiteY851" fmla="*/ 616550 h 2084191"/>
              <a:gd name="connsiteX852" fmla="*/ 1233688 w 2051041"/>
              <a:gd name="connsiteY852" fmla="*/ 660084 h 2084191"/>
              <a:gd name="connsiteX853" fmla="*/ 1190154 w 2051041"/>
              <a:gd name="connsiteY853" fmla="*/ 614917 h 2084191"/>
              <a:gd name="connsiteX854" fmla="*/ 1235321 w 2051041"/>
              <a:gd name="connsiteY854" fmla="*/ 572472 h 2084191"/>
              <a:gd name="connsiteX855" fmla="*/ 1397485 w 2051041"/>
              <a:gd name="connsiteY855" fmla="*/ 569206 h 2084191"/>
              <a:gd name="connsiteX856" fmla="*/ 1443196 w 2051041"/>
              <a:gd name="connsiteY856" fmla="*/ 616005 h 2084191"/>
              <a:gd name="connsiteX857" fmla="*/ 1396941 w 2051041"/>
              <a:gd name="connsiteY857" fmla="*/ 661172 h 2084191"/>
              <a:gd name="connsiteX858" fmla="*/ 1351775 w 2051041"/>
              <a:gd name="connsiteY858" fmla="*/ 614373 h 2084191"/>
              <a:gd name="connsiteX859" fmla="*/ 1397485 w 2051041"/>
              <a:gd name="connsiteY859" fmla="*/ 569206 h 2084191"/>
              <a:gd name="connsiteX860" fmla="*/ 1560738 w 2051041"/>
              <a:gd name="connsiteY860" fmla="*/ 567029 h 2084191"/>
              <a:gd name="connsiteX861" fmla="*/ 1609714 w 2051041"/>
              <a:gd name="connsiteY861" fmla="*/ 615461 h 2084191"/>
              <a:gd name="connsiteX862" fmla="*/ 1561283 w 2051041"/>
              <a:gd name="connsiteY862" fmla="*/ 663892 h 2084191"/>
              <a:gd name="connsiteX863" fmla="*/ 1512851 w 2051041"/>
              <a:gd name="connsiteY863" fmla="*/ 616005 h 2084191"/>
              <a:gd name="connsiteX864" fmla="*/ 1560738 w 2051041"/>
              <a:gd name="connsiteY864" fmla="*/ 567029 h 2084191"/>
              <a:gd name="connsiteX865" fmla="*/ 1725624 w 2051041"/>
              <a:gd name="connsiteY865" fmla="*/ 565397 h 2084191"/>
              <a:gd name="connsiteX866" fmla="*/ 1774599 w 2051041"/>
              <a:gd name="connsiteY866" fmla="*/ 616005 h 2084191"/>
              <a:gd name="connsiteX867" fmla="*/ 1723447 w 2051041"/>
              <a:gd name="connsiteY867" fmla="*/ 664981 h 2084191"/>
              <a:gd name="connsiteX868" fmla="*/ 1674471 w 2051041"/>
              <a:gd name="connsiteY868" fmla="*/ 615461 h 2084191"/>
              <a:gd name="connsiteX869" fmla="*/ 1725624 w 2051041"/>
              <a:gd name="connsiteY869" fmla="*/ 565397 h 2084191"/>
              <a:gd name="connsiteX870" fmla="*/ 1886699 w 2051041"/>
              <a:gd name="connsiteY870" fmla="*/ 564853 h 2084191"/>
              <a:gd name="connsiteX871" fmla="*/ 1938396 w 2051041"/>
              <a:gd name="connsiteY871" fmla="*/ 614917 h 2084191"/>
              <a:gd name="connsiteX872" fmla="*/ 1887787 w 2051041"/>
              <a:gd name="connsiteY872" fmla="*/ 665525 h 2084191"/>
              <a:gd name="connsiteX873" fmla="*/ 1837179 w 2051041"/>
              <a:gd name="connsiteY873" fmla="*/ 615461 h 2084191"/>
              <a:gd name="connsiteX874" fmla="*/ 1886699 w 2051041"/>
              <a:gd name="connsiteY874" fmla="*/ 564853 h 2084191"/>
              <a:gd name="connsiteX875" fmla="*/ 2050496 w 2051041"/>
              <a:gd name="connsiteY875" fmla="*/ 564852 h 2084191"/>
              <a:gd name="connsiteX876" fmla="*/ 2051041 w 2051041"/>
              <a:gd name="connsiteY876" fmla="*/ 564962 h 2084191"/>
              <a:gd name="connsiteX877" fmla="*/ 2051041 w 2051041"/>
              <a:gd name="connsiteY877" fmla="*/ 665899 h 2084191"/>
              <a:gd name="connsiteX878" fmla="*/ 2049952 w 2051041"/>
              <a:gd name="connsiteY878" fmla="*/ 666069 h 2084191"/>
              <a:gd name="connsiteX879" fmla="*/ 1999344 w 2051041"/>
              <a:gd name="connsiteY879" fmla="*/ 615460 h 2084191"/>
              <a:gd name="connsiteX880" fmla="*/ 2050496 w 2051041"/>
              <a:gd name="connsiteY880" fmla="*/ 564852 h 2084191"/>
              <a:gd name="connsiteX881" fmla="*/ 173090 w 2051041"/>
              <a:gd name="connsiteY881" fmla="*/ 517509 h 2084191"/>
              <a:gd name="connsiteX882" fmla="*/ 189959 w 2051041"/>
              <a:gd name="connsiteY882" fmla="*/ 533834 h 2084191"/>
              <a:gd name="connsiteX883" fmla="*/ 173634 w 2051041"/>
              <a:gd name="connsiteY883" fmla="*/ 550160 h 2084191"/>
              <a:gd name="connsiteX884" fmla="*/ 157308 w 2051041"/>
              <a:gd name="connsiteY884" fmla="*/ 534923 h 2084191"/>
              <a:gd name="connsiteX885" fmla="*/ 173090 w 2051041"/>
              <a:gd name="connsiteY885" fmla="*/ 517509 h 2084191"/>
              <a:gd name="connsiteX886" fmla="*/ 335798 w 2051041"/>
              <a:gd name="connsiteY886" fmla="*/ 511523 h 2084191"/>
              <a:gd name="connsiteX887" fmla="*/ 358654 w 2051041"/>
              <a:gd name="connsiteY887" fmla="*/ 533834 h 2084191"/>
              <a:gd name="connsiteX888" fmla="*/ 336343 w 2051041"/>
              <a:gd name="connsiteY888" fmla="*/ 556689 h 2084191"/>
              <a:gd name="connsiteX889" fmla="*/ 312943 w 2051041"/>
              <a:gd name="connsiteY889" fmla="*/ 534378 h 2084191"/>
              <a:gd name="connsiteX890" fmla="*/ 335798 w 2051041"/>
              <a:gd name="connsiteY890" fmla="*/ 511523 h 2084191"/>
              <a:gd name="connsiteX891" fmla="*/ 500139 w 2051041"/>
              <a:gd name="connsiteY891" fmla="*/ 506626 h 2084191"/>
              <a:gd name="connsiteX892" fmla="*/ 527348 w 2051041"/>
              <a:gd name="connsiteY892" fmla="*/ 535467 h 2084191"/>
              <a:gd name="connsiteX893" fmla="*/ 497963 w 2051041"/>
              <a:gd name="connsiteY893" fmla="*/ 561587 h 2084191"/>
              <a:gd name="connsiteX894" fmla="*/ 471842 w 2051041"/>
              <a:gd name="connsiteY894" fmla="*/ 533290 h 2084191"/>
              <a:gd name="connsiteX895" fmla="*/ 500139 w 2051041"/>
              <a:gd name="connsiteY895" fmla="*/ 506626 h 2084191"/>
              <a:gd name="connsiteX896" fmla="*/ 662304 w 2051041"/>
              <a:gd name="connsiteY896" fmla="*/ 500639 h 2084191"/>
              <a:gd name="connsiteX897" fmla="*/ 696042 w 2051041"/>
              <a:gd name="connsiteY897" fmla="*/ 533290 h 2084191"/>
              <a:gd name="connsiteX898" fmla="*/ 663392 w 2051041"/>
              <a:gd name="connsiteY898" fmla="*/ 566485 h 2084191"/>
              <a:gd name="connsiteX899" fmla="*/ 630197 w 2051041"/>
              <a:gd name="connsiteY899" fmla="*/ 534378 h 2084191"/>
              <a:gd name="connsiteX900" fmla="*/ 662304 w 2051041"/>
              <a:gd name="connsiteY900" fmla="*/ 500639 h 2084191"/>
              <a:gd name="connsiteX901" fmla="*/ 825557 w 2051041"/>
              <a:gd name="connsiteY901" fmla="*/ 496830 h 2084191"/>
              <a:gd name="connsiteX902" fmla="*/ 863649 w 2051041"/>
              <a:gd name="connsiteY902" fmla="*/ 534923 h 2084191"/>
              <a:gd name="connsiteX903" fmla="*/ 825557 w 2051041"/>
              <a:gd name="connsiteY903" fmla="*/ 571383 h 2084191"/>
              <a:gd name="connsiteX904" fmla="*/ 788553 w 2051041"/>
              <a:gd name="connsiteY904" fmla="*/ 534379 h 2084191"/>
              <a:gd name="connsiteX905" fmla="*/ 825557 w 2051041"/>
              <a:gd name="connsiteY905" fmla="*/ 496830 h 2084191"/>
              <a:gd name="connsiteX906" fmla="*/ 989898 w 2051041"/>
              <a:gd name="connsiteY906" fmla="*/ 494110 h 2084191"/>
              <a:gd name="connsiteX907" fmla="*/ 1029078 w 2051041"/>
              <a:gd name="connsiteY907" fmla="*/ 534923 h 2084191"/>
              <a:gd name="connsiteX908" fmla="*/ 989353 w 2051041"/>
              <a:gd name="connsiteY908" fmla="*/ 574104 h 2084191"/>
              <a:gd name="connsiteX909" fmla="*/ 949629 w 2051041"/>
              <a:gd name="connsiteY909" fmla="*/ 533835 h 2084191"/>
              <a:gd name="connsiteX910" fmla="*/ 989898 w 2051041"/>
              <a:gd name="connsiteY910" fmla="*/ 494110 h 2084191"/>
              <a:gd name="connsiteX911" fmla="*/ 1152062 w 2051041"/>
              <a:gd name="connsiteY911" fmla="*/ 490301 h 2084191"/>
              <a:gd name="connsiteX912" fmla="*/ 1196140 w 2051041"/>
              <a:gd name="connsiteY912" fmla="*/ 533835 h 2084191"/>
              <a:gd name="connsiteX913" fmla="*/ 1152606 w 2051041"/>
              <a:gd name="connsiteY913" fmla="*/ 577369 h 2084191"/>
              <a:gd name="connsiteX914" fmla="*/ 1109072 w 2051041"/>
              <a:gd name="connsiteY914" fmla="*/ 534379 h 2084191"/>
              <a:gd name="connsiteX915" fmla="*/ 1152062 w 2051041"/>
              <a:gd name="connsiteY915" fmla="*/ 490301 h 2084191"/>
              <a:gd name="connsiteX916" fmla="*/ 1316947 w 2051041"/>
              <a:gd name="connsiteY916" fmla="*/ 489212 h 2084191"/>
              <a:gd name="connsiteX917" fmla="*/ 1361570 w 2051041"/>
              <a:gd name="connsiteY917" fmla="*/ 534923 h 2084191"/>
              <a:gd name="connsiteX918" fmla="*/ 1315859 w 2051041"/>
              <a:gd name="connsiteY918" fmla="*/ 580090 h 2084191"/>
              <a:gd name="connsiteX919" fmla="*/ 1270693 w 2051041"/>
              <a:gd name="connsiteY919" fmla="*/ 533835 h 2084191"/>
              <a:gd name="connsiteX920" fmla="*/ 1316947 w 2051041"/>
              <a:gd name="connsiteY920" fmla="*/ 489212 h 2084191"/>
              <a:gd name="connsiteX921" fmla="*/ 1479112 w 2051041"/>
              <a:gd name="connsiteY921" fmla="*/ 484315 h 2084191"/>
              <a:gd name="connsiteX922" fmla="*/ 1528087 w 2051041"/>
              <a:gd name="connsiteY922" fmla="*/ 533835 h 2084191"/>
              <a:gd name="connsiteX923" fmla="*/ 1479656 w 2051041"/>
              <a:gd name="connsiteY923" fmla="*/ 582267 h 2084191"/>
              <a:gd name="connsiteX924" fmla="*/ 1431224 w 2051041"/>
              <a:gd name="connsiteY924" fmla="*/ 533835 h 2084191"/>
              <a:gd name="connsiteX925" fmla="*/ 1479112 w 2051041"/>
              <a:gd name="connsiteY925" fmla="*/ 484315 h 2084191"/>
              <a:gd name="connsiteX926" fmla="*/ 1643452 w 2051041"/>
              <a:gd name="connsiteY926" fmla="*/ 484314 h 2084191"/>
              <a:gd name="connsiteX927" fmla="*/ 1692973 w 2051041"/>
              <a:gd name="connsiteY927" fmla="*/ 534923 h 2084191"/>
              <a:gd name="connsiteX928" fmla="*/ 1641276 w 2051041"/>
              <a:gd name="connsiteY928" fmla="*/ 583898 h 2084191"/>
              <a:gd name="connsiteX929" fmla="*/ 1592300 w 2051041"/>
              <a:gd name="connsiteY929" fmla="*/ 532202 h 2084191"/>
              <a:gd name="connsiteX930" fmla="*/ 1643452 w 2051041"/>
              <a:gd name="connsiteY930" fmla="*/ 484314 h 2084191"/>
              <a:gd name="connsiteX931" fmla="*/ 1806162 w 2051041"/>
              <a:gd name="connsiteY931" fmla="*/ 481594 h 2084191"/>
              <a:gd name="connsiteX932" fmla="*/ 1857858 w 2051041"/>
              <a:gd name="connsiteY932" fmla="*/ 536011 h 2084191"/>
              <a:gd name="connsiteX933" fmla="*/ 1803441 w 2051041"/>
              <a:gd name="connsiteY933" fmla="*/ 586075 h 2084191"/>
              <a:gd name="connsiteX934" fmla="*/ 1753377 w 2051041"/>
              <a:gd name="connsiteY934" fmla="*/ 533290 h 2084191"/>
              <a:gd name="connsiteX935" fmla="*/ 1806162 w 2051041"/>
              <a:gd name="connsiteY935" fmla="*/ 481594 h 2084191"/>
              <a:gd name="connsiteX936" fmla="*/ 1968326 w 2051041"/>
              <a:gd name="connsiteY936" fmla="*/ 480505 h 2084191"/>
              <a:gd name="connsiteX937" fmla="*/ 2022200 w 2051041"/>
              <a:gd name="connsiteY937" fmla="*/ 534379 h 2084191"/>
              <a:gd name="connsiteX938" fmla="*/ 1969415 w 2051041"/>
              <a:gd name="connsiteY938" fmla="*/ 588252 h 2084191"/>
              <a:gd name="connsiteX939" fmla="*/ 1915541 w 2051041"/>
              <a:gd name="connsiteY939" fmla="*/ 534923 h 2084191"/>
              <a:gd name="connsiteX940" fmla="*/ 1968326 w 2051041"/>
              <a:gd name="connsiteY940" fmla="*/ 480505 h 2084191"/>
              <a:gd name="connsiteX941" fmla="*/ 91464 w 2051041"/>
              <a:gd name="connsiteY941" fmla="*/ 440780 h 2084191"/>
              <a:gd name="connsiteX942" fmla="*/ 102891 w 2051041"/>
              <a:gd name="connsiteY942" fmla="*/ 451664 h 2084191"/>
              <a:gd name="connsiteX943" fmla="*/ 92008 w 2051041"/>
              <a:gd name="connsiteY943" fmla="*/ 464179 h 2084191"/>
              <a:gd name="connsiteX944" fmla="*/ 80036 w 2051041"/>
              <a:gd name="connsiteY944" fmla="*/ 452752 h 2084191"/>
              <a:gd name="connsiteX945" fmla="*/ 91464 w 2051041"/>
              <a:gd name="connsiteY945" fmla="*/ 440780 h 2084191"/>
              <a:gd name="connsiteX946" fmla="*/ 254172 w 2051041"/>
              <a:gd name="connsiteY946" fmla="*/ 430441 h 2084191"/>
              <a:gd name="connsiteX947" fmla="*/ 275939 w 2051041"/>
              <a:gd name="connsiteY947" fmla="*/ 452208 h 2084191"/>
              <a:gd name="connsiteX948" fmla="*/ 254716 w 2051041"/>
              <a:gd name="connsiteY948" fmla="*/ 473975 h 2084191"/>
              <a:gd name="connsiteX949" fmla="*/ 232405 w 2051041"/>
              <a:gd name="connsiteY949" fmla="*/ 452752 h 2084191"/>
              <a:gd name="connsiteX950" fmla="*/ 254172 w 2051041"/>
              <a:gd name="connsiteY950" fmla="*/ 430441 h 2084191"/>
              <a:gd name="connsiteX951" fmla="*/ 417969 w 2051041"/>
              <a:gd name="connsiteY951" fmla="*/ 424999 h 2084191"/>
              <a:gd name="connsiteX952" fmla="*/ 444634 w 2051041"/>
              <a:gd name="connsiteY952" fmla="*/ 452752 h 2084191"/>
              <a:gd name="connsiteX953" fmla="*/ 417425 w 2051041"/>
              <a:gd name="connsiteY953" fmla="*/ 479417 h 2084191"/>
              <a:gd name="connsiteX954" fmla="*/ 390760 w 2051041"/>
              <a:gd name="connsiteY954" fmla="*/ 452208 h 2084191"/>
              <a:gd name="connsiteX955" fmla="*/ 417969 w 2051041"/>
              <a:gd name="connsiteY955" fmla="*/ 424999 h 2084191"/>
              <a:gd name="connsiteX956" fmla="*/ 580677 w 2051041"/>
              <a:gd name="connsiteY956" fmla="*/ 419558 h 2084191"/>
              <a:gd name="connsiteX957" fmla="*/ 612783 w 2051041"/>
              <a:gd name="connsiteY957" fmla="*/ 452208 h 2084191"/>
              <a:gd name="connsiteX958" fmla="*/ 581221 w 2051041"/>
              <a:gd name="connsiteY958" fmla="*/ 484315 h 2084191"/>
              <a:gd name="connsiteX959" fmla="*/ 549115 w 2051041"/>
              <a:gd name="connsiteY959" fmla="*/ 452208 h 2084191"/>
              <a:gd name="connsiteX960" fmla="*/ 580677 w 2051041"/>
              <a:gd name="connsiteY960" fmla="*/ 419558 h 2084191"/>
              <a:gd name="connsiteX961" fmla="*/ 743931 w 2051041"/>
              <a:gd name="connsiteY961" fmla="*/ 415748 h 2084191"/>
              <a:gd name="connsiteX962" fmla="*/ 780390 w 2051041"/>
              <a:gd name="connsiteY962" fmla="*/ 452208 h 2084191"/>
              <a:gd name="connsiteX963" fmla="*/ 744475 w 2051041"/>
              <a:gd name="connsiteY963" fmla="*/ 489212 h 2084191"/>
              <a:gd name="connsiteX964" fmla="*/ 708559 w 2051041"/>
              <a:gd name="connsiteY964" fmla="*/ 453840 h 2084191"/>
              <a:gd name="connsiteX965" fmla="*/ 743931 w 2051041"/>
              <a:gd name="connsiteY965" fmla="*/ 415748 h 2084191"/>
              <a:gd name="connsiteX966" fmla="*/ 908271 w 2051041"/>
              <a:gd name="connsiteY966" fmla="*/ 414116 h 2084191"/>
              <a:gd name="connsiteX967" fmla="*/ 946363 w 2051041"/>
              <a:gd name="connsiteY967" fmla="*/ 453296 h 2084191"/>
              <a:gd name="connsiteX968" fmla="*/ 906638 w 2051041"/>
              <a:gd name="connsiteY968" fmla="*/ 491933 h 2084191"/>
              <a:gd name="connsiteX969" fmla="*/ 868546 w 2051041"/>
              <a:gd name="connsiteY969" fmla="*/ 452208 h 2084191"/>
              <a:gd name="connsiteX970" fmla="*/ 908271 w 2051041"/>
              <a:gd name="connsiteY970" fmla="*/ 414116 h 2084191"/>
              <a:gd name="connsiteX971" fmla="*/ 1072068 w 2051041"/>
              <a:gd name="connsiteY971" fmla="*/ 409218 h 2084191"/>
              <a:gd name="connsiteX972" fmla="*/ 1113970 w 2051041"/>
              <a:gd name="connsiteY972" fmla="*/ 452752 h 2084191"/>
              <a:gd name="connsiteX973" fmla="*/ 1070436 w 2051041"/>
              <a:gd name="connsiteY973" fmla="*/ 495198 h 2084191"/>
              <a:gd name="connsiteX974" fmla="*/ 1028534 w 2051041"/>
              <a:gd name="connsiteY974" fmla="*/ 451120 h 2084191"/>
              <a:gd name="connsiteX975" fmla="*/ 1072068 w 2051041"/>
              <a:gd name="connsiteY975" fmla="*/ 409218 h 2084191"/>
              <a:gd name="connsiteX976" fmla="*/ 1235865 w 2051041"/>
              <a:gd name="connsiteY976" fmla="*/ 408130 h 2084191"/>
              <a:gd name="connsiteX977" fmla="*/ 1279400 w 2051041"/>
              <a:gd name="connsiteY977" fmla="*/ 453296 h 2084191"/>
              <a:gd name="connsiteX978" fmla="*/ 1233689 w 2051041"/>
              <a:gd name="connsiteY978" fmla="*/ 497374 h 2084191"/>
              <a:gd name="connsiteX979" fmla="*/ 1189611 w 2051041"/>
              <a:gd name="connsiteY979" fmla="*/ 451664 h 2084191"/>
              <a:gd name="connsiteX980" fmla="*/ 1235865 w 2051041"/>
              <a:gd name="connsiteY980" fmla="*/ 408130 h 2084191"/>
              <a:gd name="connsiteX981" fmla="*/ 1396941 w 2051041"/>
              <a:gd name="connsiteY981" fmla="*/ 403776 h 2084191"/>
              <a:gd name="connsiteX982" fmla="*/ 1446461 w 2051041"/>
              <a:gd name="connsiteY982" fmla="*/ 450575 h 2084191"/>
              <a:gd name="connsiteX983" fmla="*/ 1399118 w 2051041"/>
              <a:gd name="connsiteY983" fmla="*/ 500640 h 2084191"/>
              <a:gd name="connsiteX984" fmla="*/ 1349598 w 2051041"/>
              <a:gd name="connsiteY984" fmla="*/ 453296 h 2084191"/>
              <a:gd name="connsiteX985" fmla="*/ 1396941 w 2051041"/>
              <a:gd name="connsiteY985" fmla="*/ 403776 h 2084191"/>
              <a:gd name="connsiteX986" fmla="*/ 1560738 w 2051041"/>
              <a:gd name="connsiteY986" fmla="*/ 402144 h 2084191"/>
              <a:gd name="connsiteX987" fmla="*/ 1611347 w 2051041"/>
              <a:gd name="connsiteY987" fmla="*/ 453297 h 2084191"/>
              <a:gd name="connsiteX988" fmla="*/ 1560194 w 2051041"/>
              <a:gd name="connsiteY988" fmla="*/ 502272 h 2084191"/>
              <a:gd name="connsiteX989" fmla="*/ 1511218 w 2051041"/>
              <a:gd name="connsiteY989" fmla="*/ 451664 h 2084191"/>
              <a:gd name="connsiteX990" fmla="*/ 1560738 w 2051041"/>
              <a:gd name="connsiteY990" fmla="*/ 402144 h 2084191"/>
              <a:gd name="connsiteX991" fmla="*/ 1723991 w 2051041"/>
              <a:gd name="connsiteY991" fmla="*/ 399423 h 2084191"/>
              <a:gd name="connsiteX992" fmla="*/ 1776776 w 2051041"/>
              <a:gd name="connsiteY992" fmla="*/ 452752 h 2084191"/>
              <a:gd name="connsiteX993" fmla="*/ 1725079 w 2051041"/>
              <a:gd name="connsiteY993" fmla="*/ 504993 h 2084191"/>
              <a:gd name="connsiteX994" fmla="*/ 1671750 w 2051041"/>
              <a:gd name="connsiteY994" fmla="*/ 452752 h 2084191"/>
              <a:gd name="connsiteX995" fmla="*/ 1723991 w 2051041"/>
              <a:gd name="connsiteY995" fmla="*/ 399423 h 2084191"/>
              <a:gd name="connsiteX996" fmla="*/ 2051040 w 2051041"/>
              <a:gd name="connsiteY996" fmla="*/ 398335 h 2084191"/>
              <a:gd name="connsiteX997" fmla="*/ 2051041 w 2051041"/>
              <a:gd name="connsiteY997" fmla="*/ 398335 h 2084191"/>
              <a:gd name="connsiteX998" fmla="*/ 2051041 w 2051041"/>
              <a:gd name="connsiteY998" fmla="*/ 506936 h 2084191"/>
              <a:gd name="connsiteX999" fmla="*/ 2049952 w 2051041"/>
              <a:gd name="connsiteY999" fmla="*/ 507170 h 2084191"/>
              <a:gd name="connsiteX1000" fmla="*/ 1995534 w 2051041"/>
              <a:gd name="connsiteY1000" fmla="*/ 452208 h 2084191"/>
              <a:gd name="connsiteX1001" fmla="*/ 2051040 w 2051041"/>
              <a:gd name="connsiteY1001" fmla="*/ 398335 h 2084191"/>
              <a:gd name="connsiteX1002" fmla="*/ 1888332 w 2051041"/>
              <a:gd name="connsiteY1002" fmla="*/ 398335 h 2084191"/>
              <a:gd name="connsiteX1003" fmla="*/ 1941661 w 2051041"/>
              <a:gd name="connsiteY1003" fmla="*/ 452208 h 2084191"/>
              <a:gd name="connsiteX1004" fmla="*/ 1886699 w 2051041"/>
              <a:gd name="connsiteY1004" fmla="*/ 506082 h 2084191"/>
              <a:gd name="connsiteX1005" fmla="*/ 1833370 w 2051041"/>
              <a:gd name="connsiteY1005" fmla="*/ 452208 h 2084191"/>
              <a:gd name="connsiteX1006" fmla="*/ 1888332 w 2051041"/>
              <a:gd name="connsiteY1006" fmla="*/ 398335 h 2084191"/>
              <a:gd name="connsiteX1007" fmla="*/ 12014 w 2051041"/>
              <a:gd name="connsiteY1007" fmla="*/ 364052 h 2084191"/>
              <a:gd name="connsiteX1008" fmla="*/ 15823 w 2051041"/>
              <a:gd name="connsiteY1008" fmla="*/ 370038 h 2084191"/>
              <a:gd name="connsiteX1009" fmla="*/ 9293 w 2051041"/>
              <a:gd name="connsiteY1009" fmla="*/ 377656 h 2084191"/>
              <a:gd name="connsiteX1010" fmla="*/ 3307 w 2051041"/>
              <a:gd name="connsiteY1010" fmla="*/ 371126 h 2084191"/>
              <a:gd name="connsiteX1011" fmla="*/ 12014 w 2051041"/>
              <a:gd name="connsiteY1011" fmla="*/ 364052 h 2084191"/>
              <a:gd name="connsiteX1012" fmla="*/ 172545 w 2051041"/>
              <a:gd name="connsiteY1012" fmla="*/ 353713 h 2084191"/>
              <a:gd name="connsiteX1013" fmla="*/ 190503 w 2051041"/>
              <a:gd name="connsiteY1013" fmla="*/ 370582 h 2084191"/>
              <a:gd name="connsiteX1014" fmla="*/ 173090 w 2051041"/>
              <a:gd name="connsiteY1014" fmla="*/ 387996 h 2084191"/>
              <a:gd name="connsiteX1015" fmla="*/ 155676 w 2051041"/>
              <a:gd name="connsiteY1015" fmla="*/ 371126 h 2084191"/>
              <a:gd name="connsiteX1016" fmla="*/ 172545 w 2051041"/>
              <a:gd name="connsiteY1016" fmla="*/ 353713 h 2084191"/>
              <a:gd name="connsiteX1017" fmla="*/ 336886 w 2051041"/>
              <a:gd name="connsiteY1017" fmla="*/ 345550 h 2084191"/>
              <a:gd name="connsiteX1018" fmla="*/ 361374 w 2051041"/>
              <a:gd name="connsiteY1018" fmla="*/ 371670 h 2084191"/>
              <a:gd name="connsiteX1019" fmla="*/ 335798 w 2051041"/>
              <a:gd name="connsiteY1019" fmla="*/ 395070 h 2084191"/>
              <a:gd name="connsiteX1020" fmla="*/ 311854 w 2051041"/>
              <a:gd name="connsiteY1020" fmla="*/ 370038 h 2084191"/>
              <a:gd name="connsiteX1021" fmla="*/ 336886 w 2051041"/>
              <a:gd name="connsiteY1021" fmla="*/ 345550 h 2084191"/>
              <a:gd name="connsiteX1022" fmla="*/ 499596 w 2051041"/>
              <a:gd name="connsiteY1022" fmla="*/ 342284 h 2084191"/>
              <a:gd name="connsiteX1023" fmla="*/ 528437 w 2051041"/>
              <a:gd name="connsiteY1023" fmla="*/ 370582 h 2084191"/>
              <a:gd name="connsiteX1024" fmla="*/ 499051 w 2051041"/>
              <a:gd name="connsiteY1024" fmla="*/ 399423 h 2084191"/>
              <a:gd name="connsiteX1025" fmla="*/ 470210 w 2051041"/>
              <a:gd name="connsiteY1025" fmla="*/ 370037 h 2084191"/>
              <a:gd name="connsiteX1026" fmla="*/ 499596 w 2051041"/>
              <a:gd name="connsiteY1026" fmla="*/ 342284 h 2084191"/>
              <a:gd name="connsiteX1027" fmla="*/ 663392 w 2051041"/>
              <a:gd name="connsiteY1027" fmla="*/ 337387 h 2084191"/>
              <a:gd name="connsiteX1028" fmla="*/ 697131 w 2051041"/>
              <a:gd name="connsiteY1028" fmla="*/ 371126 h 2084191"/>
              <a:gd name="connsiteX1029" fmla="*/ 662304 w 2051041"/>
              <a:gd name="connsiteY1029" fmla="*/ 404321 h 2084191"/>
              <a:gd name="connsiteX1030" fmla="*/ 629109 w 2051041"/>
              <a:gd name="connsiteY1030" fmla="*/ 371126 h 2084191"/>
              <a:gd name="connsiteX1031" fmla="*/ 663392 w 2051041"/>
              <a:gd name="connsiteY1031" fmla="*/ 337387 h 2084191"/>
              <a:gd name="connsiteX1032" fmla="*/ 825556 w 2051041"/>
              <a:gd name="connsiteY1032" fmla="*/ 332489 h 2084191"/>
              <a:gd name="connsiteX1033" fmla="*/ 864737 w 2051041"/>
              <a:gd name="connsiteY1033" fmla="*/ 370037 h 2084191"/>
              <a:gd name="connsiteX1034" fmla="*/ 826645 w 2051041"/>
              <a:gd name="connsiteY1034" fmla="*/ 409218 h 2084191"/>
              <a:gd name="connsiteX1035" fmla="*/ 787464 w 2051041"/>
              <a:gd name="connsiteY1035" fmla="*/ 371126 h 2084191"/>
              <a:gd name="connsiteX1036" fmla="*/ 825556 w 2051041"/>
              <a:gd name="connsiteY1036" fmla="*/ 332489 h 2084191"/>
              <a:gd name="connsiteX1037" fmla="*/ 989898 w 2051041"/>
              <a:gd name="connsiteY1037" fmla="*/ 328680 h 2084191"/>
              <a:gd name="connsiteX1038" fmla="*/ 1031255 w 2051041"/>
              <a:gd name="connsiteY1038" fmla="*/ 371126 h 2084191"/>
              <a:gd name="connsiteX1039" fmla="*/ 989354 w 2051041"/>
              <a:gd name="connsiteY1039" fmla="*/ 413027 h 2084191"/>
              <a:gd name="connsiteX1040" fmla="*/ 947452 w 2051041"/>
              <a:gd name="connsiteY1040" fmla="*/ 370037 h 2084191"/>
              <a:gd name="connsiteX1041" fmla="*/ 989898 w 2051041"/>
              <a:gd name="connsiteY1041" fmla="*/ 328680 h 2084191"/>
              <a:gd name="connsiteX1042" fmla="*/ 1153150 w 2051041"/>
              <a:gd name="connsiteY1042" fmla="*/ 326504 h 2084191"/>
              <a:gd name="connsiteX1043" fmla="*/ 1197228 w 2051041"/>
              <a:gd name="connsiteY1043" fmla="*/ 370582 h 2084191"/>
              <a:gd name="connsiteX1044" fmla="*/ 1152606 w 2051041"/>
              <a:gd name="connsiteY1044" fmla="*/ 414661 h 2084191"/>
              <a:gd name="connsiteX1045" fmla="*/ 1108528 w 2051041"/>
              <a:gd name="connsiteY1045" fmla="*/ 370038 h 2084191"/>
              <a:gd name="connsiteX1046" fmla="*/ 1153150 w 2051041"/>
              <a:gd name="connsiteY1046" fmla="*/ 326504 h 2084191"/>
              <a:gd name="connsiteX1047" fmla="*/ 1317492 w 2051041"/>
              <a:gd name="connsiteY1047" fmla="*/ 323239 h 2084191"/>
              <a:gd name="connsiteX1048" fmla="*/ 1364835 w 2051041"/>
              <a:gd name="connsiteY1048" fmla="*/ 372215 h 2084191"/>
              <a:gd name="connsiteX1049" fmla="*/ 1314771 w 2051041"/>
              <a:gd name="connsiteY1049" fmla="*/ 419014 h 2084191"/>
              <a:gd name="connsiteX1050" fmla="*/ 1268516 w 2051041"/>
              <a:gd name="connsiteY1050" fmla="*/ 370582 h 2084191"/>
              <a:gd name="connsiteX1051" fmla="*/ 1317492 w 2051041"/>
              <a:gd name="connsiteY1051" fmla="*/ 323239 h 2084191"/>
              <a:gd name="connsiteX1052" fmla="*/ 1479112 w 2051041"/>
              <a:gd name="connsiteY1052" fmla="*/ 320517 h 2084191"/>
              <a:gd name="connsiteX1053" fmla="*/ 1529720 w 2051041"/>
              <a:gd name="connsiteY1053" fmla="*/ 371670 h 2084191"/>
              <a:gd name="connsiteX1054" fmla="*/ 1478568 w 2051041"/>
              <a:gd name="connsiteY1054" fmla="*/ 420101 h 2084191"/>
              <a:gd name="connsiteX1055" fmla="*/ 1429592 w 2051041"/>
              <a:gd name="connsiteY1055" fmla="*/ 370037 h 2084191"/>
              <a:gd name="connsiteX1056" fmla="*/ 1479112 w 2051041"/>
              <a:gd name="connsiteY1056" fmla="*/ 320517 h 2084191"/>
              <a:gd name="connsiteX1057" fmla="*/ 1642364 w 2051041"/>
              <a:gd name="connsiteY1057" fmla="*/ 318341 h 2084191"/>
              <a:gd name="connsiteX1058" fmla="*/ 1695694 w 2051041"/>
              <a:gd name="connsiteY1058" fmla="*/ 370582 h 2084191"/>
              <a:gd name="connsiteX1059" fmla="*/ 1643453 w 2051041"/>
              <a:gd name="connsiteY1059" fmla="*/ 424455 h 2084191"/>
              <a:gd name="connsiteX1060" fmla="*/ 1589035 w 2051041"/>
              <a:gd name="connsiteY1060" fmla="*/ 371670 h 2084191"/>
              <a:gd name="connsiteX1061" fmla="*/ 1642364 w 2051041"/>
              <a:gd name="connsiteY1061" fmla="*/ 318341 h 2084191"/>
              <a:gd name="connsiteX1062" fmla="*/ 90919 w 2051041"/>
              <a:gd name="connsiteY1062" fmla="*/ 273718 h 2084191"/>
              <a:gd name="connsiteX1063" fmla="*/ 106700 w 2051041"/>
              <a:gd name="connsiteY1063" fmla="*/ 288411 h 2084191"/>
              <a:gd name="connsiteX1064" fmla="*/ 91463 w 2051041"/>
              <a:gd name="connsiteY1064" fmla="*/ 303648 h 2084191"/>
              <a:gd name="connsiteX1065" fmla="*/ 76770 w 2051041"/>
              <a:gd name="connsiteY1065" fmla="*/ 288411 h 2084191"/>
              <a:gd name="connsiteX1066" fmla="*/ 90919 w 2051041"/>
              <a:gd name="connsiteY1066" fmla="*/ 273718 h 2084191"/>
              <a:gd name="connsiteX1067" fmla="*/ 254716 w 2051041"/>
              <a:gd name="connsiteY1067" fmla="*/ 267733 h 2084191"/>
              <a:gd name="connsiteX1068" fmla="*/ 276483 w 2051041"/>
              <a:gd name="connsiteY1068" fmla="*/ 288956 h 2084191"/>
              <a:gd name="connsiteX1069" fmla="*/ 254172 w 2051041"/>
              <a:gd name="connsiteY1069" fmla="*/ 311811 h 2084191"/>
              <a:gd name="connsiteX1070" fmla="*/ 232405 w 2051041"/>
              <a:gd name="connsiteY1070" fmla="*/ 289500 h 2084191"/>
              <a:gd name="connsiteX1071" fmla="*/ 254716 w 2051041"/>
              <a:gd name="connsiteY1071" fmla="*/ 267733 h 2084191"/>
              <a:gd name="connsiteX1072" fmla="*/ 1941117 w 2051041"/>
              <a:gd name="connsiteY1072" fmla="*/ 263202 h 2084191"/>
              <a:gd name="connsiteX1073" fmla="*/ 1936219 w 2051041"/>
              <a:gd name="connsiteY1073" fmla="*/ 266467 h 2084191"/>
              <a:gd name="connsiteX1074" fmla="*/ 1938396 w 2051041"/>
              <a:gd name="connsiteY1074" fmla="*/ 272453 h 2084191"/>
              <a:gd name="connsiteX1075" fmla="*/ 1932954 w 2051041"/>
              <a:gd name="connsiteY1075" fmla="*/ 325782 h 2084191"/>
              <a:gd name="connsiteX1076" fmla="*/ 1930777 w 2051041"/>
              <a:gd name="connsiteY1076" fmla="*/ 331224 h 2084191"/>
              <a:gd name="connsiteX1077" fmla="*/ 1936219 w 2051041"/>
              <a:gd name="connsiteY1077" fmla="*/ 330136 h 2084191"/>
              <a:gd name="connsiteX1078" fmla="*/ 1966693 w 2051041"/>
              <a:gd name="connsiteY1078" fmla="*/ 320340 h 2084191"/>
              <a:gd name="connsiteX1079" fmla="*/ 1998799 w 2051041"/>
              <a:gd name="connsiteY1079" fmla="*/ 328503 h 2084191"/>
              <a:gd name="connsiteX1080" fmla="*/ 2003153 w 2051041"/>
              <a:gd name="connsiteY1080" fmla="*/ 330136 h 2084191"/>
              <a:gd name="connsiteX1081" fmla="*/ 2001520 w 2051041"/>
              <a:gd name="connsiteY1081" fmla="*/ 324694 h 2084191"/>
              <a:gd name="connsiteX1082" fmla="*/ 1994446 w 2051041"/>
              <a:gd name="connsiteY1082" fmla="*/ 309457 h 2084191"/>
              <a:gd name="connsiteX1083" fmla="*/ 1998255 w 2051041"/>
              <a:gd name="connsiteY1083" fmla="*/ 267555 h 2084191"/>
              <a:gd name="connsiteX1084" fmla="*/ 2000976 w 2051041"/>
              <a:gd name="connsiteY1084" fmla="*/ 263746 h 2084191"/>
              <a:gd name="connsiteX1085" fmla="*/ 1995534 w 2051041"/>
              <a:gd name="connsiteY1085" fmla="*/ 263746 h 2084191"/>
              <a:gd name="connsiteX1086" fmla="*/ 1941117 w 2051041"/>
              <a:gd name="connsiteY1086" fmla="*/ 263202 h 2084191"/>
              <a:gd name="connsiteX1087" fmla="*/ 417425 w 2051041"/>
              <a:gd name="connsiteY1087" fmla="*/ 262291 h 2084191"/>
              <a:gd name="connsiteX1088" fmla="*/ 445178 w 2051041"/>
              <a:gd name="connsiteY1088" fmla="*/ 288956 h 2084191"/>
              <a:gd name="connsiteX1089" fmla="*/ 417969 w 2051041"/>
              <a:gd name="connsiteY1089" fmla="*/ 317253 h 2084191"/>
              <a:gd name="connsiteX1090" fmla="*/ 390216 w 2051041"/>
              <a:gd name="connsiteY1090" fmla="*/ 290044 h 2084191"/>
              <a:gd name="connsiteX1091" fmla="*/ 417425 w 2051041"/>
              <a:gd name="connsiteY1091" fmla="*/ 262291 h 2084191"/>
              <a:gd name="connsiteX1092" fmla="*/ 580678 w 2051041"/>
              <a:gd name="connsiteY1092" fmla="*/ 256304 h 2084191"/>
              <a:gd name="connsiteX1093" fmla="*/ 613872 w 2051041"/>
              <a:gd name="connsiteY1093" fmla="*/ 288955 h 2084191"/>
              <a:gd name="connsiteX1094" fmla="*/ 581222 w 2051041"/>
              <a:gd name="connsiteY1094" fmla="*/ 322150 h 2084191"/>
              <a:gd name="connsiteX1095" fmla="*/ 548027 w 2051041"/>
              <a:gd name="connsiteY1095" fmla="*/ 289499 h 2084191"/>
              <a:gd name="connsiteX1096" fmla="*/ 580678 w 2051041"/>
              <a:gd name="connsiteY1096" fmla="*/ 256304 h 2084191"/>
              <a:gd name="connsiteX1097" fmla="*/ 743930 w 2051041"/>
              <a:gd name="connsiteY1097" fmla="*/ 251951 h 2084191"/>
              <a:gd name="connsiteX1098" fmla="*/ 782022 w 2051041"/>
              <a:gd name="connsiteY1098" fmla="*/ 289499 h 2084191"/>
              <a:gd name="connsiteX1099" fmla="*/ 744474 w 2051041"/>
              <a:gd name="connsiteY1099" fmla="*/ 326503 h 2084191"/>
              <a:gd name="connsiteX1100" fmla="*/ 707470 w 2051041"/>
              <a:gd name="connsiteY1100" fmla="*/ 289499 h 2084191"/>
              <a:gd name="connsiteX1101" fmla="*/ 743930 w 2051041"/>
              <a:gd name="connsiteY1101" fmla="*/ 251951 h 2084191"/>
              <a:gd name="connsiteX1102" fmla="*/ 907183 w 2051041"/>
              <a:gd name="connsiteY1102" fmla="*/ 249775 h 2084191"/>
              <a:gd name="connsiteX1103" fmla="*/ 947452 w 2051041"/>
              <a:gd name="connsiteY1103" fmla="*/ 289500 h 2084191"/>
              <a:gd name="connsiteX1104" fmla="*/ 908271 w 2051041"/>
              <a:gd name="connsiteY1104" fmla="*/ 329225 h 2084191"/>
              <a:gd name="connsiteX1105" fmla="*/ 867458 w 2051041"/>
              <a:gd name="connsiteY1105" fmla="*/ 290044 h 2084191"/>
              <a:gd name="connsiteX1106" fmla="*/ 907183 w 2051041"/>
              <a:gd name="connsiteY1106" fmla="*/ 249775 h 2084191"/>
              <a:gd name="connsiteX1107" fmla="*/ 1070435 w 2051041"/>
              <a:gd name="connsiteY1107" fmla="*/ 245965 h 2084191"/>
              <a:gd name="connsiteX1108" fmla="*/ 1114513 w 2051041"/>
              <a:gd name="connsiteY1108" fmla="*/ 290043 h 2084191"/>
              <a:gd name="connsiteX1109" fmla="*/ 1069347 w 2051041"/>
              <a:gd name="connsiteY1109" fmla="*/ 333578 h 2084191"/>
              <a:gd name="connsiteX1110" fmla="*/ 1026357 w 2051041"/>
              <a:gd name="connsiteY1110" fmla="*/ 288955 h 2084191"/>
              <a:gd name="connsiteX1111" fmla="*/ 1070435 w 2051041"/>
              <a:gd name="connsiteY1111" fmla="*/ 245965 h 2084191"/>
              <a:gd name="connsiteX1112" fmla="*/ 1233689 w 2051041"/>
              <a:gd name="connsiteY1112" fmla="*/ 241613 h 2084191"/>
              <a:gd name="connsiteX1113" fmla="*/ 1282120 w 2051041"/>
              <a:gd name="connsiteY1113" fmla="*/ 288412 h 2084191"/>
              <a:gd name="connsiteX1114" fmla="*/ 1235321 w 2051041"/>
              <a:gd name="connsiteY1114" fmla="*/ 335755 h 2084191"/>
              <a:gd name="connsiteX1115" fmla="*/ 1187434 w 2051041"/>
              <a:gd name="connsiteY1115" fmla="*/ 289500 h 2084191"/>
              <a:gd name="connsiteX1116" fmla="*/ 1233689 w 2051041"/>
              <a:gd name="connsiteY1116" fmla="*/ 241613 h 2084191"/>
              <a:gd name="connsiteX1117" fmla="*/ 1397485 w 2051041"/>
              <a:gd name="connsiteY1117" fmla="*/ 238891 h 2084191"/>
              <a:gd name="connsiteX1118" fmla="*/ 1448094 w 2051041"/>
              <a:gd name="connsiteY1118" fmla="*/ 288955 h 2084191"/>
              <a:gd name="connsiteX1119" fmla="*/ 1398029 w 2051041"/>
              <a:gd name="connsiteY1119" fmla="*/ 338475 h 2084191"/>
              <a:gd name="connsiteX1120" fmla="*/ 1348509 w 2051041"/>
              <a:gd name="connsiteY1120" fmla="*/ 289499 h 2084191"/>
              <a:gd name="connsiteX1121" fmla="*/ 1397485 w 2051041"/>
              <a:gd name="connsiteY1121" fmla="*/ 238891 h 2084191"/>
              <a:gd name="connsiteX1122" fmla="*/ 1559650 w 2051041"/>
              <a:gd name="connsiteY1122" fmla="*/ 237258 h 2084191"/>
              <a:gd name="connsiteX1123" fmla="*/ 1613523 w 2051041"/>
              <a:gd name="connsiteY1123" fmla="*/ 288955 h 2084191"/>
              <a:gd name="connsiteX1124" fmla="*/ 1560738 w 2051041"/>
              <a:gd name="connsiteY1124" fmla="*/ 342829 h 2084191"/>
              <a:gd name="connsiteX1125" fmla="*/ 1507953 w 2051041"/>
              <a:gd name="connsiteY1125" fmla="*/ 289499 h 2084191"/>
              <a:gd name="connsiteX1126" fmla="*/ 1559650 w 2051041"/>
              <a:gd name="connsiteY1126" fmla="*/ 237258 h 2084191"/>
              <a:gd name="connsiteX1127" fmla="*/ 9837 w 2051041"/>
              <a:gd name="connsiteY1127" fmla="*/ 198078 h 2084191"/>
              <a:gd name="connsiteX1128" fmla="*/ 19632 w 2051041"/>
              <a:gd name="connsiteY1128" fmla="*/ 207873 h 2084191"/>
              <a:gd name="connsiteX1129" fmla="*/ 10381 w 2051041"/>
              <a:gd name="connsiteY1129" fmla="*/ 218213 h 2084191"/>
              <a:gd name="connsiteX1130" fmla="*/ 42 w 2051041"/>
              <a:gd name="connsiteY1130" fmla="*/ 207873 h 2084191"/>
              <a:gd name="connsiteX1131" fmla="*/ 9837 w 2051041"/>
              <a:gd name="connsiteY1131" fmla="*/ 198078 h 2084191"/>
              <a:gd name="connsiteX1132" fmla="*/ 173090 w 2051041"/>
              <a:gd name="connsiteY1132" fmla="*/ 187739 h 2084191"/>
              <a:gd name="connsiteX1133" fmla="*/ 192136 w 2051041"/>
              <a:gd name="connsiteY1133" fmla="*/ 207329 h 2084191"/>
              <a:gd name="connsiteX1134" fmla="*/ 172546 w 2051041"/>
              <a:gd name="connsiteY1134" fmla="*/ 227464 h 2084191"/>
              <a:gd name="connsiteX1135" fmla="*/ 154044 w 2051041"/>
              <a:gd name="connsiteY1135" fmla="*/ 208418 h 2084191"/>
              <a:gd name="connsiteX1136" fmla="*/ 173090 w 2051041"/>
              <a:gd name="connsiteY1136" fmla="*/ 187739 h 2084191"/>
              <a:gd name="connsiteX1137" fmla="*/ 336887 w 2051041"/>
              <a:gd name="connsiteY1137" fmla="*/ 182297 h 2084191"/>
              <a:gd name="connsiteX1138" fmla="*/ 363007 w 2051041"/>
              <a:gd name="connsiteY1138" fmla="*/ 207329 h 2084191"/>
              <a:gd name="connsiteX1139" fmla="*/ 336887 w 2051041"/>
              <a:gd name="connsiteY1139" fmla="*/ 233994 h 2084191"/>
              <a:gd name="connsiteX1140" fmla="*/ 310766 w 2051041"/>
              <a:gd name="connsiteY1140" fmla="*/ 208961 h 2084191"/>
              <a:gd name="connsiteX1141" fmla="*/ 336887 w 2051041"/>
              <a:gd name="connsiteY1141" fmla="*/ 182297 h 2084191"/>
              <a:gd name="connsiteX1142" fmla="*/ 1856225 w 2051041"/>
              <a:gd name="connsiteY1142" fmla="*/ 180487 h 2084191"/>
              <a:gd name="connsiteX1143" fmla="*/ 1855681 w 2051041"/>
              <a:gd name="connsiteY1143" fmla="*/ 185929 h 2084191"/>
              <a:gd name="connsiteX1144" fmla="*/ 1851872 w 2051041"/>
              <a:gd name="connsiteY1144" fmla="*/ 244700 h 2084191"/>
              <a:gd name="connsiteX1145" fmla="*/ 1851328 w 2051041"/>
              <a:gd name="connsiteY1145" fmla="*/ 247965 h 2084191"/>
              <a:gd name="connsiteX1146" fmla="*/ 1854593 w 2051041"/>
              <a:gd name="connsiteY1146" fmla="*/ 247421 h 2084191"/>
              <a:gd name="connsiteX1147" fmla="*/ 1899215 w 2051041"/>
              <a:gd name="connsiteY1147" fmla="*/ 238714 h 2084191"/>
              <a:gd name="connsiteX1148" fmla="*/ 1913908 w 2051041"/>
              <a:gd name="connsiteY1148" fmla="*/ 243067 h 2084191"/>
              <a:gd name="connsiteX1149" fmla="*/ 1918806 w 2051041"/>
              <a:gd name="connsiteY1149" fmla="*/ 242523 h 2084191"/>
              <a:gd name="connsiteX1150" fmla="*/ 1918261 w 2051041"/>
              <a:gd name="connsiteY1150" fmla="*/ 238170 h 2084191"/>
              <a:gd name="connsiteX1151" fmla="*/ 1917173 w 2051041"/>
              <a:gd name="connsiteY1151" fmla="*/ 185929 h 2084191"/>
              <a:gd name="connsiteX1152" fmla="*/ 1918261 w 2051041"/>
              <a:gd name="connsiteY1152" fmla="*/ 181576 h 2084191"/>
              <a:gd name="connsiteX1153" fmla="*/ 1913908 w 2051041"/>
              <a:gd name="connsiteY1153" fmla="*/ 182664 h 2084191"/>
              <a:gd name="connsiteX1154" fmla="*/ 1860579 w 2051041"/>
              <a:gd name="connsiteY1154" fmla="*/ 180487 h 2084191"/>
              <a:gd name="connsiteX1155" fmla="*/ 1856225 w 2051041"/>
              <a:gd name="connsiteY1155" fmla="*/ 180487 h 2084191"/>
              <a:gd name="connsiteX1156" fmla="*/ 499595 w 2051041"/>
              <a:gd name="connsiteY1156" fmla="*/ 175767 h 2084191"/>
              <a:gd name="connsiteX1157" fmla="*/ 531158 w 2051041"/>
              <a:gd name="connsiteY1157" fmla="*/ 207874 h 2084191"/>
              <a:gd name="connsiteX1158" fmla="*/ 498507 w 2051041"/>
              <a:gd name="connsiteY1158" fmla="*/ 238347 h 2084191"/>
              <a:gd name="connsiteX1159" fmla="*/ 468033 w 2051041"/>
              <a:gd name="connsiteY1159" fmla="*/ 207329 h 2084191"/>
              <a:gd name="connsiteX1160" fmla="*/ 499595 w 2051041"/>
              <a:gd name="connsiteY1160" fmla="*/ 175767 h 2084191"/>
              <a:gd name="connsiteX1161" fmla="*/ 662304 w 2051041"/>
              <a:gd name="connsiteY1161" fmla="*/ 173046 h 2084191"/>
              <a:gd name="connsiteX1162" fmla="*/ 697676 w 2051041"/>
              <a:gd name="connsiteY1162" fmla="*/ 207873 h 2084191"/>
              <a:gd name="connsiteX1163" fmla="*/ 662304 w 2051041"/>
              <a:gd name="connsiteY1163" fmla="*/ 242156 h 2084191"/>
              <a:gd name="connsiteX1164" fmla="*/ 628021 w 2051041"/>
              <a:gd name="connsiteY1164" fmla="*/ 207873 h 2084191"/>
              <a:gd name="connsiteX1165" fmla="*/ 662304 w 2051041"/>
              <a:gd name="connsiteY1165" fmla="*/ 173046 h 2084191"/>
              <a:gd name="connsiteX1166" fmla="*/ 826645 w 2051041"/>
              <a:gd name="connsiteY1166" fmla="*/ 168148 h 2084191"/>
              <a:gd name="connsiteX1167" fmla="*/ 864737 w 2051041"/>
              <a:gd name="connsiteY1167" fmla="*/ 207329 h 2084191"/>
              <a:gd name="connsiteX1168" fmla="*/ 826100 w 2051041"/>
              <a:gd name="connsiteY1168" fmla="*/ 247054 h 2084191"/>
              <a:gd name="connsiteX1169" fmla="*/ 787464 w 2051041"/>
              <a:gd name="connsiteY1169" fmla="*/ 207873 h 2084191"/>
              <a:gd name="connsiteX1170" fmla="*/ 826645 w 2051041"/>
              <a:gd name="connsiteY1170" fmla="*/ 168148 h 2084191"/>
              <a:gd name="connsiteX1171" fmla="*/ 987721 w 2051041"/>
              <a:gd name="connsiteY1171" fmla="*/ 164883 h 2084191"/>
              <a:gd name="connsiteX1172" fmla="*/ 1031799 w 2051041"/>
              <a:gd name="connsiteY1172" fmla="*/ 207329 h 2084191"/>
              <a:gd name="connsiteX1173" fmla="*/ 988809 w 2051041"/>
              <a:gd name="connsiteY1173" fmla="*/ 250319 h 2084191"/>
              <a:gd name="connsiteX1174" fmla="*/ 945819 w 2051041"/>
              <a:gd name="connsiteY1174" fmla="*/ 208417 h 2084191"/>
              <a:gd name="connsiteX1175" fmla="*/ 987721 w 2051041"/>
              <a:gd name="connsiteY1175" fmla="*/ 164883 h 2084191"/>
              <a:gd name="connsiteX1176" fmla="*/ 1153150 w 2051041"/>
              <a:gd name="connsiteY1176" fmla="*/ 162707 h 2084191"/>
              <a:gd name="connsiteX1177" fmla="*/ 1197772 w 2051041"/>
              <a:gd name="connsiteY1177" fmla="*/ 207874 h 2084191"/>
              <a:gd name="connsiteX1178" fmla="*/ 1151517 w 2051041"/>
              <a:gd name="connsiteY1178" fmla="*/ 253584 h 2084191"/>
              <a:gd name="connsiteX1179" fmla="*/ 1107439 w 2051041"/>
              <a:gd name="connsiteY1179" fmla="*/ 207329 h 2084191"/>
              <a:gd name="connsiteX1180" fmla="*/ 1153150 w 2051041"/>
              <a:gd name="connsiteY1180" fmla="*/ 162707 h 2084191"/>
              <a:gd name="connsiteX1181" fmla="*/ 1315315 w 2051041"/>
              <a:gd name="connsiteY1181" fmla="*/ 158353 h 2084191"/>
              <a:gd name="connsiteX1182" fmla="*/ 1365379 w 2051041"/>
              <a:gd name="connsiteY1182" fmla="*/ 206785 h 2084191"/>
              <a:gd name="connsiteX1183" fmla="*/ 1315859 w 2051041"/>
              <a:gd name="connsiteY1183" fmla="*/ 256305 h 2084191"/>
              <a:gd name="connsiteX1184" fmla="*/ 1266883 w 2051041"/>
              <a:gd name="connsiteY1184" fmla="*/ 207873 h 2084191"/>
              <a:gd name="connsiteX1185" fmla="*/ 1315315 w 2051041"/>
              <a:gd name="connsiteY1185" fmla="*/ 158353 h 2084191"/>
              <a:gd name="connsiteX1186" fmla="*/ 1478567 w 2051041"/>
              <a:gd name="connsiteY1186" fmla="*/ 156721 h 2084191"/>
              <a:gd name="connsiteX1187" fmla="*/ 1529720 w 2051041"/>
              <a:gd name="connsiteY1187" fmla="*/ 207329 h 2084191"/>
              <a:gd name="connsiteX1188" fmla="*/ 1478567 w 2051041"/>
              <a:gd name="connsiteY1188" fmla="*/ 258482 h 2084191"/>
              <a:gd name="connsiteX1189" fmla="*/ 1427959 w 2051041"/>
              <a:gd name="connsiteY1189" fmla="*/ 207874 h 2084191"/>
              <a:gd name="connsiteX1190" fmla="*/ 1478567 w 2051041"/>
              <a:gd name="connsiteY1190" fmla="*/ 156721 h 2084191"/>
              <a:gd name="connsiteX1191" fmla="*/ 1644541 w 2051041"/>
              <a:gd name="connsiteY1191" fmla="*/ 153456 h 2084191"/>
              <a:gd name="connsiteX1192" fmla="*/ 1697326 w 2051041"/>
              <a:gd name="connsiteY1192" fmla="*/ 209506 h 2084191"/>
              <a:gd name="connsiteX1193" fmla="*/ 1641276 w 2051041"/>
              <a:gd name="connsiteY1193" fmla="*/ 262835 h 2084191"/>
              <a:gd name="connsiteX1194" fmla="*/ 1587947 w 2051041"/>
              <a:gd name="connsiteY1194" fmla="*/ 206785 h 2084191"/>
              <a:gd name="connsiteX1195" fmla="*/ 1644541 w 2051041"/>
              <a:gd name="connsiteY1195" fmla="*/ 153456 h 2084191"/>
              <a:gd name="connsiteX1196" fmla="*/ 91463 w 2051041"/>
              <a:gd name="connsiteY1196" fmla="*/ 109922 h 2084191"/>
              <a:gd name="connsiteX1197" fmla="*/ 107244 w 2051041"/>
              <a:gd name="connsiteY1197" fmla="*/ 126247 h 2084191"/>
              <a:gd name="connsiteX1198" fmla="*/ 91463 w 2051041"/>
              <a:gd name="connsiteY1198" fmla="*/ 142028 h 2084191"/>
              <a:gd name="connsiteX1199" fmla="*/ 75682 w 2051041"/>
              <a:gd name="connsiteY1199" fmla="*/ 126247 h 2084191"/>
              <a:gd name="connsiteX1200" fmla="*/ 91463 w 2051041"/>
              <a:gd name="connsiteY1200" fmla="*/ 109922 h 2084191"/>
              <a:gd name="connsiteX1201" fmla="*/ 1942341 w 2051041"/>
              <a:gd name="connsiteY1201" fmla="*/ 104915 h 2084191"/>
              <a:gd name="connsiteX1202" fmla="*/ 1942205 w 2051041"/>
              <a:gd name="connsiteY1202" fmla="*/ 111377 h 2084191"/>
              <a:gd name="connsiteX1203" fmla="*/ 1946559 w 2051041"/>
              <a:gd name="connsiteY1203" fmla="*/ 131511 h 2084191"/>
              <a:gd name="connsiteX1204" fmla="*/ 1939484 w 2051041"/>
              <a:gd name="connsiteY1204" fmla="*/ 157088 h 2084191"/>
              <a:gd name="connsiteX1205" fmla="*/ 1941117 w 2051041"/>
              <a:gd name="connsiteY1205" fmla="*/ 160353 h 2084191"/>
              <a:gd name="connsiteX1206" fmla="*/ 1986828 w 2051041"/>
              <a:gd name="connsiteY1206" fmla="*/ 157088 h 2084191"/>
              <a:gd name="connsiteX1207" fmla="*/ 1987916 w 2051041"/>
              <a:gd name="connsiteY1207" fmla="*/ 157088 h 2084191"/>
              <a:gd name="connsiteX1208" fmla="*/ 1993902 w 2051041"/>
              <a:gd name="connsiteY1208" fmla="*/ 150013 h 2084191"/>
              <a:gd name="connsiteX1209" fmla="*/ 1993902 w 2051041"/>
              <a:gd name="connsiteY1209" fmla="*/ 109744 h 2084191"/>
              <a:gd name="connsiteX1210" fmla="*/ 1989004 w 2051041"/>
              <a:gd name="connsiteY1210" fmla="*/ 105391 h 2084191"/>
              <a:gd name="connsiteX1211" fmla="*/ 1948191 w 2051041"/>
              <a:gd name="connsiteY1211" fmla="*/ 105391 h 2084191"/>
              <a:gd name="connsiteX1212" fmla="*/ 1942341 w 2051041"/>
              <a:gd name="connsiteY1212" fmla="*/ 104915 h 2084191"/>
              <a:gd name="connsiteX1213" fmla="*/ 255804 w 2051041"/>
              <a:gd name="connsiteY1213" fmla="*/ 103392 h 2084191"/>
              <a:gd name="connsiteX1214" fmla="*/ 277571 w 2051041"/>
              <a:gd name="connsiteY1214" fmla="*/ 126791 h 2084191"/>
              <a:gd name="connsiteX1215" fmla="*/ 254172 w 2051041"/>
              <a:gd name="connsiteY1215" fmla="*/ 148014 h 2084191"/>
              <a:gd name="connsiteX1216" fmla="*/ 232405 w 2051041"/>
              <a:gd name="connsiteY1216" fmla="*/ 125159 h 2084191"/>
              <a:gd name="connsiteX1217" fmla="*/ 255804 w 2051041"/>
              <a:gd name="connsiteY1217" fmla="*/ 103392 h 2084191"/>
              <a:gd name="connsiteX1218" fmla="*/ 1773511 w 2051041"/>
              <a:gd name="connsiteY1218" fmla="*/ 99405 h 2084191"/>
              <a:gd name="connsiteX1219" fmla="*/ 1773511 w 2051041"/>
              <a:gd name="connsiteY1219" fmla="*/ 107023 h 2084191"/>
              <a:gd name="connsiteX1220" fmla="*/ 1780585 w 2051041"/>
              <a:gd name="connsiteY1220" fmla="*/ 130423 h 2084191"/>
              <a:gd name="connsiteX1221" fmla="*/ 1773511 w 2051041"/>
              <a:gd name="connsiteY1221" fmla="*/ 155999 h 2084191"/>
              <a:gd name="connsiteX1222" fmla="*/ 1774055 w 2051041"/>
              <a:gd name="connsiteY1222" fmla="*/ 161985 h 2084191"/>
              <a:gd name="connsiteX1223" fmla="*/ 1780041 w 2051041"/>
              <a:gd name="connsiteY1223" fmla="*/ 162529 h 2084191"/>
              <a:gd name="connsiteX1224" fmla="*/ 1811059 w 2051041"/>
              <a:gd name="connsiteY1224" fmla="*/ 157632 h 2084191"/>
              <a:gd name="connsiteX1225" fmla="*/ 1829561 w 2051041"/>
              <a:gd name="connsiteY1225" fmla="*/ 161985 h 2084191"/>
              <a:gd name="connsiteX1226" fmla="*/ 1836635 w 2051041"/>
              <a:gd name="connsiteY1226" fmla="*/ 161985 h 2084191"/>
              <a:gd name="connsiteX1227" fmla="*/ 1833914 w 2051041"/>
              <a:gd name="connsiteY1227" fmla="*/ 157088 h 2084191"/>
              <a:gd name="connsiteX1228" fmla="*/ 1834458 w 2051041"/>
              <a:gd name="connsiteY1228" fmla="*/ 104303 h 2084191"/>
              <a:gd name="connsiteX1229" fmla="*/ 1835547 w 2051041"/>
              <a:gd name="connsiteY1229" fmla="*/ 99405 h 2084191"/>
              <a:gd name="connsiteX1230" fmla="*/ 1831193 w 2051041"/>
              <a:gd name="connsiteY1230" fmla="*/ 101038 h 2084191"/>
              <a:gd name="connsiteX1231" fmla="*/ 1780041 w 2051041"/>
              <a:gd name="connsiteY1231" fmla="*/ 101582 h 2084191"/>
              <a:gd name="connsiteX1232" fmla="*/ 1773511 w 2051041"/>
              <a:gd name="connsiteY1232" fmla="*/ 99405 h 2084191"/>
              <a:gd name="connsiteX1233" fmla="*/ 417424 w 2051041"/>
              <a:gd name="connsiteY1233" fmla="*/ 97950 h 2084191"/>
              <a:gd name="connsiteX1234" fmla="*/ 445721 w 2051041"/>
              <a:gd name="connsiteY1234" fmla="*/ 126247 h 2084191"/>
              <a:gd name="connsiteX1235" fmla="*/ 417424 w 2051041"/>
              <a:gd name="connsiteY1235" fmla="*/ 153456 h 2084191"/>
              <a:gd name="connsiteX1236" fmla="*/ 390215 w 2051041"/>
              <a:gd name="connsiteY1236" fmla="*/ 125159 h 2084191"/>
              <a:gd name="connsiteX1237" fmla="*/ 417424 w 2051041"/>
              <a:gd name="connsiteY1237" fmla="*/ 97950 h 2084191"/>
              <a:gd name="connsiteX1238" fmla="*/ 580677 w 2051041"/>
              <a:gd name="connsiteY1238" fmla="*/ 92508 h 2084191"/>
              <a:gd name="connsiteX1239" fmla="*/ 614960 w 2051041"/>
              <a:gd name="connsiteY1239" fmla="*/ 125159 h 2084191"/>
              <a:gd name="connsiteX1240" fmla="*/ 581766 w 2051041"/>
              <a:gd name="connsiteY1240" fmla="*/ 158353 h 2084191"/>
              <a:gd name="connsiteX1241" fmla="*/ 548571 w 2051041"/>
              <a:gd name="connsiteY1241" fmla="*/ 125703 h 2084191"/>
              <a:gd name="connsiteX1242" fmla="*/ 580677 w 2051041"/>
              <a:gd name="connsiteY1242" fmla="*/ 92508 h 2084191"/>
              <a:gd name="connsiteX1243" fmla="*/ 745019 w 2051041"/>
              <a:gd name="connsiteY1243" fmla="*/ 88154 h 2084191"/>
              <a:gd name="connsiteX1244" fmla="*/ 782567 w 2051041"/>
              <a:gd name="connsiteY1244" fmla="*/ 126791 h 2084191"/>
              <a:gd name="connsiteX1245" fmla="*/ 743930 w 2051041"/>
              <a:gd name="connsiteY1245" fmla="*/ 164339 h 2084191"/>
              <a:gd name="connsiteX1246" fmla="*/ 706382 w 2051041"/>
              <a:gd name="connsiteY1246" fmla="*/ 125702 h 2084191"/>
              <a:gd name="connsiteX1247" fmla="*/ 745019 w 2051041"/>
              <a:gd name="connsiteY1247" fmla="*/ 88154 h 2084191"/>
              <a:gd name="connsiteX1248" fmla="*/ 1685898 w 2051041"/>
              <a:gd name="connsiteY1248" fmla="*/ 84712 h 2084191"/>
              <a:gd name="connsiteX1249" fmla="*/ 1685681 w 2051041"/>
              <a:gd name="connsiteY1249" fmla="*/ 85147 h 2084191"/>
              <a:gd name="connsiteX1250" fmla="*/ 1685354 w 2051041"/>
              <a:gd name="connsiteY1250" fmla="*/ 85256 h 2084191"/>
              <a:gd name="connsiteX1251" fmla="*/ 1685898 w 2051041"/>
              <a:gd name="connsiteY1251" fmla="*/ 84712 h 2084191"/>
              <a:gd name="connsiteX1252" fmla="*/ 907183 w 2051041"/>
              <a:gd name="connsiteY1252" fmla="*/ 84345 h 2084191"/>
              <a:gd name="connsiteX1253" fmla="*/ 934935 w 2051041"/>
              <a:gd name="connsiteY1253" fmla="*/ 95228 h 2084191"/>
              <a:gd name="connsiteX1254" fmla="*/ 949628 w 2051041"/>
              <a:gd name="connsiteY1254" fmla="*/ 125158 h 2084191"/>
              <a:gd name="connsiteX1255" fmla="*/ 908271 w 2051041"/>
              <a:gd name="connsiteY1255" fmla="*/ 167060 h 2084191"/>
              <a:gd name="connsiteX1256" fmla="*/ 866369 w 2051041"/>
              <a:gd name="connsiteY1256" fmla="*/ 125702 h 2084191"/>
              <a:gd name="connsiteX1257" fmla="*/ 907183 w 2051041"/>
              <a:gd name="connsiteY1257" fmla="*/ 84345 h 2084191"/>
              <a:gd name="connsiteX1258" fmla="*/ 1070979 w 2051041"/>
              <a:gd name="connsiteY1258" fmla="*/ 82169 h 2084191"/>
              <a:gd name="connsiteX1259" fmla="*/ 1115602 w 2051041"/>
              <a:gd name="connsiteY1259" fmla="*/ 126247 h 2084191"/>
              <a:gd name="connsiteX1260" fmla="*/ 1071524 w 2051041"/>
              <a:gd name="connsiteY1260" fmla="*/ 170325 h 2084191"/>
              <a:gd name="connsiteX1261" fmla="*/ 1026357 w 2051041"/>
              <a:gd name="connsiteY1261" fmla="*/ 125703 h 2084191"/>
              <a:gd name="connsiteX1262" fmla="*/ 1070979 w 2051041"/>
              <a:gd name="connsiteY1262" fmla="*/ 82169 h 2084191"/>
              <a:gd name="connsiteX1263" fmla="*/ 1684811 w 2051041"/>
              <a:gd name="connsiteY1263" fmla="*/ 82168 h 2084191"/>
              <a:gd name="connsiteX1264" fmla="*/ 1684266 w 2051041"/>
              <a:gd name="connsiteY1264" fmla="*/ 82713 h 2084191"/>
              <a:gd name="connsiteX1265" fmla="*/ 1684469 w 2051041"/>
              <a:gd name="connsiteY1265" fmla="*/ 82365 h 2084191"/>
              <a:gd name="connsiteX1266" fmla="*/ 1234777 w 2051041"/>
              <a:gd name="connsiteY1266" fmla="*/ 78360 h 2084191"/>
              <a:gd name="connsiteX1267" fmla="*/ 1282664 w 2051041"/>
              <a:gd name="connsiteY1267" fmla="*/ 126791 h 2084191"/>
              <a:gd name="connsiteX1268" fmla="*/ 1234232 w 2051041"/>
              <a:gd name="connsiteY1268" fmla="*/ 174135 h 2084191"/>
              <a:gd name="connsiteX1269" fmla="*/ 1186889 w 2051041"/>
              <a:gd name="connsiteY1269" fmla="*/ 126791 h 2084191"/>
              <a:gd name="connsiteX1270" fmla="*/ 1234777 w 2051041"/>
              <a:gd name="connsiteY1270" fmla="*/ 78360 h 2084191"/>
              <a:gd name="connsiteX1271" fmla="*/ 1398574 w 2051041"/>
              <a:gd name="connsiteY1271" fmla="*/ 76182 h 2084191"/>
              <a:gd name="connsiteX1272" fmla="*/ 1448094 w 2051041"/>
              <a:gd name="connsiteY1272" fmla="*/ 127335 h 2084191"/>
              <a:gd name="connsiteX1273" fmla="*/ 1396941 w 2051041"/>
              <a:gd name="connsiteY1273" fmla="*/ 175766 h 2084191"/>
              <a:gd name="connsiteX1274" fmla="*/ 1347421 w 2051041"/>
              <a:gd name="connsiteY1274" fmla="*/ 125702 h 2084191"/>
              <a:gd name="connsiteX1275" fmla="*/ 1398574 w 2051041"/>
              <a:gd name="connsiteY1275" fmla="*/ 76182 h 2084191"/>
              <a:gd name="connsiteX1276" fmla="*/ 1561282 w 2051041"/>
              <a:gd name="connsiteY1276" fmla="*/ 72373 h 2084191"/>
              <a:gd name="connsiteX1277" fmla="*/ 1614611 w 2051041"/>
              <a:gd name="connsiteY1277" fmla="*/ 126247 h 2084191"/>
              <a:gd name="connsiteX1278" fmla="*/ 1560738 w 2051041"/>
              <a:gd name="connsiteY1278" fmla="*/ 179576 h 2084191"/>
              <a:gd name="connsiteX1279" fmla="*/ 1507409 w 2051041"/>
              <a:gd name="connsiteY1279" fmla="*/ 126247 h 2084191"/>
              <a:gd name="connsiteX1280" fmla="*/ 1561282 w 2051041"/>
              <a:gd name="connsiteY1280" fmla="*/ 72373 h 2084191"/>
              <a:gd name="connsiteX1281" fmla="*/ 10381 w 2051041"/>
              <a:gd name="connsiteY1281" fmla="*/ 33737 h 2084191"/>
              <a:gd name="connsiteX1282" fmla="*/ 20720 w 2051041"/>
              <a:gd name="connsiteY1282" fmla="*/ 45165 h 2084191"/>
              <a:gd name="connsiteX1283" fmla="*/ 9292 w 2051041"/>
              <a:gd name="connsiteY1283" fmla="*/ 54960 h 2084191"/>
              <a:gd name="connsiteX1284" fmla="*/ 41 w 2051041"/>
              <a:gd name="connsiteY1284" fmla="*/ 44621 h 2084191"/>
              <a:gd name="connsiteX1285" fmla="*/ 10381 w 2051041"/>
              <a:gd name="connsiteY1285" fmla="*/ 33737 h 2084191"/>
              <a:gd name="connsiteX1286" fmla="*/ 172546 w 2051041"/>
              <a:gd name="connsiteY1286" fmla="*/ 23942 h 2084191"/>
              <a:gd name="connsiteX1287" fmla="*/ 193224 w 2051041"/>
              <a:gd name="connsiteY1287" fmla="*/ 44621 h 2084191"/>
              <a:gd name="connsiteX1288" fmla="*/ 173090 w 2051041"/>
              <a:gd name="connsiteY1288" fmla="*/ 64755 h 2084191"/>
              <a:gd name="connsiteX1289" fmla="*/ 152411 w 2051041"/>
              <a:gd name="connsiteY1289" fmla="*/ 44621 h 2084191"/>
              <a:gd name="connsiteX1290" fmla="*/ 172546 w 2051041"/>
              <a:gd name="connsiteY1290" fmla="*/ 23942 h 2084191"/>
              <a:gd name="connsiteX1291" fmla="*/ 1861123 w 2051041"/>
              <a:gd name="connsiteY1291" fmla="*/ 22132 h 2084191"/>
              <a:gd name="connsiteX1292" fmla="*/ 1861123 w 2051041"/>
              <a:gd name="connsiteY1292" fmla="*/ 35737 h 2084191"/>
              <a:gd name="connsiteX1293" fmla="*/ 1861123 w 2051041"/>
              <a:gd name="connsiteY1293" fmla="*/ 61313 h 2084191"/>
              <a:gd name="connsiteX1294" fmla="*/ 1858946 w 2051041"/>
              <a:gd name="connsiteY1294" fmla="*/ 72740 h 2084191"/>
              <a:gd name="connsiteX1295" fmla="*/ 1866021 w 2051041"/>
              <a:gd name="connsiteY1295" fmla="*/ 76550 h 2084191"/>
              <a:gd name="connsiteX1296" fmla="*/ 1873639 w 2051041"/>
              <a:gd name="connsiteY1296" fmla="*/ 74917 h 2084191"/>
              <a:gd name="connsiteX1297" fmla="*/ 1900304 w 2051041"/>
              <a:gd name="connsiteY1297" fmla="*/ 74373 h 2084191"/>
              <a:gd name="connsiteX1298" fmla="*/ 1907922 w 2051041"/>
              <a:gd name="connsiteY1298" fmla="*/ 76006 h 2084191"/>
              <a:gd name="connsiteX1299" fmla="*/ 1912820 w 2051041"/>
              <a:gd name="connsiteY1299" fmla="*/ 70020 h 2084191"/>
              <a:gd name="connsiteX1300" fmla="*/ 1912820 w 2051041"/>
              <a:gd name="connsiteY1300" fmla="*/ 27030 h 2084191"/>
              <a:gd name="connsiteX1301" fmla="*/ 1908466 w 2051041"/>
              <a:gd name="connsiteY1301" fmla="*/ 22132 h 2084191"/>
              <a:gd name="connsiteX1302" fmla="*/ 1902480 w 2051041"/>
              <a:gd name="connsiteY1302" fmla="*/ 24309 h 2084191"/>
              <a:gd name="connsiteX1303" fmla="*/ 1873095 w 2051041"/>
              <a:gd name="connsiteY1303" fmla="*/ 24309 h 2084191"/>
              <a:gd name="connsiteX1304" fmla="*/ 1861123 w 2051041"/>
              <a:gd name="connsiteY1304" fmla="*/ 22132 h 2084191"/>
              <a:gd name="connsiteX1305" fmla="*/ 336886 w 2051041"/>
              <a:gd name="connsiteY1305" fmla="*/ 17412 h 2084191"/>
              <a:gd name="connsiteX1306" fmla="*/ 363007 w 2051041"/>
              <a:gd name="connsiteY1306" fmla="*/ 44077 h 2084191"/>
              <a:gd name="connsiteX1307" fmla="*/ 337431 w 2051041"/>
              <a:gd name="connsiteY1307" fmla="*/ 71285 h 2084191"/>
              <a:gd name="connsiteX1308" fmla="*/ 310222 w 2051041"/>
              <a:gd name="connsiteY1308" fmla="*/ 45165 h 2084191"/>
              <a:gd name="connsiteX1309" fmla="*/ 336886 w 2051041"/>
              <a:gd name="connsiteY1309" fmla="*/ 17412 h 2084191"/>
              <a:gd name="connsiteX1310" fmla="*/ 498507 w 2051041"/>
              <a:gd name="connsiteY1310" fmla="*/ 13059 h 2084191"/>
              <a:gd name="connsiteX1311" fmla="*/ 531702 w 2051041"/>
              <a:gd name="connsiteY1311" fmla="*/ 44621 h 2084191"/>
              <a:gd name="connsiteX1312" fmla="*/ 499595 w 2051041"/>
              <a:gd name="connsiteY1312" fmla="*/ 76727 h 2084191"/>
              <a:gd name="connsiteX1313" fmla="*/ 467489 w 2051041"/>
              <a:gd name="connsiteY1313" fmla="*/ 45165 h 2084191"/>
              <a:gd name="connsiteX1314" fmla="*/ 498507 w 2051041"/>
              <a:gd name="connsiteY1314" fmla="*/ 13059 h 2084191"/>
              <a:gd name="connsiteX1315" fmla="*/ 662303 w 2051041"/>
              <a:gd name="connsiteY1315" fmla="*/ 7616 h 2084191"/>
              <a:gd name="connsiteX1316" fmla="*/ 698763 w 2051041"/>
              <a:gd name="connsiteY1316" fmla="*/ 44076 h 2084191"/>
              <a:gd name="connsiteX1317" fmla="*/ 662303 w 2051041"/>
              <a:gd name="connsiteY1317" fmla="*/ 81080 h 2084191"/>
              <a:gd name="connsiteX1318" fmla="*/ 626932 w 2051041"/>
              <a:gd name="connsiteY1318" fmla="*/ 44076 h 2084191"/>
              <a:gd name="connsiteX1319" fmla="*/ 662303 w 2051041"/>
              <a:gd name="connsiteY1319" fmla="*/ 7616 h 2084191"/>
              <a:gd name="connsiteX1320" fmla="*/ 825557 w 2051041"/>
              <a:gd name="connsiteY1320" fmla="*/ 5440 h 2084191"/>
              <a:gd name="connsiteX1321" fmla="*/ 865281 w 2051041"/>
              <a:gd name="connsiteY1321" fmla="*/ 44621 h 2084191"/>
              <a:gd name="connsiteX1322" fmla="*/ 826101 w 2051041"/>
              <a:gd name="connsiteY1322" fmla="*/ 83257 h 2084191"/>
              <a:gd name="connsiteX1323" fmla="*/ 786920 w 2051041"/>
              <a:gd name="connsiteY1323" fmla="*/ 44621 h 2084191"/>
              <a:gd name="connsiteX1324" fmla="*/ 825557 w 2051041"/>
              <a:gd name="connsiteY1324" fmla="*/ 5440 h 2084191"/>
              <a:gd name="connsiteX1325" fmla="*/ 989353 w 2051041"/>
              <a:gd name="connsiteY1325" fmla="*/ 1086 h 2084191"/>
              <a:gd name="connsiteX1326" fmla="*/ 1032343 w 2051041"/>
              <a:gd name="connsiteY1326" fmla="*/ 43532 h 2084191"/>
              <a:gd name="connsiteX1327" fmla="*/ 989897 w 2051041"/>
              <a:gd name="connsiteY1327" fmla="*/ 87610 h 2084191"/>
              <a:gd name="connsiteX1328" fmla="*/ 945819 w 2051041"/>
              <a:gd name="connsiteY1328" fmla="*/ 44620 h 2084191"/>
              <a:gd name="connsiteX1329" fmla="*/ 989353 w 2051041"/>
              <a:gd name="connsiteY1329" fmla="*/ 1086 h 2084191"/>
              <a:gd name="connsiteX1330" fmla="*/ 1614056 w 2051041"/>
              <a:gd name="connsiteY1330" fmla="*/ 0 h 2084191"/>
              <a:gd name="connsiteX1331" fmla="*/ 1675529 w 2051041"/>
              <a:gd name="connsiteY1331" fmla="*/ 0 h 2084191"/>
              <a:gd name="connsiteX1332" fmla="*/ 1682905 w 2051041"/>
              <a:gd name="connsiteY1332" fmla="*/ 4720 h 2084191"/>
              <a:gd name="connsiteX1333" fmla="*/ 1933639 w 2051041"/>
              <a:gd name="connsiteY1333" fmla="*/ 4720 h 2084191"/>
              <a:gd name="connsiteX1334" fmla="*/ 2016655 w 2051041"/>
              <a:gd name="connsiteY1334" fmla="*/ 39107 h 2084191"/>
              <a:gd name="connsiteX1335" fmla="*/ 2028934 w 2051041"/>
              <a:gd name="connsiteY1335" fmla="*/ 57318 h 2084191"/>
              <a:gd name="connsiteX1336" fmla="*/ 2026008 w 2051041"/>
              <a:gd name="connsiteY1336" fmla="*/ 71108 h 2084191"/>
              <a:gd name="connsiteX1337" fmla="*/ 2030906 w 2051041"/>
              <a:gd name="connsiteY1337" fmla="*/ 75461 h 2084191"/>
              <a:gd name="connsiteX1338" fmla="*/ 2039929 w 2051041"/>
              <a:gd name="connsiteY1338" fmla="*/ 73627 h 2084191"/>
              <a:gd name="connsiteX1339" fmla="*/ 2041815 w 2051041"/>
              <a:gd name="connsiteY1339" fmla="*/ 76424 h 2084191"/>
              <a:gd name="connsiteX1340" fmla="*/ 2051041 w 2051041"/>
              <a:gd name="connsiteY1340" fmla="*/ 122122 h 2084191"/>
              <a:gd name="connsiteX1341" fmla="*/ 2051041 w 2051041"/>
              <a:gd name="connsiteY1341" fmla="*/ 186473 h 2084191"/>
              <a:gd name="connsiteX1342" fmla="*/ 2029818 w 2051041"/>
              <a:gd name="connsiteY1342" fmla="*/ 186473 h 2084191"/>
              <a:gd name="connsiteX1343" fmla="*/ 2023287 w 2051041"/>
              <a:gd name="connsiteY1343" fmla="*/ 192459 h 2084191"/>
              <a:gd name="connsiteX1344" fmla="*/ 2023832 w 2051041"/>
              <a:gd name="connsiteY1344" fmla="*/ 196268 h 2084191"/>
              <a:gd name="connsiteX1345" fmla="*/ 2019478 w 2051041"/>
              <a:gd name="connsiteY1345" fmla="*/ 239258 h 2084191"/>
              <a:gd name="connsiteX1346" fmla="*/ 2020022 w 2051041"/>
              <a:gd name="connsiteY1346" fmla="*/ 242523 h 2084191"/>
              <a:gd name="connsiteX1347" fmla="*/ 2023287 w 2051041"/>
              <a:gd name="connsiteY1347" fmla="*/ 243067 h 2084191"/>
              <a:gd name="connsiteX1348" fmla="*/ 2050224 w 2051041"/>
              <a:gd name="connsiteY1348" fmla="*/ 237150 h 2084191"/>
              <a:gd name="connsiteX1349" fmla="*/ 2051041 w 2051041"/>
              <a:gd name="connsiteY1349" fmla="*/ 237329 h 2084191"/>
              <a:gd name="connsiteX1350" fmla="*/ 2051041 w 2051041"/>
              <a:gd name="connsiteY1350" fmla="*/ 348996 h 2084191"/>
              <a:gd name="connsiteX1351" fmla="*/ 2036552 w 2051041"/>
              <a:gd name="connsiteY1351" fmla="*/ 347754 h 2084191"/>
              <a:gd name="connsiteX1352" fmla="*/ 2021111 w 2051041"/>
              <a:gd name="connsiteY1352" fmla="*/ 341019 h 2084191"/>
              <a:gd name="connsiteX1353" fmla="*/ 2016757 w 2051041"/>
              <a:gd name="connsiteY1353" fmla="*/ 338842 h 2084191"/>
              <a:gd name="connsiteX1354" fmla="*/ 2017301 w 2051041"/>
              <a:gd name="connsiteY1354" fmla="*/ 344284 h 2084191"/>
              <a:gd name="connsiteX1355" fmla="*/ 2025464 w 2051041"/>
              <a:gd name="connsiteY1355" fmla="*/ 376391 h 2084191"/>
              <a:gd name="connsiteX1356" fmla="*/ 1994446 w 2051041"/>
              <a:gd name="connsiteY1356" fmla="*/ 424278 h 2084191"/>
              <a:gd name="connsiteX1357" fmla="*/ 1933498 w 2051041"/>
              <a:gd name="connsiteY1357" fmla="*/ 416115 h 2084191"/>
              <a:gd name="connsiteX1358" fmla="*/ 1920438 w 2051041"/>
              <a:gd name="connsiteY1358" fmla="*/ 352447 h 2084191"/>
              <a:gd name="connsiteX1359" fmla="*/ 1925336 w 2051041"/>
              <a:gd name="connsiteY1359" fmla="*/ 338298 h 2084191"/>
              <a:gd name="connsiteX1360" fmla="*/ 1911731 w 2051041"/>
              <a:gd name="connsiteY1360" fmla="*/ 343196 h 2084191"/>
              <a:gd name="connsiteX1361" fmla="*/ 1898671 w 2051041"/>
              <a:gd name="connsiteY1361" fmla="*/ 347005 h 2084191"/>
              <a:gd name="connsiteX1362" fmla="*/ 1854593 w 2051041"/>
              <a:gd name="connsiteY1362" fmla="*/ 336666 h 2084191"/>
              <a:gd name="connsiteX1363" fmla="*/ 1847690 w 2051041"/>
              <a:gd name="connsiteY1363" fmla="*/ 333480 h 2084191"/>
              <a:gd name="connsiteX1364" fmla="*/ 1852961 w 2051041"/>
              <a:gd name="connsiteY1364" fmla="*/ 344461 h 2084191"/>
              <a:gd name="connsiteX1365" fmla="*/ 1826840 w 2051041"/>
              <a:gd name="connsiteY1365" fmla="*/ 420646 h 2084191"/>
              <a:gd name="connsiteX1366" fmla="*/ 1765893 w 2051041"/>
              <a:gd name="connsiteY1366" fmla="*/ 408130 h 2084191"/>
              <a:gd name="connsiteX1367" fmla="*/ 1759362 w 2051041"/>
              <a:gd name="connsiteY1367" fmla="*/ 342829 h 2084191"/>
              <a:gd name="connsiteX1368" fmla="*/ 1815991 w 2051041"/>
              <a:gd name="connsiteY1368" fmla="*/ 317193 h 2084191"/>
              <a:gd name="connsiteX1369" fmla="*/ 1834459 w 2051041"/>
              <a:gd name="connsiteY1369" fmla="*/ 325415 h 2084191"/>
              <a:gd name="connsiteX1370" fmla="*/ 1845023 w 2051041"/>
              <a:gd name="connsiteY1370" fmla="*/ 330169 h 2084191"/>
              <a:gd name="connsiteX1371" fmla="*/ 1840444 w 2051041"/>
              <a:gd name="connsiteY1371" fmla="*/ 321429 h 2084191"/>
              <a:gd name="connsiteX1372" fmla="*/ 1834458 w 2051041"/>
              <a:gd name="connsiteY1372" fmla="*/ 275174 h 2084191"/>
              <a:gd name="connsiteX1373" fmla="*/ 1840988 w 2051041"/>
              <a:gd name="connsiteY1373" fmla="*/ 259937 h 2084191"/>
              <a:gd name="connsiteX1374" fmla="*/ 1842077 w 2051041"/>
              <a:gd name="connsiteY1374" fmla="*/ 255584 h 2084191"/>
              <a:gd name="connsiteX1375" fmla="*/ 1837723 w 2051041"/>
              <a:gd name="connsiteY1375" fmla="*/ 257216 h 2084191"/>
              <a:gd name="connsiteX1376" fmla="*/ 1817589 w 2051041"/>
              <a:gd name="connsiteY1376" fmla="*/ 264834 h 2084191"/>
              <a:gd name="connsiteX1377" fmla="*/ 1768069 w 2051041"/>
              <a:gd name="connsiteY1377" fmla="*/ 251774 h 2084191"/>
              <a:gd name="connsiteX1378" fmla="*/ 1764740 w 2051041"/>
              <a:gd name="connsiteY1378" fmla="*/ 250110 h 2084191"/>
              <a:gd name="connsiteX1379" fmla="*/ 1773510 w 2051041"/>
              <a:gd name="connsiteY1379" fmla="*/ 267189 h 2084191"/>
              <a:gd name="connsiteX1380" fmla="*/ 1750655 w 2051041"/>
              <a:gd name="connsiteY1380" fmla="*/ 336843 h 2084191"/>
              <a:gd name="connsiteX1381" fmla="*/ 1673926 w 2051041"/>
              <a:gd name="connsiteY1381" fmla="*/ 310723 h 2084191"/>
              <a:gd name="connsiteX1382" fmla="*/ 1681545 w 2051041"/>
              <a:gd name="connsiteY1382" fmla="*/ 254673 h 2084191"/>
              <a:gd name="connsiteX1383" fmla="*/ 1733786 w 2051041"/>
              <a:gd name="connsiteY1383" fmla="*/ 235083 h 2084191"/>
              <a:gd name="connsiteX1384" fmla="*/ 1751743 w 2051041"/>
              <a:gd name="connsiteY1384" fmla="*/ 242157 h 2084191"/>
              <a:gd name="connsiteX1385" fmla="*/ 1762506 w 2051041"/>
              <a:gd name="connsiteY1385" fmla="*/ 246769 h 2084191"/>
              <a:gd name="connsiteX1386" fmla="*/ 1757185 w 2051041"/>
              <a:gd name="connsiteY1386" fmla="*/ 236537 h 2084191"/>
              <a:gd name="connsiteX1387" fmla="*/ 1756097 w 2051041"/>
              <a:gd name="connsiteY1387" fmla="*/ 185929 h 2084191"/>
              <a:gd name="connsiteX1388" fmla="*/ 1757185 w 2051041"/>
              <a:gd name="connsiteY1388" fmla="*/ 177766 h 2084191"/>
              <a:gd name="connsiteX1389" fmla="*/ 1749023 w 2051041"/>
              <a:gd name="connsiteY1389" fmla="*/ 178311 h 2084191"/>
              <a:gd name="connsiteX1390" fmla="*/ 1676103 w 2051041"/>
              <a:gd name="connsiteY1390" fmla="*/ 154911 h 2084191"/>
              <a:gd name="connsiteX1391" fmla="*/ 1681001 w 2051041"/>
              <a:gd name="connsiteY1391" fmla="*/ 94507 h 2084191"/>
              <a:gd name="connsiteX1392" fmla="*/ 1685681 w 2051041"/>
              <a:gd name="connsiteY1392" fmla="*/ 85147 h 2084191"/>
              <a:gd name="connsiteX1393" fmla="*/ 1693517 w 2051041"/>
              <a:gd name="connsiteY1393" fmla="*/ 82536 h 2084191"/>
              <a:gd name="connsiteX1394" fmla="*/ 1747934 w 2051041"/>
              <a:gd name="connsiteY1394" fmla="*/ 77638 h 2084191"/>
              <a:gd name="connsiteX1395" fmla="*/ 1756641 w 2051041"/>
              <a:gd name="connsiteY1395" fmla="*/ 79271 h 2084191"/>
              <a:gd name="connsiteX1396" fmla="*/ 1754464 w 2051041"/>
              <a:gd name="connsiteY1396" fmla="*/ 71652 h 2084191"/>
              <a:gd name="connsiteX1397" fmla="*/ 1752832 w 2051041"/>
              <a:gd name="connsiteY1397" fmla="*/ 68387 h 2084191"/>
              <a:gd name="connsiteX1398" fmla="*/ 1756097 w 2051041"/>
              <a:gd name="connsiteY1398" fmla="*/ 20500 h 2084191"/>
              <a:gd name="connsiteX1399" fmla="*/ 1756641 w 2051041"/>
              <a:gd name="connsiteY1399" fmla="*/ 16146 h 2084191"/>
              <a:gd name="connsiteX1400" fmla="*/ 1751744 w 2051041"/>
              <a:gd name="connsiteY1400" fmla="*/ 15058 h 2084191"/>
              <a:gd name="connsiteX1401" fmla="*/ 1741404 w 2051041"/>
              <a:gd name="connsiteY1401" fmla="*/ 19955 h 2084191"/>
              <a:gd name="connsiteX1402" fmla="*/ 1691884 w 2051041"/>
              <a:gd name="connsiteY1402" fmla="*/ 11249 h 2084191"/>
              <a:gd name="connsiteX1403" fmla="*/ 1685645 w 2051041"/>
              <a:gd name="connsiteY1403" fmla="*/ 8369 h 2084191"/>
              <a:gd name="connsiteX1404" fmla="*/ 1688620 w 2051041"/>
              <a:gd name="connsiteY1404" fmla="*/ 14691 h 2084191"/>
              <a:gd name="connsiteX1405" fmla="*/ 1691885 w 2051041"/>
              <a:gd name="connsiteY1405" fmla="*/ 69652 h 2084191"/>
              <a:gd name="connsiteX1406" fmla="*/ 1684469 w 2051041"/>
              <a:gd name="connsiteY1406" fmla="*/ 82365 h 2084191"/>
              <a:gd name="connsiteX1407" fmla="*/ 1663044 w 2051041"/>
              <a:gd name="connsiteY1407" fmla="*/ 94684 h 2084191"/>
              <a:gd name="connsiteX1408" fmla="*/ 1626584 w 2051041"/>
              <a:gd name="connsiteY1408" fmla="*/ 96861 h 2084191"/>
              <a:gd name="connsiteX1409" fmla="*/ 1590124 w 2051041"/>
              <a:gd name="connsiteY1409" fmla="*/ 60401 h 2084191"/>
              <a:gd name="connsiteX1410" fmla="*/ 1591757 w 2051041"/>
              <a:gd name="connsiteY1410" fmla="*/ 25030 h 2084191"/>
              <a:gd name="connsiteX1411" fmla="*/ 1460066 w 2051041"/>
              <a:gd name="connsiteY1411" fmla="*/ 0 h 2084191"/>
              <a:gd name="connsiteX1412" fmla="*/ 1498513 w 2051041"/>
              <a:gd name="connsiteY1412" fmla="*/ 0 h 2084191"/>
              <a:gd name="connsiteX1413" fmla="*/ 1517204 w 2051041"/>
              <a:gd name="connsiteY1413" fmla="*/ 8092 h 2084191"/>
              <a:gd name="connsiteX1414" fmla="*/ 1531896 w 2051041"/>
              <a:gd name="connsiteY1414" fmla="*/ 45164 h 2084191"/>
              <a:gd name="connsiteX1415" fmla="*/ 1479111 w 2051041"/>
              <a:gd name="connsiteY1415" fmla="*/ 97949 h 2084191"/>
              <a:gd name="connsiteX1416" fmla="*/ 1426870 w 2051041"/>
              <a:gd name="connsiteY1416" fmla="*/ 45164 h 2084191"/>
              <a:gd name="connsiteX1417" fmla="*/ 1441631 w 2051041"/>
              <a:gd name="connsiteY1417" fmla="*/ 7684 h 2084191"/>
              <a:gd name="connsiteX1418" fmla="*/ 1296749 w 2051041"/>
              <a:gd name="connsiteY1418" fmla="*/ 0 h 2084191"/>
              <a:gd name="connsiteX1419" fmla="*/ 1335755 w 2051041"/>
              <a:gd name="connsiteY1419" fmla="*/ 0 h 2084191"/>
              <a:gd name="connsiteX1420" fmla="*/ 1350278 w 2051041"/>
              <a:gd name="connsiteY1420" fmla="*/ 10270 h 2084191"/>
              <a:gd name="connsiteX1421" fmla="*/ 1365923 w 2051041"/>
              <a:gd name="connsiteY1421" fmla="*/ 45165 h 2084191"/>
              <a:gd name="connsiteX1422" fmla="*/ 1315315 w 2051041"/>
              <a:gd name="connsiteY1422" fmla="*/ 93052 h 2084191"/>
              <a:gd name="connsiteX1423" fmla="*/ 1266339 w 2051041"/>
              <a:gd name="connsiteY1423" fmla="*/ 44076 h 2084191"/>
              <a:gd name="connsiteX1424" fmla="*/ 1282732 w 2051041"/>
              <a:gd name="connsiteY1424" fmla="*/ 9317 h 2084191"/>
              <a:gd name="connsiteX1425" fmla="*/ 1148085 w 2051041"/>
              <a:gd name="connsiteY1425" fmla="*/ 0 h 2084191"/>
              <a:gd name="connsiteX1426" fmla="*/ 1161802 w 2051041"/>
              <a:gd name="connsiteY1426" fmla="*/ 0 h 2084191"/>
              <a:gd name="connsiteX1427" fmla="*/ 1169637 w 2051041"/>
              <a:gd name="connsiteY1427" fmla="*/ 1315 h 2084191"/>
              <a:gd name="connsiteX1428" fmla="*/ 1199405 w 2051041"/>
              <a:gd name="connsiteY1428" fmla="*/ 45164 h 2084191"/>
              <a:gd name="connsiteX1429" fmla="*/ 1151518 w 2051041"/>
              <a:gd name="connsiteY1429" fmla="*/ 91419 h 2084191"/>
              <a:gd name="connsiteX1430" fmla="*/ 1105807 w 2051041"/>
              <a:gd name="connsiteY1430" fmla="*/ 44620 h 2084191"/>
              <a:gd name="connsiteX1431" fmla="*/ 1119139 w 2051041"/>
              <a:gd name="connsiteY1431" fmla="*/ 11902 h 20841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Lst>
            <a:rect l="l" t="t" r="r" b="b"/>
            <a:pathLst>
              <a:path w="2051041" h="2084191">
                <a:moveTo>
                  <a:pt x="2051041" y="2080382"/>
                </a:moveTo>
                <a:lnTo>
                  <a:pt x="2051041" y="2083967"/>
                </a:lnTo>
                <a:lnTo>
                  <a:pt x="2047231" y="2084191"/>
                </a:lnTo>
                <a:cubicBezTo>
                  <a:pt x="2046687" y="2084191"/>
                  <a:pt x="2046143" y="2082559"/>
                  <a:pt x="2045599" y="2081470"/>
                </a:cubicBezTo>
                <a:close/>
                <a:moveTo>
                  <a:pt x="1478568" y="1997668"/>
                </a:moveTo>
                <a:cubicBezTo>
                  <a:pt x="1484010" y="1997668"/>
                  <a:pt x="1485642" y="2000933"/>
                  <a:pt x="1484554" y="2004743"/>
                </a:cubicBezTo>
                <a:cubicBezTo>
                  <a:pt x="1484010" y="2006919"/>
                  <a:pt x="1480745" y="2008551"/>
                  <a:pt x="1478568" y="2009096"/>
                </a:cubicBezTo>
                <a:cubicBezTo>
                  <a:pt x="1474759" y="2009640"/>
                  <a:pt x="1473126" y="2007463"/>
                  <a:pt x="1473126" y="2003654"/>
                </a:cubicBezTo>
                <a:cubicBezTo>
                  <a:pt x="1473126" y="1998756"/>
                  <a:pt x="1475303" y="1997124"/>
                  <a:pt x="1478568" y="1997668"/>
                </a:cubicBezTo>
                <a:close/>
                <a:moveTo>
                  <a:pt x="1641820" y="1993859"/>
                </a:moveTo>
                <a:cubicBezTo>
                  <a:pt x="1646718" y="1993314"/>
                  <a:pt x="1652160" y="1999300"/>
                  <a:pt x="1652160" y="2003654"/>
                </a:cubicBezTo>
                <a:cubicBezTo>
                  <a:pt x="1652160" y="2008551"/>
                  <a:pt x="1646718" y="2013449"/>
                  <a:pt x="1641820" y="2013449"/>
                </a:cubicBezTo>
                <a:cubicBezTo>
                  <a:pt x="1636923" y="2013449"/>
                  <a:pt x="1632025" y="2008007"/>
                  <a:pt x="1632025" y="2003654"/>
                </a:cubicBezTo>
                <a:cubicBezTo>
                  <a:pt x="1632025" y="1999300"/>
                  <a:pt x="1638011" y="1993859"/>
                  <a:pt x="1641820" y="1993859"/>
                </a:cubicBezTo>
                <a:close/>
                <a:moveTo>
                  <a:pt x="1969414" y="1992226"/>
                </a:moveTo>
                <a:cubicBezTo>
                  <a:pt x="1976488" y="1992226"/>
                  <a:pt x="1979753" y="1996035"/>
                  <a:pt x="1979753" y="2003654"/>
                </a:cubicBezTo>
                <a:cubicBezTo>
                  <a:pt x="1979753" y="2011272"/>
                  <a:pt x="1975944" y="2014537"/>
                  <a:pt x="1968325" y="2014537"/>
                </a:cubicBezTo>
                <a:cubicBezTo>
                  <a:pt x="1960707" y="2014537"/>
                  <a:pt x="1957442" y="2010728"/>
                  <a:pt x="1957986" y="2003110"/>
                </a:cubicBezTo>
                <a:cubicBezTo>
                  <a:pt x="1957986" y="1994947"/>
                  <a:pt x="1961251" y="1992226"/>
                  <a:pt x="1969414" y="1992226"/>
                </a:cubicBezTo>
                <a:close/>
                <a:moveTo>
                  <a:pt x="1805073" y="1992226"/>
                </a:moveTo>
                <a:cubicBezTo>
                  <a:pt x="1811058" y="1992226"/>
                  <a:pt x="1815956" y="1996035"/>
                  <a:pt x="1815956" y="2002565"/>
                </a:cubicBezTo>
                <a:cubicBezTo>
                  <a:pt x="1816500" y="2009096"/>
                  <a:pt x="1812147" y="2014537"/>
                  <a:pt x="1805073" y="2014537"/>
                </a:cubicBezTo>
                <a:cubicBezTo>
                  <a:pt x="1799087" y="2014537"/>
                  <a:pt x="1794189" y="2010184"/>
                  <a:pt x="1794189" y="2004198"/>
                </a:cubicBezTo>
                <a:cubicBezTo>
                  <a:pt x="1794189" y="1997668"/>
                  <a:pt x="1799087" y="1992770"/>
                  <a:pt x="1805073" y="1992226"/>
                </a:cubicBezTo>
                <a:close/>
                <a:moveTo>
                  <a:pt x="1234233" y="1916042"/>
                </a:moveTo>
                <a:cubicBezTo>
                  <a:pt x="1238586" y="1915497"/>
                  <a:pt x="1240763" y="1917674"/>
                  <a:pt x="1240219" y="1923660"/>
                </a:cubicBezTo>
                <a:cubicBezTo>
                  <a:pt x="1239674" y="1924204"/>
                  <a:pt x="1237498" y="1926381"/>
                  <a:pt x="1236953" y="1926381"/>
                </a:cubicBezTo>
                <a:cubicBezTo>
                  <a:pt x="1234233" y="1924204"/>
                  <a:pt x="1231512" y="1921483"/>
                  <a:pt x="1229335" y="1918762"/>
                </a:cubicBezTo>
                <a:cubicBezTo>
                  <a:pt x="1230968" y="1917674"/>
                  <a:pt x="1232600" y="1916586"/>
                  <a:pt x="1234233" y="1916042"/>
                </a:cubicBezTo>
                <a:close/>
                <a:moveTo>
                  <a:pt x="1397486" y="1911144"/>
                </a:moveTo>
                <a:cubicBezTo>
                  <a:pt x="1402927" y="1911144"/>
                  <a:pt x="1408369" y="1916041"/>
                  <a:pt x="1408369" y="1921483"/>
                </a:cubicBezTo>
                <a:cubicBezTo>
                  <a:pt x="1408369" y="1926925"/>
                  <a:pt x="1404016" y="1931279"/>
                  <a:pt x="1399118" y="1931823"/>
                </a:cubicBezTo>
                <a:cubicBezTo>
                  <a:pt x="1392588" y="1932367"/>
                  <a:pt x="1387146" y="1928013"/>
                  <a:pt x="1387146" y="1922028"/>
                </a:cubicBezTo>
                <a:cubicBezTo>
                  <a:pt x="1386602" y="1916586"/>
                  <a:pt x="1391500" y="1911144"/>
                  <a:pt x="1397486" y="1911144"/>
                </a:cubicBezTo>
                <a:close/>
                <a:moveTo>
                  <a:pt x="1560194" y="1906790"/>
                </a:moveTo>
                <a:cubicBezTo>
                  <a:pt x="1566180" y="1906790"/>
                  <a:pt x="1574342" y="1914953"/>
                  <a:pt x="1574342" y="1921482"/>
                </a:cubicBezTo>
                <a:cubicBezTo>
                  <a:pt x="1574342" y="1928013"/>
                  <a:pt x="1566724" y="1936175"/>
                  <a:pt x="1560738" y="1935631"/>
                </a:cubicBezTo>
                <a:cubicBezTo>
                  <a:pt x="1554752" y="1935631"/>
                  <a:pt x="1547678" y="1928557"/>
                  <a:pt x="1547134" y="1922027"/>
                </a:cubicBezTo>
                <a:cubicBezTo>
                  <a:pt x="1546589" y="1915497"/>
                  <a:pt x="1554208" y="1907334"/>
                  <a:pt x="1560194" y="1906790"/>
                </a:cubicBezTo>
                <a:close/>
                <a:moveTo>
                  <a:pt x="2049952" y="1905702"/>
                </a:moveTo>
                <a:lnTo>
                  <a:pt x="2051041" y="1906027"/>
                </a:lnTo>
                <a:lnTo>
                  <a:pt x="2051041" y="1938133"/>
                </a:lnTo>
                <a:lnTo>
                  <a:pt x="2050496" y="1938353"/>
                </a:lnTo>
                <a:cubicBezTo>
                  <a:pt x="2039613" y="1937808"/>
                  <a:pt x="2034715" y="1933455"/>
                  <a:pt x="2034171" y="1922572"/>
                </a:cubicBezTo>
                <a:cubicBezTo>
                  <a:pt x="2034171" y="1911144"/>
                  <a:pt x="2039069" y="1905702"/>
                  <a:pt x="2049952" y="1905702"/>
                </a:cubicBezTo>
                <a:close/>
                <a:moveTo>
                  <a:pt x="1723447" y="1905702"/>
                </a:moveTo>
                <a:cubicBezTo>
                  <a:pt x="1730521" y="1905702"/>
                  <a:pt x="1739772" y="1914409"/>
                  <a:pt x="1739772" y="1920939"/>
                </a:cubicBezTo>
                <a:cubicBezTo>
                  <a:pt x="1740316" y="1929101"/>
                  <a:pt x="1732698" y="1936720"/>
                  <a:pt x="1724535" y="1937264"/>
                </a:cubicBezTo>
                <a:cubicBezTo>
                  <a:pt x="1716373" y="1937264"/>
                  <a:pt x="1708754" y="1930190"/>
                  <a:pt x="1708210" y="1922027"/>
                </a:cubicBezTo>
                <a:cubicBezTo>
                  <a:pt x="1708210" y="1914953"/>
                  <a:pt x="1716373" y="1905702"/>
                  <a:pt x="1723447" y="1905702"/>
                </a:cubicBezTo>
                <a:close/>
                <a:moveTo>
                  <a:pt x="1887787" y="1905158"/>
                </a:moveTo>
                <a:cubicBezTo>
                  <a:pt x="1898671" y="1905158"/>
                  <a:pt x="1904113" y="1911144"/>
                  <a:pt x="1904113" y="1922028"/>
                </a:cubicBezTo>
                <a:cubicBezTo>
                  <a:pt x="1904113" y="1932367"/>
                  <a:pt x="1898127" y="1937809"/>
                  <a:pt x="1886699" y="1937809"/>
                </a:cubicBezTo>
                <a:cubicBezTo>
                  <a:pt x="1876360" y="1937809"/>
                  <a:pt x="1870918" y="1931823"/>
                  <a:pt x="1870918" y="1921483"/>
                </a:cubicBezTo>
                <a:cubicBezTo>
                  <a:pt x="1870918" y="1910600"/>
                  <a:pt x="1876904" y="1904614"/>
                  <a:pt x="1887787" y="1905158"/>
                </a:cubicBezTo>
                <a:close/>
                <a:moveTo>
                  <a:pt x="1152606" y="1831693"/>
                </a:moveTo>
                <a:cubicBezTo>
                  <a:pt x="1155871" y="1832782"/>
                  <a:pt x="1160769" y="1836591"/>
                  <a:pt x="1161313" y="1839312"/>
                </a:cubicBezTo>
                <a:cubicBezTo>
                  <a:pt x="1160769" y="1843121"/>
                  <a:pt x="1156959" y="1846931"/>
                  <a:pt x="1153694" y="1852916"/>
                </a:cubicBezTo>
                <a:cubicBezTo>
                  <a:pt x="1149341" y="1847475"/>
                  <a:pt x="1146076" y="1844754"/>
                  <a:pt x="1144988" y="1841489"/>
                </a:cubicBezTo>
                <a:cubicBezTo>
                  <a:pt x="1143355" y="1837135"/>
                  <a:pt x="1148797" y="1830605"/>
                  <a:pt x="1152606" y="1831693"/>
                </a:cubicBezTo>
                <a:close/>
                <a:moveTo>
                  <a:pt x="1315315" y="1825708"/>
                </a:moveTo>
                <a:cubicBezTo>
                  <a:pt x="1321301" y="1825164"/>
                  <a:pt x="1331096" y="1834415"/>
                  <a:pt x="1330552" y="1840401"/>
                </a:cubicBezTo>
                <a:cubicBezTo>
                  <a:pt x="1330552" y="1845298"/>
                  <a:pt x="1321301" y="1854549"/>
                  <a:pt x="1316404" y="1854549"/>
                </a:cubicBezTo>
                <a:cubicBezTo>
                  <a:pt x="1310962" y="1855094"/>
                  <a:pt x="1302255" y="1846387"/>
                  <a:pt x="1301711" y="1840945"/>
                </a:cubicBezTo>
                <a:cubicBezTo>
                  <a:pt x="1301167" y="1834959"/>
                  <a:pt x="1309329" y="1826252"/>
                  <a:pt x="1315315" y="1825708"/>
                </a:cubicBezTo>
                <a:close/>
                <a:moveTo>
                  <a:pt x="1479656" y="1822987"/>
                </a:moveTo>
                <a:cubicBezTo>
                  <a:pt x="1489995" y="1823531"/>
                  <a:pt x="1495981" y="1830061"/>
                  <a:pt x="1495981" y="1840401"/>
                </a:cubicBezTo>
                <a:cubicBezTo>
                  <a:pt x="1495981" y="1851284"/>
                  <a:pt x="1490539" y="1856726"/>
                  <a:pt x="1478567" y="1856182"/>
                </a:cubicBezTo>
                <a:cubicBezTo>
                  <a:pt x="1467140" y="1856182"/>
                  <a:pt x="1462242" y="1850740"/>
                  <a:pt x="1462242" y="1839312"/>
                </a:cubicBezTo>
                <a:cubicBezTo>
                  <a:pt x="1462242" y="1828429"/>
                  <a:pt x="1468772" y="1822443"/>
                  <a:pt x="1479656" y="1822987"/>
                </a:cubicBezTo>
                <a:close/>
                <a:moveTo>
                  <a:pt x="1642365" y="1821355"/>
                </a:moveTo>
                <a:cubicBezTo>
                  <a:pt x="1653248" y="1821355"/>
                  <a:pt x="1661955" y="1829518"/>
                  <a:pt x="1660867" y="1840401"/>
                </a:cubicBezTo>
                <a:cubicBezTo>
                  <a:pt x="1659778" y="1853461"/>
                  <a:pt x="1653792" y="1857270"/>
                  <a:pt x="1642365" y="1857270"/>
                </a:cubicBezTo>
                <a:cubicBezTo>
                  <a:pt x="1630937" y="1857270"/>
                  <a:pt x="1624407" y="1850740"/>
                  <a:pt x="1624407" y="1839857"/>
                </a:cubicBezTo>
                <a:cubicBezTo>
                  <a:pt x="1624407" y="1828973"/>
                  <a:pt x="1632025" y="1821355"/>
                  <a:pt x="1642365" y="1821355"/>
                </a:cubicBezTo>
                <a:close/>
                <a:moveTo>
                  <a:pt x="1806162" y="1819723"/>
                </a:moveTo>
                <a:cubicBezTo>
                  <a:pt x="1816501" y="1819723"/>
                  <a:pt x="1827385" y="1831150"/>
                  <a:pt x="1826840" y="1840945"/>
                </a:cubicBezTo>
                <a:cubicBezTo>
                  <a:pt x="1826296" y="1850740"/>
                  <a:pt x="1813780" y="1862168"/>
                  <a:pt x="1804529" y="1861080"/>
                </a:cubicBezTo>
                <a:cubicBezTo>
                  <a:pt x="1795278" y="1860536"/>
                  <a:pt x="1783851" y="1847476"/>
                  <a:pt x="1784395" y="1839313"/>
                </a:cubicBezTo>
                <a:cubicBezTo>
                  <a:pt x="1784939" y="1828973"/>
                  <a:pt x="1796367" y="1819178"/>
                  <a:pt x="1806162" y="1819723"/>
                </a:cubicBezTo>
                <a:close/>
                <a:moveTo>
                  <a:pt x="1968870" y="1819178"/>
                </a:moveTo>
                <a:cubicBezTo>
                  <a:pt x="1980298" y="1819178"/>
                  <a:pt x="1990093" y="1828973"/>
                  <a:pt x="1990093" y="1840401"/>
                </a:cubicBezTo>
                <a:cubicBezTo>
                  <a:pt x="1990093" y="1851285"/>
                  <a:pt x="1980298" y="1861624"/>
                  <a:pt x="1968870" y="1861624"/>
                </a:cubicBezTo>
                <a:cubicBezTo>
                  <a:pt x="1957986" y="1861624"/>
                  <a:pt x="1947647" y="1851285"/>
                  <a:pt x="1947647" y="1840401"/>
                </a:cubicBezTo>
                <a:cubicBezTo>
                  <a:pt x="1947647" y="1828973"/>
                  <a:pt x="1957986" y="1819178"/>
                  <a:pt x="1968870" y="1819178"/>
                </a:cubicBezTo>
                <a:close/>
                <a:moveTo>
                  <a:pt x="1070436" y="1747347"/>
                </a:moveTo>
                <a:cubicBezTo>
                  <a:pt x="1078598" y="1747347"/>
                  <a:pt x="1081863" y="1750612"/>
                  <a:pt x="1081863" y="1758231"/>
                </a:cubicBezTo>
                <a:cubicBezTo>
                  <a:pt x="1081863" y="1766393"/>
                  <a:pt x="1078598" y="1769658"/>
                  <a:pt x="1070980" y="1769658"/>
                </a:cubicBezTo>
                <a:cubicBezTo>
                  <a:pt x="1063361" y="1769658"/>
                  <a:pt x="1060096" y="1766393"/>
                  <a:pt x="1059552" y="1758775"/>
                </a:cubicBezTo>
                <a:cubicBezTo>
                  <a:pt x="1059552" y="1751156"/>
                  <a:pt x="1062817" y="1747347"/>
                  <a:pt x="1070436" y="1747347"/>
                </a:cubicBezTo>
                <a:close/>
                <a:moveTo>
                  <a:pt x="1233688" y="1742449"/>
                </a:moveTo>
                <a:cubicBezTo>
                  <a:pt x="1242939" y="1741904"/>
                  <a:pt x="1250558" y="1750067"/>
                  <a:pt x="1250558" y="1758774"/>
                </a:cubicBezTo>
                <a:cubicBezTo>
                  <a:pt x="1250558" y="1767481"/>
                  <a:pt x="1242939" y="1775099"/>
                  <a:pt x="1233688" y="1775099"/>
                </a:cubicBezTo>
                <a:cubicBezTo>
                  <a:pt x="1224981" y="1775099"/>
                  <a:pt x="1218451" y="1768025"/>
                  <a:pt x="1217907" y="1759318"/>
                </a:cubicBezTo>
                <a:cubicBezTo>
                  <a:pt x="1217907" y="1750067"/>
                  <a:pt x="1224981" y="1742449"/>
                  <a:pt x="1233688" y="1742449"/>
                </a:cubicBezTo>
                <a:close/>
                <a:moveTo>
                  <a:pt x="1399662" y="1739728"/>
                </a:moveTo>
                <a:cubicBezTo>
                  <a:pt x="1410002" y="1740817"/>
                  <a:pt x="1418164" y="1750068"/>
                  <a:pt x="1417076" y="1760407"/>
                </a:cubicBezTo>
                <a:cubicBezTo>
                  <a:pt x="1415988" y="1769114"/>
                  <a:pt x="1404560" y="1779997"/>
                  <a:pt x="1396941" y="1779453"/>
                </a:cubicBezTo>
                <a:cubicBezTo>
                  <a:pt x="1388779" y="1778909"/>
                  <a:pt x="1376807" y="1765305"/>
                  <a:pt x="1377895" y="1757686"/>
                </a:cubicBezTo>
                <a:cubicBezTo>
                  <a:pt x="1379528" y="1746803"/>
                  <a:pt x="1389867" y="1738640"/>
                  <a:pt x="1399662" y="1739728"/>
                </a:cubicBezTo>
                <a:close/>
                <a:moveTo>
                  <a:pt x="1723991" y="1735919"/>
                </a:moveTo>
                <a:cubicBezTo>
                  <a:pt x="1738140" y="1735919"/>
                  <a:pt x="1746847" y="1744626"/>
                  <a:pt x="1746847" y="1758774"/>
                </a:cubicBezTo>
                <a:cubicBezTo>
                  <a:pt x="1746847" y="1772379"/>
                  <a:pt x="1738140" y="1781086"/>
                  <a:pt x="1723991" y="1781086"/>
                </a:cubicBezTo>
                <a:cubicBezTo>
                  <a:pt x="1709299" y="1781086"/>
                  <a:pt x="1701680" y="1773467"/>
                  <a:pt x="1701680" y="1758774"/>
                </a:cubicBezTo>
                <a:cubicBezTo>
                  <a:pt x="1701680" y="1744626"/>
                  <a:pt x="1709843" y="1735919"/>
                  <a:pt x="1723991" y="1735919"/>
                </a:cubicBezTo>
                <a:close/>
                <a:moveTo>
                  <a:pt x="1560194" y="1735919"/>
                </a:moveTo>
                <a:cubicBezTo>
                  <a:pt x="1572710" y="1736463"/>
                  <a:pt x="1582505" y="1746258"/>
                  <a:pt x="1582505" y="1758230"/>
                </a:cubicBezTo>
                <a:cubicBezTo>
                  <a:pt x="1582505" y="1770202"/>
                  <a:pt x="1572710" y="1779997"/>
                  <a:pt x="1560738" y="1779997"/>
                </a:cubicBezTo>
                <a:cubicBezTo>
                  <a:pt x="1549855" y="1779997"/>
                  <a:pt x="1538427" y="1769114"/>
                  <a:pt x="1538427" y="1758230"/>
                </a:cubicBezTo>
                <a:cubicBezTo>
                  <a:pt x="1538427" y="1746803"/>
                  <a:pt x="1548766" y="1735919"/>
                  <a:pt x="1560194" y="1735919"/>
                </a:cubicBezTo>
                <a:close/>
                <a:moveTo>
                  <a:pt x="2051041" y="1734831"/>
                </a:moveTo>
                <a:lnTo>
                  <a:pt x="2051041" y="1781438"/>
                </a:lnTo>
                <a:lnTo>
                  <a:pt x="2050496" y="1781630"/>
                </a:lnTo>
                <a:cubicBezTo>
                  <a:pt x="2033627" y="1782174"/>
                  <a:pt x="2027097" y="1772379"/>
                  <a:pt x="2027097" y="1758775"/>
                </a:cubicBezTo>
                <a:cubicBezTo>
                  <a:pt x="2027097" y="1744082"/>
                  <a:pt x="2033627" y="1734831"/>
                  <a:pt x="2051041" y="1734831"/>
                </a:cubicBezTo>
                <a:close/>
                <a:moveTo>
                  <a:pt x="1887788" y="1734831"/>
                </a:moveTo>
                <a:cubicBezTo>
                  <a:pt x="1902481" y="1735375"/>
                  <a:pt x="1910099" y="1742994"/>
                  <a:pt x="1910099" y="1758775"/>
                </a:cubicBezTo>
                <a:cubicBezTo>
                  <a:pt x="1910099" y="1771835"/>
                  <a:pt x="1903025" y="1782718"/>
                  <a:pt x="1886699" y="1781086"/>
                </a:cubicBezTo>
                <a:cubicBezTo>
                  <a:pt x="1872551" y="1782174"/>
                  <a:pt x="1863844" y="1770203"/>
                  <a:pt x="1863844" y="1757687"/>
                </a:cubicBezTo>
                <a:cubicBezTo>
                  <a:pt x="1863844" y="1742994"/>
                  <a:pt x="1874728" y="1734287"/>
                  <a:pt x="1887788" y="1734831"/>
                </a:cubicBezTo>
                <a:close/>
                <a:moveTo>
                  <a:pt x="826100" y="1671706"/>
                </a:moveTo>
                <a:cubicBezTo>
                  <a:pt x="830454" y="1670618"/>
                  <a:pt x="832086" y="1673338"/>
                  <a:pt x="832086" y="1677692"/>
                </a:cubicBezTo>
                <a:cubicBezTo>
                  <a:pt x="832086" y="1681501"/>
                  <a:pt x="829365" y="1683134"/>
                  <a:pt x="825556" y="1683134"/>
                </a:cubicBezTo>
                <a:cubicBezTo>
                  <a:pt x="821203" y="1683134"/>
                  <a:pt x="819570" y="1679869"/>
                  <a:pt x="820658" y="1676603"/>
                </a:cubicBezTo>
                <a:cubicBezTo>
                  <a:pt x="821203" y="1674427"/>
                  <a:pt x="823924" y="1672250"/>
                  <a:pt x="826100" y="1671706"/>
                </a:cubicBezTo>
                <a:close/>
                <a:moveTo>
                  <a:pt x="989354" y="1661912"/>
                </a:moveTo>
                <a:cubicBezTo>
                  <a:pt x="994251" y="1661912"/>
                  <a:pt x="1004046" y="1671707"/>
                  <a:pt x="1004046" y="1676604"/>
                </a:cubicBezTo>
                <a:cubicBezTo>
                  <a:pt x="1004046" y="1682590"/>
                  <a:pt x="996428" y="1690209"/>
                  <a:pt x="989354" y="1690209"/>
                </a:cubicBezTo>
                <a:cubicBezTo>
                  <a:pt x="982823" y="1690209"/>
                  <a:pt x="975749" y="1683679"/>
                  <a:pt x="975205" y="1677693"/>
                </a:cubicBezTo>
                <a:cubicBezTo>
                  <a:pt x="974661" y="1671707"/>
                  <a:pt x="983912" y="1661367"/>
                  <a:pt x="989354" y="1661912"/>
                </a:cubicBezTo>
                <a:close/>
                <a:moveTo>
                  <a:pt x="1153151" y="1659734"/>
                </a:moveTo>
                <a:cubicBezTo>
                  <a:pt x="1162946" y="1658646"/>
                  <a:pt x="1171108" y="1667353"/>
                  <a:pt x="1170564" y="1677692"/>
                </a:cubicBezTo>
                <a:cubicBezTo>
                  <a:pt x="1170020" y="1688575"/>
                  <a:pt x="1162946" y="1694562"/>
                  <a:pt x="1152062" y="1694562"/>
                </a:cubicBezTo>
                <a:cubicBezTo>
                  <a:pt x="1141179" y="1694017"/>
                  <a:pt x="1135737" y="1688031"/>
                  <a:pt x="1135737" y="1677148"/>
                </a:cubicBezTo>
                <a:cubicBezTo>
                  <a:pt x="1135737" y="1664632"/>
                  <a:pt x="1141179" y="1659190"/>
                  <a:pt x="1153151" y="1659734"/>
                </a:cubicBezTo>
                <a:close/>
                <a:moveTo>
                  <a:pt x="1315315" y="1655381"/>
                </a:moveTo>
                <a:cubicBezTo>
                  <a:pt x="1327287" y="1654836"/>
                  <a:pt x="1337082" y="1664088"/>
                  <a:pt x="1337082" y="1676603"/>
                </a:cubicBezTo>
                <a:cubicBezTo>
                  <a:pt x="1337082" y="1688575"/>
                  <a:pt x="1326743" y="1698915"/>
                  <a:pt x="1315315" y="1698915"/>
                </a:cubicBezTo>
                <a:cubicBezTo>
                  <a:pt x="1304976" y="1698915"/>
                  <a:pt x="1294092" y="1687487"/>
                  <a:pt x="1294092" y="1677148"/>
                </a:cubicBezTo>
                <a:cubicBezTo>
                  <a:pt x="1294092" y="1666264"/>
                  <a:pt x="1304431" y="1655925"/>
                  <a:pt x="1315315" y="1655381"/>
                </a:cubicBezTo>
                <a:close/>
                <a:moveTo>
                  <a:pt x="1479111" y="1654293"/>
                </a:moveTo>
                <a:cubicBezTo>
                  <a:pt x="1495437" y="1653204"/>
                  <a:pt x="1501967" y="1664632"/>
                  <a:pt x="1501967" y="1677692"/>
                </a:cubicBezTo>
                <a:cubicBezTo>
                  <a:pt x="1501967" y="1689664"/>
                  <a:pt x="1492716" y="1700548"/>
                  <a:pt x="1479111" y="1700548"/>
                </a:cubicBezTo>
                <a:cubicBezTo>
                  <a:pt x="1466596" y="1700548"/>
                  <a:pt x="1455712" y="1690208"/>
                  <a:pt x="1455712" y="1676604"/>
                </a:cubicBezTo>
                <a:cubicBezTo>
                  <a:pt x="1456256" y="1663544"/>
                  <a:pt x="1464963" y="1653204"/>
                  <a:pt x="1479111" y="1654293"/>
                </a:cubicBezTo>
                <a:close/>
                <a:moveTo>
                  <a:pt x="1643452" y="1650483"/>
                </a:moveTo>
                <a:cubicBezTo>
                  <a:pt x="1654880" y="1651027"/>
                  <a:pt x="1667940" y="1664087"/>
                  <a:pt x="1668484" y="1676603"/>
                </a:cubicBezTo>
                <a:cubicBezTo>
                  <a:pt x="1669029" y="1689120"/>
                  <a:pt x="1655968" y="1702724"/>
                  <a:pt x="1643452" y="1703268"/>
                </a:cubicBezTo>
                <a:cubicBezTo>
                  <a:pt x="1631480" y="1703812"/>
                  <a:pt x="1617332" y="1690208"/>
                  <a:pt x="1617332" y="1677692"/>
                </a:cubicBezTo>
                <a:cubicBezTo>
                  <a:pt x="1616788" y="1664632"/>
                  <a:pt x="1630392" y="1650483"/>
                  <a:pt x="1643452" y="1650483"/>
                </a:cubicBezTo>
                <a:close/>
                <a:moveTo>
                  <a:pt x="1968326" y="1649940"/>
                </a:moveTo>
                <a:cubicBezTo>
                  <a:pt x="1983019" y="1649395"/>
                  <a:pt x="1997167" y="1664088"/>
                  <a:pt x="1995535" y="1676604"/>
                </a:cubicBezTo>
                <a:cubicBezTo>
                  <a:pt x="1997167" y="1689664"/>
                  <a:pt x="1982474" y="1704901"/>
                  <a:pt x="1968870" y="1704357"/>
                </a:cubicBezTo>
                <a:cubicBezTo>
                  <a:pt x="1954177" y="1703813"/>
                  <a:pt x="1942205" y="1691841"/>
                  <a:pt x="1941661" y="1677148"/>
                </a:cubicBezTo>
                <a:cubicBezTo>
                  <a:pt x="1941117" y="1662456"/>
                  <a:pt x="1956354" y="1649940"/>
                  <a:pt x="1968326" y="1649940"/>
                </a:cubicBezTo>
                <a:close/>
                <a:moveTo>
                  <a:pt x="1805617" y="1649939"/>
                </a:moveTo>
                <a:cubicBezTo>
                  <a:pt x="1819222" y="1648851"/>
                  <a:pt x="1832826" y="1664088"/>
                  <a:pt x="1832826" y="1677148"/>
                </a:cubicBezTo>
                <a:cubicBezTo>
                  <a:pt x="1832282" y="1690752"/>
                  <a:pt x="1819222" y="1703812"/>
                  <a:pt x="1805073" y="1704357"/>
                </a:cubicBezTo>
                <a:cubicBezTo>
                  <a:pt x="1792557" y="1704901"/>
                  <a:pt x="1777864" y="1688031"/>
                  <a:pt x="1778409" y="1677148"/>
                </a:cubicBezTo>
                <a:cubicBezTo>
                  <a:pt x="1779497" y="1662999"/>
                  <a:pt x="1791469" y="1649939"/>
                  <a:pt x="1805617" y="1649939"/>
                </a:cubicBezTo>
                <a:close/>
                <a:moveTo>
                  <a:pt x="744474" y="1588992"/>
                </a:moveTo>
                <a:cubicBezTo>
                  <a:pt x="748827" y="1588992"/>
                  <a:pt x="751004" y="1590624"/>
                  <a:pt x="751004" y="1594978"/>
                </a:cubicBezTo>
                <a:cubicBezTo>
                  <a:pt x="751004" y="1598787"/>
                  <a:pt x="749916" y="1601508"/>
                  <a:pt x="745562" y="1602052"/>
                </a:cubicBezTo>
                <a:cubicBezTo>
                  <a:pt x="740665" y="1602052"/>
                  <a:pt x="738488" y="1600420"/>
                  <a:pt x="738488" y="1594978"/>
                </a:cubicBezTo>
                <a:cubicBezTo>
                  <a:pt x="737944" y="1590624"/>
                  <a:pt x="740121" y="1588992"/>
                  <a:pt x="744474" y="1588992"/>
                </a:cubicBezTo>
                <a:close/>
                <a:moveTo>
                  <a:pt x="907183" y="1579741"/>
                </a:moveTo>
                <a:cubicBezTo>
                  <a:pt x="913169" y="1579197"/>
                  <a:pt x="923508" y="1588992"/>
                  <a:pt x="923508" y="1594978"/>
                </a:cubicBezTo>
                <a:cubicBezTo>
                  <a:pt x="923508" y="1600964"/>
                  <a:pt x="915345" y="1610215"/>
                  <a:pt x="908815" y="1610759"/>
                </a:cubicBezTo>
                <a:cubicBezTo>
                  <a:pt x="901197" y="1611303"/>
                  <a:pt x="892490" y="1603685"/>
                  <a:pt x="892490" y="1595522"/>
                </a:cubicBezTo>
                <a:cubicBezTo>
                  <a:pt x="892490" y="1588448"/>
                  <a:pt x="900653" y="1579741"/>
                  <a:pt x="907183" y="1579741"/>
                </a:cubicBezTo>
                <a:close/>
                <a:moveTo>
                  <a:pt x="1071524" y="1574843"/>
                </a:moveTo>
                <a:cubicBezTo>
                  <a:pt x="1081319" y="1575387"/>
                  <a:pt x="1091114" y="1585726"/>
                  <a:pt x="1091114" y="1595522"/>
                </a:cubicBezTo>
                <a:cubicBezTo>
                  <a:pt x="1091114" y="1605317"/>
                  <a:pt x="1080231" y="1615656"/>
                  <a:pt x="1070980" y="1615656"/>
                </a:cubicBezTo>
                <a:cubicBezTo>
                  <a:pt x="1062273" y="1615656"/>
                  <a:pt x="1050845" y="1604228"/>
                  <a:pt x="1050301" y="1595522"/>
                </a:cubicBezTo>
                <a:cubicBezTo>
                  <a:pt x="1050301" y="1586270"/>
                  <a:pt x="1062273" y="1574299"/>
                  <a:pt x="1071524" y="1574843"/>
                </a:cubicBezTo>
                <a:close/>
                <a:moveTo>
                  <a:pt x="1233688" y="1573210"/>
                </a:moveTo>
                <a:cubicBezTo>
                  <a:pt x="1247837" y="1573210"/>
                  <a:pt x="1256544" y="1581373"/>
                  <a:pt x="1256544" y="1595522"/>
                </a:cubicBezTo>
                <a:cubicBezTo>
                  <a:pt x="1256544" y="1609670"/>
                  <a:pt x="1247837" y="1618377"/>
                  <a:pt x="1233688" y="1618377"/>
                </a:cubicBezTo>
                <a:cubicBezTo>
                  <a:pt x="1221172" y="1618377"/>
                  <a:pt x="1212465" y="1608582"/>
                  <a:pt x="1211377" y="1596610"/>
                </a:cubicBezTo>
                <a:cubicBezTo>
                  <a:pt x="1210289" y="1584638"/>
                  <a:pt x="1222261" y="1571034"/>
                  <a:pt x="1233688" y="1573210"/>
                </a:cubicBezTo>
                <a:close/>
                <a:moveTo>
                  <a:pt x="1398030" y="1569402"/>
                </a:moveTo>
                <a:cubicBezTo>
                  <a:pt x="1411634" y="1569946"/>
                  <a:pt x="1423606" y="1582462"/>
                  <a:pt x="1423062" y="1595522"/>
                </a:cubicBezTo>
                <a:cubicBezTo>
                  <a:pt x="1423062" y="1608582"/>
                  <a:pt x="1410546" y="1621099"/>
                  <a:pt x="1397485" y="1621099"/>
                </a:cubicBezTo>
                <a:cubicBezTo>
                  <a:pt x="1384969" y="1621099"/>
                  <a:pt x="1371365" y="1608038"/>
                  <a:pt x="1371365" y="1595522"/>
                </a:cubicBezTo>
                <a:cubicBezTo>
                  <a:pt x="1371365" y="1582462"/>
                  <a:pt x="1384969" y="1568857"/>
                  <a:pt x="1398030" y="1569402"/>
                </a:cubicBezTo>
                <a:close/>
                <a:moveTo>
                  <a:pt x="1560194" y="1568313"/>
                </a:moveTo>
                <a:cubicBezTo>
                  <a:pt x="1574342" y="1566680"/>
                  <a:pt x="1587403" y="1581373"/>
                  <a:pt x="1587947" y="1594433"/>
                </a:cubicBezTo>
                <a:cubicBezTo>
                  <a:pt x="1588491" y="1608582"/>
                  <a:pt x="1574887" y="1622730"/>
                  <a:pt x="1560194" y="1622730"/>
                </a:cubicBezTo>
                <a:cubicBezTo>
                  <a:pt x="1547134" y="1622730"/>
                  <a:pt x="1532985" y="1608582"/>
                  <a:pt x="1532985" y="1594977"/>
                </a:cubicBezTo>
                <a:cubicBezTo>
                  <a:pt x="1532985" y="1581917"/>
                  <a:pt x="1547134" y="1566680"/>
                  <a:pt x="1560194" y="1568313"/>
                </a:cubicBezTo>
                <a:close/>
                <a:moveTo>
                  <a:pt x="1887244" y="1567225"/>
                </a:moveTo>
                <a:cubicBezTo>
                  <a:pt x="1905202" y="1567225"/>
                  <a:pt x="1915541" y="1578109"/>
                  <a:pt x="1915541" y="1594978"/>
                </a:cubicBezTo>
                <a:cubicBezTo>
                  <a:pt x="1915541" y="1612392"/>
                  <a:pt x="1903569" y="1624363"/>
                  <a:pt x="1886699" y="1623819"/>
                </a:cubicBezTo>
                <a:cubicBezTo>
                  <a:pt x="1872551" y="1623819"/>
                  <a:pt x="1857314" y="1613480"/>
                  <a:pt x="1858947" y="1594978"/>
                </a:cubicBezTo>
                <a:cubicBezTo>
                  <a:pt x="1857858" y="1577564"/>
                  <a:pt x="1870918" y="1567225"/>
                  <a:pt x="1887244" y="1567225"/>
                </a:cubicBezTo>
                <a:close/>
                <a:moveTo>
                  <a:pt x="1724535" y="1567225"/>
                </a:moveTo>
                <a:cubicBezTo>
                  <a:pt x="1743037" y="1567225"/>
                  <a:pt x="1752288" y="1581373"/>
                  <a:pt x="1752288" y="1594978"/>
                </a:cubicBezTo>
                <a:cubicBezTo>
                  <a:pt x="1752288" y="1609127"/>
                  <a:pt x="1741949" y="1623275"/>
                  <a:pt x="1724535" y="1623275"/>
                </a:cubicBezTo>
                <a:cubicBezTo>
                  <a:pt x="1710930" y="1623819"/>
                  <a:pt x="1694605" y="1613480"/>
                  <a:pt x="1696238" y="1594978"/>
                </a:cubicBezTo>
                <a:cubicBezTo>
                  <a:pt x="1694605" y="1577564"/>
                  <a:pt x="1708754" y="1567225"/>
                  <a:pt x="1724535" y="1567225"/>
                </a:cubicBezTo>
                <a:close/>
                <a:moveTo>
                  <a:pt x="2050496" y="1566680"/>
                </a:moveTo>
                <a:lnTo>
                  <a:pt x="2051041" y="1566888"/>
                </a:lnTo>
                <a:lnTo>
                  <a:pt x="2051041" y="1623794"/>
                </a:lnTo>
                <a:lnTo>
                  <a:pt x="2049408" y="1624363"/>
                </a:lnTo>
                <a:cubicBezTo>
                  <a:pt x="2033083" y="1623818"/>
                  <a:pt x="2021111" y="1611302"/>
                  <a:pt x="2021655" y="1594977"/>
                </a:cubicBezTo>
                <a:cubicBezTo>
                  <a:pt x="2022199" y="1575931"/>
                  <a:pt x="2033627" y="1567224"/>
                  <a:pt x="2050496" y="1566680"/>
                </a:cubicBezTo>
                <a:close/>
                <a:moveTo>
                  <a:pt x="663392" y="1505188"/>
                </a:moveTo>
                <a:cubicBezTo>
                  <a:pt x="666113" y="1505188"/>
                  <a:pt x="669922" y="1510086"/>
                  <a:pt x="674819" y="1513895"/>
                </a:cubicBezTo>
                <a:cubicBezTo>
                  <a:pt x="669378" y="1517704"/>
                  <a:pt x="665569" y="1522602"/>
                  <a:pt x="662848" y="1522058"/>
                </a:cubicBezTo>
                <a:cubicBezTo>
                  <a:pt x="659583" y="1521513"/>
                  <a:pt x="654685" y="1516072"/>
                  <a:pt x="654685" y="1513351"/>
                </a:cubicBezTo>
                <a:cubicBezTo>
                  <a:pt x="654685" y="1510086"/>
                  <a:pt x="660127" y="1505188"/>
                  <a:pt x="663392" y="1505188"/>
                </a:cubicBezTo>
                <a:close/>
                <a:moveTo>
                  <a:pt x="826101" y="1497570"/>
                </a:moveTo>
                <a:cubicBezTo>
                  <a:pt x="834263" y="1497025"/>
                  <a:pt x="842426" y="1505188"/>
                  <a:pt x="842970" y="1513351"/>
                </a:cubicBezTo>
                <a:cubicBezTo>
                  <a:pt x="842970" y="1522058"/>
                  <a:pt x="835352" y="1529676"/>
                  <a:pt x="826645" y="1529676"/>
                </a:cubicBezTo>
                <a:cubicBezTo>
                  <a:pt x="818482" y="1529676"/>
                  <a:pt x="810864" y="1523146"/>
                  <a:pt x="810319" y="1514983"/>
                </a:cubicBezTo>
                <a:cubicBezTo>
                  <a:pt x="809775" y="1506276"/>
                  <a:pt x="817394" y="1498114"/>
                  <a:pt x="826101" y="1497570"/>
                </a:cubicBezTo>
                <a:close/>
                <a:moveTo>
                  <a:pt x="988265" y="1492128"/>
                </a:moveTo>
                <a:cubicBezTo>
                  <a:pt x="998605" y="1492128"/>
                  <a:pt x="1010577" y="1501379"/>
                  <a:pt x="1010577" y="1513351"/>
                </a:cubicBezTo>
                <a:cubicBezTo>
                  <a:pt x="1010577" y="1524234"/>
                  <a:pt x="1000237" y="1534574"/>
                  <a:pt x="989354" y="1534574"/>
                </a:cubicBezTo>
                <a:cubicBezTo>
                  <a:pt x="979559" y="1534574"/>
                  <a:pt x="968675" y="1523690"/>
                  <a:pt x="968131" y="1513895"/>
                </a:cubicBezTo>
                <a:cubicBezTo>
                  <a:pt x="968131" y="1503556"/>
                  <a:pt x="977926" y="1492672"/>
                  <a:pt x="988265" y="1492128"/>
                </a:cubicBezTo>
                <a:close/>
                <a:moveTo>
                  <a:pt x="1152606" y="1490496"/>
                </a:moveTo>
                <a:cubicBezTo>
                  <a:pt x="1167299" y="1489407"/>
                  <a:pt x="1176006" y="1498658"/>
                  <a:pt x="1176006" y="1513351"/>
                </a:cubicBezTo>
                <a:cubicBezTo>
                  <a:pt x="1176006" y="1530764"/>
                  <a:pt x="1166755" y="1537295"/>
                  <a:pt x="1152606" y="1537839"/>
                </a:cubicBezTo>
                <a:cubicBezTo>
                  <a:pt x="1139546" y="1537839"/>
                  <a:pt x="1129207" y="1530764"/>
                  <a:pt x="1129207" y="1514984"/>
                </a:cubicBezTo>
                <a:cubicBezTo>
                  <a:pt x="1129207" y="1498114"/>
                  <a:pt x="1138458" y="1491040"/>
                  <a:pt x="1152606" y="1490496"/>
                </a:cubicBezTo>
                <a:close/>
                <a:moveTo>
                  <a:pt x="1316403" y="1487231"/>
                </a:moveTo>
                <a:cubicBezTo>
                  <a:pt x="1331095" y="1487775"/>
                  <a:pt x="1342523" y="1499203"/>
                  <a:pt x="1342523" y="1513896"/>
                </a:cubicBezTo>
                <a:cubicBezTo>
                  <a:pt x="1342523" y="1528588"/>
                  <a:pt x="1330551" y="1540560"/>
                  <a:pt x="1315314" y="1540560"/>
                </a:cubicBezTo>
                <a:cubicBezTo>
                  <a:pt x="1303887" y="1542193"/>
                  <a:pt x="1288106" y="1527500"/>
                  <a:pt x="1288650" y="1513896"/>
                </a:cubicBezTo>
                <a:cubicBezTo>
                  <a:pt x="1289194" y="1498659"/>
                  <a:pt x="1301166" y="1486687"/>
                  <a:pt x="1316403" y="1487231"/>
                </a:cubicBezTo>
                <a:close/>
                <a:moveTo>
                  <a:pt x="1479656" y="1485054"/>
                </a:moveTo>
                <a:cubicBezTo>
                  <a:pt x="1495437" y="1485598"/>
                  <a:pt x="1508497" y="1496482"/>
                  <a:pt x="1507409" y="1513895"/>
                </a:cubicBezTo>
                <a:cubicBezTo>
                  <a:pt x="1508497" y="1527500"/>
                  <a:pt x="1498158" y="1542192"/>
                  <a:pt x="1479112" y="1541648"/>
                </a:cubicBezTo>
                <a:cubicBezTo>
                  <a:pt x="1462787" y="1541648"/>
                  <a:pt x="1451359" y="1529676"/>
                  <a:pt x="1451359" y="1513351"/>
                </a:cubicBezTo>
                <a:cubicBezTo>
                  <a:pt x="1451359" y="1493761"/>
                  <a:pt x="1466596" y="1485054"/>
                  <a:pt x="1479656" y="1485054"/>
                </a:cubicBezTo>
                <a:close/>
                <a:moveTo>
                  <a:pt x="1641820" y="1482334"/>
                </a:moveTo>
                <a:cubicBezTo>
                  <a:pt x="1657057" y="1481789"/>
                  <a:pt x="1672838" y="1496482"/>
                  <a:pt x="1673382" y="1512807"/>
                </a:cubicBezTo>
                <a:cubicBezTo>
                  <a:pt x="1673927" y="1528044"/>
                  <a:pt x="1658145" y="1544370"/>
                  <a:pt x="1642909" y="1544370"/>
                </a:cubicBezTo>
                <a:cubicBezTo>
                  <a:pt x="1626039" y="1542193"/>
                  <a:pt x="1612979" y="1532942"/>
                  <a:pt x="1612435" y="1513351"/>
                </a:cubicBezTo>
                <a:cubicBezTo>
                  <a:pt x="1611890" y="1497571"/>
                  <a:pt x="1626583" y="1483422"/>
                  <a:pt x="1641820" y="1482334"/>
                </a:cubicBezTo>
                <a:close/>
                <a:moveTo>
                  <a:pt x="1804529" y="1481788"/>
                </a:moveTo>
                <a:cubicBezTo>
                  <a:pt x="1820855" y="1481244"/>
                  <a:pt x="1836091" y="1494304"/>
                  <a:pt x="1837180" y="1513351"/>
                </a:cubicBezTo>
                <a:cubicBezTo>
                  <a:pt x="1838812" y="1528043"/>
                  <a:pt x="1825208" y="1544913"/>
                  <a:pt x="1805617" y="1545457"/>
                </a:cubicBezTo>
                <a:cubicBezTo>
                  <a:pt x="1787660" y="1544913"/>
                  <a:pt x="1774055" y="1532397"/>
                  <a:pt x="1773511" y="1514983"/>
                </a:cubicBezTo>
                <a:cubicBezTo>
                  <a:pt x="1772967" y="1494849"/>
                  <a:pt x="1788204" y="1482333"/>
                  <a:pt x="1804529" y="1481788"/>
                </a:cubicBezTo>
                <a:close/>
                <a:moveTo>
                  <a:pt x="1968870" y="1480700"/>
                </a:moveTo>
                <a:cubicBezTo>
                  <a:pt x="1984651" y="1480700"/>
                  <a:pt x="2000977" y="1495937"/>
                  <a:pt x="2000977" y="1513351"/>
                </a:cubicBezTo>
                <a:cubicBezTo>
                  <a:pt x="2001521" y="1529132"/>
                  <a:pt x="1987916" y="1546001"/>
                  <a:pt x="1968870" y="1545457"/>
                </a:cubicBezTo>
                <a:cubicBezTo>
                  <a:pt x="1949824" y="1545457"/>
                  <a:pt x="1936764" y="1530764"/>
                  <a:pt x="1936764" y="1513351"/>
                </a:cubicBezTo>
                <a:cubicBezTo>
                  <a:pt x="1936764" y="1493760"/>
                  <a:pt x="1953633" y="1480700"/>
                  <a:pt x="1968870" y="1480700"/>
                </a:cubicBezTo>
                <a:close/>
                <a:moveTo>
                  <a:pt x="581221" y="1423562"/>
                </a:moveTo>
                <a:cubicBezTo>
                  <a:pt x="586663" y="1423562"/>
                  <a:pt x="589384" y="1427371"/>
                  <a:pt x="588840" y="1431725"/>
                </a:cubicBezTo>
                <a:cubicBezTo>
                  <a:pt x="588840" y="1434990"/>
                  <a:pt x="585030" y="1438255"/>
                  <a:pt x="581765" y="1443153"/>
                </a:cubicBezTo>
                <a:cubicBezTo>
                  <a:pt x="577412" y="1438255"/>
                  <a:pt x="574147" y="1436078"/>
                  <a:pt x="573059" y="1432813"/>
                </a:cubicBezTo>
                <a:cubicBezTo>
                  <a:pt x="571426" y="1429004"/>
                  <a:pt x="576868" y="1423562"/>
                  <a:pt x="581221" y="1423562"/>
                </a:cubicBezTo>
                <a:close/>
                <a:moveTo>
                  <a:pt x="745562" y="1414855"/>
                </a:moveTo>
                <a:cubicBezTo>
                  <a:pt x="754269" y="1415399"/>
                  <a:pt x="761344" y="1423018"/>
                  <a:pt x="761344" y="1432269"/>
                </a:cubicBezTo>
                <a:cubicBezTo>
                  <a:pt x="761344" y="1442064"/>
                  <a:pt x="754813" y="1448050"/>
                  <a:pt x="745018" y="1448050"/>
                </a:cubicBezTo>
                <a:cubicBezTo>
                  <a:pt x="734679" y="1448050"/>
                  <a:pt x="728693" y="1442064"/>
                  <a:pt x="728693" y="1431725"/>
                </a:cubicBezTo>
                <a:cubicBezTo>
                  <a:pt x="728693" y="1421386"/>
                  <a:pt x="735223" y="1414311"/>
                  <a:pt x="745562" y="1414855"/>
                </a:cubicBezTo>
                <a:close/>
                <a:moveTo>
                  <a:pt x="908815" y="1409958"/>
                </a:moveTo>
                <a:cubicBezTo>
                  <a:pt x="920243" y="1410502"/>
                  <a:pt x="930038" y="1420297"/>
                  <a:pt x="930038" y="1431725"/>
                </a:cubicBezTo>
                <a:cubicBezTo>
                  <a:pt x="929494" y="1443697"/>
                  <a:pt x="919155" y="1454036"/>
                  <a:pt x="907183" y="1453492"/>
                </a:cubicBezTo>
                <a:cubicBezTo>
                  <a:pt x="896844" y="1453492"/>
                  <a:pt x="885960" y="1442064"/>
                  <a:pt x="885960" y="1431725"/>
                </a:cubicBezTo>
                <a:cubicBezTo>
                  <a:pt x="885960" y="1420297"/>
                  <a:pt x="897388" y="1409414"/>
                  <a:pt x="908815" y="1409958"/>
                </a:cubicBezTo>
                <a:close/>
                <a:moveTo>
                  <a:pt x="1070436" y="1406693"/>
                </a:moveTo>
                <a:cubicBezTo>
                  <a:pt x="1084584" y="1406693"/>
                  <a:pt x="1096012" y="1418121"/>
                  <a:pt x="1096012" y="1432269"/>
                </a:cubicBezTo>
                <a:cubicBezTo>
                  <a:pt x="1096012" y="1445329"/>
                  <a:pt x="1082952" y="1458390"/>
                  <a:pt x="1070436" y="1457846"/>
                </a:cubicBezTo>
                <a:cubicBezTo>
                  <a:pt x="1058464" y="1457301"/>
                  <a:pt x="1044860" y="1443153"/>
                  <a:pt x="1045404" y="1431181"/>
                </a:cubicBezTo>
                <a:cubicBezTo>
                  <a:pt x="1045948" y="1418665"/>
                  <a:pt x="1057920" y="1406693"/>
                  <a:pt x="1070436" y="1406693"/>
                </a:cubicBezTo>
                <a:close/>
                <a:moveTo>
                  <a:pt x="1235865" y="1404516"/>
                </a:moveTo>
                <a:cubicBezTo>
                  <a:pt x="1252191" y="1405605"/>
                  <a:pt x="1262530" y="1415944"/>
                  <a:pt x="1261986" y="1433358"/>
                </a:cubicBezTo>
                <a:cubicBezTo>
                  <a:pt x="1261442" y="1449683"/>
                  <a:pt x="1251102" y="1459478"/>
                  <a:pt x="1233689" y="1459478"/>
                </a:cubicBezTo>
                <a:cubicBezTo>
                  <a:pt x="1218452" y="1461655"/>
                  <a:pt x="1206480" y="1445329"/>
                  <a:pt x="1206480" y="1432269"/>
                </a:cubicBezTo>
                <a:cubicBezTo>
                  <a:pt x="1206480" y="1417032"/>
                  <a:pt x="1220084" y="1403428"/>
                  <a:pt x="1235865" y="1404516"/>
                </a:cubicBezTo>
                <a:close/>
                <a:moveTo>
                  <a:pt x="1397485" y="1400162"/>
                </a:moveTo>
                <a:cubicBezTo>
                  <a:pt x="1412178" y="1400162"/>
                  <a:pt x="1427959" y="1416487"/>
                  <a:pt x="1427959" y="1431724"/>
                </a:cubicBezTo>
                <a:cubicBezTo>
                  <a:pt x="1428503" y="1446961"/>
                  <a:pt x="1413810" y="1462198"/>
                  <a:pt x="1398029" y="1463287"/>
                </a:cubicBezTo>
                <a:cubicBezTo>
                  <a:pt x="1384425" y="1464375"/>
                  <a:pt x="1367555" y="1448049"/>
                  <a:pt x="1366467" y="1432813"/>
                </a:cubicBezTo>
                <a:cubicBezTo>
                  <a:pt x="1365923" y="1418120"/>
                  <a:pt x="1382792" y="1400162"/>
                  <a:pt x="1397485" y="1400162"/>
                </a:cubicBezTo>
                <a:close/>
                <a:moveTo>
                  <a:pt x="1561282" y="1399618"/>
                </a:moveTo>
                <a:cubicBezTo>
                  <a:pt x="1575975" y="1399618"/>
                  <a:pt x="1593388" y="1415943"/>
                  <a:pt x="1593388" y="1432269"/>
                </a:cubicBezTo>
                <a:cubicBezTo>
                  <a:pt x="1593388" y="1446961"/>
                  <a:pt x="1578696" y="1464919"/>
                  <a:pt x="1560738" y="1464375"/>
                </a:cubicBezTo>
                <a:cubicBezTo>
                  <a:pt x="1542236" y="1463831"/>
                  <a:pt x="1529176" y="1450226"/>
                  <a:pt x="1528631" y="1432813"/>
                </a:cubicBezTo>
                <a:cubicBezTo>
                  <a:pt x="1528087" y="1414311"/>
                  <a:pt x="1545501" y="1399618"/>
                  <a:pt x="1561282" y="1399618"/>
                </a:cubicBezTo>
                <a:close/>
                <a:moveTo>
                  <a:pt x="1723446" y="1399074"/>
                </a:moveTo>
                <a:cubicBezTo>
                  <a:pt x="1741948" y="1399074"/>
                  <a:pt x="1757185" y="1413767"/>
                  <a:pt x="1757185" y="1432269"/>
                </a:cubicBezTo>
                <a:cubicBezTo>
                  <a:pt x="1757185" y="1451315"/>
                  <a:pt x="1743037" y="1463831"/>
                  <a:pt x="1723991" y="1465464"/>
                </a:cubicBezTo>
                <a:cubicBezTo>
                  <a:pt x="1707121" y="1466552"/>
                  <a:pt x="1690252" y="1448594"/>
                  <a:pt x="1691340" y="1433357"/>
                </a:cubicBezTo>
                <a:cubicBezTo>
                  <a:pt x="1692428" y="1412678"/>
                  <a:pt x="1704400" y="1399074"/>
                  <a:pt x="1723446" y="1399074"/>
                </a:cubicBezTo>
                <a:close/>
                <a:moveTo>
                  <a:pt x="1886700" y="1398530"/>
                </a:moveTo>
                <a:cubicBezTo>
                  <a:pt x="1904113" y="1396898"/>
                  <a:pt x="1922071" y="1415944"/>
                  <a:pt x="1920439" y="1432269"/>
                </a:cubicBezTo>
                <a:cubicBezTo>
                  <a:pt x="1919350" y="1451315"/>
                  <a:pt x="1907378" y="1464920"/>
                  <a:pt x="1887788" y="1464920"/>
                </a:cubicBezTo>
                <a:cubicBezTo>
                  <a:pt x="1867109" y="1464920"/>
                  <a:pt x="1854049" y="1452948"/>
                  <a:pt x="1854049" y="1433358"/>
                </a:cubicBezTo>
                <a:cubicBezTo>
                  <a:pt x="1854049" y="1412679"/>
                  <a:pt x="1867109" y="1400163"/>
                  <a:pt x="1886700" y="1398530"/>
                </a:cubicBezTo>
                <a:close/>
                <a:moveTo>
                  <a:pt x="2051041" y="1398217"/>
                </a:moveTo>
                <a:lnTo>
                  <a:pt x="2051041" y="1464535"/>
                </a:lnTo>
                <a:lnTo>
                  <a:pt x="2049953" y="1464920"/>
                </a:lnTo>
                <a:cubicBezTo>
                  <a:pt x="2032539" y="1467096"/>
                  <a:pt x="2017302" y="1450771"/>
                  <a:pt x="2017302" y="1431725"/>
                </a:cubicBezTo>
                <a:cubicBezTo>
                  <a:pt x="2017302" y="1422746"/>
                  <a:pt x="2021383" y="1414311"/>
                  <a:pt x="2027709" y="1408121"/>
                </a:cubicBezTo>
                <a:close/>
                <a:moveTo>
                  <a:pt x="500139" y="1341936"/>
                </a:moveTo>
                <a:cubicBezTo>
                  <a:pt x="503404" y="1343568"/>
                  <a:pt x="506125" y="1346833"/>
                  <a:pt x="511023" y="1350643"/>
                </a:cubicBezTo>
                <a:cubicBezTo>
                  <a:pt x="506125" y="1354452"/>
                  <a:pt x="502860" y="1357717"/>
                  <a:pt x="499595" y="1358261"/>
                </a:cubicBezTo>
                <a:cubicBezTo>
                  <a:pt x="495241" y="1359349"/>
                  <a:pt x="490888" y="1353908"/>
                  <a:pt x="491432" y="1349010"/>
                </a:cubicBezTo>
                <a:cubicBezTo>
                  <a:pt x="491976" y="1344112"/>
                  <a:pt x="495241" y="1340848"/>
                  <a:pt x="500139" y="1341936"/>
                </a:cubicBezTo>
                <a:close/>
                <a:moveTo>
                  <a:pt x="662848" y="1333773"/>
                </a:moveTo>
                <a:cubicBezTo>
                  <a:pt x="673187" y="1333773"/>
                  <a:pt x="679173" y="1340303"/>
                  <a:pt x="679173" y="1350643"/>
                </a:cubicBezTo>
                <a:cubicBezTo>
                  <a:pt x="679173" y="1359894"/>
                  <a:pt x="672099" y="1366424"/>
                  <a:pt x="662848" y="1366424"/>
                </a:cubicBezTo>
                <a:cubicBezTo>
                  <a:pt x="653053" y="1366424"/>
                  <a:pt x="647067" y="1359894"/>
                  <a:pt x="647067" y="1350098"/>
                </a:cubicBezTo>
                <a:cubicBezTo>
                  <a:pt x="647067" y="1339759"/>
                  <a:pt x="653053" y="1333773"/>
                  <a:pt x="662848" y="1333773"/>
                </a:cubicBezTo>
                <a:close/>
                <a:moveTo>
                  <a:pt x="826645" y="1328331"/>
                </a:moveTo>
                <a:cubicBezTo>
                  <a:pt x="838617" y="1328331"/>
                  <a:pt x="848412" y="1338670"/>
                  <a:pt x="847868" y="1350642"/>
                </a:cubicBezTo>
                <a:cubicBezTo>
                  <a:pt x="847868" y="1362070"/>
                  <a:pt x="836984" y="1372409"/>
                  <a:pt x="825556" y="1372409"/>
                </a:cubicBezTo>
                <a:cubicBezTo>
                  <a:pt x="814673" y="1372409"/>
                  <a:pt x="803789" y="1360982"/>
                  <a:pt x="804334" y="1349554"/>
                </a:cubicBezTo>
                <a:cubicBezTo>
                  <a:pt x="804334" y="1337582"/>
                  <a:pt x="814673" y="1328331"/>
                  <a:pt x="826645" y="1328331"/>
                </a:cubicBezTo>
                <a:close/>
                <a:moveTo>
                  <a:pt x="989353" y="1323978"/>
                </a:moveTo>
                <a:cubicBezTo>
                  <a:pt x="1002957" y="1324522"/>
                  <a:pt x="1014385" y="1334861"/>
                  <a:pt x="1015473" y="1350098"/>
                </a:cubicBezTo>
                <a:cubicBezTo>
                  <a:pt x="1014929" y="1363702"/>
                  <a:pt x="1004046" y="1376219"/>
                  <a:pt x="989353" y="1376763"/>
                </a:cubicBezTo>
                <a:cubicBezTo>
                  <a:pt x="976293" y="1376763"/>
                  <a:pt x="963777" y="1364791"/>
                  <a:pt x="963777" y="1350642"/>
                </a:cubicBezTo>
                <a:cubicBezTo>
                  <a:pt x="963233" y="1334861"/>
                  <a:pt x="977925" y="1323434"/>
                  <a:pt x="989353" y="1323978"/>
                </a:cubicBezTo>
                <a:close/>
                <a:moveTo>
                  <a:pt x="1152606" y="1322889"/>
                </a:moveTo>
                <a:cubicBezTo>
                  <a:pt x="1170564" y="1320712"/>
                  <a:pt x="1180903" y="1335405"/>
                  <a:pt x="1181447" y="1350098"/>
                </a:cubicBezTo>
                <a:cubicBezTo>
                  <a:pt x="1181447" y="1364791"/>
                  <a:pt x="1171108" y="1379483"/>
                  <a:pt x="1152606" y="1379483"/>
                </a:cubicBezTo>
                <a:cubicBezTo>
                  <a:pt x="1137913" y="1379483"/>
                  <a:pt x="1124853" y="1367511"/>
                  <a:pt x="1124853" y="1350642"/>
                </a:cubicBezTo>
                <a:cubicBezTo>
                  <a:pt x="1124309" y="1333228"/>
                  <a:pt x="1137913" y="1320712"/>
                  <a:pt x="1152606" y="1322889"/>
                </a:cubicBezTo>
                <a:close/>
                <a:moveTo>
                  <a:pt x="1315315" y="1318536"/>
                </a:moveTo>
                <a:cubicBezTo>
                  <a:pt x="1334361" y="1318536"/>
                  <a:pt x="1345789" y="1331596"/>
                  <a:pt x="1347966" y="1350098"/>
                </a:cubicBezTo>
                <a:cubicBezTo>
                  <a:pt x="1345245" y="1369144"/>
                  <a:pt x="1334905" y="1382205"/>
                  <a:pt x="1315315" y="1381661"/>
                </a:cubicBezTo>
                <a:cubicBezTo>
                  <a:pt x="1296813" y="1381116"/>
                  <a:pt x="1284841" y="1369144"/>
                  <a:pt x="1284297" y="1350098"/>
                </a:cubicBezTo>
                <a:cubicBezTo>
                  <a:pt x="1284297" y="1331052"/>
                  <a:pt x="1297357" y="1319080"/>
                  <a:pt x="1315315" y="1318536"/>
                </a:cubicBezTo>
                <a:close/>
                <a:moveTo>
                  <a:pt x="1480744" y="1317448"/>
                </a:moveTo>
                <a:cubicBezTo>
                  <a:pt x="1499246" y="1317992"/>
                  <a:pt x="1512851" y="1332140"/>
                  <a:pt x="1512306" y="1351731"/>
                </a:cubicBezTo>
                <a:cubicBezTo>
                  <a:pt x="1511762" y="1370233"/>
                  <a:pt x="1497070" y="1383837"/>
                  <a:pt x="1477479" y="1383293"/>
                </a:cubicBezTo>
                <a:cubicBezTo>
                  <a:pt x="1458977" y="1382749"/>
                  <a:pt x="1447550" y="1368600"/>
                  <a:pt x="1446461" y="1349554"/>
                </a:cubicBezTo>
                <a:cubicBezTo>
                  <a:pt x="1445373" y="1333773"/>
                  <a:pt x="1463331" y="1314727"/>
                  <a:pt x="1480744" y="1317448"/>
                </a:cubicBezTo>
                <a:close/>
                <a:moveTo>
                  <a:pt x="1642908" y="1315815"/>
                </a:moveTo>
                <a:cubicBezTo>
                  <a:pt x="1663043" y="1315815"/>
                  <a:pt x="1677735" y="1333229"/>
                  <a:pt x="1676647" y="1351731"/>
                </a:cubicBezTo>
                <a:cubicBezTo>
                  <a:pt x="1675559" y="1371865"/>
                  <a:pt x="1661954" y="1384381"/>
                  <a:pt x="1640732" y="1383837"/>
                </a:cubicBezTo>
                <a:cubicBezTo>
                  <a:pt x="1620597" y="1384381"/>
                  <a:pt x="1608081" y="1368056"/>
                  <a:pt x="1608081" y="1349554"/>
                </a:cubicBezTo>
                <a:cubicBezTo>
                  <a:pt x="1608081" y="1329964"/>
                  <a:pt x="1623318" y="1315815"/>
                  <a:pt x="1642908" y="1315815"/>
                </a:cubicBezTo>
                <a:close/>
                <a:moveTo>
                  <a:pt x="1968870" y="1314183"/>
                </a:moveTo>
                <a:cubicBezTo>
                  <a:pt x="1989548" y="1314727"/>
                  <a:pt x="2004785" y="1329420"/>
                  <a:pt x="2005329" y="1351187"/>
                </a:cubicBezTo>
                <a:cubicBezTo>
                  <a:pt x="2004785" y="1370233"/>
                  <a:pt x="1985739" y="1388735"/>
                  <a:pt x="1967781" y="1388191"/>
                </a:cubicBezTo>
                <a:cubicBezTo>
                  <a:pt x="1949823" y="1387647"/>
                  <a:pt x="1931322" y="1367512"/>
                  <a:pt x="1931866" y="1350098"/>
                </a:cubicBezTo>
                <a:cubicBezTo>
                  <a:pt x="1932410" y="1331596"/>
                  <a:pt x="1950912" y="1313094"/>
                  <a:pt x="1968870" y="1314183"/>
                </a:cubicBezTo>
                <a:close/>
                <a:moveTo>
                  <a:pt x="1806161" y="1313639"/>
                </a:moveTo>
                <a:cubicBezTo>
                  <a:pt x="1825207" y="1314183"/>
                  <a:pt x="1843165" y="1332141"/>
                  <a:pt x="1841533" y="1351187"/>
                </a:cubicBezTo>
                <a:cubicBezTo>
                  <a:pt x="1840988" y="1360438"/>
                  <a:pt x="1838267" y="1370233"/>
                  <a:pt x="1830105" y="1376763"/>
                </a:cubicBezTo>
                <a:cubicBezTo>
                  <a:pt x="1822486" y="1383293"/>
                  <a:pt x="1813235" y="1387102"/>
                  <a:pt x="1803984" y="1387102"/>
                </a:cubicBezTo>
                <a:cubicBezTo>
                  <a:pt x="1786027" y="1387102"/>
                  <a:pt x="1768613" y="1367512"/>
                  <a:pt x="1768613" y="1350098"/>
                </a:cubicBezTo>
                <a:cubicBezTo>
                  <a:pt x="1769157" y="1331596"/>
                  <a:pt x="1788203" y="1313094"/>
                  <a:pt x="1806161" y="1313639"/>
                </a:cubicBezTo>
                <a:close/>
                <a:moveTo>
                  <a:pt x="419057" y="1262486"/>
                </a:moveTo>
                <a:cubicBezTo>
                  <a:pt x="423410" y="1262486"/>
                  <a:pt x="425587" y="1265207"/>
                  <a:pt x="424499" y="1269016"/>
                </a:cubicBezTo>
                <a:cubicBezTo>
                  <a:pt x="423410" y="1271737"/>
                  <a:pt x="421234" y="1273914"/>
                  <a:pt x="417969" y="1278811"/>
                </a:cubicBezTo>
                <a:cubicBezTo>
                  <a:pt x="414704" y="1273914"/>
                  <a:pt x="412527" y="1271737"/>
                  <a:pt x="411983" y="1269016"/>
                </a:cubicBezTo>
                <a:cubicBezTo>
                  <a:pt x="410894" y="1264118"/>
                  <a:pt x="414159" y="1262486"/>
                  <a:pt x="419057" y="1262486"/>
                </a:cubicBezTo>
                <a:close/>
                <a:moveTo>
                  <a:pt x="581221" y="1252147"/>
                </a:moveTo>
                <a:cubicBezTo>
                  <a:pt x="591016" y="1252691"/>
                  <a:pt x="598091" y="1260310"/>
                  <a:pt x="597547" y="1269017"/>
                </a:cubicBezTo>
                <a:cubicBezTo>
                  <a:pt x="597547" y="1278268"/>
                  <a:pt x="589928" y="1284798"/>
                  <a:pt x="580133" y="1284254"/>
                </a:cubicBezTo>
                <a:cubicBezTo>
                  <a:pt x="570882" y="1283709"/>
                  <a:pt x="564896" y="1277179"/>
                  <a:pt x="564896" y="1268472"/>
                </a:cubicBezTo>
                <a:cubicBezTo>
                  <a:pt x="564896" y="1259222"/>
                  <a:pt x="571970" y="1252147"/>
                  <a:pt x="581221" y="1252147"/>
                </a:cubicBezTo>
                <a:close/>
                <a:moveTo>
                  <a:pt x="745018" y="1246705"/>
                </a:moveTo>
                <a:cubicBezTo>
                  <a:pt x="757534" y="1246705"/>
                  <a:pt x="766785" y="1257044"/>
                  <a:pt x="766241" y="1269560"/>
                </a:cubicBezTo>
                <a:cubicBezTo>
                  <a:pt x="765697" y="1280988"/>
                  <a:pt x="755358" y="1290783"/>
                  <a:pt x="744474" y="1290783"/>
                </a:cubicBezTo>
                <a:cubicBezTo>
                  <a:pt x="733046" y="1290783"/>
                  <a:pt x="722707" y="1279900"/>
                  <a:pt x="722707" y="1267928"/>
                </a:cubicBezTo>
                <a:cubicBezTo>
                  <a:pt x="722707" y="1255956"/>
                  <a:pt x="733046" y="1246705"/>
                  <a:pt x="745018" y="1246705"/>
                </a:cubicBezTo>
                <a:close/>
                <a:moveTo>
                  <a:pt x="907727" y="1241807"/>
                </a:moveTo>
                <a:cubicBezTo>
                  <a:pt x="921331" y="1241807"/>
                  <a:pt x="934391" y="1257044"/>
                  <a:pt x="933847" y="1269016"/>
                </a:cubicBezTo>
                <a:cubicBezTo>
                  <a:pt x="933847" y="1282620"/>
                  <a:pt x="920787" y="1295680"/>
                  <a:pt x="907183" y="1295136"/>
                </a:cubicBezTo>
                <a:cubicBezTo>
                  <a:pt x="893578" y="1294592"/>
                  <a:pt x="880518" y="1280988"/>
                  <a:pt x="880518" y="1267927"/>
                </a:cubicBezTo>
                <a:cubicBezTo>
                  <a:pt x="881062" y="1254323"/>
                  <a:pt x="894122" y="1242351"/>
                  <a:pt x="907727" y="1241807"/>
                </a:cubicBezTo>
                <a:close/>
                <a:moveTo>
                  <a:pt x="1070979" y="1240719"/>
                </a:moveTo>
                <a:cubicBezTo>
                  <a:pt x="1091114" y="1240175"/>
                  <a:pt x="1099276" y="1252691"/>
                  <a:pt x="1099821" y="1268472"/>
                </a:cubicBezTo>
                <a:cubicBezTo>
                  <a:pt x="1099821" y="1285886"/>
                  <a:pt x="1088393" y="1297858"/>
                  <a:pt x="1070435" y="1297858"/>
                </a:cubicBezTo>
                <a:cubicBezTo>
                  <a:pt x="1053566" y="1297858"/>
                  <a:pt x="1042138" y="1286430"/>
                  <a:pt x="1042138" y="1269560"/>
                </a:cubicBezTo>
                <a:cubicBezTo>
                  <a:pt x="1042138" y="1250514"/>
                  <a:pt x="1053566" y="1240719"/>
                  <a:pt x="1070979" y="1240719"/>
                </a:cubicBezTo>
                <a:close/>
                <a:moveTo>
                  <a:pt x="1234233" y="1235821"/>
                </a:moveTo>
                <a:cubicBezTo>
                  <a:pt x="1250558" y="1235821"/>
                  <a:pt x="1267972" y="1252691"/>
                  <a:pt x="1266883" y="1269016"/>
                </a:cubicBezTo>
                <a:cubicBezTo>
                  <a:pt x="1266339" y="1285885"/>
                  <a:pt x="1251646" y="1301122"/>
                  <a:pt x="1234233" y="1300578"/>
                </a:cubicBezTo>
                <a:cubicBezTo>
                  <a:pt x="1216275" y="1300578"/>
                  <a:pt x="1201582" y="1286430"/>
                  <a:pt x="1201582" y="1267383"/>
                </a:cubicBezTo>
                <a:cubicBezTo>
                  <a:pt x="1201582" y="1249425"/>
                  <a:pt x="1217907" y="1235821"/>
                  <a:pt x="1234233" y="1235821"/>
                </a:cubicBezTo>
                <a:close/>
                <a:moveTo>
                  <a:pt x="1396397" y="1234733"/>
                </a:moveTo>
                <a:cubicBezTo>
                  <a:pt x="1413810" y="1233645"/>
                  <a:pt x="1433945" y="1250514"/>
                  <a:pt x="1431224" y="1268472"/>
                </a:cubicBezTo>
                <a:cubicBezTo>
                  <a:pt x="1433401" y="1286430"/>
                  <a:pt x="1415443" y="1303299"/>
                  <a:pt x="1396941" y="1302755"/>
                </a:cubicBezTo>
                <a:cubicBezTo>
                  <a:pt x="1381160" y="1302211"/>
                  <a:pt x="1363202" y="1290783"/>
                  <a:pt x="1363746" y="1269016"/>
                </a:cubicBezTo>
                <a:cubicBezTo>
                  <a:pt x="1364290" y="1248881"/>
                  <a:pt x="1376806" y="1235821"/>
                  <a:pt x="1396397" y="1234733"/>
                </a:cubicBezTo>
                <a:close/>
                <a:moveTo>
                  <a:pt x="1559649" y="1232557"/>
                </a:moveTo>
                <a:cubicBezTo>
                  <a:pt x="1580328" y="1232013"/>
                  <a:pt x="1595021" y="1246705"/>
                  <a:pt x="1597742" y="1268472"/>
                </a:cubicBezTo>
                <a:cubicBezTo>
                  <a:pt x="1598286" y="1286974"/>
                  <a:pt x="1580872" y="1304932"/>
                  <a:pt x="1561826" y="1305476"/>
                </a:cubicBezTo>
                <a:cubicBezTo>
                  <a:pt x="1543868" y="1306564"/>
                  <a:pt x="1524822" y="1288063"/>
                  <a:pt x="1523734" y="1269561"/>
                </a:cubicBezTo>
                <a:cubicBezTo>
                  <a:pt x="1522645" y="1252147"/>
                  <a:pt x="1541147" y="1232557"/>
                  <a:pt x="1559649" y="1232557"/>
                </a:cubicBezTo>
                <a:close/>
                <a:moveTo>
                  <a:pt x="1723990" y="1231468"/>
                </a:moveTo>
                <a:cubicBezTo>
                  <a:pt x="1743037" y="1231468"/>
                  <a:pt x="1761539" y="1249426"/>
                  <a:pt x="1762083" y="1268472"/>
                </a:cubicBezTo>
                <a:cubicBezTo>
                  <a:pt x="1762627" y="1290239"/>
                  <a:pt x="1741404" y="1306020"/>
                  <a:pt x="1724535" y="1307109"/>
                </a:cubicBezTo>
                <a:cubicBezTo>
                  <a:pt x="1706033" y="1306564"/>
                  <a:pt x="1687531" y="1290239"/>
                  <a:pt x="1686442" y="1270105"/>
                </a:cubicBezTo>
                <a:cubicBezTo>
                  <a:pt x="1685354" y="1254323"/>
                  <a:pt x="1701679" y="1231468"/>
                  <a:pt x="1723990" y="1231468"/>
                </a:cubicBezTo>
                <a:close/>
                <a:moveTo>
                  <a:pt x="1888332" y="1230924"/>
                </a:moveTo>
                <a:cubicBezTo>
                  <a:pt x="1905745" y="1229836"/>
                  <a:pt x="1928056" y="1250514"/>
                  <a:pt x="1925336" y="1269561"/>
                </a:cubicBezTo>
                <a:cubicBezTo>
                  <a:pt x="1925336" y="1289695"/>
                  <a:pt x="1907378" y="1306564"/>
                  <a:pt x="1887243" y="1307653"/>
                </a:cubicBezTo>
                <a:cubicBezTo>
                  <a:pt x="1870918" y="1308197"/>
                  <a:pt x="1847519" y="1288063"/>
                  <a:pt x="1849151" y="1267928"/>
                </a:cubicBezTo>
                <a:cubicBezTo>
                  <a:pt x="1850239" y="1247794"/>
                  <a:pt x="1867653" y="1231468"/>
                  <a:pt x="1888332" y="1230924"/>
                </a:cubicBezTo>
                <a:close/>
                <a:moveTo>
                  <a:pt x="2049952" y="1230380"/>
                </a:moveTo>
                <a:lnTo>
                  <a:pt x="2051041" y="1230805"/>
                </a:lnTo>
                <a:lnTo>
                  <a:pt x="2051041" y="1307109"/>
                </a:lnTo>
                <a:cubicBezTo>
                  <a:pt x="2033627" y="1309830"/>
                  <a:pt x="2011316" y="1286974"/>
                  <a:pt x="2012404" y="1268472"/>
                </a:cubicBezTo>
                <a:cubicBezTo>
                  <a:pt x="2013493" y="1247794"/>
                  <a:pt x="2029274" y="1230380"/>
                  <a:pt x="2049952" y="1230380"/>
                </a:cubicBezTo>
                <a:close/>
                <a:moveTo>
                  <a:pt x="337431" y="1181404"/>
                </a:moveTo>
                <a:cubicBezTo>
                  <a:pt x="339608" y="1182493"/>
                  <a:pt x="341240" y="1184669"/>
                  <a:pt x="345050" y="1187934"/>
                </a:cubicBezTo>
                <a:cubicBezTo>
                  <a:pt x="340696" y="1190111"/>
                  <a:pt x="338519" y="1192288"/>
                  <a:pt x="336343" y="1192288"/>
                </a:cubicBezTo>
                <a:cubicBezTo>
                  <a:pt x="331445" y="1192832"/>
                  <a:pt x="330901" y="1189567"/>
                  <a:pt x="330901" y="1185758"/>
                </a:cubicBezTo>
                <a:cubicBezTo>
                  <a:pt x="330901" y="1181404"/>
                  <a:pt x="334166" y="1180860"/>
                  <a:pt x="337431" y="1181404"/>
                </a:cubicBezTo>
                <a:close/>
                <a:moveTo>
                  <a:pt x="499051" y="1171065"/>
                </a:moveTo>
                <a:cubicBezTo>
                  <a:pt x="506125" y="1170521"/>
                  <a:pt x="516465" y="1179772"/>
                  <a:pt x="516465" y="1187390"/>
                </a:cubicBezTo>
                <a:cubicBezTo>
                  <a:pt x="515921" y="1193920"/>
                  <a:pt x="507214" y="1202627"/>
                  <a:pt x="500140" y="1202627"/>
                </a:cubicBezTo>
                <a:cubicBezTo>
                  <a:pt x="493065" y="1202627"/>
                  <a:pt x="484358" y="1195008"/>
                  <a:pt x="483814" y="1187390"/>
                </a:cubicBezTo>
                <a:cubicBezTo>
                  <a:pt x="483270" y="1180316"/>
                  <a:pt x="491977" y="1171065"/>
                  <a:pt x="499051" y="1171065"/>
                </a:cubicBezTo>
                <a:close/>
                <a:moveTo>
                  <a:pt x="662848" y="1165623"/>
                </a:moveTo>
                <a:cubicBezTo>
                  <a:pt x="675364" y="1165623"/>
                  <a:pt x="684615" y="1174874"/>
                  <a:pt x="684615" y="1187390"/>
                </a:cubicBezTo>
                <a:cubicBezTo>
                  <a:pt x="684615" y="1199362"/>
                  <a:pt x="674820" y="1209157"/>
                  <a:pt x="662848" y="1209157"/>
                </a:cubicBezTo>
                <a:cubicBezTo>
                  <a:pt x="651420" y="1209157"/>
                  <a:pt x="641081" y="1198274"/>
                  <a:pt x="641081" y="1186846"/>
                </a:cubicBezTo>
                <a:cubicBezTo>
                  <a:pt x="641081" y="1175418"/>
                  <a:pt x="651420" y="1165623"/>
                  <a:pt x="662848" y="1165623"/>
                </a:cubicBezTo>
                <a:close/>
                <a:moveTo>
                  <a:pt x="825556" y="1160725"/>
                </a:moveTo>
                <a:cubicBezTo>
                  <a:pt x="840249" y="1161270"/>
                  <a:pt x="851677" y="1171609"/>
                  <a:pt x="852765" y="1186846"/>
                </a:cubicBezTo>
                <a:cubicBezTo>
                  <a:pt x="853309" y="1199906"/>
                  <a:pt x="840249" y="1213511"/>
                  <a:pt x="826645" y="1213511"/>
                </a:cubicBezTo>
                <a:cubicBezTo>
                  <a:pt x="813585" y="1214055"/>
                  <a:pt x="799980" y="1200995"/>
                  <a:pt x="798892" y="1188479"/>
                </a:cubicBezTo>
                <a:cubicBezTo>
                  <a:pt x="797803" y="1173241"/>
                  <a:pt x="814129" y="1160181"/>
                  <a:pt x="825556" y="1160725"/>
                </a:cubicBezTo>
                <a:close/>
                <a:moveTo>
                  <a:pt x="989353" y="1158004"/>
                </a:moveTo>
                <a:cubicBezTo>
                  <a:pt x="1007855" y="1159092"/>
                  <a:pt x="1018739" y="1168888"/>
                  <a:pt x="1018195" y="1187934"/>
                </a:cubicBezTo>
                <a:cubicBezTo>
                  <a:pt x="1017651" y="1206436"/>
                  <a:pt x="1007311" y="1216231"/>
                  <a:pt x="988809" y="1216775"/>
                </a:cubicBezTo>
                <a:cubicBezTo>
                  <a:pt x="972484" y="1217319"/>
                  <a:pt x="960512" y="1203715"/>
                  <a:pt x="959968" y="1187934"/>
                </a:cubicBezTo>
                <a:cubicBezTo>
                  <a:pt x="959968" y="1170520"/>
                  <a:pt x="972484" y="1158004"/>
                  <a:pt x="989353" y="1158004"/>
                </a:cubicBezTo>
                <a:close/>
                <a:moveTo>
                  <a:pt x="1152062" y="1153651"/>
                </a:moveTo>
                <a:cubicBezTo>
                  <a:pt x="1166755" y="1152562"/>
                  <a:pt x="1186345" y="1171065"/>
                  <a:pt x="1185801" y="1186301"/>
                </a:cubicBezTo>
                <a:cubicBezTo>
                  <a:pt x="1184713" y="1205348"/>
                  <a:pt x="1171652" y="1218952"/>
                  <a:pt x="1153150" y="1219496"/>
                </a:cubicBezTo>
                <a:cubicBezTo>
                  <a:pt x="1135193" y="1221129"/>
                  <a:pt x="1119412" y="1204259"/>
                  <a:pt x="1119956" y="1187390"/>
                </a:cubicBezTo>
                <a:cubicBezTo>
                  <a:pt x="1120500" y="1168888"/>
                  <a:pt x="1134648" y="1154739"/>
                  <a:pt x="1152062" y="1153651"/>
                </a:cubicBezTo>
                <a:close/>
                <a:moveTo>
                  <a:pt x="1315315" y="1152018"/>
                </a:moveTo>
                <a:cubicBezTo>
                  <a:pt x="1336537" y="1151474"/>
                  <a:pt x="1351230" y="1169432"/>
                  <a:pt x="1351230" y="1186845"/>
                </a:cubicBezTo>
                <a:cubicBezTo>
                  <a:pt x="1350686" y="1205891"/>
                  <a:pt x="1338714" y="1222217"/>
                  <a:pt x="1315859" y="1221673"/>
                </a:cubicBezTo>
                <a:cubicBezTo>
                  <a:pt x="1294092" y="1221128"/>
                  <a:pt x="1282120" y="1209157"/>
                  <a:pt x="1281576" y="1187390"/>
                </a:cubicBezTo>
                <a:cubicBezTo>
                  <a:pt x="1281031" y="1167255"/>
                  <a:pt x="1295724" y="1152562"/>
                  <a:pt x="1315315" y="1152018"/>
                </a:cubicBezTo>
                <a:close/>
                <a:moveTo>
                  <a:pt x="1479656" y="1149298"/>
                </a:moveTo>
                <a:cubicBezTo>
                  <a:pt x="1500878" y="1149842"/>
                  <a:pt x="1517204" y="1168888"/>
                  <a:pt x="1516660" y="1188479"/>
                </a:cubicBezTo>
                <a:cubicBezTo>
                  <a:pt x="1515027" y="1210246"/>
                  <a:pt x="1495981" y="1224938"/>
                  <a:pt x="1478023" y="1224394"/>
                </a:cubicBezTo>
                <a:cubicBezTo>
                  <a:pt x="1457889" y="1223850"/>
                  <a:pt x="1439931" y="1205892"/>
                  <a:pt x="1441563" y="1185758"/>
                </a:cubicBezTo>
                <a:cubicBezTo>
                  <a:pt x="1442652" y="1166167"/>
                  <a:pt x="1458977" y="1149298"/>
                  <a:pt x="1479656" y="1149298"/>
                </a:cubicBezTo>
                <a:close/>
                <a:moveTo>
                  <a:pt x="1642365" y="1148209"/>
                </a:moveTo>
                <a:cubicBezTo>
                  <a:pt x="1659779" y="1147121"/>
                  <a:pt x="1681001" y="1166711"/>
                  <a:pt x="1681001" y="1187390"/>
                </a:cubicBezTo>
                <a:cubicBezTo>
                  <a:pt x="1681001" y="1208613"/>
                  <a:pt x="1658690" y="1226026"/>
                  <a:pt x="1641821" y="1226026"/>
                </a:cubicBezTo>
                <a:cubicBezTo>
                  <a:pt x="1624407" y="1226026"/>
                  <a:pt x="1601007" y="1205348"/>
                  <a:pt x="1603728" y="1186846"/>
                </a:cubicBezTo>
                <a:cubicBezTo>
                  <a:pt x="1603728" y="1165623"/>
                  <a:pt x="1621686" y="1149298"/>
                  <a:pt x="1642365" y="1148209"/>
                </a:cubicBezTo>
                <a:close/>
                <a:moveTo>
                  <a:pt x="1969414" y="1147665"/>
                </a:moveTo>
                <a:cubicBezTo>
                  <a:pt x="1991725" y="1146032"/>
                  <a:pt x="2009139" y="1165623"/>
                  <a:pt x="2009139" y="1187934"/>
                </a:cubicBezTo>
                <a:cubicBezTo>
                  <a:pt x="2008595" y="1209157"/>
                  <a:pt x="1990093" y="1227114"/>
                  <a:pt x="1968870" y="1227114"/>
                </a:cubicBezTo>
                <a:cubicBezTo>
                  <a:pt x="1949824" y="1227114"/>
                  <a:pt x="1928601" y="1209701"/>
                  <a:pt x="1929145" y="1186301"/>
                </a:cubicBezTo>
                <a:cubicBezTo>
                  <a:pt x="1929145" y="1165623"/>
                  <a:pt x="1948191" y="1145488"/>
                  <a:pt x="1969414" y="1147665"/>
                </a:cubicBezTo>
                <a:close/>
                <a:moveTo>
                  <a:pt x="1805617" y="1147665"/>
                </a:moveTo>
                <a:cubicBezTo>
                  <a:pt x="1825752" y="1147665"/>
                  <a:pt x="1845342" y="1165078"/>
                  <a:pt x="1844798" y="1187934"/>
                </a:cubicBezTo>
                <a:cubicBezTo>
                  <a:pt x="1844254" y="1208612"/>
                  <a:pt x="1824664" y="1227115"/>
                  <a:pt x="1805073" y="1226571"/>
                </a:cubicBezTo>
                <a:cubicBezTo>
                  <a:pt x="1787115" y="1226571"/>
                  <a:pt x="1764260" y="1209701"/>
                  <a:pt x="1766981" y="1186845"/>
                </a:cubicBezTo>
                <a:cubicBezTo>
                  <a:pt x="1764804" y="1165623"/>
                  <a:pt x="1786027" y="1147665"/>
                  <a:pt x="1805617" y="1147665"/>
                </a:cubicBezTo>
                <a:close/>
                <a:moveTo>
                  <a:pt x="417425" y="1090527"/>
                </a:moveTo>
                <a:cubicBezTo>
                  <a:pt x="423955" y="1090527"/>
                  <a:pt x="433206" y="1099234"/>
                  <a:pt x="432662" y="1105764"/>
                </a:cubicBezTo>
                <a:cubicBezTo>
                  <a:pt x="432662" y="1111206"/>
                  <a:pt x="423955" y="1119912"/>
                  <a:pt x="417969" y="1120457"/>
                </a:cubicBezTo>
                <a:cubicBezTo>
                  <a:pt x="411439" y="1121001"/>
                  <a:pt x="402188" y="1111750"/>
                  <a:pt x="402732" y="1105219"/>
                </a:cubicBezTo>
                <a:cubicBezTo>
                  <a:pt x="402732" y="1099234"/>
                  <a:pt x="411439" y="1090527"/>
                  <a:pt x="417425" y="1090527"/>
                </a:cubicBezTo>
                <a:close/>
                <a:moveTo>
                  <a:pt x="580677" y="1083996"/>
                </a:moveTo>
                <a:cubicBezTo>
                  <a:pt x="592105" y="1083996"/>
                  <a:pt x="601900" y="1093791"/>
                  <a:pt x="602444" y="1105219"/>
                </a:cubicBezTo>
                <a:cubicBezTo>
                  <a:pt x="602988" y="1116647"/>
                  <a:pt x="593193" y="1126986"/>
                  <a:pt x="581221" y="1127530"/>
                </a:cubicBezTo>
                <a:cubicBezTo>
                  <a:pt x="570338" y="1127530"/>
                  <a:pt x="558910" y="1116102"/>
                  <a:pt x="558910" y="1105219"/>
                </a:cubicBezTo>
                <a:cubicBezTo>
                  <a:pt x="558910" y="1094880"/>
                  <a:pt x="570338" y="1083996"/>
                  <a:pt x="580677" y="1083996"/>
                </a:cubicBezTo>
                <a:close/>
                <a:moveTo>
                  <a:pt x="743386" y="1079099"/>
                </a:moveTo>
                <a:cubicBezTo>
                  <a:pt x="756991" y="1079099"/>
                  <a:pt x="769507" y="1088894"/>
                  <a:pt x="770595" y="1105219"/>
                </a:cubicBezTo>
                <a:cubicBezTo>
                  <a:pt x="771683" y="1116103"/>
                  <a:pt x="760800" y="1131340"/>
                  <a:pt x="745019" y="1132428"/>
                </a:cubicBezTo>
                <a:cubicBezTo>
                  <a:pt x="734135" y="1134061"/>
                  <a:pt x="717810" y="1118280"/>
                  <a:pt x="717810" y="1106308"/>
                </a:cubicBezTo>
                <a:cubicBezTo>
                  <a:pt x="717810" y="1091071"/>
                  <a:pt x="731414" y="1079099"/>
                  <a:pt x="743386" y="1079099"/>
                </a:cubicBezTo>
                <a:close/>
                <a:moveTo>
                  <a:pt x="907727" y="1076378"/>
                </a:moveTo>
                <a:cubicBezTo>
                  <a:pt x="926773" y="1076378"/>
                  <a:pt x="937112" y="1087262"/>
                  <a:pt x="937112" y="1105219"/>
                </a:cubicBezTo>
                <a:cubicBezTo>
                  <a:pt x="937112" y="1121545"/>
                  <a:pt x="928950" y="1134061"/>
                  <a:pt x="908271" y="1134061"/>
                </a:cubicBezTo>
                <a:cubicBezTo>
                  <a:pt x="888681" y="1134605"/>
                  <a:pt x="878341" y="1122633"/>
                  <a:pt x="878885" y="1105764"/>
                </a:cubicBezTo>
                <a:cubicBezTo>
                  <a:pt x="878341" y="1086173"/>
                  <a:pt x="892490" y="1076378"/>
                  <a:pt x="907727" y="1076378"/>
                </a:cubicBezTo>
                <a:close/>
                <a:moveTo>
                  <a:pt x="1071524" y="1072569"/>
                </a:moveTo>
                <a:cubicBezTo>
                  <a:pt x="1089482" y="1072569"/>
                  <a:pt x="1104174" y="1087806"/>
                  <a:pt x="1104174" y="1105220"/>
                </a:cubicBezTo>
                <a:cubicBezTo>
                  <a:pt x="1104174" y="1123722"/>
                  <a:pt x="1090026" y="1137870"/>
                  <a:pt x="1070435" y="1137870"/>
                </a:cubicBezTo>
                <a:cubicBezTo>
                  <a:pt x="1054110" y="1140047"/>
                  <a:pt x="1037241" y="1121545"/>
                  <a:pt x="1038329" y="1105764"/>
                </a:cubicBezTo>
                <a:cubicBezTo>
                  <a:pt x="1039417" y="1086173"/>
                  <a:pt x="1052478" y="1072569"/>
                  <a:pt x="1071524" y="1072569"/>
                </a:cubicBezTo>
                <a:close/>
                <a:moveTo>
                  <a:pt x="1235865" y="1068760"/>
                </a:moveTo>
                <a:cubicBezTo>
                  <a:pt x="1254912" y="1070392"/>
                  <a:pt x="1272325" y="1088894"/>
                  <a:pt x="1271237" y="1106852"/>
                </a:cubicBezTo>
                <a:cubicBezTo>
                  <a:pt x="1270149" y="1124810"/>
                  <a:pt x="1252735" y="1142223"/>
                  <a:pt x="1234777" y="1142223"/>
                </a:cubicBezTo>
                <a:cubicBezTo>
                  <a:pt x="1215187" y="1142223"/>
                  <a:pt x="1197773" y="1124265"/>
                  <a:pt x="1198861" y="1105219"/>
                </a:cubicBezTo>
                <a:cubicBezTo>
                  <a:pt x="1199406" y="1085629"/>
                  <a:pt x="1217908" y="1067127"/>
                  <a:pt x="1235865" y="1068760"/>
                </a:cubicBezTo>
                <a:close/>
                <a:moveTo>
                  <a:pt x="1396397" y="1067127"/>
                </a:moveTo>
                <a:cubicBezTo>
                  <a:pt x="1416532" y="1065494"/>
                  <a:pt x="1437755" y="1087806"/>
                  <a:pt x="1435578" y="1105219"/>
                </a:cubicBezTo>
                <a:cubicBezTo>
                  <a:pt x="1437210" y="1125898"/>
                  <a:pt x="1413267" y="1144400"/>
                  <a:pt x="1396941" y="1143856"/>
                </a:cubicBezTo>
                <a:cubicBezTo>
                  <a:pt x="1377895" y="1143856"/>
                  <a:pt x="1358305" y="1122633"/>
                  <a:pt x="1358849" y="1105763"/>
                </a:cubicBezTo>
                <a:cubicBezTo>
                  <a:pt x="1359393" y="1085629"/>
                  <a:pt x="1376807" y="1068759"/>
                  <a:pt x="1396397" y="1067127"/>
                </a:cubicBezTo>
                <a:close/>
                <a:moveTo>
                  <a:pt x="1560738" y="1066582"/>
                </a:moveTo>
                <a:cubicBezTo>
                  <a:pt x="1581961" y="1063862"/>
                  <a:pt x="1599919" y="1083452"/>
                  <a:pt x="1599919" y="1105763"/>
                </a:cubicBezTo>
                <a:cubicBezTo>
                  <a:pt x="1599919" y="1127530"/>
                  <a:pt x="1581417" y="1144400"/>
                  <a:pt x="1560738" y="1144400"/>
                </a:cubicBezTo>
                <a:cubicBezTo>
                  <a:pt x="1538971" y="1144400"/>
                  <a:pt x="1521557" y="1125898"/>
                  <a:pt x="1521013" y="1105763"/>
                </a:cubicBezTo>
                <a:cubicBezTo>
                  <a:pt x="1521013" y="1085629"/>
                  <a:pt x="1538971" y="1063862"/>
                  <a:pt x="1560738" y="1066582"/>
                </a:cubicBezTo>
                <a:close/>
                <a:moveTo>
                  <a:pt x="1723447" y="1064406"/>
                </a:moveTo>
                <a:cubicBezTo>
                  <a:pt x="1744126" y="1063862"/>
                  <a:pt x="1763716" y="1076378"/>
                  <a:pt x="1764260" y="1104675"/>
                </a:cubicBezTo>
                <a:cubicBezTo>
                  <a:pt x="1764804" y="1130796"/>
                  <a:pt x="1745758" y="1145488"/>
                  <a:pt x="1724535" y="1146032"/>
                </a:cubicBezTo>
                <a:cubicBezTo>
                  <a:pt x="1703313" y="1147121"/>
                  <a:pt x="1683722" y="1130796"/>
                  <a:pt x="1683178" y="1105764"/>
                </a:cubicBezTo>
                <a:cubicBezTo>
                  <a:pt x="1684266" y="1082364"/>
                  <a:pt x="1698415" y="1064950"/>
                  <a:pt x="1723447" y="1064406"/>
                </a:cubicBezTo>
                <a:close/>
                <a:moveTo>
                  <a:pt x="2051041" y="1063318"/>
                </a:moveTo>
                <a:lnTo>
                  <a:pt x="2051041" y="1147740"/>
                </a:lnTo>
                <a:lnTo>
                  <a:pt x="2049952" y="1148210"/>
                </a:lnTo>
                <a:cubicBezTo>
                  <a:pt x="2028730" y="1147121"/>
                  <a:pt x="2008051" y="1128619"/>
                  <a:pt x="2008051" y="1105764"/>
                </a:cubicBezTo>
                <a:cubicBezTo>
                  <a:pt x="2008595" y="1081276"/>
                  <a:pt x="2027641" y="1063862"/>
                  <a:pt x="2051041" y="1063318"/>
                </a:cubicBezTo>
                <a:close/>
                <a:moveTo>
                  <a:pt x="1887787" y="1062773"/>
                </a:moveTo>
                <a:cubicBezTo>
                  <a:pt x="1909554" y="1063862"/>
                  <a:pt x="1930233" y="1084540"/>
                  <a:pt x="1929145" y="1105763"/>
                </a:cubicBezTo>
                <a:cubicBezTo>
                  <a:pt x="1928056" y="1130251"/>
                  <a:pt x="1908466" y="1147121"/>
                  <a:pt x="1886699" y="1147665"/>
                </a:cubicBezTo>
                <a:cubicBezTo>
                  <a:pt x="1862755" y="1145488"/>
                  <a:pt x="1845886" y="1127530"/>
                  <a:pt x="1844798" y="1105219"/>
                </a:cubicBezTo>
                <a:cubicBezTo>
                  <a:pt x="1844253" y="1083996"/>
                  <a:pt x="1867109" y="1061685"/>
                  <a:pt x="1887787" y="1062773"/>
                </a:cubicBezTo>
                <a:close/>
                <a:moveTo>
                  <a:pt x="335798" y="1011621"/>
                </a:moveTo>
                <a:cubicBezTo>
                  <a:pt x="343960" y="1011621"/>
                  <a:pt x="347770" y="1014886"/>
                  <a:pt x="348314" y="1023049"/>
                </a:cubicBezTo>
                <a:cubicBezTo>
                  <a:pt x="348314" y="1031755"/>
                  <a:pt x="344505" y="1036109"/>
                  <a:pt x="336886" y="1036109"/>
                </a:cubicBezTo>
                <a:cubicBezTo>
                  <a:pt x="329268" y="1036109"/>
                  <a:pt x="324914" y="1032300"/>
                  <a:pt x="324370" y="1024681"/>
                </a:cubicBezTo>
                <a:cubicBezTo>
                  <a:pt x="323826" y="1015974"/>
                  <a:pt x="327635" y="1011621"/>
                  <a:pt x="335798" y="1011621"/>
                </a:cubicBezTo>
                <a:close/>
                <a:moveTo>
                  <a:pt x="499051" y="1002914"/>
                </a:moveTo>
                <a:cubicBezTo>
                  <a:pt x="508846" y="1002370"/>
                  <a:pt x="520818" y="1014342"/>
                  <a:pt x="520818" y="1024137"/>
                </a:cubicBezTo>
                <a:cubicBezTo>
                  <a:pt x="520818" y="1032844"/>
                  <a:pt x="508846" y="1045360"/>
                  <a:pt x="499595" y="1045360"/>
                </a:cubicBezTo>
                <a:cubicBezTo>
                  <a:pt x="490888" y="1045360"/>
                  <a:pt x="478372" y="1032844"/>
                  <a:pt x="478372" y="1024137"/>
                </a:cubicBezTo>
                <a:cubicBezTo>
                  <a:pt x="478372" y="1014886"/>
                  <a:pt x="489800" y="1002914"/>
                  <a:pt x="499051" y="1002914"/>
                </a:cubicBezTo>
                <a:close/>
                <a:moveTo>
                  <a:pt x="663392" y="997473"/>
                </a:moveTo>
                <a:cubicBezTo>
                  <a:pt x="675908" y="998561"/>
                  <a:pt x="688968" y="1011622"/>
                  <a:pt x="688424" y="1024138"/>
                </a:cubicBezTo>
                <a:cubicBezTo>
                  <a:pt x="687880" y="1039374"/>
                  <a:pt x="676452" y="1050802"/>
                  <a:pt x="661759" y="1050258"/>
                </a:cubicBezTo>
                <a:cubicBezTo>
                  <a:pt x="647066" y="1049170"/>
                  <a:pt x="637271" y="1036109"/>
                  <a:pt x="636727" y="1023593"/>
                </a:cubicBezTo>
                <a:cubicBezTo>
                  <a:pt x="637271" y="1010533"/>
                  <a:pt x="651420" y="996929"/>
                  <a:pt x="663392" y="997473"/>
                </a:cubicBezTo>
                <a:close/>
                <a:moveTo>
                  <a:pt x="826645" y="995840"/>
                </a:moveTo>
                <a:cubicBezTo>
                  <a:pt x="845147" y="995296"/>
                  <a:pt x="855486" y="1007267"/>
                  <a:pt x="854942" y="1024137"/>
                </a:cubicBezTo>
                <a:cubicBezTo>
                  <a:pt x="855486" y="1039374"/>
                  <a:pt x="845147" y="1052978"/>
                  <a:pt x="825557" y="1052978"/>
                </a:cubicBezTo>
                <a:cubicBezTo>
                  <a:pt x="808143" y="1052434"/>
                  <a:pt x="796715" y="1041006"/>
                  <a:pt x="797260" y="1023593"/>
                </a:cubicBezTo>
                <a:cubicBezTo>
                  <a:pt x="797260" y="1005635"/>
                  <a:pt x="808687" y="995840"/>
                  <a:pt x="826645" y="995840"/>
                </a:cubicBezTo>
                <a:close/>
                <a:moveTo>
                  <a:pt x="990441" y="990942"/>
                </a:moveTo>
                <a:cubicBezTo>
                  <a:pt x="1008943" y="990942"/>
                  <a:pt x="1023092" y="1006179"/>
                  <a:pt x="1022548" y="1025225"/>
                </a:cubicBezTo>
                <a:cubicBezTo>
                  <a:pt x="1022004" y="1043183"/>
                  <a:pt x="1007311" y="1056243"/>
                  <a:pt x="988809" y="1056787"/>
                </a:cubicBezTo>
                <a:cubicBezTo>
                  <a:pt x="973028" y="1057332"/>
                  <a:pt x="956702" y="1041551"/>
                  <a:pt x="956702" y="1023593"/>
                </a:cubicBezTo>
                <a:cubicBezTo>
                  <a:pt x="956158" y="1006723"/>
                  <a:pt x="973572" y="988221"/>
                  <a:pt x="990441" y="990942"/>
                </a:cubicBezTo>
                <a:close/>
                <a:moveTo>
                  <a:pt x="1150974" y="987678"/>
                </a:moveTo>
                <a:cubicBezTo>
                  <a:pt x="1170020" y="986045"/>
                  <a:pt x="1189066" y="1004547"/>
                  <a:pt x="1189610" y="1023593"/>
                </a:cubicBezTo>
                <a:cubicBezTo>
                  <a:pt x="1190154" y="1042095"/>
                  <a:pt x="1170564" y="1061685"/>
                  <a:pt x="1152062" y="1061685"/>
                </a:cubicBezTo>
                <a:cubicBezTo>
                  <a:pt x="1134104" y="1061685"/>
                  <a:pt x="1115602" y="1042639"/>
                  <a:pt x="1115058" y="1024682"/>
                </a:cubicBezTo>
                <a:cubicBezTo>
                  <a:pt x="1115058" y="1006724"/>
                  <a:pt x="1133016" y="988222"/>
                  <a:pt x="1150974" y="987678"/>
                </a:cubicBezTo>
                <a:close/>
                <a:moveTo>
                  <a:pt x="1315314" y="985501"/>
                </a:moveTo>
                <a:cubicBezTo>
                  <a:pt x="1335993" y="983868"/>
                  <a:pt x="1354495" y="1005635"/>
                  <a:pt x="1354495" y="1023593"/>
                </a:cubicBezTo>
                <a:cubicBezTo>
                  <a:pt x="1355039" y="1042639"/>
                  <a:pt x="1333816" y="1065495"/>
                  <a:pt x="1315858" y="1062230"/>
                </a:cubicBezTo>
                <a:cubicBezTo>
                  <a:pt x="1294636" y="1062230"/>
                  <a:pt x="1277222" y="1045360"/>
                  <a:pt x="1277222" y="1024137"/>
                </a:cubicBezTo>
                <a:cubicBezTo>
                  <a:pt x="1277222" y="1002914"/>
                  <a:pt x="1294091" y="986589"/>
                  <a:pt x="1315314" y="985501"/>
                </a:cubicBezTo>
                <a:close/>
                <a:moveTo>
                  <a:pt x="1479656" y="984412"/>
                </a:moveTo>
                <a:cubicBezTo>
                  <a:pt x="1503055" y="984412"/>
                  <a:pt x="1519925" y="1000737"/>
                  <a:pt x="1519380" y="1025225"/>
                </a:cubicBezTo>
                <a:cubicBezTo>
                  <a:pt x="1518836" y="1045904"/>
                  <a:pt x="1502511" y="1065494"/>
                  <a:pt x="1478567" y="1063318"/>
                </a:cubicBezTo>
                <a:cubicBezTo>
                  <a:pt x="1454624" y="1064950"/>
                  <a:pt x="1438842" y="1044816"/>
                  <a:pt x="1439387" y="1023593"/>
                </a:cubicBezTo>
                <a:cubicBezTo>
                  <a:pt x="1439931" y="1000193"/>
                  <a:pt x="1455712" y="983868"/>
                  <a:pt x="1479656" y="984412"/>
                </a:cubicBezTo>
                <a:close/>
                <a:moveTo>
                  <a:pt x="1641820" y="981691"/>
                </a:moveTo>
                <a:cubicBezTo>
                  <a:pt x="1665220" y="981691"/>
                  <a:pt x="1683178" y="999649"/>
                  <a:pt x="1684810" y="1023592"/>
                </a:cubicBezTo>
                <a:cubicBezTo>
                  <a:pt x="1683722" y="1048625"/>
                  <a:pt x="1665220" y="1066038"/>
                  <a:pt x="1642909" y="1066038"/>
                </a:cubicBezTo>
                <a:cubicBezTo>
                  <a:pt x="1618421" y="1066038"/>
                  <a:pt x="1599919" y="1047536"/>
                  <a:pt x="1599919" y="1023592"/>
                </a:cubicBezTo>
                <a:cubicBezTo>
                  <a:pt x="1599919" y="1001281"/>
                  <a:pt x="1616788" y="982235"/>
                  <a:pt x="1641820" y="981691"/>
                </a:cubicBezTo>
                <a:close/>
                <a:moveTo>
                  <a:pt x="1806161" y="980603"/>
                </a:moveTo>
                <a:cubicBezTo>
                  <a:pt x="1829561" y="980603"/>
                  <a:pt x="1848607" y="1000737"/>
                  <a:pt x="1849151" y="1023592"/>
                </a:cubicBezTo>
                <a:cubicBezTo>
                  <a:pt x="1849151" y="1046992"/>
                  <a:pt x="1827928" y="1068215"/>
                  <a:pt x="1805617" y="1067127"/>
                </a:cubicBezTo>
                <a:cubicBezTo>
                  <a:pt x="1781673" y="1068215"/>
                  <a:pt x="1762083" y="1044815"/>
                  <a:pt x="1762083" y="1023592"/>
                </a:cubicBezTo>
                <a:cubicBezTo>
                  <a:pt x="1762083" y="1002370"/>
                  <a:pt x="1781673" y="980058"/>
                  <a:pt x="1806161" y="980603"/>
                </a:cubicBezTo>
                <a:close/>
                <a:moveTo>
                  <a:pt x="1969414" y="980059"/>
                </a:moveTo>
                <a:cubicBezTo>
                  <a:pt x="1993358" y="980603"/>
                  <a:pt x="2012404" y="1001282"/>
                  <a:pt x="2012404" y="1024137"/>
                </a:cubicBezTo>
                <a:cubicBezTo>
                  <a:pt x="2012404" y="1046449"/>
                  <a:pt x="1991726" y="1069304"/>
                  <a:pt x="1968870" y="1067127"/>
                </a:cubicBezTo>
                <a:cubicBezTo>
                  <a:pt x="1946015" y="1068760"/>
                  <a:pt x="1925336" y="1044272"/>
                  <a:pt x="1924792" y="1024137"/>
                </a:cubicBezTo>
                <a:cubicBezTo>
                  <a:pt x="1924792" y="1002914"/>
                  <a:pt x="1944382" y="980059"/>
                  <a:pt x="1969414" y="980059"/>
                </a:cubicBezTo>
                <a:close/>
                <a:moveTo>
                  <a:pt x="254171" y="931083"/>
                </a:moveTo>
                <a:cubicBezTo>
                  <a:pt x="260701" y="931083"/>
                  <a:pt x="265599" y="935437"/>
                  <a:pt x="265599" y="941967"/>
                </a:cubicBezTo>
                <a:cubicBezTo>
                  <a:pt x="265599" y="948497"/>
                  <a:pt x="260701" y="952850"/>
                  <a:pt x="254171" y="952850"/>
                </a:cubicBezTo>
                <a:cubicBezTo>
                  <a:pt x="247641" y="952850"/>
                  <a:pt x="243832" y="948497"/>
                  <a:pt x="243832" y="941967"/>
                </a:cubicBezTo>
                <a:cubicBezTo>
                  <a:pt x="243832" y="935437"/>
                  <a:pt x="247641" y="931627"/>
                  <a:pt x="254171" y="931083"/>
                </a:cubicBezTo>
                <a:close/>
                <a:moveTo>
                  <a:pt x="417968" y="922377"/>
                </a:moveTo>
                <a:cubicBezTo>
                  <a:pt x="427219" y="921833"/>
                  <a:pt x="437559" y="932716"/>
                  <a:pt x="437559" y="942511"/>
                </a:cubicBezTo>
                <a:cubicBezTo>
                  <a:pt x="437559" y="951762"/>
                  <a:pt x="427219" y="961557"/>
                  <a:pt x="417968" y="961557"/>
                </a:cubicBezTo>
                <a:cubicBezTo>
                  <a:pt x="409262" y="961557"/>
                  <a:pt x="397290" y="949585"/>
                  <a:pt x="397834" y="941423"/>
                </a:cubicBezTo>
                <a:cubicBezTo>
                  <a:pt x="398378" y="933260"/>
                  <a:pt x="409806" y="922377"/>
                  <a:pt x="417968" y="922377"/>
                </a:cubicBezTo>
                <a:close/>
                <a:moveTo>
                  <a:pt x="581222" y="916934"/>
                </a:moveTo>
                <a:cubicBezTo>
                  <a:pt x="593738" y="916934"/>
                  <a:pt x="607342" y="931082"/>
                  <a:pt x="606798" y="943054"/>
                </a:cubicBezTo>
                <a:cubicBezTo>
                  <a:pt x="606254" y="955570"/>
                  <a:pt x="593738" y="967542"/>
                  <a:pt x="581222" y="967542"/>
                </a:cubicBezTo>
                <a:cubicBezTo>
                  <a:pt x="567617" y="966454"/>
                  <a:pt x="557278" y="958291"/>
                  <a:pt x="556190" y="943054"/>
                </a:cubicBezTo>
                <a:cubicBezTo>
                  <a:pt x="555101" y="929994"/>
                  <a:pt x="568161" y="916934"/>
                  <a:pt x="581222" y="916934"/>
                </a:cubicBezTo>
                <a:close/>
                <a:moveTo>
                  <a:pt x="744474" y="913669"/>
                </a:moveTo>
                <a:cubicBezTo>
                  <a:pt x="765153" y="913669"/>
                  <a:pt x="773860" y="927273"/>
                  <a:pt x="773315" y="942510"/>
                </a:cubicBezTo>
                <a:cubicBezTo>
                  <a:pt x="772771" y="959924"/>
                  <a:pt x="761344" y="971352"/>
                  <a:pt x="743930" y="970807"/>
                </a:cubicBezTo>
                <a:cubicBezTo>
                  <a:pt x="727061" y="970807"/>
                  <a:pt x="716177" y="959380"/>
                  <a:pt x="716177" y="941966"/>
                </a:cubicBezTo>
                <a:cubicBezTo>
                  <a:pt x="716177" y="923464"/>
                  <a:pt x="727605" y="914213"/>
                  <a:pt x="744474" y="913669"/>
                </a:cubicBezTo>
                <a:close/>
                <a:moveTo>
                  <a:pt x="908271" y="908772"/>
                </a:moveTo>
                <a:cubicBezTo>
                  <a:pt x="927317" y="910405"/>
                  <a:pt x="940922" y="924553"/>
                  <a:pt x="940377" y="944144"/>
                </a:cubicBezTo>
                <a:cubicBezTo>
                  <a:pt x="939833" y="962101"/>
                  <a:pt x="925141" y="975162"/>
                  <a:pt x="906094" y="975162"/>
                </a:cubicBezTo>
                <a:cubicBezTo>
                  <a:pt x="890313" y="975162"/>
                  <a:pt x="873988" y="959925"/>
                  <a:pt x="874532" y="940879"/>
                </a:cubicBezTo>
                <a:cubicBezTo>
                  <a:pt x="874532" y="925641"/>
                  <a:pt x="891402" y="907684"/>
                  <a:pt x="908271" y="908772"/>
                </a:cubicBezTo>
                <a:close/>
                <a:moveTo>
                  <a:pt x="1072068" y="906051"/>
                </a:moveTo>
                <a:cubicBezTo>
                  <a:pt x="1093291" y="907683"/>
                  <a:pt x="1105807" y="921832"/>
                  <a:pt x="1107984" y="942511"/>
                </a:cubicBezTo>
                <a:cubicBezTo>
                  <a:pt x="1107984" y="961013"/>
                  <a:pt x="1088938" y="979515"/>
                  <a:pt x="1070980" y="979515"/>
                </a:cubicBezTo>
                <a:cubicBezTo>
                  <a:pt x="1053022" y="979515"/>
                  <a:pt x="1034520" y="960469"/>
                  <a:pt x="1034520" y="942511"/>
                </a:cubicBezTo>
                <a:cubicBezTo>
                  <a:pt x="1034520" y="923465"/>
                  <a:pt x="1053566" y="904419"/>
                  <a:pt x="1072068" y="906051"/>
                </a:cubicBezTo>
                <a:close/>
                <a:moveTo>
                  <a:pt x="1235321" y="903874"/>
                </a:moveTo>
                <a:cubicBezTo>
                  <a:pt x="1257088" y="903874"/>
                  <a:pt x="1272325" y="920199"/>
                  <a:pt x="1272325" y="943054"/>
                </a:cubicBezTo>
                <a:cubicBezTo>
                  <a:pt x="1275045" y="962645"/>
                  <a:pt x="1251646" y="982779"/>
                  <a:pt x="1233688" y="981147"/>
                </a:cubicBezTo>
                <a:cubicBezTo>
                  <a:pt x="1211921" y="979514"/>
                  <a:pt x="1195052" y="963189"/>
                  <a:pt x="1195596" y="940878"/>
                </a:cubicBezTo>
                <a:cubicBezTo>
                  <a:pt x="1196140" y="919111"/>
                  <a:pt x="1212465" y="903330"/>
                  <a:pt x="1235321" y="903874"/>
                </a:cubicBezTo>
                <a:close/>
                <a:moveTo>
                  <a:pt x="1397486" y="901153"/>
                </a:moveTo>
                <a:cubicBezTo>
                  <a:pt x="1420885" y="901698"/>
                  <a:pt x="1437755" y="917479"/>
                  <a:pt x="1438299" y="942511"/>
                </a:cubicBezTo>
                <a:cubicBezTo>
                  <a:pt x="1437210" y="966999"/>
                  <a:pt x="1420341" y="983324"/>
                  <a:pt x="1396941" y="983324"/>
                </a:cubicBezTo>
                <a:cubicBezTo>
                  <a:pt x="1371909" y="983324"/>
                  <a:pt x="1355584" y="963190"/>
                  <a:pt x="1356128" y="941967"/>
                </a:cubicBezTo>
                <a:cubicBezTo>
                  <a:pt x="1356128" y="919655"/>
                  <a:pt x="1373542" y="900609"/>
                  <a:pt x="1397486" y="901153"/>
                </a:cubicBezTo>
                <a:close/>
                <a:moveTo>
                  <a:pt x="1560738" y="898977"/>
                </a:moveTo>
                <a:cubicBezTo>
                  <a:pt x="1584138" y="899521"/>
                  <a:pt x="1603728" y="917479"/>
                  <a:pt x="1603728" y="942511"/>
                </a:cubicBezTo>
                <a:cubicBezTo>
                  <a:pt x="1603728" y="966999"/>
                  <a:pt x="1581961" y="985501"/>
                  <a:pt x="1560738" y="985501"/>
                </a:cubicBezTo>
                <a:cubicBezTo>
                  <a:pt x="1537883" y="985501"/>
                  <a:pt x="1516660" y="963734"/>
                  <a:pt x="1517204" y="941423"/>
                </a:cubicBezTo>
                <a:cubicBezTo>
                  <a:pt x="1517748" y="919656"/>
                  <a:pt x="1535706" y="898977"/>
                  <a:pt x="1560738" y="898977"/>
                </a:cubicBezTo>
                <a:close/>
                <a:moveTo>
                  <a:pt x="1723990" y="897888"/>
                </a:moveTo>
                <a:cubicBezTo>
                  <a:pt x="1747934" y="897888"/>
                  <a:pt x="1769701" y="919111"/>
                  <a:pt x="1768069" y="942510"/>
                </a:cubicBezTo>
                <a:cubicBezTo>
                  <a:pt x="1770245" y="965366"/>
                  <a:pt x="1746302" y="987133"/>
                  <a:pt x="1723990" y="986589"/>
                </a:cubicBezTo>
                <a:cubicBezTo>
                  <a:pt x="1701679" y="986589"/>
                  <a:pt x="1679912" y="964278"/>
                  <a:pt x="1679912" y="941422"/>
                </a:cubicBezTo>
                <a:cubicBezTo>
                  <a:pt x="1680456" y="919655"/>
                  <a:pt x="1700047" y="897888"/>
                  <a:pt x="1723990" y="897888"/>
                </a:cubicBezTo>
                <a:close/>
                <a:moveTo>
                  <a:pt x="2050497" y="897344"/>
                </a:moveTo>
                <a:lnTo>
                  <a:pt x="2051041" y="897453"/>
                </a:lnTo>
                <a:lnTo>
                  <a:pt x="2051041" y="986917"/>
                </a:lnTo>
                <a:lnTo>
                  <a:pt x="2049952" y="987133"/>
                </a:lnTo>
                <a:cubicBezTo>
                  <a:pt x="2026553" y="987133"/>
                  <a:pt x="2004786" y="965366"/>
                  <a:pt x="2005330" y="941422"/>
                </a:cubicBezTo>
                <a:cubicBezTo>
                  <a:pt x="2005874" y="918023"/>
                  <a:pt x="2026009" y="897344"/>
                  <a:pt x="2050497" y="897344"/>
                </a:cubicBezTo>
                <a:close/>
                <a:moveTo>
                  <a:pt x="1887243" y="897344"/>
                </a:moveTo>
                <a:cubicBezTo>
                  <a:pt x="1910099" y="897344"/>
                  <a:pt x="1931866" y="916390"/>
                  <a:pt x="1931866" y="942511"/>
                </a:cubicBezTo>
                <a:cubicBezTo>
                  <a:pt x="1931866" y="965910"/>
                  <a:pt x="1910099" y="986589"/>
                  <a:pt x="1887243" y="986589"/>
                </a:cubicBezTo>
                <a:cubicBezTo>
                  <a:pt x="1864932" y="987133"/>
                  <a:pt x="1839900" y="965910"/>
                  <a:pt x="1843165" y="941422"/>
                </a:cubicBezTo>
                <a:cubicBezTo>
                  <a:pt x="1840444" y="918567"/>
                  <a:pt x="1863299" y="897344"/>
                  <a:pt x="1887243" y="897344"/>
                </a:cubicBezTo>
                <a:close/>
                <a:moveTo>
                  <a:pt x="172545" y="854354"/>
                </a:moveTo>
                <a:cubicBezTo>
                  <a:pt x="176899" y="854354"/>
                  <a:pt x="179619" y="855442"/>
                  <a:pt x="179619" y="860884"/>
                </a:cubicBezTo>
                <a:cubicBezTo>
                  <a:pt x="180164" y="864693"/>
                  <a:pt x="177987" y="866870"/>
                  <a:pt x="173634" y="866870"/>
                </a:cubicBezTo>
                <a:cubicBezTo>
                  <a:pt x="169824" y="866870"/>
                  <a:pt x="166559" y="866870"/>
                  <a:pt x="166015" y="861973"/>
                </a:cubicBezTo>
                <a:cubicBezTo>
                  <a:pt x="165471" y="857075"/>
                  <a:pt x="167103" y="854354"/>
                  <a:pt x="172545" y="854354"/>
                </a:cubicBezTo>
                <a:close/>
                <a:moveTo>
                  <a:pt x="336342" y="843471"/>
                </a:moveTo>
                <a:cubicBezTo>
                  <a:pt x="346681" y="844015"/>
                  <a:pt x="353211" y="849457"/>
                  <a:pt x="353211" y="860340"/>
                </a:cubicBezTo>
                <a:cubicBezTo>
                  <a:pt x="353211" y="872312"/>
                  <a:pt x="348858" y="876665"/>
                  <a:pt x="336886" y="877210"/>
                </a:cubicBezTo>
                <a:cubicBezTo>
                  <a:pt x="324370" y="877210"/>
                  <a:pt x="320561" y="872856"/>
                  <a:pt x="320017" y="860884"/>
                </a:cubicBezTo>
                <a:cubicBezTo>
                  <a:pt x="319473" y="851089"/>
                  <a:pt x="327635" y="842927"/>
                  <a:pt x="336342" y="843471"/>
                </a:cubicBezTo>
                <a:close/>
                <a:moveTo>
                  <a:pt x="500139" y="837485"/>
                </a:moveTo>
                <a:cubicBezTo>
                  <a:pt x="514832" y="837485"/>
                  <a:pt x="522994" y="846735"/>
                  <a:pt x="522994" y="861428"/>
                </a:cubicBezTo>
                <a:cubicBezTo>
                  <a:pt x="522994" y="876121"/>
                  <a:pt x="513743" y="884284"/>
                  <a:pt x="499595" y="884284"/>
                </a:cubicBezTo>
                <a:cubicBezTo>
                  <a:pt x="485446" y="883740"/>
                  <a:pt x="475651" y="875033"/>
                  <a:pt x="476739" y="860340"/>
                </a:cubicBezTo>
                <a:cubicBezTo>
                  <a:pt x="476195" y="842926"/>
                  <a:pt x="489256" y="836940"/>
                  <a:pt x="500139" y="837485"/>
                </a:cubicBezTo>
                <a:close/>
                <a:moveTo>
                  <a:pt x="662848" y="832587"/>
                </a:moveTo>
                <a:cubicBezTo>
                  <a:pt x="677541" y="832587"/>
                  <a:pt x="691689" y="842926"/>
                  <a:pt x="690057" y="860340"/>
                </a:cubicBezTo>
                <a:cubicBezTo>
                  <a:pt x="691689" y="876121"/>
                  <a:pt x="679718" y="888637"/>
                  <a:pt x="662848" y="888637"/>
                </a:cubicBezTo>
                <a:cubicBezTo>
                  <a:pt x="644890" y="888637"/>
                  <a:pt x="634551" y="874489"/>
                  <a:pt x="634551" y="861428"/>
                </a:cubicBezTo>
                <a:cubicBezTo>
                  <a:pt x="634551" y="842926"/>
                  <a:pt x="647611" y="832587"/>
                  <a:pt x="662848" y="832587"/>
                </a:cubicBezTo>
                <a:close/>
                <a:moveTo>
                  <a:pt x="826101" y="827146"/>
                </a:moveTo>
                <a:cubicBezTo>
                  <a:pt x="840249" y="826602"/>
                  <a:pt x="859840" y="843471"/>
                  <a:pt x="859295" y="860885"/>
                </a:cubicBezTo>
                <a:cubicBezTo>
                  <a:pt x="858751" y="875033"/>
                  <a:pt x="844603" y="894624"/>
                  <a:pt x="825556" y="892991"/>
                </a:cubicBezTo>
                <a:cubicBezTo>
                  <a:pt x="808687" y="894079"/>
                  <a:pt x="793450" y="877754"/>
                  <a:pt x="793450" y="860885"/>
                </a:cubicBezTo>
                <a:cubicBezTo>
                  <a:pt x="793994" y="842927"/>
                  <a:pt x="808143" y="828234"/>
                  <a:pt x="826101" y="827146"/>
                </a:cubicBezTo>
                <a:close/>
                <a:moveTo>
                  <a:pt x="988809" y="824424"/>
                </a:moveTo>
                <a:cubicBezTo>
                  <a:pt x="1010576" y="825512"/>
                  <a:pt x="1024180" y="839661"/>
                  <a:pt x="1025813" y="860339"/>
                </a:cubicBezTo>
                <a:cubicBezTo>
                  <a:pt x="1026901" y="878842"/>
                  <a:pt x="1008399" y="896799"/>
                  <a:pt x="989897" y="897344"/>
                </a:cubicBezTo>
                <a:cubicBezTo>
                  <a:pt x="971939" y="897344"/>
                  <a:pt x="953982" y="880474"/>
                  <a:pt x="953437" y="861972"/>
                </a:cubicBezTo>
                <a:cubicBezTo>
                  <a:pt x="951805" y="842926"/>
                  <a:pt x="969763" y="824968"/>
                  <a:pt x="988809" y="824424"/>
                </a:cubicBezTo>
                <a:close/>
                <a:moveTo>
                  <a:pt x="1153695" y="821704"/>
                </a:moveTo>
                <a:cubicBezTo>
                  <a:pt x="1175462" y="822248"/>
                  <a:pt x="1191243" y="839118"/>
                  <a:pt x="1191243" y="861429"/>
                </a:cubicBezTo>
                <a:cubicBezTo>
                  <a:pt x="1193964" y="882107"/>
                  <a:pt x="1169476" y="900610"/>
                  <a:pt x="1152606" y="899521"/>
                </a:cubicBezTo>
                <a:cubicBezTo>
                  <a:pt x="1130839" y="898433"/>
                  <a:pt x="1114514" y="882107"/>
                  <a:pt x="1114514" y="859252"/>
                </a:cubicBezTo>
                <a:cubicBezTo>
                  <a:pt x="1115058" y="837485"/>
                  <a:pt x="1131928" y="821704"/>
                  <a:pt x="1153695" y="821704"/>
                </a:cubicBezTo>
                <a:close/>
                <a:moveTo>
                  <a:pt x="1316403" y="818982"/>
                </a:moveTo>
                <a:cubicBezTo>
                  <a:pt x="1341979" y="820071"/>
                  <a:pt x="1356128" y="838573"/>
                  <a:pt x="1357216" y="860884"/>
                </a:cubicBezTo>
                <a:cubicBezTo>
                  <a:pt x="1356128" y="884828"/>
                  <a:pt x="1337626" y="901697"/>
                  <a:pt x="1315315" y="901697"/>
                </a:cubicBezTo>
                <a:cubicBezTo>
                  <a:pt x="1293003" y="901697"/>
                  <a:pt x="1273957" y="884284"/>
                  <a:pt x="1274501" y="860340"/>
                </a:cubicBezTo>
                <a:cubicBezTo>
                  <a:pt x="1275046" y="835852"/>
                  <a:pt x="1291915" y="818438"/>
                  <a:pt x="1316403" y="818982"/>
                </a:cubicBezTo>
                <a:close/>
                <a:moveTo>
                  <a:pt x="1479112" y="816806"/>
                </a:moveTo>
                <a:cubicBezTo>
                  <a:pt x="1501423" y="816806"/>
                  <a:pt x="1523190" y="835852"/>
                  <a:pt x="1522646" y="860340"/>
                </a:cubicBezTo>
                <a:cubicBezTo>
                  <a:pt x="1523735" y="885372"/>
                  <a:pt x="1499791" y="904419"/>
                  <a:pt x="1479656" y="904419"/>
                </a:cubicBezTo>
                <a:cubicBezTo>
                  <a:pt x="1457889" y="904419"/>
                  <a:pt x="1436122" y="883740"/>
                  <a:pt x="1435578" y="860884"/>
                </a:cubicBezTo>
                <a:cubicBezTo>
                  <a:pt x="1435578" y="838573"/>
                  <a:pt x="1455713" y="816806"/>
                  <a:pt x="1479112" y="816806"/>
                </a:cubicBezTo>
                <a:close/>
                <a:moveTo>
                  <a:pt x="1642909" y="815718"/>
                </a:moveTo>
                <a:cubicBezTo>
                  <a:pt x="1665764" y="816262"/>
                  <a:pt x="1686987" y="835852"/>
                  <a:pt x="1686987" y="860885"/>
                </a:cubicBezTo>
                <a:cubicBezTo>
                  <a:pt x="1686987" y="884284"/>
                  <a:pt x="1666308" y="906051"/>
                  <a:pt x="1641276" y="905507"/>
                </a:cubicBezTo>
                <a:cubicBezTo>
                  <a:pt x="1619509" y="905507"/>
                  <a:pt x="1595021" y="884284"/>
                  <a:pt x="1597742" y="860340"/>
                </a:cubicBezTo>
                <a:cubicBezTo>
                  <a:pt x="1595021" y="836941"/>
                  <a:pt x="1619509" y="815174"/>
                  <a:pt x="1642909" y="815718"/>
                </a:cubicBezTo>
                <a:close/>
                <a:moveTo>
                  <a:pt x="1806161" y="815173"/>
                </a:moveTo>
                <a:cubicBezTo>
                  <a:pt x="1832282" y="815717"/>
                  <a:pt x="1854593" y="836396"/>
                  <a:pt x="1852416" y="860884"/>
                </a:cubicBezTo>
                <a:cubicBezTo>
                  <a:pt x="1850240" y="885372"/>
                  <a:pt x="1837179" y="906050"/>
                  <a:pt x="1805617" y="906594"/>
                </a:cubicBezTo>
                <a:cubicBezTo>
                  <a:pt x="1776776" y="906594"/>
                  <a:pt x="1759362" y="885916"/>
                  <a:pt x="1759906" y="860884"/>
                </a:cubicBezTo>
                <a:cubicBezTo>
                  <a:pt x="1759906" y="834219"/>
                  <a:pt x="1776776" y="815717"/>
                  <a:pt x="1806161" y="815173"/>
                </a:cubicBezTo>
                <a:close/>
                <a:moveTo>
                  <a:pt x="1968326" y="812453"/>
                </a:moveTo>
                <a:cubicBezTo>
                  <a:pt x="1979754" y="812453"/>
                  <a:pt x="1991726" y="817351"/>
                  <a:pt x="2000977" y="826057"/>
                </a:cubicBezTo>
                <a:cubicBezTo>
                  <a:pt x="2010772" y="835308"/>
                  <a:pt x="2016214" y="847280"/>
                  <a:pt x="2015670" y="859796"/>
                </a:cubicBezTo>
                <a:cubicBezTo>
                  <a:pt x="2014581" y="884828"/>
                  <a:pt x="2000977" y="904963"/>
                  <a:pt x="1969415" y="907684"/>
                </a:cubicBezTo>
                <a:cubicBezTo>
                  <a:pt x="1942206" y="906051"/>
                  <a:pt x="1923704" y="890270"/>
                  <a:pt x="1922071" y="860885"/>
                </a:cubicBezTo>
                <a:cubicBezTo>
                  <a:pt x="1920983" y="836397"/>
                  <a:pt x="1943294" y="812453"/>
                  <a:pt x="1968326" y="812453"/>
                </a:cubicBezTo>
                <a:close/>
                <a:moveTo>
                  <a:pt x="255260" y="762932"/>
                </a:moveTo>
                <a:cubicBezTo>
                  <a:pt x="261790" y="763476"/>
                  <a:pt x="271041" y="773271"/>
                  <a:pt x="270497" y="779802"/>
                </a:cubicBezTo>
                <a:cubicBezTo>
                  <a:pt x="270497" y="786332"/>
                  <a:pt x="261246" y="795038"/>
                  <a:pt x="254172" y="795038"/>
                </a:cubicBezTo>
                <a:cubicBezTo>
                  <a:pt x="246553" y="795038"/>
                  <a:pt x="238391" y="786332"/>
                  <a:pt x="238935" y="778713"/>
                </a:cubicBezTo>
                <a:cubicBezTo>
                  <a:pt x="239479" y="771095"/>
                  <a:pt x="248186" y="762388"/>
                  <a:pt x="255260" y="762932"/>
                </a:cubicBezTo>
                <a:close/>
                <a:moveTo>
                  <a:pt x="416881" y="756402"/>
                </a:moveTo>
                <a:cubicBezTo>
                  <a:pt x="430485" y="756402"/>
                  <a:pt x="439736" y="765109"/>
                  <a:pt x="440280" y="778713"/>
                </a:cubicBezTo>
                <a:cubicBezTo>
                  <a:pt x="440280" y="791229"/>
                  <a:pt x="431573" y="801024"/>
                  <a:pt x="419057" y="801024"/>
                </a:cubicBezTo>
                <a:cubicBezTo>
                  <a:pt x="405997" y="801569"/>
                  <a:pt x="396202" y="792317"/>
                  <a:pt x="396202" y="779257"/>
                </a:cubicBezTo>
                <a:cubicBezTo>
                  <a:pt x="396202" y="766741"/>
                  <a:pt x="404909" y="756946"/>
                  <a:pt x="416881" y="756402"/>
                </a:cubicBezTo>
                <a:close/>
                <a:moveTo>
                  <a:pt x="581766" y="751505"/>
                </a:moveTo>
                <a:cubicBezTo>
                  <a:pt x="598091" y="752594"/>
                  <a:pt x="607887" y="762933"/>
                  <a:pt x="608975" y="779802"/>
                </a:cubicBezTo>
                <a:cubicBezTo>
                  <a:pt x="608975" y="792318"/>
                  <a:pt x="596459" y="808644"/>
                  <a:pt x="580678" y="806467"/>
                </a:cubicBezTo>
                <a:cubicBezTo>
                  <a:pt x="565985" y="808100"/>
                  <a:pt x="553469" y="792318"/>
                  <a:pt x="553469" y="778714"/>
                </a:cubicBezTo>
                <a:cubicBezTo>
                  <a:pt x="553469" y="764021"/>
                  <a:pt x="567618" y="750417"/>
                  <a:pt x="581766" y="751505"/>
                </a:cubicBezTo>
                <a:close/>
                <a:moveTo>
                  <a:pt x="746107" y="746607"/>
                </a:moveTo>
                <a:cubicBezTo>
                  <a:pt x="762432" y="747695"/>
                  <a:pt x="778213" y="765653"/>
                  <a:pt x="777125" y="780346"/>
                </a:cubicBezTo>
                <a:cubicBezTo>
                  <a:pt x="776581" y="795038"/>
                  <a:pt x="762432" y="811908"/>
                  <a:pt x="742842" y="811364"/>
                </a:cubicBezTo>
                <a:cubicBezTo>
                  <a:pt x="725428" y="810276"/>
                  <a:pt x="712368" y="795583"/>
                  <a:pt x="712368" y="778713"/>
                </a:cubicBezTo>
                <a:cubicBezTo>
                  <a:pt x="712368" y="760755"/>
                  <a:pt x="730870" y="745519"/>
                  <a:pt x="746107" y="746607"/>
                </a:cubicBezTo>
                <a:close/>
                <a:moveTo>
                  <a:pt x="907727" y="741710"/>
                </a:moveTo>
                <a:cubicBezTo>
                  <a:pt x="925684" y="741710"/>
                  <a:pt x="944187" y="760756"/>
                  <a:pt x="944187" y="778714"/>
                </a:cubicBezTo>
                <a:cubicBezTo>
                  <a:pt x="944187" y="796672"/>
                  <a:pt x="926229" y="815174"/>
                  <a:pt x="907727" y="815174"/>
                </a:cubicBezTo>
                <a:cubicBezTo>
                  <a:pt x="889225" y="815174"/>
                  <a:pt x="872899" y="798848"/>
                  <a:pt x="872355" y="779258"/>
                </a:cubicBezTo>
                <a:cubicBezTo>
                  <a:pt x="871811" y="759668"/>
                  <a:pt x="888136" y="742254"/>
                  <a:pt x="907727" y="741710"/>
                </a:cubicBezTo>
                <a:close/>
                <a:moveTo>
                  <a:pt x="1070979" y="740621"/>
                </a:moveTo>
                <a:cubicBezTo>
                  <a:pt x="1091114" y="737357"/>
                  <a:pt x="1110704" y="761300"/>
                  <a:pt x="1110160" y="779258"/>
                </a:cubicBezTo>
                <a:cubicBezTo>
                  <a:pt x="1110160" y="798304"/>
                  <a:pt x="1089481" y="817894"/>
                  <a:pt x="1070979" y="817894"/>
                </a:cubicBezTo>
                <a:cubicBezTo>
                  <a:pt x="1049757" y="817894"/>
                  <a:pt x="1031255" y="797216"/>
                  <a:pt x="1031799" y="778714"/>
                </a:cubicBezTo>
                <a:cubicBezTo>
                  <a:pt x="1033431" y="756947"/>
                  <a:pt x="1049212" y="740621"/>
                  <a:pt x="1070979" y="740621"/>
                </a:cubicBezTo>
                <a:close/>
                <a:moveTo>
                  <a:pt x="1233688" y="736268"/>
                </a:moveTo>
                <a:cubicBezTo>
                  <a:pt x="1254367" y="735723"/>
                  <a:pt x="1276134" y="756402"/>
                  <a:pt x="1276134" y="777625"/>
                </a:cubicBezTo>
                <a:cubicBezTo>
                  <a:pt x="1276134" y="801025"/>
                  <a:pt x="1258720" y="819526"/>
                  <a:pt x="1235320" y="820615"/>
                </a:cubicBezTo>
                <a:cubicBezTo>
                  <a:pt x="1211377" y="821159"/>
                  <a:pt x="1193419" y="802657"/>
                  <a:pt x="1192331" y="779258"/>
                </a:cubicBezTo>
                <a:cubicBezTo>
                  <a:pt x="1190698" y="758579"/>
                  <a:pt x="1213009" y="736812"/>
                  <a:pt x="1233688" y="736268"/>
                </a:cubicBezTo>
                <a:close/>
                <a:moveTo>
                  <a:pt x="1397485" y="735724"/>
                </a:moveTo>
                <a:cubicBezTo>
                  <a:pt x="1421973" y="734091"/>
                  <a:pt x="1441564" y="757491"/>
                  <a:pt x="1441019" y="779802"/>
                </a:cubicBezTo>
                <a:cubicBezTo>
                  <a:pt x="1441019" y="803746"/>
                  <a:pt x="1418708" y="823336"/>
                  <a:pt x="1396397" y="823336"/>
                </a:cubicBezTo>
                <a:cubicBezTo>
                  <a:pt x="1374630" y="823336"/>
                  <a:pt x="1352863" y="802113"/>
                  <a:pt x="1352863" y="779258"/>
                </a:cubicBezTo>
                <a:cubicBezTo>
                  <a:pt x="1353407" y="758579"/>
                  <a:pt x="1372453" y="733547"/>
                  <a:pt x="1397485" y="735724"/>
                </a:cubicBezTo>
                <a:close/>
                <a:moveTo>
                  <a:pt x="1562371" y="734636"/>
                </a:moveTo>
                <a:cubicBezTo>
                  <a:pt x="1586314" y="732459"/>
                  <a:pt x="1605905" y="754226"/>
                  <a:pt x="1605905" y="779802"/>
                </a:cubicBezTo>
                <a:cubicBezTo>
                  <a:pt x="1605361" y="805923"/>
                  <a:pt x="1585226" y="823881"/>
                  <a:pt x="1560194" y="823881"/>
                </a:cubicBezTo>
                <a:cubicBezTo>
                  <a:pt x="1535706" y="823881"/>
                  <a:pt x="1515027" y="803202"/>
                  <a:pt x="1515572" y="777626"/>
                </a:cubicBezTo>
                <a:cubicBezTo>
                  <a:pt x="1516116" y="755859"/>
                  <a:pt x="1535162" y="731371"/>
                  <a:pt x="1562371" y="734636"/>
                </a:cubicBezTo>
                <a:close/>
                <a:moveTo>
                  <a:pt x="1724535" y="730827"/>
                </a:moveTo>
                <a:cubicBezTo>
                  <a:pt x="1748478" y="731371"/>
                  <a:pt x="1772422" y="755314"/>
                  <a:pt x="1772422" y="779258"/>
                </a:cubicBezTo>
                <a:cubicBezTo>
                  <a:pt x="1771878" y="804290"/>
                  <a:pt x="1748478" y="826602"/>
                  <a:pt x="1723446" y="826602"/>
                </a:cubicBezTo>
                <a:cubicBezTo>
                  <a:pt x="1696238" y="823881"/>
                  <a:pt x="1677736" y="807011"/>
                  <a:pt x="1676647" y="778714"/>
                </a:cubicBezTo>
                <a:cubicBezTo>
                  <a:pt x="1676103" y="753138"/>
                  <a:pt x="1699503" y="730282"/>
                  <a:pt x="1724535" y="730827"/>
                </a:cubicBezTo>
                <a:close/>
                <a:moveTo>
                  <a:pt x="1886699" y="730826"/>
                </a:moveTo>
                <a:cubicBezTo>
                  <a:pt x="1914452" y="730826"/>
                  <a:pt x="1934587" y="749872"/>
                  <a:pt x="1935131" y="778713"/>
                </a:cubicBezTo>
                <a:cubicBezTo>
                  <a:pt x="1936219" y="804834"/>
                  <a:pt x="1916085" y="826601"/>
                  <a:pt x="1887244" y="827145"/>
                </a:cubicBezTo>
                <a:cubicBezTo>
                  <a:pt x="1860579" y="826601"/>
                  <a:pt x="1838812" y="805922"/>
                  <a:pt x="1838812" y="778713"/>
                </a:cubicBezTo>
                <a:cubicBezTo>
                  <a:pt x="1839356" y="750416"/>
                  <a:pt x="1860035" y="730282"/>
                  <a:pt x="1886699" y="730826"/>
                </a:cubicBezTo>
                <a:close/>
                <a:moveTo>
                  <a:pt x="2050496" y="730282"/>
                </a:moveTo>
                <a:lnTo>
                  <a:pt x="2051041" y="730396"/>
                </a:lnTo>
                <a:lnTo>
                  <a:pt x="2051041" y="826942"/>
                </a:lnTo>
                <a:lnTo>
                  <a:pt x="2049952" y="827145"/>
                </a:lnTo>
                <a:cubicBezTo>
                  <a:pt x="2023832" y="827145"/>
                  <a:pt x="2001521" y="804290"/>
                  <a:pt x="2002065" y="778169"/>
                </a:cubicBezTo>
                <a:cubicBezTo>
                  <a:pt x="2002609" y="751505"/>
                  <a:pt x="2024376" y="730282"/>
                  <a:pt x="2050496" y="730282"/>
                </a:cubicBezTo>
                <a:close/>
                <a:moveTo>
                  <a:pt x="173634" y="685660"/>
                </a:moveTo>
                <a:cubicBezTo>
                  <a:pt x="181253" y="685660"/>
                  <a:pt x="185062" y="690013"/>
                  <a:pt x="184518" y="698176"/>
                </a:cubicBezTo>
                <a:cubicBezTo>
                  <a:pt x="183973" y="705250"/>
                  <a:pt x="180164" y="709059"/>
                  <a:pt x="172546" y="709059"/>
                </a:cubicBezTo>
                <a:cubicBezTo>
                  <a:pt x="164383" y="709059"/>
                  <a:pt x="160574" y="705250"/>
                  <a:pt x="161118" y="697088"/>
                </a:cubicBezTo>
                <a:cubicBezTo>
                  <a:pt x="161662" y="688925"/>
                  <a:pt x="164927" y="685660"/>
                  <a:pt x="173634" y="685660"/>
                </a:cubicBezTo>
                <a:close/>
                <a:moveTo>
                  <a:pt x="335798" y="675320"/>
                </a:moveTo>
                <a:cubicBezTo>
                  <a:pt x="345593" y="675320"/>
                  <a:pt x="357565" y="685115"/>
                  <a:pt x="357565" y="696543"/>
                </a:cubicBezTo>
                <a:cubicBezTo>
                  <a:pt x="357565" y="707426"/>
                  <a:pt x="346682" y="718854"/>
                  <a:pt x="336342" y="718854"/>
                </a:cubicBezTo>
                <a:cubicBezTo>
                  <a:pt x="327091" y="718854"/>
                  <a:pt x="315664" y="707426"/>
                  <a:pt x="315120" y="697631"/>
                </a:cubicBezTo>
                <a:cubicBezTo>
                  <a:pt x="314575" y="687292"/>
                  <a:pt x="325459" y="675864"/>
                  <a:pt x="335798" y="675320"/>
                </a:cubicBezTo>
                <a:close/>
                <a:moveTo>
                  <a:pt x="499051" y="670423"/>
                </a:moveTo>
                <a:cubicBezTo>
                  <a:pt x="512111" y="669335"/>
                  <a:pt x="526804" y="684027"/>
                  <a:pt x="526804" y="697088"/>
                </a:cubicBezTo>
                <a:cubicBezTo>
                  <a:pt x="526804" y="711236"/>
                  <a:pt x="513744" y="724296"/>
                  <a:pt x="499595" y="724296"/>
                </a:cubicBezTo>
                <a:cubicBezTo>
                  <a:pt x="486535" y="724296"/>
                  <a:pt x="472930" y="711236"/>
                  <a:pt x="472930" y="697632"/>
                </a:cubicBezTo>
                <a:cubicBezTo>
                  <a:pt x="472386" y="684027"/>
                  <a:pt x="485446" y="670423"/>
                  <a:pt x="499051" y="670423"/>
                </a:cubicBezTo>
                <a:close/>
                <a:moveTo>
                  <a:pt x="662848" y="665525"/>
                </a:moveTo>
                <a:cubicBezTo>
                  <a:pt x="678629" y="665525"/>
                  <a:pt x="694410" y="681306"/>
                  <a:pt x="694954" y="697087"/>
                </a:cubicBezTo>
                <a:cubicBezTo>
                  <a:pt x="695499" y="712868"/>
                  <a:pt x="679173" y="729194"/>
                  <a:pt x="663392" y="729194"/>
                </a:cubicBezTo>
                <a:cubicBezTo>
                  <a:pt x="647611" y="729194"/>
                  <a:pt x="632374" y="713957"/>
                  <a:pt x="632374" y="698176"/>
                </a:cubicBezTo>
                <a:cubicBezTo>
                  <a:pt x="631286" y="681850"/>
                  <a:pt x="647067" y="665525"/>
                  <a:pt x="662848" y="665525"/>
                </a:cubicBezTo>
                <a:close/>
                <a:moveTo>
                  <a:pt x="825013" y="663349"/>
                </a:moveTo>
                <a:cubicBezTo>
                  <a:pt x="844603" y="662260"/>
                  <a:pt x="861472" y="676953"/>
                  <a:pt x="860384" y="697632"/>
                </a:cubicBezTo>
                <a:cubicBezTo>
                  <a:pt x="861472" y="716134"/>
                  <a:pt x="846780" y="731915"/>
                  <a:pt x="826101" y="731915"/>
                </a:cubicBezTo>
                <a:cubicBezTo>
                  <a:pt x="806511" y="731915"/>
                  <a:pt x="791818" y="719399"/>
                  <a:pt x="791818" y="698176"/>
                </a:cubicBezTo>
                <a:cubicBezTo>
                  <a:pt x="791818" y="676409"/>
                  <a:pt x="805967" y="663893"/>
                  <a:pt x="825013" y="663349"/>
                </a:cubicBezTo>
                <a:close/>
                <a:moveTo>
                  <a:pt x="988809" y="658995"/>
                </a:moveTo>
                <a:cubicBezTo>
                  <a:pt x="1008400" y="657362"/>
                  <a:pt x="1028534" y="679129"/>
                  <a:pt x="1027446" y="697087"/>
                </a:cubicBezTo>
                <a:cubicBezTo>
                  <a:pt x="1026902" y="718310"/>
                  <a:pt x="1010576" y="735723"/>
                  <a:pt x="989353" y="735723"/>
                </a:cubicBezTo>
                <a:cubicBezTo>
                  <a:pt x="968675" y="735723"/>
                  <a:pt x="950717" y="718310"/>
                  <a:pt x="950717" y="697631"/>
                </a:cubicBezTo>
                <a:cubicBezTo>
                  <a:pt x="950717" y="676408"/>
                  <a:pt x="968131" y="660627"/>
                  <a:pt x="988809" y="658995"/>
                </a:cubicBezTo>
                <a:close/>
                <a:moveTo>
                  <a:pt x="1152607" y="655729"/>
                </a:moveTo>
                <a:cubicBezTo>
                  <a:pt x="1173829" y="654097"/>
                  <a:pt x="1194508" y="675864"/>
                  <a:pt x="1195052" y="697087"/>
                </a:cubicBezTo>
                <a:cubicBezTo>
                  <a:pt x="1195596" y="717766"/>
                  <a:pt x="1173829" y="739533"/>
                  <a:pt x="1153151" y="739533"/>
                </a:cubicBezTo>
                <a:cubicBezTo>
                  <a:pt x="1132472" y="740077"/>
                  <a:pt x="1110705" y="718310"/>
                  <a:pt x="1110705" y="697631"/>
                </a:cubicBezTo>
                <a:cubicBezTo>
                  <a:pt x="1112882" y="674231"/>
                  <a:pt x="1127574" y="657362"/>
                  <a:pt x="1152607" y="655729"/>
                </a:cubicBezTo>
                <a:close/>
                <a:moveTo>
                  <a:pt x="1316948" y="653554"/>
                </a:moveTo>
                <a:cubicBezTo>
                  <a:pt x="1340347" y="654098"/>
                  <a:pt x="1359937" y="674777"/>
                  <a:pt x="1359937" y="697632"/>
                </a:cubicBezTo>
                <a:cubicBezTo>
                  <a:pt x="1359937" y="718855"/>
                  <a:pt x="1339803" y="743343"/>
                  <a:pt x="1315315" y="740622"/>
                </a:cubicBezTo>
                <a:cubicBezTo>
                  <a:pt x="1293004" y="742799"/>
                  <a:pt x="1271237" y="718311"/>
                  <a:pt x="1271781" y="696544"/>
                </a:cubicBezTo>
                <a:cubicBezTo>
                  <a:pt x="1271781" y="675321"/>
                  <a:pt x="1292460" y="653010"/>
                  <a:pt x="1316948" y="653554"/>
                </a:cubicBezTo>
                <a:close/>
                <a:moveTo>
                  <a:pt x="1479112" y="651921"/>
                </a:moveTo>
                <a:cubicBezTo>
                  <a:pt x="1506321" y="651377"/>
                  <a:pt x="1524823" y="669335"/>
                  <a:pt x="1524823" y="697088"/>
                </a:cubicBezTo>
                <a:cubicBezTo>
                  <a:pt x="1524823" y="722664"/>
                  <a:pt x="1506865" y="743343"/>
                  <a:pt x="1479112" y="742254"/>
                </a:cubicBezTo>
                <a:cubicBezTo>
                  <a:pt x="1450815" y="743343"/>
                  <a:pt x="1433401" y="721031"/>
                  <a:pt x="1433945" y="697088"/>
                </a:cubicBezTo>
                <a:cubicBezTo>
                  <a:pt x="1434490" y="670423"/>
                  <a:pt x="1451903" y="652465"/>
                  <a:pt x="1479112" y="651921"/>
                </a:cubicBezTo>
                <a:close/>
                <a:moveTo>
                  <a:pt x="1642909" y="649744"/>
                </a:moveTo>
                <a:cubicBezTo>
                  <a:pt x="1671750" y="650288"/>
                  <a:pt x="1690252" y="668790"/>
                  <a:pt x="1690796" y="697087"/>
                </a:cubicBezTo>
                <a:cubicBezTo>
                  <a:pt x="1691340" y="723752"/>
                  <a:pt x="1672294" y="743342"/>
                  <a:pt x="1642909" y="745519"/>
                </a:cubicBezTo>
                <a:cubicBezTo>
                  <a:pt x="1614067" y="743887"/>
                  <a:pt x="1594477" y="725384"/>
                  <a:pt x="1594477" y="697632"/>
                </a:cubicBezTo>
                <a:cubicBezTo>
                  <a:pt x="1594477" y="668790"/>
                  <a:pt x="1614611" y="649200"/>
                  <a:pt x="1642909" y="649744"/>
                </a:cubicBezTo>
                <a:close/>
                <a:moveTo>
                  <a:pt x="1805617" y="648112"/>
                </a:moveTo>
                <a:cubicBezTo>
                  <a:pt x="1829561" y="648112"/>
                  <a:pt x="1857314" y="672055"/>
                  <a:pt x="1854593" y="698176"/>
                </a:cubicBezTo>
                <a:cubicBezTo>
                  <a:pt x="1856770" y="719399"/>
                  <a:pt x="1832826" y="747151"/>
                  <a:pt x="1805073" y="746607"/>
                </a:cubicBezTo>
                <a:cubicBezTo>
                  <a:pt x="1779497" y="746063"/>
                  <a:pt x="1756097" y="721575"/>
                  <a:pt x="1756097" y="697087"/>
                </a:cubicBezTo>
                <a:cubicBezTo>
                  <a:pt x="1756097" y="670423"/>
                  <a:pt x="1782218" y="647567"/>
                  <a:pt x="1805617" y="648112"/>
                </a:cubicBezTo>
                <a:close/>
                <a:moveTo>
                  <a:pt x="1969414" y="647023"/>
                </a:moveTo>
                <a:cubicBezTo>
                  <a:pt x="1992814" y="647023"/>
                  <a:pt x="2020567" y="672055"/>
                  <a:pt x="2018934" y="698176"/>
                </a:cubicBezTo>
                <a:cubicBezTo>
                  <a:pt x="2017302" y="725384"/>
                  <a:pt x="1996623" y="746063"/>
                  <a:pt x="1968326" y="746063"/>
                </a:cubicBezTo>
                <a:cubicBezTo>
                  <a:pt x="1941661" y="748784"/>
                  <a:pt x="1919350" y="721031"/>
                  <a:pt x="1918806" y="697087"/>
                </a:cubicBezTo>
                <a:cubicBezTo>
                  <a:pt x="1918806" y="669878"/>
                  <a:pt x="1945471" y="647023"/>
                  <a:pt x="1969414" y="647023"/>
                </a:cubicBezTo>
                <a:close/>
                <a:moveTo>
                  <a:pt x="90919" y="606754"/>
                </a:moveTo>
                <a:cubicBezTo>
                  <a:pt x="94728" y="608386"/>
                  <a:pt x="99626" y="612195"/>
                  <a:pt x="99626" y="615460"/>
                </a:cubicBezTo>
                <a:cubicBezTo>
                  <a:pt x="100170" y="618181"/>
                  <a:pt x="95816" y="621990"/>
                  <a:pt x="92007" y="627976"/>
                </a:cubicBezTo>
                <a:cubicBezTo>
                  <a:pt x="87654" y="623079"/>
                  <a:pt x="84389" y="619814"/>
                  <a:pt x="82756" y="616005"/>
                </a:cubicBezTo>
                <a:cubicBezTo>
                  <a:pt x="81668" y="613284"/>
                  <a:pt x="88198" y="605665"/>
                  <a:pt x="90919" y="606754"/>
                </a:cubicBezTo>
                <a:close/>
                <a:moveTo>
                  <a:pt x="254172" y="598047"/>
                </a:moveTo>
                <a:cubicBezTo>
                  <a:pt x="265599" y="597503"/>
                  <a:pt x="273218" y="606210"/>
                  <a:pt x="272674" y="614917"/>
                </a:cubicBezTo>
                <a:cubicBezTo>
                  <a:pt x="272674" y="625800"/>
                  <a:pt x="266688" y="632874"/>
                  <a:pt x="255260" y="633419"/>
                </a:cubicBezTo>
                <a:cubicBezTo>
                  <a:pt x="244376" y="633963"/>
                  <a:pt x="237302" y="626889"/>
                  <a:pt x="236758" y="616005"/>
                </a:cubicBezTo>
                <a:cubicBezTo>
                  <a:pt x="236758" y="605122"/>
                  <a:pt x="243832" y="598047"/>
                  <a:pt x="254172" y="598047"/>
                </a:cubicBezTo>
                <a:close/>
                <a:moveTo>
                  <a:pt x="418513" y="590429"/>
                </a:moveTo>
                <a:cubicBezTo>
                  <a:pt x="431029" y="590429"/>
                  <a:pt x="442457" y="601857"/>
                  <a:pt x="443001" y="614917"/>
                </a:cubicBezTo>
                <a:cubicBezTo>
                  <a:pt x="443545" y="627977"/>
                  <a:pt x="432118" y="640493"/>
                  <a:pt x="419058" y="640493"/>
                </a:cubicBezTo>
                <a:cubicBezTo>
                  <a:pt x="404365" y="640493"/>
                  <a:pt x="394570" y="630698"/>
                  <a:pt x="392937" y="616005"/>
                </a:cubicBezTo>
                <a:cubicBezTo>
                  <a:pt x="391849" y="604033"/>
                  <a:pt x="405997" y="590429"/>
                  <a:pt x="418513" y="590429"/>
                </a:cubicBezTo>
                <a:close/>
                <a:moveTo>
                  <a:pt x="581222" y="587163"/>
                </a:moveTo>
                <a:cubicBezTo>
                  <a:pt x="600812" y="588252"/>
                  <a:pt x="610063" y="598047"/>
                  <a:pt x="610063" y="616549"/>
                </a:cubicBezTo>
                <a:cubicBezTo>
                  <a:pt x="610063" y="634507"/>
                  <a:pt x="599179" y="644846"/>
                  <a:pt x="580677" y="645390"/>
                </a:cubicBezTo>
                <a:cubicBezTo>
                  <a:pt x="565440" y="644846"/>
                  <a:pt x="551836" y="634507"/>
                  <a:pt x="551836" y="615461"/>
                </a:cubicBezTo>
                <a:cubicBezTo>
                  <a:pt x="551836" y="594782"/>
                  <a:pt x="567073" y="586075"/>
                  <a:pt x="581222" y="587163"/>
                </a:cubicBezTo>
                <a:close/>
                <a:moveTo>
                  <a:pt x="743930" y="582266"/>
                </a:moveTo>
                <a:cubicBezTo>
                  <a:pt x="761344" y="581178"/>
                  <a:pt x="779301" y="599136"/>
                  <a:pt x="779301" y="616005"/>
                </a:cubicBezTo>
                <a:cubicBezTo>
                  <a:pt x="779301" y="632874"/>
                  <a:pt x="762976" y="649744"/>
                  <a:pt x="745563" y="649744"/>
                </a:cubicBezTo>
                <a:cubicBezTo>
                  <a:pt x="728149" y="649200"/>
                  <a:pt x="710191" y="635595"/>
                  <a:pt x="711824" y="616549"/>
                </a:cubicBezTo>
                <a:cubicBezTo>
                  <a:pt x="711824" y="596415"/>
                  <a:pt x="724340" y="583355"/>
                  <a:pt x="743930" y="582266"/>
                </a:cubicBezTo>
                <a:close/>
                <a:moveTo>
                  <a:pt x="907183" y="577913"/>
                </a:moveTo>
                <a:cubicBezTo>
                  <a:pt x="927318" y="576825"/>
                  <a:pt x="947452" y="598592"/>
                  <a:pt x="945276" y="615461"/>
                </a:cubicBezTo>
                <a:cubicBezTo>
                  <a:pt x="945276" y="635596"/>
                  <a:pt x="927318" y="653554"/>
                  <a:pt x="907727" y="654098"/>
                </a:cubicBezTo>
                <a:cubicBezTo>
                  <a:pt x="890314" y="654642"/>
                  <a:pt x="869091" y="635052"/>
                  <a:pt x="869091" y="616006"/>
                </a:cubicBezTo>
                <a:cubicBezTo>
                  <a:pt x="869635" y="595871"/>
                  <a:pt x="887049" y="578457"/>
                  <a:pt x="907183" y="577913"/>
                </a:cubicBezTo>
                <a:close/>
                <a:moveTo>
                  <a:pt x="1069891" y="574648"/>
                </a:moveTo>
                <a:cubicBezTo>
                  <a:pt x="1092202" y="574648"/>
                  <a:pt x="1111793" y="589885"/>
                  <a:pt x="1111248" y="615461"/>
                </a:cubicBezTo>
                <a:cubicBezTo>
                  <a:pt x="1111793" y="639405"/>
                  <a:pt x="1093835" y="656274"/>
                  <a:pt x="1070435" y="656274"/>
                </a:cubicBezTo>
                <a:cubicBezTo>
                  <a:pt x="1045403" y="656274"/>
                  <a:pt x="1029622" y="635052"/>
                  <a:pt x="1029622" y="614917"/>
                </a:cubicBezTo>
                <a:cubicBezTo>
                  <a:pt x="1030166" y="593150"/>
                  <a:pt x="1046491" y="574648"/>
                  <a:pt x="1069891" y="574648"/>
                </a:cubicBezTo>
                <a:close/>
                <a:moveTo>
                  <a:pt x="1235321" y="572472"/>
                </a:moveTo>
                <a:cubicBezTo>
                  <a:pt x="1256543" y="572472"/>
                  <a:pt x="1279399" y="590973"/>
                  <a:pt x="1277222" y="616550"/>
                </a:cubicBezTo>
                <a:cubicBezTo>
                  <a:pt x="1278855" y="639949"/>
                  <a:pt x="1255455" y="660084"/>
                  <a:pt x="1233688" y="660084"/>
                </a:cubicBezTo>
                <a:cubicBezTo>
                  <a:pt x="1211377" y="660084"/>
                  <a:pt x="1189610" y="637773"/>
                  <a:pt x="1190154" y="614917"/>
                </a:cubicBezTo>
                <a:cubicBezTo>
                  <a:pt x="1190698" y="594783"/>
                  <a:pt x="1209200" y="571927"/>
                  <a:pt x="1235321" y="572472"/>
                </a:cubicBezTo>
                <a:close/>
                <a:moveTo>
                  <a:pt x="1397485" y="569206"/>
                </a:moveTo>
                <a:cubicBezTo>
                  <a:pt x="1423606" y="569750"/>
                  <a:pt x="1443196" y="587708"/>
                  <a:pt x="1443196" y="616005"/>
                </a:cubicBezTo>
                <a:cubicBezTo>
                  <a:pt x="1443196" y="642670"/>
                  <a:pt x="1424150" y="661716"/>
                  <a:pt x="1396941" y="661172"/>
                </a:cubicBezTo>
                <a:cubicBezTo>
                  <a:pt x="1369188" y="661172"/>
                  <a:pt x="1350686" y="638860"/>
                  <a:pt x="1351775" y="614373"/>
                </a:cubicBezTo>
                <a:cubicBezTo>
                  <a:pt x="1352319" y="587164"/>
                  <a:pt x="1371365" y="569206"/>
                  <a:pt x="1397485" y="569206"/>
                </a:cubicBezTo>
                <a:close/>
                <a:moveTo>
                  <a:pt x="1560738" y="567029"/>
                </a:moveTo>
                <a:cubicBezTo>
                  <a:pt x="1586859" y="567029"/>
                  <a:pt x="1608082" y="587708"/>
                  <a:pt x="1609714" y="615461"/>
                </a:cubicBezTo>
                <a:cubicBezTo>
                  <a:pt x="1608082" y="641581"/>
                  <a:pt x="1589580" y="663892"/>
                  <a:pt x="1561283" y="663892"/>
                </a:cubicBezTo>
                <a:cubicBezTo>
                  <a:pt x="1534074" y="663892"/>
                  <a:pt x="1512851" y="642669"/>
                  <a:pt x="1512851" y="616005"/>
                </a:cubicBezTo>
                <a:cubicBezTo>
                  <a:pt x="1512851" y="587163"/>
                  <a:pt x="1535706" y="567029"/>
                  <a:pt x="1560738" y="567029"/>
                </a:cubicBezTo>
                <a:close/>
                <a:moveTo>
                  <a:pt x="1725624" y="565397"/>
                </a:moveTo>
                <a:cubicBezTo>
                  <a:pt x="1747935" y="565941"/>
                  <a:pt x="1775144" y="590429"/>
                  <a:pt x="1774599" y="616005"/>
                </a:cubicBezTo>
                <a:cubicBezTo>
                  <a:pt x="1774055" y="638317"/>
                  <a:pt x="1751744" y="668246"/>
                  <a:pt x="1723447" y="664981"/>
                </a:cubicBezTo>
                <a:cubicBezTo>
                  <a:pt x="1700592" y="667158"/>
                  <a:pt x="1674471" y="643758"/>
                  <a:pt x="1674471" y="615461"/>
                </a:cubicBezTo>
                <a:cubicBezTo>
                  <a:pt x="1674471" y="588797"/>
                  <a:pt x="1700592" y="565397"/>
                  <a:pt x="1725624" y="565397"/>
                </a:cubicBezTo>
                <a:close/>
                <a:moveTo>
                  <a:pt x="1886699" y="564853"/>
                </a:moveTo>
                <a:cubicBezTo>
                  <a:pt x="1914996" y="564309"/>
                  <a:pt x="1938396" y="589341"/>
                  <a:pt x="1938396" y="614917"/>
                </a:cubicBezTo>
                <a:cubicBezTo>
                  <a:pt x="1938396" y="640493"/>
                  <a:pt x="1917717" y="667702"/>
                  <a:pt x="1887787" y="665525"/>
                </a:cubicBezTo>
                <a:cubicBezTo>
                  <a:pt x="1860034" y="667702"/>
                  <a:pt x="1837723" y="644302"/>
                  <a:pt x="1837179" y="615461"/>
                </a:cubicBezTo>
                <a:cubicBezTo>
                  <a:pt x="1837179" y="586620"/>
                  <a:pt x="1861667" y="565397"/>
                  <a:pt x="1886699" y="564853"/>
                </a:cubicBezTo>
                <a:close/>
                <a:moveTo>
                  <a:pt x="2050496" y="564852"/>
                </a:moveTo>
                <a:lnTo>
                  <a:pt x="2051041" y="564962"/>
                </a:lnTo>
                <a:lnTo>
                  <a:pt x="2051041" y="665899"/>
                </a:lnTo>
                <a:lnTo>
                  <a:pt x="2049952" y="666069"/>
                </a:lnTo>
                <a:cubicBezTo>
                  <a:pt x="2018934" y="667157"/>
                  <a:pt x="1999344" y="642669"/>
                  <a:pt x="1999344" y="615460"/>
                </a:cubicBezTo>
                <a:cubicBezTo>
                  <a:pt x="1999344" y="587163"/>
                  <a:pt x="2021655" y="564852"/>
                  <a:pt x="2050496" y="564852"/>
                </a:cubicBezTo>
                <a:close/>
                <a:moveTo>
                  <a:pt x="173090" y="517509"/>
                </a:moveTo>
                <a:cubicBezTo>
                  <a:pt x="181252" y="517509"/>
                  <a:pt x="189415" y="525672"/>
                  <a:pt x="189959" y="533834"/>
                </a:cubicBezTo>
                <a:cubicBezTo>
                  <a:pt x="189959" y="542541"/>
                  <a:pt x="182341" y="550160"/>
                  <a:pt x="173634" y="550160"/>
                </a:cubicBezTo>
                <a:cubicBezTo>
                  <a:pt x="165471" y="550160"/>
                  <a:pt x="157853" y="543085"/>
                  <a:pt x="157308" y="534923"/>
                </a:cubicBezTo>
                <a:cubicBezTo>
                  <a:pt x="156764" y="526216"/>
                  <a:pt x="164383" y="518053"/>
                  <a:pt x="173090" y="517509"/>
                </a:cubicBezTo>
                <a:close/>
                <a:moveTo>
                  <a:pt x="335798" y="511523"/>
                </a:moveTo>
                <a:cubicBezTo>
                  <a:pt x="349947" y="512067"/>
                  <a:pt x="357565" y="519686"/>
                  <a:pt x="358654" y="533834"/>
                </a:cubicBezTo>
                <a:cubicBezTo>
                  <a:pt x="359742" y="547439"/>
                  <a:pt x="348314" y="557778"/>
                  <a:pt x="336343" y="556689"/>
                </a:cubicBezTo>
                <a:cubicBezTo>
                  <a:pt x="324371" y="558322"/>
                  <a:pt x="312943" y="545806"/>
                  <a:pt x="312943" y="534378"/>
                </a:cubicBezTo>
                <a:cubicBezTo>
                  <a:pt x="312943" y="522951"/>
                  <a:pt x="322738" y="510979"/>
                  <a:pt x="335798" y="511523"/>
                </a:cubicBezTo>
                <a:close/>
                <a:moveTo>
                  <a:pt x="500139" y="506626"/>
                </a:moveTo>
                <a:cubicBezTo>
                  <a:pt x="517553" y="507170"/>
                  <a:pt x="527892" y="517509"/>
                  <a:pt x="527348" y="535467"/>
                </a:cubicBezTo>
                <a:cubicBezTo>
                  <a:pt x="526804" y="552880"/>
                  <a:pt x="515920" y="562131"/>
                  <a:pt x="497963" y="561587"/>
                </a:cubicBezTo>
                <a:cubicBezTo>
                  <a:pt x="481093" y="561043"/>
                  <a:pt x="472386" y="550704"/>
                  <a:pt x="471842" y="533290"/>
                </a:cubicBezTo>
                <a:cubicBezTo>
                  <a:pt x="471298" y="516965"/>
                  <a:pt x="485447" y="506081"/>
                  <a:pt x="500139" y="506626"/>
                </a:cubicBezTo>
                <a:close/>
                <a:moveTo>
                  <a:pt x="662304" y="500639"/>
                </a:moveTo>
                <a:cubicBezTo>
                  <a:pt x="677540" y="497919"/>
                  <a:pt x="696587" y="518597"/>
                  <a:pt x="696042" y="533290"/>
                </a:cubicBezTo>
                <a:cubicBezTo>
                  <a:pt x="694954" y="551792"/>
                  <a:pt x="681894" y="565396"/>
                  <a:pt x="663392" y="566485"/>
                </a:cubicBezTo>
                <a:cubicBezTo>
                  <a:pt x="643802" y="567573"/>
                  <a:pt x="629653" y="549615"/>
                  <a:pt x="630197" y="534378"/>
                </a:cubicBezTo>
                <a:cubicBezTo>
                  <a:pt x="630741" y="515876"/>
                  <a:pt x="644346" y="501184"/>
                  <a:pt x="662304" y="500639"/>
                </a:cubicBezTo>
                <a:close/>
                <a:moveTo>
                  <a:pt x="825557" y="496830"/>
                </a:moveTo>
                <a:cubicBezTo>
                  <a:pt x="846780" y="496286"/>
                  <a:pt x="862561" y="513700"/>
                  <a:pt x="863649" y="534923"/>
                </a:cubicBezTo>
                <a:cubicBezTo>
                  <a:pt x="862017" y="556690"/>
                  <a:pt x="845147" y="571927"/>
                  <a:pt x="825557" y="571383"/>
                </a:cubicBezTo>
                <a:cubicBezTo>
                  <a:pt x="805422" y="570838"/>
                  <a:pt x="788553" y="555057"/>
                  <a:pt x="788553" y="534379"/>
                </a:cubicBezTo>
                <a:cubicBezTo>
                  <a:pt x="788553" y="514244"/>
                  <a:pt x="804334" y="497375"/>
                  <a:pt x="825557" y="496830"/>
                </a:cubicBezTo>
                <a:close/>
                <a:moveTo>
                  <a:pt x="989898" y="494110"/>
                </a:moveTo>
                <a:cubicBezTo>
                  <a:pt x="1012209" y="494654"/>
                  <a:pt x="1029622" y="513156"/>
                  <a:pt x="1029078" y="534923"/>
                </a:cubicBezTo>
                <a:cubicBezTo>
                  <a:pt x="1028534" y="556146"/>
                  <a:pt x="1010576" y="574104"/>
                  <a:pt x="989353" y="574104"/>
                </a:cubicBezTo>
                <a:cubicBezTo>
                  <a:pt x="969763" y="574648"/>
                  <a:pt x="947452" y="556690"/>
                  <a:pt x="949629" y="533835"/>
                </a:cubicBezTo>
                <a:cubicBezTo>
                  <a:pt x="947996" y="512068"/>
                  <a:pt x="968675" y="494110"/>
                  <a:pt x="989898" y="494110"/>
                </a:cubicBezTo>
                <a:close/>
                <a:moveTo>
                  <a:pt x="1152062" y="490301"/>
                </a:moveTo>
                <a:cubicBezTo>
                  <a:pt x="1174917" y="490301"/>
                  <a:pt x="1196140" y="509347"/>
                  <a:pt x="1196140" y="533835"/>
                </a:cubicBezTo>
                <a:cubicBezTo>
                  <a:pt x="1197228" y="558867"/>
                  <a:pt x="1173829" y="577913"/>
                  <a:pt x="1152606" y="577369"/>
                </a:cubicBezTo>
                <a:cubicBezTo>
                  <a:pt x="1130839" y="577369"/>
                  <a:pt x="1109616" y="556690"/>
                  <a:pt x="1109072" y="534379"/>
                </a:cubicBezTo>
                <a:cubicBezTo>
                  <a:pt x="1108528" y="510980"/>
                  <a:pt x="1128662" y="490301"/>
                  <a:pt x="1152062" y="490301"/>
                </a:cubicBezTo>
                <a:close/>
                <a:moveTo>
                  <a:pt x="1316947" y="489212"/>
                </a:moveTo>
                <a:cubicBezTo>
                  <a:pt x="1343612" y="489756"/>
                  <a:pt x="1361570" y="510435"/>
                  <a:pt x="1361570" y="534923"/>
                </a:cubicBezTo>
                <a:cubicBezTo>
                  <a:pt x="1361570" y="560499"/>
                  <a:pt x="1341980" y="580090"/>
                  <a:pt x="1315859" y="580090"/>
                </a:cubicBezTo>
                <a:cubicBezTo>
                  <a:pt x="1291915" y="580090"/>
                  <a:pt x="1269060" y="560499"/>
                  <a:pt x="1270693" y="533835"/>
                </a:cubicBezTo>
                <a:cubicBezTo>
                  <a:pt x="1269604" y="508258"/>
                  <a:pt x="1291371" y="488124"/>
                  <a:pt x="1316947" y="489212"/>
                </a:cubicBezTo>
                <a:close/>
                <a:moveTo>
                  <a:pt x="1479112" y="484315"/>
                </a:moveTo>
                <a:cubicBezTo>
                  <a:pt x="1503599" y="484315"/>
                  <a:pt x="1528087" y="508259"/>
                  <a:pt x="1528087" y="533835"/>
                </a:cubicBezTo>
                <a:cubicBezTo>
                  <a:pt x="1528087" y="558867"/>
                  <a:pt x="1506865" y="582267"/>
                  <a:pt x="1479656" y="582267"/>
                </a:cubicBezTo>
                <a:cubicBezTo>
                  <a:pt x="1453535" y="582267"/>
                  <a:pt x="1431224" y="560500"/>
                  <a:pt x="1431224" y="533835"/>
                </a:cubicBezTo>
                <a:cubicBezTo>
                  <a:pt x="1430680" y="506626"/>
                  <a:pt x="1454624" y="485403"/>
                  <a:pt x="1479112" y="484315"/>
                </a:cubicBezTo>
                <a:close/>
                <a:moveTo>
                  <a:pt x="1643452" y="484314"/>
                </a:moveTo>
                <a:cubicBezTo>
                  <a:pt x="1667396" y="481049"/>
                  <a:pt x="1693517" y="509891"/>
                  <a:pt x="1692973" y="534923"/>
                </a:cubicBezTo>
                <a:cubicBezTo>
                  <a:pt x="1692428" y="558867"/>
                  <a:pt x="1669573" y="584987"/>
                  <a:pt x="1641276" y="583898"/>
                </a:cubicBezTo>
                <a:cubicBezTo>
                  <a:pt x="1616788" y="583354"/>
                  <a:pt x="1592300" y="562676"/>
                  <a:pt x="1592300" y="532202"/>
                </a:cubicBezTo>
                <a:cubicBezTo>
                  <a:pt x="1592300" y="509891"/>
                  <a:pt x="1615155" y="481049"/>
                  <a:pt x="1643452" y="484314"/>
                </a:cubicBezTo>
                <a:close/>
                <a:moveTo>
                  <a:pt x="1806162" y="481594"/>
                </a:moveTo>
                <a:cubicBezTo>
                  <a:pt x="1839901" y="484859"/>
                  <a:pt x="1858947" y="504993"/>
                  <a:pt x="1857858" y="536011"/>
                </a:cubicBezTo>
                <a:cubicBezTo>
                  <a:pt x="1855682" y="568662"/>
                  <a:pt x="1834459" y="584987"/>
                  <a:pt x="1803441" y="586075"/>
                </a:cubicBezTo>
                <a:cubicBezTo>
                  <a:pt x="1775144" y="584443"/>
                  <a:pt x="1751744" y="559955"/>
                  <a:pt x="1753377" y="533290"/>
                </a:cubicBezTo>
                <a:cubicBezTo>
                  <a:pt x="1755009" y="504993"/>
                  <a:pt x="1780041" y="479417"/>
                  <a:pt x="1806162" y="481594"/>
                </a:cubicBezTo>
                <a:close/>
                <a:moveTo>
                  <a:pt x="1968326" y="480505"/>
                </a:moveTo>
                <a:cubicBezTo>
                  <a:pt x="1998256" y="483226"/>
                  <a:pt x="2020023" y="501728"/>
                  <a:pt x="2022200" y="534379"/>
                </a:cubicBezTo>
                <a:cubicBezTo>
                  <a:pt x="2023832" y="560499"/>
                  <a:pt x="1996079" y="588252"/>
                  <a:pt x="1969415" y="588252"/>
                </a:cubicBezTo>
                <a:cubicBezTo>
                  <a:pt x="1943294" y="588796"/>
                  <a:pt x="1916085" y="561587"/>
                  <a:pt x="1915541" y="534923"/>
                </a:cubicBezTo>
                <a:cubicBezTo>
                  <a:pt x="1914453" y="508258"/>
                  <a:pt x="1941117" y="480505"/>
                  <a:pt x="1968326" y="480505"/>
                </a:cubicBezTo>
                <a:close/>
                <a:moveTo>
                  <a:pt x="91464" y="440780"/>
                </a:moveTo>
                <a:cubicBezTo>
                  <a:pt x="99082" y="440780"/>
                  <a:pt x="102347" y="443501"/>
                  <a:pt x="102891" y="451664"/>
                </a:cubicBezTo>
                <a:cubicBezTo>
                  <a:pt x="102891" y="460915"/>
                  <a:pt x="100171" y="464179"/>
                  <a:pt x="92008" y="464179"/>
                </a:cubicBezTo>
                <a:cubicBezTo>
                  <a:pt x="83301" y="464179"/>
                  <a:pt x="80036" y="461459"/>
                  <a:pt x="80036" y="452752"/>
                </a:cubicBezTo>
                <a:cubicBezTo>
                  <a:pt x="80036" y="444045"/>
                  <a:pt x="83301" y="440780"/>
                  <a:pt x="91464" y="440780"/>
                </a:cubicBezTo>
                <a:close/>
                <a:moveTo>
                  <a:pt x="254172" y="430441"/>
                </a:moveTo>
                <a:cubicBezTo>
                  <a:pt x="263967" y="430441"/>
                  <a:pt x="276483" y="440236"/>
                  <a:pt x="275939" y="452208"/>
                </a:cubicBezTo>
                <a:cubicBezTo>
                  <a:pt x="275939" y="463092"/>
                  <a:pt x="265600" y="473975"/>
                  <a:pt x="254716" y="473975"/>
                </a:cubicBezTo>
                <a:cubicBezTo>
                  <a:pt x="244377" y="473975"/>
                  <a:pt x="232949" y="463092"/>
                  <a:pt x="232405" y="452752"/>
                </a:cubicBezTo>
                <a:cubicBezTo>
                  <a:pt x="232405" y="442413"/>
                  <a:pt x="243833" y="430985"/>
                  <a:pt x="254172" y="430441"/>
                </a:cubicBezTo>
                <a:close/>
                <a:moveTo>
                  <a:pt x="417969" y="424999"/>
                </a:moveTo>
                <a:cubicBezTo>
                  <a:pt x="432118" y="424999"/>
                  <a:pt x="444634" y="438059"/>
                  <a:pt x="444634" y="452752"/>
                </a:cubicBezTo>
                <a:cubicBezTo>
                  <a:pt x="445178" y="464180"/>
                  <a:pt x="432662" y="481049"/>
                  <a:pt x="417425" y="479417"/>
                </a:cubicBezTo>
                <a:cubicBezTo>
                  <a:pt x="405453" y="481049"/>
                  <a:pt x="389672" y="465268"/>
                  <a:pt x="390760" y="452208"/>
                </a:cubicBezTo>
                <a:cubicBezTo>
                  <a:pt x="391849" y="437515"/>
                  <a:pt x="403276" y="424999"/>
                  <a:pt x="417969" y="424999"/>
                </a:cubicBezTo>
                <a:close/>
                <a:moveTo>
                  <a:pt x="580677" y="419558"/>
                </a:moveTo>
                <a:cubicBezTo>
                  <a:pt x="596458" y="419013"/>
                  <a:pt x="612783" y="434795"/>
                  <a:pt x="612783" y="452208"/>
                </a:cubicBezTo>
                <a:cubicBezTo>
                  <a:pt x="612783" y="469622"/>
                  <a:pt x="599723" y="483226"/>
                  <a:pt x="581221" y="484315"/>
                </a:cubicBezTo>
                <a:cubicBezTo>
                  <a:pt x="561087" y="482138"/>
                  <a:pt x="549659" y="470710"/>
                  <a:pt x="549115" y="452208"/>
                </a:cubicBezTo>
                <a:cubicBezTo>
                  <a:pt x="548571" y="433162"/>
                  <a:pt x="564352" y="420102"/>
                  <a:pt x="580677" y="419558"/>
                </a:cubicBezTo>
                <a:close/>
                <a:moveTo>
                  <a:pt x="743931" y="415748"/>
                </a:moveTo>
                <a:cubicBezTo>
                  <a:pt x="761888" y="414660"/>
                  <a:pt x="779846" y="432618"/>
                  <a:pt x="780390" y="452208"/>
                </a:cubicBezTo>
                <a:cubicBezTo>
                  <a:pt x="780934" y="471254"/>
                  <a:pt x="764065" y="488668"/>
                  <a:pt x="744475" y="489212"/>
                </a:cubicBezTo>
                <a:cubicBezTo>
                  <a:pt x="727061" y="489212"/>
                  <a:pt x="709103" y="472342"/>
                  <a:pt x="708559" y="453840"/>
                </a:cubicBezTo>
                <a:cubicBezTo>
                  <a:pt x="707471" y="435883"/>
                  <a:pt x="725428" y="416836"/>
                  <a:pt x="743931" y="415748"/>
                </a:cubicBezTo>
                <a:close/>
                <a:moveTo>
                  <a:pt x="908271" y="414116"/>
                </a:moveTo>
                <a:cubicBezTo>
                  <a:pt x="927861" y="411395"/>
                  <a:pt x="946907" y="431529"/>
                  <a:pt x="946363" y="453296"/>
                </a:cubicBezTo>
                <a:cubicBezTo>
                  <a:pt x="946363" y="473975"/>
                  <a:pt x="927317" y="491933"/>
                  <a:pt x="906638" y="491933"/>
                </a:cubicBezTo>
                <a:cubicBezTo>
                  <a:pt x="887048" y="491933"/>
                  <a:pt x="866913" y="473431"/>
                  <a:pt x="868546" y="452208"/>
                </a:cubicBezTo>
                <a:cubicBezTo>
                  <a:pt x="870179" y="428808"/>
                  <a:pt x="884871" y="413571"/>
                  <a:pt x="908271" y="414116"/>
                </a:cubicBezTo>
                <a:close/>
                <a:moveTo>
                  <a:pt x="1072068" y="409218"/>
                </a:moveTo>
                <a:cubicBezTo>
                  <a:pt x="1097100" y="410307"/>
                  <a:pt x="1113970" y="427720"/>
                  <a:pt x="1113970" y="452752"/>
                </a:cubicBezTo>
                <a:cubicBezTo>
                  <a:pt x="1113970" y="478329"/>
                  <a:pt x="1092203" y="495198"/>
                  <a:pt x="1070436" y="495198"/>
                </a:cubicBezTo>
                <a:cubicBezTo>
                  <a:pt x="1048124" y="494654"/>
                  <a:pt x="1027446" y="475063"/>
                  <a:pt x="1028534" y="451120"/>
                </a:cubicBezTo>
                <a:cubicBezTo>
                  <a:pt x="1029622" y="427720"/>
                  <a:pt x="1048669" y="408130"/>
                  <a:pt x="1072068" y="409218"/>
                </a:cubicBezTo>
                <a:close/>
                <a:moveTo>
                  <a:pt x="1235865" y="408130"/>
                </a:moveTo>
                <a:cubicBezTo>
                  <a:pt x="1258721" y="405953"/>
                  <a:pt x="1279400" y="427176"/>
                  <a:pt x="1279400" y="453296"/>
                </a:cubicBezTo>
                <a:cubicBezTo>
                  <a:pt x="1278855" y="478328"/>
                  <a:pt x="1258177" y="497374"/>
                  <a:pt x="1233689" y="497374"/>
                </a:cubicBezTo>
                <a:cubicBezTo>
                  <a:pt x="1209745" y="496830"/>
                  <a:pt x="1189066" y="476151"/>
                  <a:pt x="1189611" y="451664"/>
                </a:cubicBezTo>
                <a:cubicBezTo>
                  <a:pt x="1189611" y="429352"/>
                  <a:pt x="1209201" y="404864"/>
                  <a:pt x="1235865" y="408130"/>
                </a:cubicBezTo>
                <a:close/>
                <a:moveTo>
                  <a:pt x="1396941" y="403776"/>
                </a:moveTo>
                <a:cubicBezTo>
                  <a:pt x="1425238" y="403232"/>
                  <a:pt x="1445373" y="423911"/>
                  <a:pt x="1446461" y="450575"/>
                </a:cubicBezTo>
                <a:cubicBezTo>
                  <a:pt x="1447005" y="476696"/>
                  <a:pt x="1426327" y="500096"/>
                  <a:pt x="1399118" y="500640"/>
                </a:cubicBezTo>
                <a:cubicBezTo>
                  <a:pt x="1372453" y="501184"/>
                  <a:pt x="1349598" y="479961"/>
                  <a:pt x="1349598" y="453296"/>
                </a:cubicBezTo>
                <a:cubicBezTo>
                  <a:pt x="1349598" y="424999"/>
                  <a:pt x="1370277" y="404865"/>
                  <a:pt x="1396941" y="403776"/>
                </a:cubicBezTo>
                <a:close/>
                <a:moveTo>
                  <a:pt x="1560738" y="402144"/>
                </a:moveTo>
                <a:cubicBezTo>
                  <a:pt x="1588491" y="402144"/>
                  <a:pt x="1611347" y="427176"/>
                  <a:pt x="1611347" y="453297"/>
                </a:cubicBezTo>
                <a:cubicBezTo>
                  <a:pt x="1610803" y="476152"/>
                  <a:pt x="1590668" y="502817"/>
                  <a:pt x="1560194" y="502272"/>
                </a:cubicBezTo>
                <a:cubicBezTo>
                  <a:pt x="1534074" y="501728"/>
                  <a:pt x="1508498" y="479961"/>
                  <a:pt x="1511218" y="451664"/>
                </a:cubicBezTo>
                <a:cubicBezTo>
                  <a:pt x="1508498" y="425544"/>
                  <a:pt x="1534618" y="402144"/>
                  <a:pt x="1560738" y="402144"/>
                </a:cubicBezTo>
                <a:close/>
                <a:moveTo>
                  <a:pt x="1723991" y="399423"/>
                </a:moveTo>
                <a:cubicBezTo>
                  <a:pt x="1756097" y="402688"/>
                  <a:pt x="1777320" y="422278"/>
                  <a:pt x="1776776" y="452752"/>
                </a:cubicBezTo>
                <a:cubicBezTo>
                  <a:pt x="1776232" y="483226"/>
                  <a:pt x="1757730" y="501728"/>
                  <a:pt x="1725079" y="504993"/>
                </a:cubicBezTo>
                <a:cubicBezTo>
                  <a:pt x="1697870" y="507714"/>
                  <a:pt x="1670117" y="479961"/>
                  <a:pt x="1671750" y="452752"/>
                </a:cubicBezTo>
                <a:cubicBezTo>
                  <a:pt x="1673382" y="420102"/>
                  <a:pt x="1692428" y="403232"/>
                  <a:pt x="1723991" y="399423"/>
                </a:cubicBezTo>
                <a:close/>
                <a:moveTo>
                  <a:pt x="2051040" y="398335"/>
                </a:moveTo>
                <a:lnTo>
                  <a:pt x="2051041" y="398335"/>
                </a:lnTo>
                <a:lnTo>
                  <a:pt x="2051041" y="506936"/>
                </a:lnTo>
                <a:lnTo>
                  <a:pt x="2049952" y="507170"/>
                </a:lnTo>
                <a:cubicBezTo>
                  <a:pt x="2020566" y="506626"/>
                  <a:pt x="1995534" y="481593"/>
                  <a:pt x="1995534" y="452208"/>
                </a:cubicBezTo>
                <a:cubicBezTo>
                  <a:pt x="1996078" y="424455"/>
                  <a:pt x="2021655" y="397246"/>
                  <a:pt x="2051040" y="398335"/>
                </a:cubicBezTo>
                <a:close/>
                <a:moveTo>
                  <a:pt x="1888332" y="398335"/>
                </a:moveTo>
                <a:cubicBezTo>
                  <a:pt x="1915541" y="398879"/>
                  <a:pt x="1941661" y="423911"/>
                  <a:pt x="1941661" y="452208"/>
                </a:cubicBezTo>
                <a:cubicBezTo>
                  <a:pt x="1941661" y="481594"/>
                  <a:pt x="1916085" y="507170"/>
                  <a:pt x="1886699" y="506082"/>
                </a:cubicBezTo>
                <a:cubicBezTo>
                  <a:pt x="1857314" y="505538"/>
                  <a:pt x="1833914" y="481594"/>
                  <a:pt x="1833370" y="452208"/>
                </a:cubicBezTo>
                <a:cubicBezTo>
                  <a:pt x="1833370" y="423911"/>
                  <a:pt x="1860035" y="398335"/>
                  <a:pt x="1888332" y="398335"/>
                </a:cubicBezTo>
                <a:close/>
                <a:moveTo>
                  <a:pt x="12014" y="364052"/>
                </a:moveTo>
                <a:cubicBezTo>
                  <a:pt x="13102" y="365140"/>
                  <a:pt x="15279" y="367317"/>
                  <a:pt x="15823" y="370038"/>
                </a:cubicBezTo>
                <a:cubicBezTo>
                  <a:pt x="16911" y="374391"/>
                  <a:pt x="14191" y="377656"/>
                  <a:pt x="9293" y="377656"/>
                </a:cubicBezTo>
                <a:cubicBezTo>
                  <a:pt x="4940" y="377656"/>
                  <a:pt x="3307" y="374936"/>
                  <a:pt x="3307" y="371126"/>
                </a:cubicBezTo>
                <a:cubicBezTo>
                  <a:pt x="3307" y="367317"/>
                  <a:pt x="4940" y="364052"/>
                  <a:pt x="12014" y="364052"/>
                </a:cubicBezTo>
                <a:close/>
                <a:moveTo>
                  <a:pt x="172545" y="353713"/>
                </a:moveTo>
                <a:cubicBezTo>
                  <a:pt x="184517" y="353713"/>
                  <a:pt x="190503" y="359154"/>
                  <a:pt x="190503" y="370582"/>
                </a:cubicBezTo>
                <a:cubicBezTo>
                  <a:pt x="190503" y="381466"/>
                  <a:pt x="184517" y="387996"/>
                  <a:pt x="173090" y="387996"/>
                </a:cubicBezTo>
                <a:cubicBezTo>
                  <a:pt x="163839" y="388540"/>
                  <a:pt x="155676" y="381466"/>
                  <a:pt x="155676" y="371126"/>
                </a:cubicBezTo>
                <a:cubicBezTo>
                  <a:pt x="155676" y="362419"/>
                  <a:pt x="161662" y="352080"/>
                  <a:pt x="172545" y="353713"/>
                </a:cubicBezTo>
                <a:close/>
                <a:moveTo>
                  <a:pt x="336886" y="345550"/>
                </a:moveTo>
                <a:cubicBezTo>
                  <a:pt x="350490" y="346094"/>
                  <a:pt x="362462" y="358610"/>
                  <a:pt x="361374" y="371670"/>
                </a:cubicBezTo>
                <a:cubicBezTo>
                  <a:pt x="360286" y="385275"/>
                  <a:pt x="348858" y="395614"/>
                  <a:pt x="335798" y="395070"/>
                </a:cubicBezTo>
                <a:cubicBezTo>
                  <a:pt x="319472" y="394526"/>
                  <a:pt x="311854" y="381466"/>
                  <a:pt x="311854" y="370038"/>
                </a:cubicBezTo>
                <a:cubicBezTo>
                  <a:pt x="311854" y="356978"/>
                  <a:pt x="324370" y="345550"/>
                  <a:pt x="336886" y="345550"/>
                </a:cubicBezTo>
                <a:close/>
                <a:moveTo>
                  <a:pt x="499596" y="342284"/>
                </a:moveTo>
                <a:cubicBezTo>
                  <a:pt x="518642" y="341196"/>
                  <a:pt x="528437" y="354256"/>
                  <a:pt x="528437" y="370582"/>
                </a:cubicBezTo>
                <a:cubicBezTo>
                  <a:pt x="528437" y="386363"/>
                  <a:pt x="518642" y="399967"/>
                  <a:pt x="499051" y="399423"/>
                </a:cubicBezTo>
                <a:cubicBezTo>
                  <a:pt x="481094" y="399423"/>
                  <a:pt x="470210" y="387995"/>
                  <a:pt x="470210" y="370037"/>
                </a:cubicBezTo>
                <a:cubicBezTo>
                  <a:pt x="470754" y="352624"/>
                  <a:pt x="481638" y="341740"/>
                  <a:pt x="499596" y="342284"/>
                </a:cubicBezTo>
                <a:close/>
                <a:moveTo>
                  <a:pt x="663392" y="337387"/>
                </a:moveTo>
                <a:cubicBezTo>
                  <a:pt x="680262" y="337387"/>
                  <a:pt x="697675" y="354801"/>
                  <a:pt x="697131" y="371126"/>
                </a:cubicBezTo>
                <a:cubicBezTo>
                  <a:pt x="696043" y="390172"/>
                  <a:pt x="682982" y="404321"/>
                  <a:pt x="662304" y="404321"/>
                </a:cubicBezTo>
                <a:cubicBezTo>
                  <a:pt x="643258" y="405953"/>
                  <a:pt x="629109" y="389084"/>
                  <a:pt x="629109" y="371126"/>
                </a:cubicBezTo>
                <a:cubicBezTo>
                  <a:pt x="629109" y="352624"/>
                  <a:pt x="645434" y="337387"/>
                  <a:pt x="663392" y="337387"/>
                </a:cubicBezTo>
                <a:close/>
                <a:moveTo>
                  <a:pt x="825556" y="332489"/>
                </a:moveTo>
                <a:cubicBezTo>
                  <a:pt x="847323" y="333577"/>
                  <a:pt x="864193" y="349358"/>
                  <a:pt x="864737" y="370037"/>
                </a:cubicBezTo>
                <a:cubicBezTo>
                  <a:pt x="864193" y="391260"/>
                  <a:pt x="847323" y="409218"/>
                  <a:pt x="826645" y="409218"/>
                </a:cubicBezTo>
                <a:cubicBezTo>
                  <a:pt x="808687" y="412483"/>
                  <a:pt x="788008" y="387995"/>
                  <a:pt x="787464" y="371126"/>
                </a:cubicBezTo>
                <a:cubicBezTo>
                  <a:pt x="787464" y="353712"/>
                  <a:pt x="808687" y="331945"/>
                  <a:pt x="825556" y="332489"/>
                </a:cubicBezTo>
                <a:close/>
                <a:moveTo>
                  <a:pt x="989898" y="328680"/>
                </a:moveTo>
                <a:cubicBezTo>
                  <a:pt x="1013297" y="329224"/>
                  <a:pt x="1030167" y="347182"/>
                  <a:pt x="1031255" y="371126"/>
                </a:cubicBezTo>
                <a:cubicBezTo>
                  <a:pt x="1029623" y="396702"/>
                  <a:pt x="1010576" y="413027"/>
                  <a:pt x="989354" y="413027"/>
                </a:cubicBezTo>
                <a:cubicBezTo>
                  <a:pt x="964866" y="412483"/>
                  <a:pt x="946908" y="393981"/>
                  <a:pt x="947452" y="370037"/>
                </a:cubicBezTo>
                <a:cubicBezTo>
                  <a:pt x="947996" y="346094"/>
                  <a:pt x="964866" y="328680"/>
                  <a:pt x="989898" y="328680"/>
                </a:cubicBezTo>
                <a:close/>
                <a:moveTo>
                  <a:pt x="1153150" y="326504"/>
                </a:moveTo>
                <a:cubicBezTo>
                  <a:pt x="1177094" y="326504"/>
                  <a:pt x="1197228" y="347727"/>
                  <a:pt x="1197228" y="370582"/>
                </a:cubicBezTo>
                <a:cubicBezTo>
                  <a:pt x="1197228" y="392894"/>
                  <a:pt x="1176550" y="417925"/>
                  <a:pt x="1152606" y="414661"/>
                </a:cubicBezTo>
                <a:cubicBezTo>
                  <a:pt x="1130295" y="417925"/>
                  <a:pt x="1107984" y="393982"/>
                  <a:pt x="1108528" y="370038"/>
                </a:cubicBezTo>
                <a:cubicBezTo>
                  <a:pt x="1109072" y="347727"/>
                  <a:pt x="1129751" y="326504"/>
                  <a:pt x="1153150" y="326504"/>
                </a:cubicBezTo>
                <a:close/>
                <a:moveTo>
                  <a:pt x="1317492" y="323239"/>
                </a:moveTo>
                <a:cubicBezTo>
                  <a:pt x="1341979" y="322151"/>
                  <a:pt x="1367012" y="348271"/>
                  <a:pt x="1364835" y="372215"/>
                </a:cubicBezTo>
                <a:cubicBezTo>
                  <a:pt x="1361026" y="399968"/>
                  <a:pt x="1344700" y="416837"/>
                  <a:pt x="1314771" y="419014"/>
                </a:cubicBezTo>
                <a:cubicBezTo>
                  <a:pt x="1286474" y="415205"/>
                  <a:pt x="1267972" y="398879"/>
                  <a:pt x="1268516" y="370582"/>
                </a:cubicBezTo>
                <a:cubicBezTo>
                  <a:pt x="1268516" y="341197"/>
                  <a:pt x="1288650" y="324327"/>
                  <a:pt x="1317492" y="323239"/>
                </a:cubicBezTo>
                <a:close/>
                <a:moveTo>
                  <a:pt x="1479112" y="320517"/>
                </a:moveTo>
                <a:cubicBezTo>
                  <a:pt x="1503600" y="319973"/>
                  <a:pt x="1530265" y="343917"/>
                  <a:pt x="1529720" y="371670"/>
                </a:cubicBezTo>
                <a:cubicBezTo>
                  <a:pt x="1528632" y="395069"/>
                  <a:pt x="1506321" y="423366"/>
                  <a:pt x="1478568" y="420101"/>
                </a:cubicBezTo>
                <a:cubicBezTo>
                  <a:pt x="1452447" y="422822"/>
                  <a:pt x="1429592" y="397246"/>
                  <a:pt x="1429592" y="370037"/>
                </a:cubicBezTo>
                <a:cubicBezTo>
                  <a:pt x="1429592" y="342284"/>
                  <a:pt x="1455713" y="320517"/>
                  <a:pt x="1479112" y="320517"/>
                </a:cubicBezTo>
                <a:close/>
                <a:moveTo>
                  <a:pt x="1642364" y="318341"/>
                </a:moveTo>
                <a:cubicBezTo>
                  <a:pt x="1670661" y="318341"/>
                  <a:pt x="1692973" y="339020"/>
                  <a:pt x="1695694" y="370582"/>
                </a:cubicBezTo>
                <a:cubicBezTo>
                  <a:pt x="1696238" y="397791"/>
                  <a:pt x="1671206" y="423367"/>
                  <a:pt x="1643453" y="424455"/>
                </a:cubicBezTo>
                <a:cubicBezTo>
                  <a:pt x="1616788" y="425544"/>
                  <a:pt x="1589035" y="398335"/>
                  <a:pt x="1589035" y="371670"/>
                </a:cubicBezTo>
                <a:cubicBezTo>
                  <a:pt x="1589035" y="345006"/>
                  <a:pt x="1615155" y="317797"/>
                  <a:pt x="1642364" y="318341"/>
                </a:cubicBezTo>
                <a:close/>
                <a:moveTo>
                  <a:pt x="90919" y="273718"/>
                </a:moveTo>
                <a:cubicBezTo>
                  <a:pt x="96361" y="273174"/>
                  <a:pt x="106156" y="282425"/>
                  <a:pt x="106700" y="288411"/>
                </a:cubicBezTo>
                <a:cubicBezTo>
                  <a:pt x="106700" y="294941"/>
                  <a:pt x="97993" y="303648"/>
                  <a:pt x="91463" y="303648"/>
                </a:cubicBezTo>
                <a:cubicBezTo>
                  <a:pt x="84933" y="303648"/>
                  <a:pt x="76226" y="294941"/>
                  <a:pt x="76770" y="288411"/>
                </a:cubicBezTo>
                <a:cubicBezTo>
                  <a:pt x="76770" y="283513"/>
                  <a:pt x="86021" y="274262"/>
                  <a:pt x="90919" y="273718"/>
                </a:cubicBezTo>
                <a:close/>
                <a:moveTo>
                  <a:pt x="254716" y="267733"/>
                </a:moveTo>
                <a:cubicBezTo>
                  <a:pt x="267776" y="267733"/>
                  <a:pt x="276483" y="276440"/>
                  <a:pt x="276483" y="288956"/>
                </a:cubicBezTo>
                <a:cubicBezTo>
                  <a:pt x="276483" y="301472"/>
                  <a:pt x="266688" y="311811"/>
                  <a:pt x="254172" y="311811"/>
                </a:cubicBezTo>
                <a:cubicBezTo>
                  <a:pt x="243289" y="311811"/>
                  <a:pt x="232405" y="300384"/>
                  <a:pt x="232405" y="289500"/>
                </a:cubicBezTo>
                <a:cubicBezTo>
                  <a:pt x="232405" y="276984"/>
                  <a:pt x="242744" y="267733"/>
                  <a:pt x="254716" y="267733"/>
                </a:cubicBezTo>
                <a:close/>
                <a:moveTo>
                  <a:pt x="1941117" y="263202"/>
                </a:moveTo>
                <a:cubicBezTo>
                  <a:pt x="1937852" y="261570"/>
                  <a:pt x="1936219" y="263202"/>
                  <a:pt x="1936219" y="266467"/>
                </a:cubicBezTo>
                <a:cubicBezTo>
                  <a:pt x="1936763" y="268644"/>
                  <a:pt x="1937852" y="270276"/>
                  <a:pt x="1938396" y="272453"/>
                </a:cubicBezTo>
                <a:cubicBezTo>
                  <a:pt x="1944382" y="290955"/>
                  <a:pt x="1943838" y="308913"/>
                  <a:pt x="1932954" y="325782"/>
                </a:cubicBezTo>
                <a:cubicBezTo>
                  <a:pt x="1931866" y="327415"/>
                  <a:pt x="1931866" y="329047"/>
                  <a:pt x="1930777" y="331224"/>
                </a:cubicBezTo>
                <a:cubicBezTo>
                  <a:pt x="1932410" y="331224"/>
                  <a:pt x="1935131" y="331224"/>
                  <a:pt x="1936219" y="330136"/>
                </a:cubicBezTo>
                <a:cubicBezTo>
                  <a:pt x="1945470" y="323061"/>
                  <a:pt x="1955265" y="320885"/>
                  <a:pt x="1966693" y="320340"/>
                </a:cubicBezTo>
                <a:cubicBezTo>
                  <a:pt x="1978121" y="319796"/>
                  <a:pt x="1989004" y="323061"/>
                  <a:pt x="1998799" y="328503"/>
                </a:cubicBezTo>
                <a:cubicBezTo>
                  <a:pt x="2000432" y="329047"/>
                  <a:pt x="2001520" y="329592"/>
                  <a:pt x="2003153" y="330136"/>
                </a:cubicBezTo>
                <a:cubicBezTo>
                  <a:pt x="2002609" y="328503"/>
                  <a:pt x="2002609" y="326326"/>
                  <a:pt x="2001520" y="324694"/>
                </a:cubicBezTo>
                <a:cubicBezTo>
                  <a:pt x="1999344" y="319796"/>
                  <a:pt x="1995534" y="314899"/>
                  <a:pt x="1994446" y="309457"/>
                </a:cubicBezTo>
                <a:cubicBezTo>
                  <a:pt x="1992269" y="295308"/>
                  <a:pt x="1990093" y="281160"/>
                  <a:pt x="1998255" y="267555"/>
                </a:cubicBezTo>
                <a:cubicBezTo>
                  <a:pt x="2000432" y="267555"/>
                  <a:pt x="2000432" y="265923"/>
                  <a:pt x="2000976" y="263746"/>
                </a:cubicBezTo>
                <a:cubicBezTo>
                  <a:pt x="1998799" y="263746"/>
                  <a:pt x="1996623" y="262658"/>
                  <a:pt x="1995534" y="263746"/>
                </a:cubicBezTo>
                <a:cubicBezTo>
                  <a:pt x="1977577" y="272997"/>
                  <a:pt x="1959075" y="272997"/>
                  <a:pt x="1941117" y="263202"/>
                </a:cubicBezTo>
                <a:close/>
                <a:moveTo>
                  <a:pt x="417425" y="262291"/>
                </a:moveTo>
                <a:cubicBezTo>
                  <a:pt x="434839" y="262291"/>
                  <a:pt x="445178" y="272086"/>
                  <a:pt x="445178" y="288956"/>
                </a:cubicBezTo>
                <a:cubicBezTo>
                  <a:pt x="445178" y="305825"/>
                  <a:pt x="434839" y="316164"/>
                  <a:pt x="417969" y="317253"/>
                </a:cubicBezTo>
                <a:cubicBezTo>
                  <a:pt x="404909" y="317797"/>
                  <a:pt x="389672" y="306369"/>
                  <a:pt x="390216" y="290044"/>
                </a:cubicBezTo>
                <a:cubicBezTo>
                  <a:pt x="391305" y="272086"/>
                  <a:pt x="400011" y="262291"/>
                  <a:pt x="417425" y="262291"/>
                </a:cubicBezTo>
                <a:close/>
                <a:moveTo>
                  <a:pt x="580678" y="256304"/>
                </a:moveTo>
                <a:cubicBezTo>
                  <a:pt x="596459" y="255760"/>
                  <a:pt x="616049" y="273174"/>
                  <a:pt x="613872" y="288955"/>
                </a:cubicBezTo>
                <a:cubicBezTo>
                  <a:pt x="615505" y="304736"/>
                  <a:pt x="598635" y="322150"/>
                  <a:pt x="581222" y="322150"/>
                </a:cubicBezTo>
                <a:cubicBezTo>
                  <a:pt x="564352" y="322150"/>
                  <a:pt x="548571" y="308001"/>
                  <a:pt x="548027" y="289499"/>
                </a:cubicBezTo>
                <a:cubicBezTo>
                  <a:pt x="547483" y="272086"/>
                  <a:pt x="565441" y="256849"/>
                  <a:pt x="580678" y="256304"/>
                </a:cubicBezTo>
                <a:close/>
                <a:moveTo>
                  <a:pt x="743930" y="251951"/>
                </a:moveTo>
                <a:cubicBezTo>
                  <a:pt x="764609" y="251951"/>
                  <a:pt x="782566" y="268820"/>
                  <a:pt x="782022" y="289499"/>
                </a:cubicBezTo>
                <a:cubicBezTo>
                  <a:pt x="781478" y="311266"/>
                  <a:pt x="765153" y="326503"/>
                  <a:pt x="744474" y="326503"/>
                </a:cubicBezTo>
                <a:cubicBezTo>
                  <a:pt x="723795" y="326503"/>
                  <a:pt x="708014" y="311266"/>
                  <a:pt x="707470" y="289499"/>
                </a:cubicBezTo>
                <a:cubicBezTo>
                  <a:pt x="706926" y="271541"/>
                  <a:pt x="722163" y="252495"/>
                  <a:pt x="743930" y="251951"/>
                </a:cubicBezTo>
                <a:close/>
                <a:moveTo>
                  <a:pt x="907183" y="249775"/>
                </a:moveTo>
                <a:cubicBezTo>
                  <a:pt x="929494" y="249775"/>
                  <a:pt x="946908" y="263924"/>
                  <a:pt x="947452" y="289500"/>
                </a:cubicBezTo>
                <a:cubicBezTo>
                  <a:pt x="947996" y="311811"/>
                  <a:pt x="931127" y="330313"/>
                  <a:pt x="908271" y="329225"/>
                </a:cubicBezTo>
                <a:cubicBezTo>
                  <a:pt x="885960" y="330857"/>
                  <a:pt x="868002" y="312355"/>
                  <a:pt x="867458" y="290044"/>
                </a:cubicBezTo>
                <a:cubicBezTo>
                  <a:pt x="867458" y="266100"/>
                  <a:pt x="884872" y="249775"/>
                  <a:pt x="907183" y="249775"/>
                </a:cubicBezTo>
                <a:close/>
                <a:moveTo>
                  <a:pt x="1070435" y="245965"/>
                </a:moveTo>
                <a:cubicBezTo>
                  <a:pt x="1093291" y="245421"/>
                  <a:pt x="1116146" y="264467"/>
                  <a:pt x="1114513" y="290043"/>
                </a:cubicBezTo>
                <a:cubicBezTo>
                  <a:pt x="1115602" y="312899"/>
                  <a:pt x="1092202" y="334122"/>
                  <a:pt x="1069347" y="333578"/>
                </a:cubicBezTo>
                <a:cubicBezTo>
                  <a:pt x="1047036" y="333034"/>
                  <a:pt x="1026357" y="311266"/>
                  <a:pt x="1026357" y="288955"/>
                </a:cubicBezTo>
                <a:cubicBezTo>
                  <a:pt x="1026901" y="268276"/>
                  <a:pt x="1045403" y="245965"/>
                  <a:pt x="1070435" y="245965"/>
                </a:cubicBezTo>
                <a:close/>
                <a:moveTo>
                  <a:pt x="1233689" y="241613"/>
                </a:moveTo>
                <a:cubicBezTo>
                  <a:pt x="1257632" y="241068"/>
                  <a:pt x="1281032" y="263924"/>
                  <a:pt x="1282120" y="288412"/>
                </a:cubicBezTo>
                <a:cubicBezTo>
                  <a:pt x="1282665" y="312900"/>
                  <a:pt x="1260898" y="336299"/>
                  <a:pt x="1235321" y="335755"/>
                </a:cubicBezTo>
                <a:cubicBezTo>
                  <a:pt x="1206480" y="335211"/>
                  <a:pt x="1190155" y="318886"/>
                  <a:pt x="1187434" y="289500"/>
                </a:cubicBezTo>
                <a:cubicBezTo>
                  <a:pt x="1184713" y="266100"/>
                  <a:pt x="1208657" y="242701"/>
                  <a:pt x="1233689" y="241613"/>
                </a:cubicBezTo>
                <a:close/>
                <a:moveTo>
                  <a:pt x="1397485" y="238891"/>
                </a:moveTo>
                <a:cubicBezTo>
                  <a:pt x="1421973" y="237259"/>
                  <a:pt x="1448638" y="264467"/>
                  <a:pt x="1448094" y="288955"/>
                </a:cubicBezTo>
                <a:cubicBezTo>
                  <a:pt x="1447005" y="312355"/>
                  <a:pt x="1424150" y="341196"/>
                  <a:pt x="1398029" y="338475"/>
                </a:cubicBezTo>
                <a:cubicBezTo>
                  <a:pt x="1372453" y="340652"/>
                  <a:pt x="1347421" y="315620"/>
                  <a:pt x="1348509" y="289499"/>
                </a:cubicBezTo>
                <a:cubicBezTo>
                  <a:pt x="1349598" y="261202"/>
                  <a:pt x="1369732" y="240524"/>
                  <a:pt x="1397485" y="238891"/>
                </a:cubicBezTo>
                <a:close/>
                <a:moveTo>
                  <a:pt x="1559650" y="237258"/>
                </a:moveTo>
                <a:cubicBezTo>
                  <a:pt x="1590668" y="236170"/>
                  <a:pt x="1611891" y="259570"/>
                  <a:pt x="1613523" y="288955"/>
                </a:cubicBezTo>
                <a:cubicBezTo>
                  <a:pt x="1613523" y="316164"/>
                  <a:pt x="1587403" y="342829"/>
                  <a:pt x="1560738" y="342829"/>
                </a:cubicBezTo>
                <a:cubicBezTo>
                  <a:pt x="1534618" y="342829"/>
                  <a:pt x="1505776" y="315620"/>
                  <a:pt x="1507953" y="289499"/>
                </a:cubicBezTo>
                <a:cubicBezTo>
                  <a:pt x="1510130" y="261202"/>
                  <a:pt x="1526455" y="238347"/>
                  <a:pt x="1559650" y="237258"/>
                </a:cubicBezTo>
                <a:close/>
                <a:moveTo>
                  <a:pt x="9837" y="198078"/>
                </a:moveTo>
                <a:cubicBezTo>
                  <a:pt x="14190" y="198078"/>
                  <a:pt x="19632" y="202976"/>
                  <a:pt x="19632" y="207873"/>
                </a:cubicBezTo>
                <a:cubicBezTo>
                  <a:pt x="19632" y="212227"/>
                  <a:pt x="14190" y="217668"/>
                  <a:pt x="10381" y="218213"/>
                </a:cubicBezTo>
                <a:cubicBezTo>
                  <a:pt x="5483" y="218757"/>
                  <a:pt x="-503" y="212771"/>
                  <a:pt x="42" y="207873"/>
                </a:cubicBezTo>
                <a:cubicBezTo>
                  <a:pt x="42" y="202976"/>
                  <a:pt x="5483" y="198078"/>
                  <a:pt x="9837" y="198078"/>
                </a:cubicBezTo>
                <a:close/>
                <a:moveTo>
                  <a:pt x="173090" y="187739"/>
                </a:moveTo>
                <a:cubicBezTo>
                  <a:pt x="183429" y="188283"/>
                  <a:pt x="192136" y="196990"/>
                  <a:pt x="192136" y="207329"/>
                </a:cubicBezTo>
                <a:cubicBezTo>
                  <a:pt x="192136" y="217669"/>
                  <a:pt x="182341" y="228008"/>
                  <a:pt x="172546" y="227464"/>
                </a:cubicBezTo>
                <a:cubicBezTo>
                  <a:pt x="163839" y="226920"/>
                  <a:pt x="154588" y="217669"/>
                  <a:pt x="154044" y="208418"/>
                </a:cubicBezTo>
                <a:cubicBezTo>
                  <a:pt x="153500" y="198078"/>
                  <a:pt x="162751" y="187739"/>
                  <a:pt x="173090" y="187739"/>
                </a:cubicBezTo>
                <a:close/>
                <a:moveTo>
                  <a:pt x="336887" y="182297"/>
                </a:moveTo>
                <a:cubicBezTo>
                  <a:pt x="350491" y="182841"/>
                  <a:pt x="361919" y="191548"/>
                  <a:pt x="363007" y="207329"/>
                </a:cubicBezTo>
                <a:cubicBezTo>
                  <a:pt x="363551" y="219845"/>
                  <a:pt x="349947" y="233449"/>
                  <a:pt x="336887" y="233994"/>
                </a:cubicBezTo>
                <a:cubicBezTo>
                  <a:pt x="324371" y="233994"/>
                  <a:pt x="311311" y="221478"/>
                  <a:pt x="310766" y="208961"/>
                </a:cubicBezTo>
                <a:cubicBezTo>
                  <a:pt x="310222" y="195357"/>
                  <a:pt x="323282" y="181753"/>
                  <a:pt x="336887" y="182297"/>
                </a:cubicBezTo>
                <a:close/>
                <a:moveTo>
                  <a:pt x="1856225" y="180487"/>
                </a:moveTo>
                <a:cubicBezTo>
                  <a:pt x="1856225" y="182664"/>
                  <a:pt x="1855137" y="184841"/>
                  <a:pt x="1855681" y="185929"/>
                </a:cubicBezTo>
                <a:cubicBezTo>
                  <a:pt x="1863844" y="206064"/>
                  <a:pt x="1863844" y="226198"/>
                  <a:pt x="1851872" y="244700"/>
                </a:cubicBezTo>
                <a:cubicBezTo>
                  <a:pt x="1851328" y="245788"/>
                  <a:pt x="1851328" y="246877"/>
                  <a:pt x="1851328" y="247965"/>
                </a:cubicBezTo>
                <a:cubicBezTo>
                  <a:pt x="1852416" y="247965"/>
                  <a:pt x="1854049" y="247965"/>
                  <a:pt x="1854593" y="247421"/>
                </a:cubicBezTo>
                <a:cubicBezTo>
                  <a:pt x="1868197" y="237082"/>
                  <a:pt x="1883434" y="237082"/>
                  <a:pt x="1899215" y="238714"/>
                </a:cubicBezTo>
                <a:cubicBezTo>
                  <a:pt x="1904113" y="239258"/>
                  <a:pt x="1909010" y="241979"/>
                  <a:pt x="1913908" y="243067"/>
                </a:cubicBezTo>
                <a:cubicBezTo>
                  <a:pt x="1915541" y="243612"/>
                  <a:pt x="1917173" y="242523"/>
                  <a:pt x="1918806" y="242523"/>
                </a:cubicBezTo>
                <a:cubicBezTo>
                  <a:pt x="1918806" y="240891"/>
                  <a:pt x="1918806" y="239258"/>
                  <a:pt x="1918261" y="238170"/>
                </a:cubicBezTo>
                <a:cubicBezTo>
                  <a:pt x="1908466" y="220756"/>
                  <a:pt x="1910099" y="203887"/>
                  <a:pt x="1917173" y="185929"/>
                </a:cubicBezTo>
                <a:cubicBezTo>
                  <a:pt x="1917717" y="184297"/>
                  <a:pt x="1917717" y="183208"/>
                  <a:pt x="1918261" y="181576"/>
                </a:cubicBezTo>
                <a:cubicBezTo>
                  <a:pt x="1916629" y="182120"/>
                  <a:pt x="1914996" y="182120"/>
                  <a:pt x="1913908" y="182664"/>
                </a:cubicBezTo>
                <a:cubicBezTo>
                  <a:pt x="1895950" y="189738"/>
                  <a:pt x="1877992" y="190827"/>
                  <a:pt x="1860579" y="180487"/>
                </a:cubicBezTo>
                <a:cubicBezTo>
                  <a:pt x="1858946" y="181031"/>
                  <a:pt x="1857858" y="181031"/>
                  <a:pt x="1856225" y="180487"/>
                </a:cubicBezTo>
                <a:close/>
                <a:moveTo>
                  <a:pt x="499595" y="175767"/>
                </a:moveTo>
                <a:cubicBezTo>
                  <a:pt x="514832" y="175767"/>
                  <a:pt x="531702" y="193181"/>
                  <a:pt x="531158" y="207874"/>
                </a:cubicBezTo>
                <a:cubicBezTo>
                  <a:pt x="530613" y="223110"/>
                  <a:pt x="513744" y="239980"/>
                  <a:pt x="498507" y="238347"/>
                </a:cubicBezTo>
                <a:cubicBezTo>
                  <a:pt x="479461" y="236715"/>
                  <a:pt x="469666" y="224743"/>
                  <a:pt x="468033" y="207329"/>
                </a:cubicBezTo>
                <a:cubicBezTo>
                  <a:pt x="466945" y="192636"/>
                  <a:pt x="484903" y="175767"/>
                  <a:pt x="499595" y="175767"/>
                </a:cubicBezTo>
                <a:close/>
                <a:moveTo>
                  <a:pt x="662304" y="173046"/>
                </a:moveTo>
                <a:cubicBezTo>
                  <a:pt x="683527" y="171958"/>
                  <a:pt x="698220" y="189916"/>
                  <a:pt x="697676" y="207873"/>
                </a:cubicBezTo>
                <a:cubicBezTo>
                  <a:pt x="697131" y="227464"/>
                  <a:pt x="684615" y="243245"/>
                  <a:pt x="662304" y="242156"/>
                </a:cubicBezTo>
                <a:cubicBezTo>
                  <a:pt x="639993" y="241612"/>
                  <a:pt x="628565" y="229096"/>
                  <a:pt x="628021" y="207873"/>
                </a:cubicBezTo>
                <a:cubicBezTo>
                  <a:pt x="628021" y="187739"/>
                  <a:pt x="642714" y="172502"/>
                  <a:pt x="662304" y="173046"/>
                </a:cubicBezTo>
                <a:close/>
                <a:moveTo>
                  <a:pt x="826645" y="168148"/>
                </a:moveTo>
                <a:cubicBezTo>
                  <a:pt x="844602" y="168148"/>
                  <a:pt x="867458" y="187194"/>
                  <a:pt x="864737" y="207329"/>
                </a:cubicBezTo>
                <a:cubicBezTo>
                  <a:pt x="867458" y="229096"/>
                  <a:pt x="844058" y="247054"/>
                  <a:pt x="826100" y="247054"/>
                </a:cubicBezTo>
                <a:cubicBezTo>
                  <a:pt x="808687" y="247054"/>
                  <a:pt x="787464" y="228552"/>
                  <a:pt x="787464" y="207873"/>
                </a:cubicBezTo>
                <a:cubicBezTo>
                  <a:pt x="787464" y="187194"/>
                  <a:pt x="807054" y="168148"/>
                  <a:pt x="826645" y="168148"/>
                </a:cubicBezTo>
                <a:close/>
                <a:moveTo>
                  <a:pt x="987721" y="164883"/>
                </a:moveTo>
                <a:cubicBezTo>
                  <a:pt x="1012209" y="164339"/>
                  <a:pt x="1030711" y="181753"/>
                  <a:pt x="1031799" y="207329"/>
                </a:cubicBezTo>
                <a:cubicBezTo>
                  <a:pt x="1031255" y="232361"/>
                  <a:pt x="1011665" y="250319"/>
                  <a:pt x="988809" y="250319"/>
                </a:cubicBezTo>
                <a:cubicBezTo>
                  <a:pt x="965954" y="250319"/>
                  <a:pt x="946364" y="231273"/>
                  <a:pt x="945819" y="208417"/>
                </a:cubicBezTo>
                <a:cubicBezTo>
                  <a:pt x="945275" y="185018"/>
                  <a:pt x="962689" y="165428"/>
                  <a:pt x="987721" y="164883"/>
                </a:cubicBezTo>
                <a:close/>
                <a:moveTo>
                  <a:pt x="1153150" y="162707"/>
                </a:moveTo>
                <a:cubicBezTo>
                  <a:pt x="1177638" y="161619"/>
                  <a:pt x="1197772" y="180665"/>
                  <a:pt x="1197772" y="207874"/>
                </a:cubicBezTo>
                <a:cubicBezTo>
                  <a:pt x="1197772" y="235083"/>
                  <a:pt x="1176005" y="253584"/>
                  <a:pt x="1151517" y="253584"/>
                </a:cubicBezTo>
                <a:cubicBezTo>
                  <a:pt x="1128118" y="253040"/>
                  <a:pt x="1106895" y="234538"/>
                  <a:pt x="1107439" y="207329"/>
                </a:cubicBezTo>
                <a:cubicBezTo>
                  <a:pt x="1107983" y="179576"/>
                  <a:pt x="1129206" y="161075"/>
                  <a:pt x="1153150" y="162707"/>
                </a:cubicBezTo>
                <a:close/>
                <a:moveTo>
                  <a:pt x="1315315" y="158353"/>
                </a:moveTo>
                <a:cubicBezTo>
                  <a:pt x="1341435" y="156177"/>
                  <a:pt x="1365923" y="184474"/>
                  <a:pt x="1365379" y="206785"/>
                </a:cubicBezTo>
                <a:cubicBezTo>
                  <a:pt x="1365379" y="229640"/>
                  <a:pt x="1344156" y="256849"/>
                  <a:pt x="1315859" y="256305"/>
                </a:cubicBezTo>
                <a:cubicBezTo>
                  <a:pt x="1290283" y="256305"/>
                  <a:pt x="1267427" y="233994"/>
                  <a:pt x="1266883" y="207873"/>
                </a:cubicBezTo>
                <a:cubicBezTo>
                  <a:pt x="1265795" y="181209"/>
                  <a:pt x="1292460" y="157265"/>
                  <a:pt x="1315315" y="158353"/>
                </a:cubicBezTo>
                <a:close/>
                <a:moveTo>
                  <a:pt x="1478567" y="156721"/>
                </a:moveTo>
                <a:cubicBezTo>
                  <a:pt x="1510129" y="156721"/>
                  <a:pt x="1530264" y="180665"/>
                  <a:pt x="1529720" y="207329"/>
                </a:cubicBezTo>
                <a:cubicBezTo>
                  <a:pt x="1530264" y="236715"/>
                  <a:pt x="1510129" y="258482"/>
                  <a:pt x="1478567" y="258482"/>
                </a:cubicBezTo>
                <a:cubicBezTo>
                  <a:pt x="1449182" y="257938"/>
                  <a:pt x="1428503" y="238892"/>
                  <a:pt x="1427959" y="207874"/>
                </a:cubicBezTo>
                <a:cubicBezTo>
                  <a:pt x="1427415" y="179576"/>
                  <a:pt x="1447549" y="156721"/>
                  <a:pt x="1478567" y="156721"/>
                </a:cubicBezTo>
                <a:close/>
                <a:moveTo>
                  <a:pt x="1644541" y="153456"/>
                </a:moveTo>
                <a:cubicBezTo>
                  <a:pt x="1672294" y="154544"/>
                  <a:pt x="1697870" y="180665"/>
                  <a:pt x="1697326" y="209506"/>
                </a:cubicBezTo>
                <a:cubicBezTo>
                  <a:pt x="1696782" y="238347"/>
                  <a:pt x="1669573" y="263924"/>
                  <a:pt x="1641276" y="262835"/>
                </a:cubicBezTo>
                <a:cubicBezTo>
                  <a:pt x="1612979" y="261203"/>
                  <a:pt x="1587402" y="236715"/>
                  <a:pt x="1587947" y="206785"/>
                </a:cubicBezTo>
                <a:cubicBezTo>
                  <a:pt x="1587947" y="180121"/>
                  <a:pt x="1613523" y="152368"/>
                  <a:pt x="1644541" y="153456"/>
                </a:cubicBezTo>
                <a:close/>
                <a:moveTo>
                  <a:pt x="91463" y="109922"/>
                </a:moveTo>
                <a:cubicBezTo>
                  <a:pt x="97993" y="109922"/>
                  <a:pt x="107244" y="119173"/>
                  <a:pt x="107244" y="126247"/>
                </a:cubicBezTo>
                <a:cubicBezTo>
                  <a:pt x="107788" y="132777"/>
                  <a:pt x="98537" y="142028"/>
                  <a:pt x="91463" y="142028"/>
                </a:cubicBezTo>
                <a:cubicBezTo>
                  <a:pt x="83845" y="142028"/>
                  <a:pt x="75682" y="133866"/>
                  <a:pt x="75682" y="126247"/>
                </a:cubicBezTo>
                <a:cubicBezTo>
                  <a:pt x="75682" y="118629"/>
                  <a:pt x="84389" y="109922"/>
                  <a:pt x="91463" y="109922"/>
                </a:cubicBezTo>
                <a:close/>
                <a:moveTo>
                  <a:pt x="1942341" y="104915"/>
                </a:moveTo>
                <a:cubicBezTo>
                  <a:pt x="1941389" y="105799"/>
                  <a:pt x="1941389" y="107840"/>
                  <a:pt x="1942205" y="111377"/>
                </a:cubicBezTo>
                <a:cubicBezTo>
                  <a:pt x="1943294" y="118451"/>
                  <a:pt x="1944926" y="124437"/>
                  <a:pt x="1946559" y="131511"/>
                </a:cubicBezTo>
                <a:cubicBezTo>
                  <a:pt x="1944382" y="139674"/>
                  <a:pt x="1941661" y="148381"/>
                  <a:pt x="1939484" y="157088"/>
                </a:cubicBezTo>
                <a:cubicBezTo>
                  <a:pt x="1939484" y="158176"/>
                  <a:pt x="1941117" y="160353"/>
                  <a:pt x="1941117" y="160353"/>
                </a:cubicBezTo>
                <a:cubicBezTo>
                  <a:pt x="1955810" y="154367"/>
                  <a:pt x="1971046" y="150558"/>
                  <a:pt x="1986828" y="157088"/>
                </a:cubicBezTo>
                <a:cubicBezTo>
                  <a:pt x="1987372" y="157088"/>
                  <a:pt x="1987916" y="157088"/>
                  <a:pt x="1987916" y="157088"/>
                </a:cubicBezTo>
                <a:cubicBezTo>
                  <a:pt x="1994990" y="157632"/>
                  <a:pt x="1996623" y="155999"/>
                  <a:pt x="1993902" y="150013"/>
                </a:cubicBezTo>
                <a:cubicBezTo>
                  <a:pt x="1988460" y="136409"/>
                  <a:pt x="1988460" y="123349"/>
                  <a:pt x="1993902" y="109744"/>
                </a:cubicBezTo>
                <a:cubicBezTo>
                  <a:pt x="1995534" y="105935"/>
                  <a:pt x="1994446" y="103214"/>
                  <a:pt x="1989004" y="105391"/>
                </a:cubicBezTo>
                <a:cubicBezTo>
                  <a:pt x="1975400" y="109744"/>
                  <a:pt x="1961796" y="109744"/>
                  <a:pt x="1948191" y="105391"/>
                </a:cubicBezTo>
                <a:cubicBezTo>
                  <a:pt x="1945198" y="104303"/>
                  <a:pt x="1943294" y="104031"/>
                  <a:pt x="1942341" y="104915"/>
                </a:cubicBezTo>
                <a:close/>
                <a:moveTo>
                  <a:pt x="255804" y="103392"/>
                </a:moveTo>
                <a:cubicBezTo>
                  <a:pt x="269409" y="103392"/>
                  <a:pt x="277571" y="112643"/>
                  <a:pt x="277571" y="126791"/>
                </a:cubicBezTo>
                <a:cubicBezTo>
                  <a:pt x="277027" y="139852"/>
                  <a:pt x="267776" y="148558"/>
                  <a:pt x="254172" y="148014"/>
                </a:cubicBezTo>
                <a:cubicBezTo>
                  <a:pt x="241112" y="148014"/>
                  <a:pt x="231861" y="138763"/>
                  <a:pt x="232405" y="125159"/>
                </a:cubicBezTo>
                <a:cubicBezTo>
                  <a:pt x="232405" y="112099"/>
                  <a:pt x="242200" y="102848"/>
                  <a:pt x="255804" y="103392"/>
                </a:cubicBezTo>
                <a:close/>
                <a:moveTo>
                  <a:pt x="1773511" y="99405"/>
                </a:moveTo>
                <a:cubicBezTo>
                  <a:pt x="1773511" y="102126"/>
                  <a:pt x="1772966" y="104303"/>
                  <a:pt x="1773511" y="107023"/>
                </a:cubicBezTo>
                <a:cubicBezTo>
                  <a:pt x="1776232" y="114098"/>
                  <a:pt x="1778408" y="121716"/>
                  <a:pt x="1780585" y="130423"/>
                </a:cubicBezTo>
                <a:cubicBezTo>
                  <a:pt x="1778408" y="139130"/>
                  <a:pt x="1775687" y="147293"/>
                  <a:pt x="1773511" y="155999"/>
                </a:cubicBezTo>
                <a:cubicBezTo>
                  <a:pt x="1772966" y="157632"/>
                  <a:pt x="1772966" y="160897"/>
                  <a:pt x="1774055" y="161985"/>
                </a:cubicBezTo>
                <a:cubicBezTo>
                  <a:pt x="1775143" y="163074"/>
                  <a:pt x="1778408" y="163074"/>
                  <a:pt x="1780041" y="162529"/>
                </a:cubicBezTo>
                <a:cubicBezTo>
                  <a:pt x="1789836" y="155455"/>
                  <a:pt x="1800719" y="157632"/>
                  <a:pt x="1811059" y="157632"/>
                </a:cubicBezTo>
                <a:cubicBezTo>
                  <a:pt x="1817589" y="157632"/>
                  <a:pt x="1824119" y="156543"/>
                  <a:pt x="1829561" y="161985"/>
                </a:cubicBezTo>
                <a:cubicBezTo>
                  <a:pt x="1830649" y="163074"/>
                  <a:pt x="1834458" y="161985"/>
                  <a:pt x="1836635" y="161985"/>
                </a:cubicBezTo>
                <a:cubicBezTo>
                  <a:pt x="1835547" y="160353"/>
                  <a:pt x="1835002" y="158720"/>
                  <a:pt x="1833914" y="157088"/>
                </a:cubicBezTo>
                <a:cubicBezTo>
                  <a:pt x="1826840" y="139674"/>
                  <a:pt x="1826296" y="121716"/>
                  <a:pt x="1834458" y="104303"/>
                </a:cubicBezTo>
                <a:cubicBezTo>
                  <a:pt x="1835002" y="102670"/>
                  <a:pt x="1835547" y="101038"/>
                  <a:pt x="1835547" y="99405"/>
                </a:cubicBezTo>
                <a:cubicBezTo>
                  <a:pt x="1833914" y="99949"/>
                  <a:pt x="1832282" y="99949"/>
                  <a:pt x="1831193" y="101038"/>
                </a:cubicBezTo>
                <a:cubicBezTo>
                  <a:pt x="1814324" y="109200"/>
                  <a:pt x="1797454" y="109200"/>
                  <a:pt x="1780041" y="101582"/>
                </a:cubicBezTo>
                <a:cubicBezTo>
                  <a:pt x="1777864" y="100493"/>
                  <a:pt x="1775687" y="100493"/>
                  <a:pt x="1773511" y="99405"/>
                </a:cubicBezTo>
                <a:close/>
                <a:moveTo>
                  <a:pt x="417424" y="97950"/>
                </a:moveTo>
                <a:cubicBezTo>
                  <a:pt x="435382" y="97950"/>
                  <a:pt x="445721" y="108289"/>
                  <a:pt x="445721" y="126247"/>
                </a:cubicBezTo>
                <a:cubicBezTo>
                  <a:pt x="445721" y="143661"/>
                  <a:pt x="435382" y="153456"/>
                  <a:pt x="417424" y="153456"/>
                </a:cubicBezTo>
                <a:cubicBezTo>
                  <a:pt x="402187" y="155088"/>
                  <a:pt x="389127" y="141484"/>
                  <a:pt x="390215" y="125159"/>
                </a:cubicBezTo>
                <a:cubicBezTo>
                  <a:pt x="391304" y="107745"/>
                  <a:pt x="400555" y="97950"/>
                  <a:pt x="417424" y="97950"/>
                </a:cubicBezTo>
                <a:close/>
                <a:moveTo>
                  <a:pt x="580677" y="92508"/>
                </a:moveTo>
                <a:cubicBezTo>
                  <a:pt x="599724" y="92508"/>
                  <a:pt x="613328" y="106112"/>
                  <a:pt x="614960" y="125159"/>
                </a:cubicBezTo>
                <a:cubicBezTo>
                  <a:pt x="616049" y="141484"/>
                  <a:pt x="598091" y="161618"/>
                  <a:pt x="581766" y="158353"/>
                </a:cubicBezTo>
                <a:cubicBezTo>
                  <a:pt x="561631" y="158353"/>
                  <a:pt x="548571" y="145293"/>
                  <a:pt x="548571" y="125703"/>
                </a:cubicBezTo>
                <a:cubicBezTo>
                  <a:pt x="548571" y="106657"/>
                  <a:pt x="562175" y="92508"/>
                  <a:pt x="580677" y="92508"/>
                </a:cubicBezTo>
                <a:close/>
                <a:moveTo>
                  <a:pt x="745019" y="88154"/>
                </a:moveTo>
                <a:cubicBezTo>
                  <a:pt x="763521" y="87610"/>
                  <a:pt x="783111" y="107745"/>
                  <a:pt x="782567" y="126791"/>
                </a:cubicBezTo>
                <a:cubicBezTo>
                  <a:pt x="782023" y="147469"/>
                  <a:pt x="761344" y="164339"/>
                  <a:pt x="743930" y="164339"/>
                </a:cubicBezTo>
                <a:cubicBezTo>
                  <a:pt x="723796" y="163795"/>
                  <a:pt x="705838" y="144204"/>
                  <a:pt x="706382" y="125702"/>
                </a:cubicBezTo>
                <a:cubicBezTo>
                  <a:pt x="706926" y="109377"/>
                  <a:pt x="723252" y="87066"/>
                  <a:pt x="745019" y="88154"/>
                </a:cubicBezTo>
                <a:close/>
                <a:moveTo>
                  <a:pt x="1685898" y="84712"/>
                </a:moveTo>
                <a:lnTo>
                  <a:pt x="1685681" y="85147"/>
                </a:lnTo>
                <a:lnTo>
                  <a:pt x="1685354" y="85256"/>
                </a:lnTo>
                <a:cubicBezTo>
                  <a:pt x="1685354" y="85256"/>
                  <a:pt x="1685898" y="84712"/>
                  <a:pt x="1685898" y="84712"/>
                </a:cubicBezTo>
                <a:close/>
                <a:moveTo>
                  <a:pt x="907183" y="84345"/>
                </a:moveTo>
                <a:cubicBezTo>
                  <a:pt x="916978" y="84345"/>
                  <a:pt x="926773" y="87610"/>
                  <a:pt x="934935" y="95228"/>
                </a:cubicBezTo>
                <a:cubicBezTo>
                  <a:pt x="944187" y="103935"/>
                  <a:pt x="946907" y="114819"/>
                  <a:pt x="949628" y="125158"/>
                </a:cubicBezTo>
                <a:cubicBezTo>
                  <a:pt x="946907" y="150190"/>
                  <a:pt x="932759" y="166515"/>
                  <a:pt x="908271" y="167060"/>
                </a:cubicBezTo>
                <a:cubicBezTo>
                  <a:pt x="884871" y="167604"/>
                  <a:pt x="867458" y="150734"/>
                  <a:pt x="866369" y="125702"/>
                </a:cubicBezTo>
                <a:cubicBezTo>
                  <a:pt x="865825" y="103935"/>
                  <a:pt x="884871" y="83801"/>
                  <a:pt x="907183" y="84345"/>
                </a:cubicBezTo>
                <a:close/>
                <a:moveTo>
                  <a:pt x="1070979" y="82169"/>
                </a:moveTo>
                <a:cubicBezTo>
                  <a:pt x="1095467" y="79448"/>
                  <a:pt x="1115602" y="103936"/>
                  <a:pt x="1115602" y="126247"/>
                </a:cubicBezTo>
                <a:cubicBezTo>
                  <a:pt x="1115602" y="148014"/>
                  <a:pt x="1094923" y="170325"/>
                  <a:pt x="1071524" y="170325"/>
                </a:cubicBezTo>
                <a:cubicBezTo>
                  <a:pt x="1047580" y="170325"/>
                  <a:pt x="1026357" y="148558"/>
                  <a:pt x="1026357" y="125703"/>
                </a:cubicBezTo>
                <a:cubicBezTo>
                  <a:pt x="1026357" y="103936"/>
                  <a:pt x="1047036" y="79448"/>
                  <a:pt x="1070979" y="82169"/>
                </a:cubicBezTo>
                <a:close/>
                <a:moveTo>
                  <a:pt x="1684811" y="82168"/>
                </a:moveTo>
                <a:cubicBezTo>
                  <a:pt x="1684811" y="82168"/>
                  <a:pt x="1684266" y="82713"/>
                  <a:pt x="1684266" y="82713"/>
                </a:cubicBezTo>
                <a:lnTo>
                  <a:pt x="1684469" y="82365"/>
                </a:lnTo>
                <a:close/>
                <a:moveTo>
                  <a:pt x="1234777" y="78360"/>
                </a:moveTo>
                <a:cubicBezTo>
                  <a:pt x="1259809" y="76727"/>
                  <a:pt x="1284297" y="101759"/>
                  <a:pt x="1282664" y="126791"/>
                </a:cubicBezTo>
                <a:cubicBezTo>
                  <a:pt x="1280487" y="152912"/>
                  <a:pt x="1264162" y="171958"/>
                  <a:pt x="1234232" y="174135"/>
                </a:cubicBezTo>
                <a:cubicBezTo>
                  <a:pt x="1205935" y="172502"/>
                  <a:pt x="1186345" y="153456"/>
                  <a:pt x="1186889" y="126791"/>
                </a:cubicBezTo>
                <a:cubicBezTo>
                  <a:pt x="1187433" y="96318"/>
                  <a:pt x="1207024" y="79992"/>
                  <a:pt x="1234777" y="78360"/>
                </a:cubicBezTo>
                <a:close/>
                <a:moveTo>
                  <a:pt x="1398574" y="76182"/>
                </a:moveTo>
                <a:cubicBezTo>
                  <a:pt x="1424150" y="74006"/>
                  <a:pt x="1448638" y="99582"/>
                  <a:pt x="1448094" y="127335"/>
                </a:cubicBezTo>
                <a:cubicBezTo>
                  <a:pt x="1447549" y="151823"/>
                  <a:pt x="1426327" y="176311"/>
                  <a:pt x="1396941" y="175766"/>
                </a:cubicBezTo>
                <a:cubicBezTo>
                  <a:pt x="1367011" y="175222"/>
                  <a:pt x="1347421" y="151278"/>
                  <a:pt x="1347421" y="125702"/>
                </a:cubicBezTo>
                <a:cubicBezTo>
                  <a:pt x="1347421" y="99038"/>
                  <a:pt x="1369732" y="74006"/>
                  <a:pt x="1398574" y="76182"/>
                </a:cubicBezTo>
                <a:close/>
                <a:moveTo>
                  <a:pt x="1561282" y="72373"/>
                </a:moveTo>
                <a:cubicBezTo>
                  <a:pt x="1588491" y="72373"/>
                  <a:pt x="1614611" y="96861"/>
                  <a:pt x="1614611" y="126247"/>
                </a:cubicBezTo>
                <a:cubicBezTo>
                  <a:pt x="1614067" y="155632"/>
                  <a:pt x="1590667" y="180120"/>
                  <a:pt x="1560738" y="179576"/>
                </a:cubicBezTo>
                <a:cubicBezTo>
                  <a:pt x="1530808" y="179576"/>
                  <a:pt x="1507953" y="156176"/>
                  <a:pt x="1507409" y="126247"/>
                </a:cubicBezTo>
                <a:cubicBezTo>
                  <a:pt x="1506864" y="96861"/>
                  <a:pt x="1532441" y="72373"/>
                  <a:pt x="1561282" y="72373"/>
                </a:cubicBezTo>
                <a:close/>
                <a:moveTo>
                  <a:pt x="10381" y="33737"/>
                </a:moveTo>
                <a:cubicBezTo>
                  <a:pt x="15822" y="33737"/>
                  <a:pt x="20720" y="39179"/>
                  <a:pt x="20720" y="45165"/>
                </a:cubicBezTo>
                <a:cubicBezTo>
                  <a:pt x="20176" y="50606"/>
                  <a:pt x="14734" y="55504"/>
                  <a:pt x="9292" y="54960"/>
                </a:cubicBezTo>
                <a:cubicBezTo>
                  <a:pt x="4395" y="54416"/>
                  <a:pt x="41" y="49518"/>
                  <a:pt x="41" y="44621"/>
                </a:cubicBezTo>
                <a:cubicBezTo>
                  <a:pt x="-503" y="38635"/>
                  <a:pt x="4395" y="33737"/>
                  <a:pt x="10381" y="33737"/>
                </a:cubicBezTo>
                <a:close/>
                <a:moveTo>
                  <a:pt x="172546" y="23942"/>
                </a:moveTo>
                <a:cubicBezTo>
                  <a:pt x="181796" y="22854"/>
                  <a:pt x="193224" y="34826"/>
                  <a:pt x="193224" y="44621"/>
                </a:cubicBezTo>
                <a:cubicBezTo>
                  <a:pt x="193224" y="53872"/>
                  <a:pt x="182341" y="64755"/>
                  <a:pt x="173090" y="64755"/>
                </a:cubicBezTo>
                <a:cubicBezTo>
                  <a:pt x="164383" y="64755"/>
                  <a:pt x="152411" y="52784"/>
                  <a:pt x="152411" y="44621"/>
                </a:cubicBezTo>
                <a:cubicBezTo>
                  <a:pt x="152411" y="36458"/>
                  <a:pt x="164927" y="24486"/>
                  <a:pt x="172546" y="23942"/>
                </a:cubicBezTo>
                <a:close/>
                <a:moveTo>
                  <a:pt x="1861123" y="22132"/>
                </a:moveTo>
                <a:cubicBezTo>
                  <a:pt x="1861123" y="26485"/>
                  <a:pt x="1860035" y="31383"/>
                  <a:pt x="1861123" y="35737"/>
                </a:cubicBezTo>
                <a:cubicBezTo>
                  <a:pt x="1863844" y="44443"/>
                  <a:pt x="1864932" y="52606"/>
                  <a:pt x="1861123" y="61313"/>
                </a:cubicBezTo>
                <a:cubicBezTo>
                  <a:pt x="1860035" y="64034"/>
                  <a:pt x="1860035" y="67299"/>
                  <a:pt x="1858946" y="72740"/>
                </a:cubicBezTo>
                <a:cubicBezTo>
                  <a:pt x="1858402" y="76550"/>
                  <a:pt x="1861123" y="77638"/>
                  <a:pt x="1866021" y="76550"/>
                </a:cubicBezTo>
                <a:cubicBezTo>
                  <a:pt x="1868741" y="76006"/>
                  <a:pt x="1871462" y="76006"/>
                  <a:pt x="1873639" y="74917"/>
                </a:cubicBezTo>
                <a:cubicBezTo>
                  <a:pt x="1882346" y="71108"/>
                  <a:pt x="1891053" y="71108"/>
                  <a:pt x="1900304" y="74373"/>
                </a:cubicBezTo>
                <a:cubicBezTo>
                  <a:pt x="1902480" y="75461"/>
                  <a:pt x="1905201" y="76006"/>
                  <a:pt x="1907922" y="76006"/>
                </a:cubicBezTo>
                <a:cubicBezTo>
                  <a:pt x="1912276" y="76550"/>
                  <a:pt x="1914996" y="75461"/>
                  <a:pt x="1912820" y="70020"/>
                </a:cubicBezTo>
                <a:cubicBezTo>
                  <a:pt x="1907378" y="55871"/>
                  <a:pt x="1906834" y="41178"/>
                  <a:pt x="1912820" y="27030"/>
                </a:cubicBezTo>
                <a:cubicBezTo>
                  <a:pt x="1914996" y="22132"/>
                  <a:pt x="1911731" y="21588"/>
                  <a:pt x="1908466" y="22132"/>
                </a:cubicBezTo>
                <a:cubicBezTo>
                  <a:pt x="1906290" y="22676"/>
                  <a:pt x="1904657" y="24309"/>
                  <a:pt x="1902480" y="24309"/>
                </a:cubicBezTo>
                <a:cubicBezTo>
                  <a:pt x="1892685" y="24309"/>
                  <a:pt x="1882890" y="24853"/>
                  <a:pt x="1873095" y="24309"/>
                </a:cubicBezTo>
                <a:cubicBezTo>
                  <a:pt x="1868741" y="24309"/>
                  <a:pt x="1864932" y="22676"/>
                  <a:pt x="1861123" y="22132"/>
                </a:cubicBezTo>
                <a:close/>
                <a:moveTo>
                  <a:pt x="336886" y="17412"/>
                </a:moveTo>
                <a:cubicBezTo>
                  <a:pt x="347770" y="17412"/>
                  <a:pt x="363551" y="31016"/>
                  <a:pt x="363007" y="44077"/>
                </a:cubicBezTo>
                <a:cubicBezTo>
                  <a:pt x="363007" y="57681"/>
                  <a:pt x="350491" y="70741"/>
                  <a:pt x="337431" y="71285"/>
                </a:cubicBezTo>
                <a:cubicBezTo>
                  <a:pt x="324370" y="71830"/>
                  <a:pt x="310766" y="58769"/>
                  <a:pt x="310222" y="45165"/>
                </a:cubicBezTo>
                <a:cubicBezTo>
                  <a:pt x="309678" y="31016"/>
                  <a:pt x="323282" y="17956"/>
                  <a:pt x="336886" y="17412"/>
                </a:cubicBezTo>
                <a:close/>
                <a:moveTo>
                  <a:pt x="498507" y="13059"/>
                </a:moveTo>
                <a:cubicBezTo>
                  <a:pt x="514832" y="11970"/>
                  <a:pt x="531702" y="28296"/>
                  <a:pt x="531702" y="44621"/>
                </a:cubicBezTo>
                <a:cubicBezTo>
                  <a:pt x="531702" y="60402"/>
                  <a:pt x="515376" y="76183"/>
                  <a:pt x="499595" y="76727"/>
                </a:cubicBezTo>
                <a:cubicBezTo>
                  <a:pt x="483270" y="76727"/>
                  <a:pt x="467489" y="61490"/>
                  <a:pt x="467489" y="45165"/>
                </a:cubicBezTo>
                <a:cubicBezTo>
                  <a:pt x="467489" y="28840"/>
                  <a:pt x="482182" y="13059"/>
                  <a:pt x="498507" y="13059"/>
                </a:cubicBezTo>
                <a:close/>
                <a:moveTo>
                  <a:pt x="662303" y="7616"/>
                </a:moveTo>
                <a:cubicBezTo>
                  <a:pt x="680805" y="7072"/>
                  <a:pt x="698763" y="25030"/>
                  <a:pt x="698763" y="44076"/>
                </a:cubicBezTo>
                <a:cubicBezTo>
                  <a:pt x="698763" y="62578"/>
                  <a:pt x="680261" y="81624"/>
                  <a:pt x="662303" y="81080"/>
                </a:cubicBezTo>
                <a:cubicBezTo>
                  <a:pt x="644346" y="80536"/>
                  <a:pt x="626932" y="62578"/>
                  <a:pt x="626932" y="44076"/>
                </a:cubicBezTo>
                <a:cubicBezTo>
                  <a:pt x="626932" y="25574"/>
                  <a:pt x="643257" y="8160"/>
                  <a:pt x="662303" y="7616"/>
                </a:cubicBezTo>
                <a:close/>
                <a:moveTo>
                  <a:pt x="825557" y="5440"/>
                </a:moveTo>
                <a:cubicBezTo>
                  <a:pt x="847868" y="5440"/>
                  <a:pt x="865281" y="23942"/>
                  <a:pt x="865281" y="44621"/>
                </a:cubicBezTo>
                <a:cubicBezTo>
                  <a:pt x="865281" y="63667"/>
                  <a:pt x="847324" y="85978"/>
                  <a:pt x="826101" y="83257"/>
                </a:cubicBezTo>
                <a:cubicBezTo>
                  <a:pt x="805422" y="85978"/>
                  <a:pt x="786920" y="64211"/>
                  <a:pt x="786920" y="44621"/>
                </a:cubicBezTo>
                <a:cubicBezTo>
                  <a:pt x="786920" y="22854"/>
                  <a:pt x="805422" y="5440"/>
                  <a:pt x="825557" y="5440"/>
                </a:cubicBezTo>
                <a:close/>
                <a:moveTo>
                  <a:pt x="989353" y="1086"/>
                </a:moveTo>
                <a:cubicBezTo>
                  <a:pt x="1013297" y="1086"/>
                  <a:pt x="1032343" y="21220"/>
                  <a:pt x="1032343" y="43532"/>
                </a:cubicBezTo>
                <a:cubicBezTo>
                  <a:pt x="1032887" y="66931"/>
                  <a:pt x="1012753" y="88698"/>
                  <a:pt x="989897" y="87610"/>
                </a:cubicBezTo>
                <a:cubicBezTo>
                  <a:pt x="967042" y="88698"/>
                  <a:pt x="945819" y="65843"/>
                  <a:pt x="945819" y="44620"/>
                </a:cubicBezTo>
                <a:cubicBezTo>
                  <a:pt x="945819" y="23941"/>
                  <a:pt x="964321" y="1086"/>
                  <a:pt x="989353" y="1086"/>
                </a:cubicBezTo>
                <a:close/>
                <a:moveTo>
                  <a:pt x="1614056" y="0"/>
                </a:moveTo>
                <a:lnTo>
                  <a:pt x="1675529" y="0"/>
                </a:lnTo>
                <a:lnTo>
                  <a:pt x="1682905" y="4720"/>
                </a:lnTo>
                <a:lnTo>
                  <a:pt x="1933639" y="4720"/>
                </a:lnTo>
                <a:cubicBezTo>
                  <a:pt x="1966059" y="4720"/>
                  <a:pt x="1995409" y="17861"/>
                  <a:pt x="2016655" y="39107"/>
                </a:cubicBezTo>
                <a:lnTo>
                  <a:pt x="2028934" y="57318"/>
                </a:lnTo>
                <a:lnTo>
                  <a:pt x="2026008" y="71108"/>
                </a:lnTo>
                <a:cubicBezTo>
                  <a:pt x="2023832" y="74917"/>
                  <a:pt x="2026552" y="77094"/>
                  <a:pt x="2030906" y="75461"/>
                </a:cubicBezTo>
                <a:lnTo>
                  <a:pt x="2039929" y="73627"/>
                </a:lnTo>
                <a:lnTo>
                  <a:pt x="2041815" y="76424"/>
                </a:lnTo>
                <a:cubicBezTo>
                  <a:pt x="2047756" y="90470"/>
                  <a:pt x="2051041" y="105912"/>
                  <a:pt x="2051041" y="122122"/>
                </a:cubicBezTo>
                <a:lnTo>
                  <a:pt x="2051041" y="186473"/>
                </a:lnTo>
                <a:lnTo>
                  <a:pt x="2029818" y="186473"/>
                </a:lnTo>
                <a:cubicBezTo>
                  <a:pt x="2023832" y="184297"/>
                  <a:pt x="2022743" y="185929"/>
                  <a:pt x="2023287" y="192459"/>
                </a:cubicBezTo>
                <a:cubicBezTo>
                  <a:pt x="2023287" y="193548"/>
                  <a:pt x="2023287" y="195180"/>
                  <a:pt x="2023832" y="196268"/>
                </a:cubicBezTo>
                <a:cubicBezTo>
                  <a:pt x="2028185" y="210961"/>
                  <a:pt x="2026008" y="225110"/>
                  <a:pt x="2019478" y="239258"/>
                </a:cubicBezTo>
                <a:cubicBezTo>
                  <a:pt x="2018934" y="240347"/>
                  <a:pt x="2019478" y="241979"/>
                  <a:pt x="2020022" y="242523"/>
                </a:cubicBezTo>
                <a:cubicBezTo>
                  <a:pt x="2020566" y="243067"/>
                  <a:pt x="2022743" y="243612"/>
                  <a:pt x="2023287" y="243067"/>
                </a:cubicBezTo>
                <a:cubicBezTo>
                  <a:pt x="2032266" y="238986"/>
                  <a:pt x="2041245" y="237082"/>
                  <a:pt x="2050224" y="237150"/>
                </a:cubicBezTo>
                <a:lnTo>
                  <a:pt x="2051041" y="237329"/>
                </a:lnTo>
                <a:lnTo>
                  <a:pt x="2051041" y="348996"/>
                </a:lnTo>
                <a:lnTo>
                  <a:pt x="2036552" y="347754"/>
                </a:lnTo>
                <a:cubicBezTo>
                  <a:pt x="2031178" y="346733"/>
                  <a:pt x="2026009" y="344829"/>
                  <a:pt x="2021111" y="341019"/>
                </a:cubicBezTo>
                <a:cubicBezTo>
                  <a:pt x="2020022" y="339931"/>
                  <a:pt x="2018390" y="339387"/>
                  <a:pt x="2016757" y="338842"/>
                </a:cubicBezTo>
                <a:cubicBezTo>
                  <a:pt x="2016757" y="340475"/>
                  <a:pt x="2016757" y="343196"/>
                  <a:pt x="2017301" y="344284"/>
                </a:cubicBezTo>
                <a:cubicBezTo>
                  <a:pt x="2022743" y="354079"/>
                  <a:pt x="2026008" y="364419"/>
                  <a:pt x="2025464" y="376391"/>
                </a:cubicBezTo>
                <a:cubicBezTo>
                  <a:pt x="2024376" y="398702"/>
                  <a:pt x="2014580" y="413939"/>
                  <a:pt x="1994446" y="424278"/>
                </a:cubicBezTo>
                <a:cubicBezTo>
                  <a:pt x="1972135" y="435706"/>
                  <a:pt x="1950912" y="431352"/>
                  <a:pt x="1933498" y="416115"/>
                </a:cubicBezTo>
                <a:cubicBezTo>
                  <a:pt x="1917173" y="401967"/>
                  <a:pt x="1908466" y="378567"/>
                  <a:pt x="1920438" y="352447"/>
                </a:cubicBezTo>
                <a:cubicBezTo>
                  <a:pt x="1922615" y="348093"/>
                  <a:pt x="1923703" y="343196"/>
                  <a:pt x="1925336" y="338298"/>
                </a:cubicBezTo>
                <a:cubicBezTo>
                  <a:pt x="1920982" y="339931"/>
                  <a:pt x="1916085" y="341563"/>
                  <a:pt x="1911731" y="343196"/>
                </a:cubicBezTo>
                <a:cubicBezTo>
                  <a:pt x="1907378" y="344828"/>
                  <a:pt x="1903024" y="347005"/>
                  <a:pt x="1898671" y="347005"/>
                </a:cubicBezTo>
                <a:cubicBezTo>
                  <a:pt x="1882890" y="348638"/>
                  <a:pt x="1867653" y="348638"/>
                  <a:pt x="1854593" y="336666"/>
                </a:cubicBezTo>
                <a:lnTo>
                  <a:pt x="1847690" y="333480"/>
                </a:lnTo>
                <a:lnTo>
                  <a:pt x="1852961" y="344461"/>
                </a:lnTo>
                <a:cubicBezTo>
                  <a:pt x="1868742" y="372214"/>
                  <a:pt x="1855137" y="408674"/>
                  <a:pt x="1826840" y="420646"/>
                </a:cubicBezTo>
                <a:cubicBezTo>
                  <a:pt x="1803441" y="430985"/>
                  <a:pt x="1777864" y="422278"/>
                  <a:pt x="1765893" y="408130"/>
                </a:cubicBezTo>
                <a:cubicBezTo>
                  <a:pt x="1749567" y="388539"/>
                  <a:pt x="1744126" y="368405"/>
                  <a:pt x="1759362" y="342829"/>
                </a:cubicBezTo>
                <a:cubicBezTo>
                  <a:pt x="1771199" y="322422"/>
                  <a:pt x="1795584" y="313341"/>
                  <a:pt x="1815991" y="317193"/>
                </a:cubicBezTo>
                <a:cubicBezTo>
                  <a:pt x="1822793" y="318477"/>
                  <a:pt x="1829153" y="321198"/>
                  <a:pt x="1834459" y="325415"/>
                </a:cubicBezTo>
                <a:lnTo>
                  <a:pt x="1845023" y="330169"/>
                </a:lnTo>
                <a:lnTo>
                  <a:pt x="1840444" y="321429"/>
                </a:lnTo>
                <a:cubicBezTo>
                  <a:pt x="1831193" y="306736"/>
                  <a:pt x="1832282" y="290955"/>
                  <a:pt x="1834458" y="275174"/>
                </a:cubicBezTo>
                <a:cubicBezTo>
                  <a:pt x="1835002" y="269732"/>
                  <a:pt x="1838812" y="265379"/>
                  <a:pt x="1840988" y="259937"/>
                </a:cubicBezTo>
                <a:cubicBezTo>
                  <a:pt x="1841533" y="258849"/>
                  <a:pt x="1842077" y="257216"/>
                  <a:pt x="1842077" y="255584"/>
                </a:cubicBezTo>
                <a:cubicBezTo>
                  <a:pt x="1840444" y="256128"/>
                  <a:pt x="1838812" y="256672"/>
                  <a:pt x="1837723" y="257216"/>
                </a:cubicBezTo>
                <a:cubicBezTo>
                  <a:pt x="1831193" y="259937"/>
                  <a:pt x="1824663" y="263746"/>
                  <a:pt x="1817589" y="264834"/>
                </a:cubicBezTo>
                <a:cubicBezTo>
                  <a:pt x="1799631" y="268100"/>
                  <a:pt x="1782762" y="264290"/>
                  <a:pt x="1768069" y="251774"/>
                </a:cubicBezTo>
                <a:lnTo>
                  <a:pt x="1764740" y="250110"/>
                </a:lnTo>
                <a:lnTo>
                  <a:pt x="1773510" y="267189"/>
                </a:lnTo>
                <a:cubicBezTo>
                  <a:pt x="1786571" y="292765"/>
                  <a:pt x="1773510" y="323239"/>
                  <a:pt x="1750655" y="336843"/>
                </a:cubicBezTo>
                <a:cubicBezTo>
                  <a:pt x="1721270" y="354257"/>
                  <a:pt x="1685354" y="337388"/>
                  <a:pt x="1673926" y="310723"/>
                </a:cubicBezTo>
                <a:cubicBezTo>
                  <a:pt x="1664675" y="289500"/>
                  <a:pt x="1669029" y="271542"/>
                  <a:pt x="1681545" y="254673"/>
                </a:cubicBezTo>
                <a:cubicBezTo>
                  <a:pt x="1694605" y="237803"/>
                  <a:pt x="1712563" y="231817"/>
                  <a:pt x="1733786" y="235083"/>
                </a:cubicBezTo>
                <a:cubicBezTo>
                  <a:pt x="1739771" y="236171"/>
                  <a:pt x="1745757" y="239980"/>
                  <a:pt x="1751743" y="242157"/>
                </a:cubicBezTo>
                <a:lnTo>
                  <a:pt x="1762506" y="246769"/>
                </a:lnTo>
                <a:lnTo>
                  <a:pt x="1757185" y="236537"/>
                </a:lnTo>
                <a:cubicBezTo>
                  <a:pt x="1747934" y="219668"/>
                  <a:pt x="1747390" y="203343"/>
                  <a:pt x="1756097" y="185929"/>
                </a:cubicBezTo>
                <a:cubicBezTo>
                  <a:pt x="1757185" y="183752"/>
                  <a:pt x="1756641" y="180487"/>
                  <a:pt x="1757185" y="177766"/>
                </a:cubicBezTo>
                <a:cubicBezTo>
                  <a:pt x="1754464" y="177766"/>
                  <a:pt x="1751199" y="177222"/>
                  <a:pt x="1749023" y="178311"/>
                </a:cubicBezTo>
                <a:cubicBezTo>
                  <a:pt x="1722358" y="193003"/>
                  <a:pt x="1688075" y="178855"/>
                  <a:pt x="1676103" y="154911"/>
                </a:cubicBezTo>
                <a:cubicBezTo>
                  <a:pt x="1665220" y="133688"/>
                  <a:pt x="1667396" y="113554"/>
                  <a:pt x="1681001" y="94507"/>
                </a:cubicBezTo>
                <a:lnTo>
                  <a:pt x="1685681" y="85147"/>
                </a:lnTo>
                <a:lnTo>
                  <a:pt x="1693517" y="82536"/>
                </a:lnTo>
                <a:cubicBezTo>
                  <a:pt x="1710930" y="71108"/>
                  <a:pt x="1728888" y="71108"/>
                  <a:pt x="1747934" y="77638"/>
                </a:cubicBezTo>
                <a:cubicBezTo>
                  <a:pt x="1750655" y="78726"/>
                  <a:pt x="1753920" y="78726"/>
                  <a:pt x="1756641" y="79271"/>
                </a:cubicBezTo>
                <a:cubicBezTo>
                  <a:pt x="1756097" y="76550"/>
                  <a:pt x="1755553" y="74373"/>
                  <a:pt x="1754464" y="71652"/>
                </a:cubicBezTo>
                <a:cubicBezTo>
                  <a:pt x="1753920" y="70564"/>
                  <a:pt x="1753376" y="69475"/>
                  <a:pt x="1752832" y="68387"/>
                </a:cubicBezTo>
                <a:cubicBezTo>
                  <a:pt x="1747934" y="52062"/>
                  <a:pt x="1747390" y="35737"/>
                  <a:pt x="1756097" y="20500"/>
                </a:cubicBezTo>
                <a:cubicBezTo>
                  <a:pt x="1756641" y="19411"/>
                  <a:pt x="1757185" y="16690"/>
                  <a:pt x="1756641" y="16146"/>
                </a:cubicBezTo>
                <a:cubicBezTo>
                  <a:pt x="1755553" y="15058"/>
                  <a:pt x="1753376" y="14514"/>
                  <a:pt x="1751744" y="15058"/>
                </a:cubicBezTo>
                <a:cubicBezTo>
                  <a:pt x="1747934" y="16146"/>
                  <a:pt x="1744669" y="19411"/>
                  <a:pt x="1741404" y="19955"/>
                </a:cubicBezTo>
                <a:cubicBezTo>
                  <a:pt x="1724535" y="21588"/>
                  <a:pt x="1707121" y="23765"/>
                  <a:pt x="1691884" y="11249"/>
                </a:cubicBezTo>
                <a:lnTo>
                  <a:pt x="1685645" y="8369"/>
                </a:lnTo>
                <a:lnTo>
                  <a:pt x="1688620" y="14691"/>
                </a:lnTo>
                <a:cubicBezTo>
                  <a:pt x="1700048" y="32648"/>
                  <a:pt x="1700048" y="50606"/>
                  <a:pt x="1691885" y="69652"/>
                </a:cubicBezTo>
                <a:lnTo>
                  <a:pt x="1684469" y="82365"/>
                </a:lnTo>
                <a:lnTo>
                  <a:pt x="1663044" y="94684"/>
                </a:lnTo>
                <a:cubicBezTo>
                  <a:pt x="1651072" y="101759"/>
                  <a:pt x="1638556" y="100126"/>
                  <a:pt x="1626584" y="96861"/>
                </a:cubicBezTo>
                <a:cubicBezTo>
                  <a:pt x="1608082" y="91419"/>
                  <a:pt x="1595566" y="78359"/>
                  <a:pt x="1590124" y="60401"/>
                </a:cubicBezTo>
                <a:cubicBezTo>
                  <a:pt x="1586315" y="48974"/>
                  <a:pt x="1586315" y="37002"/>
                  <a:pt x="1591757" y="25030"/>
                </a:cubicBezTo>
                <a:close/>
                <a:moveTo>
                  <a:pt x="1460066" y="0"/>
                </a:moveTo>
                <a:lnTo>
                  <a:pt x="1498513" y="0"/>
                </a:lnTo>
                <a:lnTo>
                  <a:pt x="1517204" y="8092"/>
                </a:lnTo>
                <a:cubicBezTo>
                  <a:pt x="1526183" y="17411"/>
                  <a:pt x="1531352" y="30199"/>
                  <a:pt x="1531896" y="45164"/>
                </a:cubicBezTo>
                <a:cubicBezTo>
                  <a:pt x="1532985" y="71829"/>
                  <a:pt x="1505776" y="97949"/>
                  <a:pt x="1479111" y="97949"/>
                </a:cubicBezTo>
                <a:cubicBezTo>
                  <a:pt x="1451902" y="97949"/>
                  <a:pt x="1425238" y="71829"/>
                  <a:pt x="1426870" y="45164"/>
                </a:cubicBezTo>
                <a:cubicBezTo>
                  <a:pt x="1427687" y="29655"/>
                  <a:pt x="1432720" y="16867"/>
                  <a:pt x="1441631" y="7684"/>
                </a:cubicBezTo>
                <a:close/>
                <a:moveTo>
                  <a:pt x="1296749" y="0"/>
                </a:moveTo>
                <a:lnTo>
                  <a:pt x="1335755" y="0"/>
                </a:lnTo>
                <a:lnTo>
                  <a:pt x="1350278" y="10270"/>
                </a:lnTo>
                <a:cubicBezTo>
                  <a:pt x="1359937" y="19861"/>
                  <a:pt x="1366467" y="32649"/>
                  <a:pt x="1365923" y="45165"/>
                </a:cubicBezTo>
                <a:cubicBezTo>
                  <a:pt x="1364291" y="71829"/>
                  <a:pt x="1343068" y="93052"/>
                  <a:pt x="1315315" y="93052"/>
                </a:cubicBezTo>
                <a:cubicBezTo>
                  <a:pt x="1290283" y="95229"/>
                  <a:pt x="1266339" y="69109"/>
                  <a:pt x="1266339" y="44076"/>
                </a:cubicBezTo>
                <a:cubicBezTo>
                  <a:pt x="1266339" y="30472"/>
                  <a:pt x="1273141" y="18228"/>
                  <a:pt x="1282732" y="9317"/>
                </a:cubicBezTo>
                <a:close/>
                <a:moveTo>
                  <a:pt x="1148085" y="0"/>
                </a:moveTo>
                <a:lnTo>
                  <a:pt x="1161802" y="0"/>
                </a:lnTo>
                <a:lnTo>
                  <a:pt x="1169637" y="1315"/>
                </a:lnTo>
                <a:cubicBezTo>
                  <a:pt x="1186447" y="8432"/>
                  <a:pt x="1199813" y="26798"/>
                  <a:pt x="1199405" y="45164"/>
                </a:cubicBezTo>
                <a:cubicBezTo>
                  <a:pt x="1198861" y="69652"/>
                  <a:pt x="1175462" y="93596"/>
                  <a:pt x="1151518" y="91419"/>
                </a:cubicBezTo>
                <a:cubicBezTo>
                  <a:pt x="1123765" y="88154"/>
                  <a:pt x="1109072" y="72373"/>
                  <a:pt x="1105807" y="44620"/>
                </a:cubicBezTo>
                <a:cubicBezTo>
                  <a:pt x="1107440" y="30472"/>
                  <a:pt x="1111657" y="19588"/>
                  <a:pt x="1119139" y="11902"/>
                </a:cubicBezTo>
                <a:close/>
              </a:path>
            </a:pathLst>
          </a:custGeom>
          <a:solidFill>
            <a:srgbClr val="9AA8C5">
              <a:alpha val="17000"/>
            </a:srgbClr>
          </a:solidFill>
          <a:ln w="5432" cap="flat">
            <a:noFill/>
            <a:prstDash val="solid"/>
            <a:miter/>
          </a:ln>
        </p:spPr>
        <p:txBody>
          <a:bodyPr rtlCol="0" anchor="ctr"/>
          <a:lstStyle/>
          <a:p>
            <a:endParaRPr lang="en-IN"/>
          </a:p>
        </p:txBody>
      </p:sp>
    </p:spTree>
    <p:extLst>
      <p:ext uri="{BB962C8B-B14F-4D97-AF65-F5344CB8AC3E}">
        <p14:creationId xmlns:p14="http://schemas.microsoft.com/office/powerpoint/2010/main" val="374500158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2_titl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570BDB2-DDB8-4EF1-AB4B-BFA12F189CF0}"/>
              </a:ext>
            </a:extLst>
          </p:cNvPr>
          <p:cNvGraphicFramePr>
            <a:graphicFrameLocks noChangeAspect="1"/>
          </p:cNvGraphicFramePr>
          <p:nvPr>
            <p:custDataLst>
              <p:tags r:id="rId1"/>
            </p:custDataLst>
            <p:extLst>
              <p:ext uri="{D42A27DB-BD31-4B8C-83A1-F6EECF244321}">
                <p14:modId xmlns:p14="http://schemas.microsoft.com/office/powerpoint/2010/main" val="41699332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0" imgH="393" progId="TCLayout.ActiveDocument.1">
                  <p:embed/>
                </p:oleObj>
              </mc:Choice>
              <mc:Fallback>
                <p:oleObj name="think-cell Slide" r:id="rId3" imgW="400" imgH="393" progId="TCLayout.ActiveDocument.1">
                  <p:embed/>
                  <p:pic>
                    <p:nvPicPr>
                      <p:cNvPr id="3" name="Object 2" hidden="1">
                        <a:extLst>
                          <a:ext uri="{FF2B5EF4-FFF2-40B4-BE49-F238E27FC236}">
                            <a16:creationId xmlns:a16="http://schemas.microsoft.com/office/drawing/2014/main" id="{B570BDB2-DDB8-4EF1-AB4B-BFA12F189CF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1" name="Title 11">
            <a:extLst>
              <a:ext uri="{FF2B5EF4-FFF2-40B4-BE49-F238E27FC236}">
                <a16:creationId xmlns:a16="http://schemas.microsoft.com/office/drawing/2014/main" id="{DDA87447-1017-4301-A6CE-4D2A98BB0C96}"/>
              </a:ext>
            </a:extLst>
          </p:cNvPr>
          <p:cNvSpPr>
            <a:spLocks noGrp="1"/>
          </p:cNvSpPr>
          <p:nvPr>
            <p:ph type="title" hasCustomPrompt="1"/>
          </p:nvPr>
        </p:nvSpPr>
        <p:spPr>
          <a:xfrm>
            <a:off x="374011" y="185817"/>
            <a:ext cx="10515600" cy="608663"/>
          </a:xfrm>
          <a:prstGeom prst="rect">
            <a:avLst/>
          </a:prstGeom>
        </p:spPr>
        <p:txBody>
          <a:bodyPr vert="horz">
            <a:normAutofit/>
          </a:bodyPr>
          <a:lstStyle>
            <a:lvl1pPr marL="0" indent="0">
              <a:tabLst>
                <a:tab pos="3327400" algn="l"/>
              </a:tabLst>
              <a:defRPr sz="2600" b="1">
                <a:solidFill>
                  <a:srgbClr val="334D8B"/>
                </a:solidFill>
                <a:latin typeface="+mn-lt"/>
              </a:defRPr>
            </a:lvl1pPr>
          </a:lstStyle>
          <a:p>
            <a:r>
              <a:rPr lang="en-US"/>
              <a:t>Write your Heading here</a:t>
            </a:r>
          </a:p>
        </p:txBody>
      </p:sp>
      <p:sp>
        <p:nvSpPr>
          <p:cNvPr id="10" name="Slide Number Placeholder 5">
            <a:extLst>
              <a:ext uri="{FF2B5EF4-FFF2-40B4-BE49-F238E27FC236}">
                <a16:creationId xmlns:a16="http://schemas.microsoft.com/office/drawing/2014/main" id="{E97BE7AB-36C0-41F2-94DE-AF18B17ECEF4}"/>
              </a:ext>
            </a:extLst>
          </p:cNvPr>
          <p:cNvSpPr txBox="1">
            <a:spLocks/>
          </p:cNvSpPr>
          <p:nvPr userDrawn="1"/>
        </p:nvSpPr>
        <p:spPr>
          <a:xfrm>
            <a:off x="11373135" y="6506785"/>
            <a:ext cx="609600" cy="261610"/>
          </a:xfrm>
          <a:prstGeom prst="rect">
            <a:avLst/>
          </a:prstGeom>
          <a:noFill/>
        </p:spPr>
        <p:txBody>
          <a:bodyPr>
            <a:spAutoFit/>
          </a:bodyPr>
          <a:lstStyle>
            <a:defPPr>
              <a:defRPr lang="en-US"/>
            </a:defPPr>
            <a:lvl1pPr marL="0" algn="ctr" defTabSz="914400" rtl="0" eaLnBrk="1" latinLnBrk="0" hangingPunct="1">
              <a:defRPr lang="en-US" sz="1800" kern="1200" smtClean="0">
                <a:solidFill>
                  <a:schemeClr val="bg1"/>
                </a:solidFill>
                <a:latin typeface="Tahoma" pitchFamily="34" charset="0"/>
                <a:ea typeface="Tahoma" pitchFamily="34" charset="0"/>
                <a:cs typeface="Tahoma"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fld id="{3413C1ED-5599-4BB6-878F-244F2E6B8E4A}" type="slidenum">
              <a:rPr lang="en-IN" sz="1100">
                <a:solidFill>
                  <a:prstClr val="black">
                    <a:lumMod val="50000"/>
                    <a:lumOff val="50000"/>
                  </a:prstClr>
                </a:solidFill>
              </a:rPr>
              <a:pPr fontAlgn="auto">
                <a:spcBef>
                  <a:spcPts val="0"/>
                </a:spcBef>
                <a:spcAft>
                  <a:spcPts val="0"/>
                </a:spcAft>
                <a:defRPr/>
              </a:pPr>
              <a:t>‹#›</a:t>
            </a:fld>
            <a:endParaRPr lang="en-IN" sz="1100">
              <a:solidFill>
                <a:prstClr val="black">
                  <a:lumMod val="50000"/>
                  <a:lumOff val="50000"/>
                </a:prstClr>
              </a:solidFill>
            </a:endParaRPr>
          </a:p>
        </p:txBody>
      </p:sp>
      <p:pic>
        <p:nvPicPr>
          <p:cNvPr id="11" name="Picture 10">
            <a:extLst>
              <a:ext uri="{FF2B5EF4-FFF2-40B4-BE49-F238E27FC236}">
                <a16:creationId xmlns:a16="http://schemas.microsoft.com/office/drawing/2014/main" id="{449F885F-A4EC-4C3F-9B6C-128F2E208B74}"/>
              </a:ext>
            </a:extLst>
          </p:cNvPr>
          <p:cNvPicPr>
            <a:picLocks noChangeAspect="1"/>
          </p:cNvPicPr>
          <p:nvPr userDrawn="1"/>
        </p:nvPicPr>
        <p:blipFill>
          <a:blip r:embed="rId5"/>
          <a:stretch>
            <a:fillRect/>
          </a:stretch>
        </p:blipFill>
        <p:spPr>
          <a:xfrm>
            <a:off x="464908" y="6506785"/>
            <a:ext cx="1148260" cy="138938"/>
          </a:xfrm>
          <a:prstGeom prst="rect">
            <a:avLst/>
          </a:prstGeom>
        </p:spPr>
      </p:pic>
      <p:sp>
        <p:nvSpPr>
          <p:cNvPr id="12" name="Freeform: Shape 14">
            <a:extLst>
              <a:ext uri="{FF2B5EF4-FFF2-40B4-BE49-F238E27FC236}">
                <a16:creationId xmlns:a16="http://schemas.microsoft.com/office/drawing/2014/main" id="{7489DA5C-EDB0-47EC-983F-E8DFE4A580EF}"/>
              </a:ext>
            </a:extLst>
          </p:cNvPr>
          <p:cNvSpPr/>
          <p:nvPr userDrawn="1"/>
        </p:nvSpPr>
        <p:spPr>
          <a:xfrm rot="5400000" flipH="1">
            <a:off x="10650813" y="-6388"/>
            <a:ext cx="1528833" cy="1553542"/>
          </a:xfrm>
          <a:custGeom>
            <a:avLst/>
            <a:gdLst>
              <a:gd name="connsiteX0" fmla="*/ 2051041 w 2051041"/>
              <a:gd name="connsiteY0" fmla="*/ 2080382 h 2084191"/>
              <a:gd name="connsiteX1" fmla="*/ 2051041 w 2051041"/>
              <a:gd name="connsiteY1" fmla="*/ 2083967 h 2084191"/>
              <a:gd name="connsiteX2" fmla="*/ 2047231 w 2051041"/>
              <a:gd name="connsiteY2" fmla="*/ 2084191 h 2084191"/>
              <a:gd name="connsiteX3" fmla="*/ 2045599 w 2051041"/>
              <a:gd name="connsiteY3" fmla="*/ 2081470 h 2084191"/>
              <a:gd name="connsiteX4" fmla="*/ 1478568 w 2051041"/>
              <a:gd name="connsiteY4" fmla="*/ 1997668 h 2084191"/>
              <a:gd name="connsiteX5" fmla="*/ 1484554 w 2051041"/>
              <a:gd name="connsiteY5" fmla="*/ 2004743 h 2084191"/>
              <a:gd name="connsiteX6" fmla="*/ 1478568 w 2051041"/>
              <a:gd name="connsiteY6" fmla="*/ 2009096 h 2084191"/>
              <a:gd name="connsiteX7" fmla="*/ 1473126 w 2051041"/>
              <a:gd name="connsiteY7" fmla="*/ 2003654 h 2084191"/>
              <a:gd name="connsiteX8" fmla="*/ 1478568 w 2051041"/>
              <a:gd name="connsiteY8" fmla="*/ 1997668 h 2084191"/>
              <a:gd name="connsiteX9" fmla="*/ 1641820 w 2051041"/>
              <a:gd name="connsiteY9" fmla="*/ 1993859 h 2084191"/>
              <a:gd name="connsiteX10" fmla="*/ 1652160 w 2051041"/>
              <a:gd name="connsiteY10" fmla="*/ 2003654 h 2084191"/>
              <a:gd name="connsiteX11" fmla="*/ 1641820 w 2051041"/>
              <a:gd name="connsiteY11" fmla="*/ 2013449 h 2084191"/>
              <a:gd name="connsiteX12" fmla="*/ 1632025 w 2051041"/>
              <a:gd name="connsiteY12" fmla="*/ 2003654 h 2084191"/>
              <a:gd name="connsiteX13" fmla="*/ 1641820 w 2051041"/>
              <a:gd name="connsiteY13" fmla="*/ 1993859 h 2084191"/>
              <a:gd name="connsiteX14" fmla="*/ 1969414 w 2051041"/>
              <a:gd name="connsiteY14" fmla="*/ 1992226 h 2084191"/>
              <a:gd name="connsiteX15" fmla="*/ 1979753 w 2051041"/>
              <a:gd name="connsiteY15" fmla="*/ 2003654 h 2084191"/>
              <a:gd name="connsiteX16" fmla="*/ 1968325 w 2051041"/>
              <a:gd name="connsiteY16" fmla="*/ 2014537 h 2084191"/>
              <a:gd name="connsiteX17" fmla="*/ 1957986 w 2051041"/>
              <a:gd name="connsiteY17" fmla="*/ 2003110 h 2084191"/>
              <a:gd name="connsiteX18" fmla="*/ 1969414 w 2051041"/>
              <a:gd name="connsiteY18" fmla="*/ 1992226 h 2084191"/>
              <a:gd name="connsiteX19" fmla="*/ 1805073 w 2051041"/>
              <a:gd name="connsiteY19" fmla="*/ 1992226 h 2084191"/>
              <a:gd name="connsiteX20" fmla="*/ 1815956 w 2051041"/>
              <a:gd name="connsiteY20" fmla="*/ 2002565 h 2084191"/>
              <a:gd name="connsiteX21" fmla="*/ 1805073 w 2051041"/>
              <a:gd name="connsiteY21" fmla="*/ 2014537 h 2084191"/>
              <a:gd name="connsiteX22" fmla="*/ 1794189 w 2051041"/>
              <a:gd name="connsiteY22" fmla="*/ 2004198 h 2084191"/>
              <a:gd name="connsiteX23" fmla="*/ 1805073 w 2051041"/>
              <a:gd name="connsiteY23" fmla="*/ 1992226 h 2084191"/>
              <a:gd name="connsiteX24" fmla="*/ 1234233 w 2051041"/>
              <a:gd name="connsiteY24" fmla="*/ 1916042 h 2084191"/>
              <a:gd name="connsiteX25" fmla="*/ 1240219 w 2051041"/>
              <a:gd name="connsiteY25" fmla="*/ 1923660 h 2084191"/>
              <a:gd name="connsiteX26" fmla="*/ 1236953 w 2051041"/>
              <a:gd name="connsiteY26" fmla="*/ 1926381 h 2084191"/>
              <a:gd name="connsiteX27" fmla="*/ 1229335 w 2051041"/>
              <a:gd name="connsiteY27" fmla="*/ 1918762 h 2084191"/>
              <a:gd name="connsiteX28" fmla="*/ 1234233 w 2051041"/>
              <a:gd name="connsiteY28" fmla="*/ 1916042 h 2084191"/>
              <a:gd name="connsiteX29" fmla="*/ 1397486 w 2051041"/>
              <a:gd name="connsiteY29" fmla="*/ 1911144 h 2084191"/>
              <a:gd name="connsiteX30" fmla="*/ 1408369 w 2051041"/>
              <a:gd name="connsiteY30" fmla="*/ 1921483 h 2084191"/>
              <a:gd name="connsiteX31" fmla="*/ 1399118 w 2051041"/>
              <a:gd name="connsiteY31" fmla="*/ 1931823 h 2084191"/>
              <a:gd name="connsiteX32" fmla="*/ 1387146 w 2051041"/>
              <a:gd name="connsiteY32" fmla="*/ 1922028 h 2084191"/>
              <a:gd name="connsiteX33" fmla="*/ 1397486 w 2051041"/>
              <a:gd name="connsiteY33" fmla="*/ 1911144 h 2084191"/>
              <a:gd name="connsiteX34" fmla="*/ 1560194 w 2051041"/>
              <a:gd name="connsiteY34" fmla="*/ 1906790 h 2084191"/>
              <a:gd name="connsiteX35" fmla="*/ 1574342 w 2051041"/>
              <a:gd name="connsiteY35" fmla="*/ 1921482 h 2084191"/>
              <a:gd name="connsiteX36" fmla="*/ 1560738 w 2051041"/>
              <a:gd name="connsiteY36" fmla="*/ 1935631 h 2084191"/>
              <a:gd name="connsiteX37" fmla="*/ 1547134 w 2051041"/>
              <a:gd name="connsiteY37" fmla="*/ 1922027 h 2084191"/>
              <a:gd name="connsiteX38" fmla="*/ 1560194 w 2051041"/>
              <a:gd name="connsiteY38" fmla="*/ 1906790 h 2084191"/>
              <a:gd name="connsiteX39" fmla="*/ 2049952 w 2051041"/>
              <a:gd name="connsiteY39" fmla="*/ 1905702 h 2084191"/>
              <a:gd name="connsiteX40" fmla="*/ 2051041 w 2051041"/>
              <a:gd name="connsiteY40" fmla="*/ 1906027 h 2084191"/>
              <a:gd name="connsiteX41" fmla="*/ 2051041 w 2051041"/>
              <a:gd name="connsiteY41" fmla="*/ 1938133 h 2084191"/>
              <a:gd name="connsiteX42" fmla="*/ 2050496 w 2051041"/>
              <a:gd name="connsiteY42" fmla="*/ 1938353 h 2084191"/>
              <a:gd name="connsiteX43" fmla="*/ 2034171 w 2051041"/>
              <a:gd name="connsiteY43" fmla="*/ 1922572 h 2084191"/>
              <a:gd name="connsiteX44" fmla="*/ 2049952 w 2051041"/>
              <a:gd name="connsiteY44" fmla="*/ 1905702 h 2084191"/>
              <a:gd name="connsiteX45" fmla="*/ 1723447 w 2051041"/>
              <a:gd name="connsiteY45" fmla="*/ 1905702 h 2084191"/>
              <a:gd name="connsiteX46" fmla="*/ 1739772 w 2051041"/>
              <a:gd name="connsiteY46" fmla="*/ 1920939 h 2084191"/>
              <a:gd name="connsiteX47" fmla="*/ 1724535 w 2051041"/>
              <a:gd name="connsiteY47" fmla="*/ 1937264 h 2084191"/>
              <a:gd name="connsiteX48" fmla="*/ 1708210 w 2051041"/>
              <a:gd name="connsiteY48" fmla="*/ 1922027 h 2084191"/>
              <a:gd name="connsiteX49" fmla="*/ 1723447 w 2051041"/>
              <a:gd name="connsiteY49" fmla="*/ 1905702 h 2084191"/>
              <a:gd name="connsiteX50" fmla="*/ 1887787 w 2051041"/>
              <a:gd name="connsiteY50" fmla="*/ 1905158 h 2084191"/>
              <a:gd name="connsiteX51" fmla="*/ 1904113 w 2051041"/>
              <a:gd name="connsiteY51" fmla="*/ 1922028 h 2084191"/>
              <a:gd name="connsiteX52" fmla="*/ 1886699 w 2051041"/>
              <a:gd name="connsiteY52" fmla="*/ 1937809 h 2084191"/>
              <a:gd name="connsiteX53" fmla="*/ 1870918 w 2051041"/>
              <a:gd name="connsiteY53" fmla="*/ 1921483 h 2084191"/>
              <a:gd name="connsiteX54" fmla="*/ 1887787 w 2051041"/>
              <a:gd name="connsiteY54" fmla="*/ 1905158 h 2084191"/>
              <a:gd name="connsiteX55" fmla="*/ 1152606 w 2051041"/>
              <a:gd name="connsiteY55" fmla="*/ 1831693 h 2084191"/>
              <a:gd name="connsiteX56" fmla="*/ 1161313 w 2051041"/>
              <a:gd name="connsiteY56" fmla="*/ 1839312 h 2084191"/>
              <a:gd name="connsiteX57" fmla="*/ 1153694 w 2051041"/>
              <a:gd name="connsiteY57" fmla="*/ 1852916 h 2084191"/>
              <a:gd name="connsiteX58" fmla="*/ 1144988 w 2051041"/>
              <a:gd name="connsiteY58" fmla="*/ 1841489 h 2084191"/>
              <a:gd name="connsiteX59" fmla="*/ 1152606 w 2051041"/>
              <a:gd name="connsiteY59" fmla="*/ 1831693 h 2084191"/>
              <a:gd name="connsiteX60" fmla="*/ 1315315 w 2051041"/>
              <a:gd name="connsiteY60" fmla="*/ 1825708 h 2084191"/>
              <a:gd name="connsiteX61" fmla="*/ 1330552 w 2051041"/>
              <a:gd name="connsiteY61" fmla="*/ 1840401 h 2084191"/>
              <a:gd name="connsiteX62" fmla="*/ 1316404 w 2051041"/>
              <a:gd name="connsiteY62" fmla="*/ 1854549 h 2084191"/>
              <a:gd name="connsiteX63" fmla="*/ 1301711 w 2051041"/>
              <a:gd name="connsiteY63" fmla="*/ 1840945 h 2084191"/>
              <a:gd name="connsiteX64" fmla="*/ 1315315 w 2051041"/>
              <a:gd name="connsiteY64" fmla="*/ 1825708 h 2084191"/>
              <a:gd name="connsiteX65" fmla="*/ 1479656 w 2051041"/>
              <a:gd name="connsiteY65" fmla="*/ 1822987 h 2084191"/>
              <a:gd name="connsiteX66" fmla="*/ 1495981 w 2051041"/>
              <a:gd name="connsiteY66" fmla="*/ 1840401 h 2084191"/>
              <a:gd name="connsiteX67" fmla="*/ 1478567 w 2051041"/>
              <a:gd name="connsiteY67" fmla="*/ 1856182 h 2084191"/>
              <a:gd name="connsiteX68" fmla="*/ 1462242 w 2051041"/>
              <a:gd name="connsiteY68" fmla="*/ 1839312 h 2084191"/>
              <a:gd name="connsiteX69" fmla="*/ 1479656 w 2051041"/>
              <a:gd name="connsiteY69" fmla="*/ 1822987 h 2084191"/>
              <a:gd name="connsiteX70" fmla="*/ 1642365 w 2051041"/>
              <a:gd name="connsiteY70" fmla="*/ 1821355 h 2084191"/>
              <a:gd name="connsiteX71" fmla="*/ 1660867 w 2051041"/>
              <a:gd name="connsiteY71" fmla="*/ 1840401 h 2084191"/>
              <a:gd name="connsiteX72" fmla="*/ 1642365 w 2051041"/>
              <a:gd name="connsiteY72" fmla="*/ 1857270 h 2084191"/>
              <a:gd name="connsiteX73" fmla="*/ 1624407 w 2051041"/>
              <a:gd name="connsiteY73" fmla="*/ 1839857 h 2084191"/>
              <a:gd name="connsiteX74" fmla="*/ 1642365 w 2051041"/>
              <a:gd name="connsiteY74" fmla="*/ 1821355 h 2084191"/>
              <a:gd name="connsiteX75" fmla="*/ 1806162 w 2051041"/>
              <a:gd name="connsiteY75" fmla="*/ 1819723 h 2084191"/>
              <a:gd name="connsiteX76" fmla="*/ 1826840 w 2051041"/>
              <a:gd name="connsiteY76" fmla="*/ 1840945 h 2084191"/>
              <a:gd name="connsiteX77" fmla="*/ 1804529 w 2051041"/>
              <a:gd name="connsiteY77" fmla="*/ 1861080 h 2084191"/>
              <a:gd name="connsiteX78" fmla="*/ 1784395 w 2051041"/>
              <a:gd name="connsiteY78" fmla="*/ 1839313 h 2084191"/>
              <a:gd name="connsiteX79" fmla="*/ 1806162 w 2051041"/>
              <a:gd name="connsiteY79" fmla="*/ 1819723 h 2084191"/>
              <a:gd name="connsiteX80" fmla="*/ 1968870 w 2051041"/>
              <a:gd name="connsiteY80" fmla="*/ 1819178 h 2084191"/>
              <a:gd name="connsiteX81" fmla="*/ 1990093 w 2051041"/>
              <a:gd name="connsiteY81" fmla="*/ 1840401 h 2084191"/>
              <a:gd name="connsiteX82" fmla="*/ 1968870 w 2051041"/>
              <a:gd name="connsiteY82" fmla="*/ 1861624 h 2084191"/>
              <a:gd name="connsiteX83" fmla="*/ 1947647 w 2051041"/>
              <a:gd name="connsiteY83" fmla="*/ 1840401 h 2084191"/>
              <a:gd name="connsiteX84" fmla="*/ 1968870 w 2051041"/>
              <a:gd name="connsiteY84" fmla="*/ 1819178 h 2084191"/>
              <a:gd name="connsiteX85" fmla="*/ 1070436 w 2051041"/>
              <a:gd name="connsiteY85" fmla="*/ 1747347 h 2084191"/>
              <a:gd name="connsiteX86" fmla="*/ 1081863 w 2051041"/>
              <a:gd name="connsiteY86" fmla="*/ 1758231 h 2084191"/>
              <a:gd name="connsiteX87" fmla="*/ 1070980 w 2051041"/>
              <a:gd name="connsiteY87" fmla="*/ 1769658 h 2084191"/>
              <a:gd name="connsiteX88" fmla="*/ 1059552 w 2051041"/>
              <a:gd name="connsiteY88" fmla="*/ 1758775 h 2084191"/>
              <a:gd name="connsiteX89" fmla="*/ 1070436 w 2051041"/>
              <a:gd name="connsiteY89" fmla="*/ 1747347 h 2084191"/>
              <a:gd name="connsiteX90" fmla="*/ 1233688 w 2051041"/>
              <a:gd name="connsiteY90" fmla="*/ 1742449 h 2084191"/>
              <a:gd name="connsiteX91" fmla="*/ 1250558 w 2051041"/>
              <a:gd name="connsiteY91" fmla="*/ 1758774 h 2084191"/>
              <a:gd name="connsiteX92" fmla="*/ 1233688 w 2051041"/>
              <a:gd name="connsiteY92" fmla="*/ 1775099 h 2084191"/>
              <a:gd name="connsiteX93" fmla="*/ 1217907 w 2051041"/>
              <a:gd name="connsiteY93" fmla="*/ 1759318 h 2084191"/>
              <a:gd name="connsiteX94" fmla="*/ 1233688 w 2051041"/>
              <a:gd name="connsiteY94" fmla="*/ 1742449 h 2084191"/>
              <a:gd name="connsiteX95" fmla="*/ 1399662 w 2051041"/>
              <a:gd name="connsiteY95" fmla="*/ 1739728 h 2084191"/>
              <a:gd name="connsiteX96" fmla="*/ 1417076 w 2051041"/>
              <a:gd name="connsiteY96" fmla="*/ 1760407 h 2084191"/>
              <a:gd name="connsiteX97" fmla="*/ 1396941 w 2051041"/>
              <a:gd name="connsiteY97" fmla="*/ 1779453 h 2084191"/>
              <a:gd name="connsiteX98" fmla="*/ 1377895 w 2051041"/>
              <a:gd name="connsiteY98" fmla="*/ 1757686 h 2084191"/>
              <a:gd name="connsiteX99" fmla="*/ 1399662 w 2051041"/>
              <a:gd name="connsiteY99" fmla="*/ 1739728 h 2084191"/>
              <a:gd name="connsiteX100" fmla="*/ 1723991 w 2051041"/>
              <a:gd name="connsiteY100" fmla="*/ 1735919 h 2084191"/>
              <a:gd name="connsiteX101" fmla="*/ 1746847 w 2051041"/>
              <a:gd name="connsiteY101" fmla="*/ 1758774 h 2084191"/>
              <a:gd name="connsiteX102" fmla="*/ 1723991 w 2051041"/>
              <a:gd name="connsiteY102" fmla="*/ 1781086 h 2084191"/>
              <a:gd name="connsiteX103" fmla="*/ 1701680 w 2051041"/>
              <a:gd name="connsiteY103" fmla="*/ 1758774 h 2084191"/>
              <a:gd name="connsiteX104" fmla="*/ 1723991 w 2051041"/>
              <a:gd name="connsiteY104" fmla="*/ 1735919 h 2084191"/>
              <a:gd name="connsiteX105" fmla="*/ 1560194 w 2051041"/>
              <a:gd name="connsiteY105" fmla="*/ 1735919 h 2084191"/>
              <a:gd name="connsiteX106" fmla="*/ 1582505 w 2051041"/>
              <a:gd name="connsiteY106" fmla="*/ 1758230 h 2084191"/>
              <a:gd name="connsiteX107" fmla="*/ 1560738 w 2051041"/>
              <a:gd name="connsiteY107" fmla="*/ 1779997 h 2084191"/>
              <a:gd name="connsiteX108" fmla="*/ 1538427 w 2051041"/>
              <a:gd name="connsiteY108" fmla="*/ 1758230 h 2084191"/>
              <a:gd name="connsiteX109" fmla="*/ 1560194 w 2051041"/>
              <a:gd name="connsiteY109" fmla="*/ 1735919 h 2084191"/>
              <a:gd name="connsiteX110" fmla="*/ 2051041 w 2051041"/>
              <a:gd name="connsiteY110" fmla="*/ 1734831 h 2084191"/>
              <a:gd name="connsiteX111" fmla="*/ 2051041 w 2051041"/>
              <a:gd name="connsiteY111" fmla="*/ 1781438 h 2084191"/>
              <a:gd name="connsiteX112" fmla="*/ 2050496 w 2051041"/>
              <a:gd name="connsiteY112" fmla="*/ 1781630 h 2084191"/>
              <a:gd name="connsiteX113" fmla="*/ 2027097 w 2051041"/>
              <a:gd name="connsiteY113" fmla="*/ 1758775 h 2084191"/>
              <a:gd name="connsiteX114" fmla="*/ 2051041 w 2051041"/>
              <a:gd name="connsiteY114" fmla="*/ 1734831 h 2084191"/>
              <a:gd name="connsiteX115" fmla="*/ 1887788 w 2051041"/>
              <a:gd name="connsiteY115" fmla="*/ 1734831 h 2084191"/>
              <a:gd name="connsiteX116" fmla="*/ 1910099 w 2051041"/>
              <a:gd name="connsiteY116" fmla="*/ 1758775 h 2084191"/>
              <a:gd name="connsiteX117" fmla="*/ 1886699 w 2051041"/>
              <a:gd name="connsiteY117" fmla="*/ 1781086 h 2084191"/>
              <a:gd name="connsiteX118" fmla="*/ 1863844 w 2051041"/>
              <a:gd name="connsiteY118" fmla="*/ 1757687 h 2084191"/>
              <a:gd name="connsiteX119" fmla="*/ 1887788 w 2051041"/>
              <a:gd name="connsiteY119" fmla="*/ 1734831 h 2084191"/>
              <a:gd name="connsiteX120" fmla="*/ 826100 w 2051041"/>
              <a:gd name="connsiteY120" fmla="*/ 1671706 h 2084191"/>
              <a:gd name="connsiteX121" fmla="*/ 832086 w 2051041"/>
              <a:gd name="connsiteY121" fmla="*/ 1677692 h 2084191"/>
              <a:gd name="connsiteX122" fmla="*/ 825556 w 2051041"/>
              <a:gd name="connsiteY122" fmla="*/ 1683134 h 2084191"/>
              <a:gd name="connsiteX123" fmla="*/ 820658 w 2051041"/>
              <a:gd name="connsiteY123" fmla="*/ 1676603 h 2084191"/>
              <a:gd name="connsiteX124" fmla="*/ 826100 w 2051041"/>
              <a:gd name="connsiteY124" fmla="*/ 1671706 h 2084191"/>
              <a:gd name="connsiteX125" fmla="*/ 989354 w 2051041"/>
              <a:gd name="connsiteY125" fmla="*/ 1661912 h 2084191"/>
              <a:gd name="connsiteX126" fmla="*/ 1004046 w 2051041"/>
              <a:gd name="connsiteY126" fmla="*/ 1676604 h 2084191"/>
              <a:gd name="connsiteX127" fmla="*/ 989354 w 2051041"/>
              <a:gd name="connsiteY127" fmla="*/ 1690209 h 2084191"/>
              <a:gd name="connsiteX128" fmla="*/ 975205 w 2051041"/>
              <a:gd name="connsiteY128" fmla="*/ 1677693 h 2084191"/>
              <a:gd name="connsiteX129" fmla="*/ 989354 w 2051041"/>
              <a:gd name="connsiteY129" fmla="*/ 1661912 h 2084191"/>
              <a:gd name="connsiteX130" fmla="*/ 1153151 w 2051041"/>
              <a:gd name="connsiteY130" fmla="*/ 1659734 h 2084191"/>
              <a:gd name="connsiteX131" fmla="*/ 1170564 w 2051041"/>
              <a:gd name="connsiteY131" fmla="*/ 1677692 h 2084191"/>
              <a:gd name="connsiteX132" fmla="*/ 1152062 w 2051041"/>
              <a:gd name="connsiteY132" fmla="*/ 1694562 h 2084191"/>
              <a:gd name="connsiteX133" fmla="*/ 1135737 w 2051041"/>
              <a:gd name="connsiteY133" fmla="*/ 1677148 h 2084191"/>
              <a:gd name="connsiteX134" fmla="*/ 1153151 w 2051041"/>
              <a:gd name="connsiteY134" fmla="*/ 1659734 h 2084191"/>
              <a:gd name="connsiteX135" fmla="*/ 1315315 w 2051041"/>
              <a:gd name="connsiteY135" fmla="*/ 1655381 h 2084191"/>
              <a:gd name="connsiteX136" fmla="*/ 1337082 w 2051041"/>
              <a:gd name="connsiteY136" fmla="*/ 1676603 h 2084191"/>
              <a:gd name="connsiteX137" fmla="*/ 1315315 w 2051041"/>
              <a:gd name="connsiteY137" fmla="*/ 1698915 h 2084191"/>
              <a:gd name="connsiteX138" fmla="*/ 1294092 w 2051041"/>
              <a:gd name="connsiteY138" fmla="*/ 1677148 h 2084191"/>
              <a:gd name="connsiteX139" fmla="*/ 1315315 w 2051041"/>
              <a:gd name="connsiteY139" fmla="*/ 1655381 h 2084191"/>
              <a:gd name="connsiteX140" fmla="*/ 1479111 w 2051041"/>
              <a:gd name="connsiteY140" fmla="*/ 1654293 h 2084191"/>
              <a:gd name="connsiteX141" fmla="*/ 1501967 w 2051041"/>
              <a:gd name="connsiteY141" fmla="*/ 1677692 h 2084191"/>
              <a:gd name="connsiteX142" fmla="*/ 1479111 w 2051041"/>
              <a:gd name="connsiteY142" fmla="*/ 1700548 h 2084191"/>
              <a:gd name="connsiteX143" fmla="*/ 1455712 w 2051041"/>
              <a:gd name="connsiteY143" fmla="*/ 1676604 h 2084191"/>
              <a:gd name="connsiteX144" fmla="*/ 1479111 w 2051041"/>
              <a:gd name="connsiteY144" fmla="*/ 1654293 h 2084191"/>
              <a:gd name="connsiteX145" fmla="*/ 1643452 w 2051041"/>
              <a:gd name="connsiteY145" fmla="*/ 1650483 h 2084191"/>
              <a:gd name="connsiteX146" fmla="*/ 1668484 w 2051041"/>
              <a:gd name="connsiteY146" fmla="*/ 1676603 h 2084191"/>
              <a:gd name="connsiteX147" fmla="*/ 1643452 w 2051041"/>
              <a:gd name="connsiteY147" fmla="*/ 1703268 h 2084191"/>
              <a:gd name="connsiteX148" fmla="*/ 1617332 w 2051041"/>
              <a:gd name="connsiteY148" fmla="*/ 1677692 h 2084191"/>
              <a:gd name="connsiteX149" fmla="*/ 1643452 w 2051041"/>
              <a:gd name="connsiteY149" fmla="*/ 1650483 h 2084191"/>
              <a:gd name="connsiteX150" fmla="*/ 1968326 w 2051041"/>
              <a:gd name="connsiteY150" fmla="*/ 1649940 h 2084191"/>
              <a:gd name="connsiteX151" fmla="*/ 1995535 w 2051041"/>
              <a:gd name="connsiteY151" fmla="*/ 1676604 h 2084191"/>
              <a:gd name="connsiteX152" fmla="*/ 1968870 w 2051041"/>
              <a:gd name="connsiteY152" fmla="*/ 1704357 h 2084191"/>
              <a:gd name="connsiteX153" fmla="*/ 1941661 w 2051041"/>
              <a:gd name="connsiteY153" fmla="*/ 1677148 h 2084191"/>
              <a:gd name="connsiteX154" fmla="*/ 1968326 w 2051041"/>
              <a:gd name="connsiteY154" fmla="*/ 1649940 h 2084191"/>
              <a:gd name="connsiteX155" fmla="*/ 1805617 w 2051041"/>
              <a:gd name="connsiteY155" fmla="*/ 1649939 h 2084191"/>
              <a:gd name="connsiteX156" fmla="*/ 1832826 w 2051041"/>
              <a:gd name="connsiteY156" fmla="*/ 1677148 h 2084191"/>
              <a:gd name="connsiteX157" fmla="*/ 1805073 w 2051041"/>
              <a:gd name="connsiteY157" fmla="*/ 1704357 h 2084191"/>
              <a:gd name="connsiteX158" fmla="*/ 1778409 w 2051041"/>
              <a:gd name="connsiteY158" fmla="*/ 1677148 h 2084191"/>
              <a:gd name="connsiteX159" fmla="*/ 1805617 w 2051041"/>
              <a:gd name="connsiteY159" fmla="*/ 1649939 h 2084191"/>
              <a:gd name="connsiteX160" fmla="*/ 744474 w 2051041"/>
              <a:gd name="connsiteY160" fmla="*/ 1588992 h 2084191"/>
              <a:gd name="connsiteX161" fmla="*/ 751004 w 2051041"/>
              <a:gd name="connsiteY161" fmla="*/ 1594978 h 2084191"/>
              <a:gd name="connsiteX162" fmla="*/ 745562 w 2051041"/>
              <a:gd name="connsiteY162" fmla="*/ 1602052 h 2084191"/>
              <a:gd name="connsiteX163" fmla="*/ 738488 w 2051041"/>
              <a:gd name="connsiteY163" fmla="*/ 1594978 h 2084191"/>
              <a:gd name="connsiteX164" fmla="*/ 744474 w 2051041"/>
              <a:gd name="connsiteY164" fmla="*/ 1588992 h 2084191"/>
              <a:gd name="connsiteX165" fmla="*/ 907183 w 2051041"/>
              <a:gd name="connsiteY165" fmla="*/ 1579741 h 2084191"/>
              <a:gd name="connsiteX166" fmla="*/ 923508 w 2051041"/>
              <a:gd name="connsiteY166" fmla="*/ 1594978 h 2084191"/>
              <a:gd name="connsiteX167" fmla="*/ 908815 w 2051041"/>
              <a:gd name="connsiteY167" fmla="*/ 1610759 h 2084191"/>
              <a:gd name="connsiteX168" fmla="*/ 892490 w 2051041"/>
              <a:gd name="connsiteY168" fmla="*/ 1595522 h 2084191"/>
              <a:gd name="connsiteX169" fmla="*/ 907183 w 2051041"/>
              <a:gd name="connsiteY169" fmla="*/ 1579741 h 2084191"/>
              <a:gd name="connsiteX170" fmla="*/ 1071524 w 2051041"/>
              <a:gd name="connsiteY170" fmla="*/ 1574843 h 2084191"/>
              <a:gd name="connsiteX171" fmla="*/ 1091114 w 2051041"/>
              <a:gd name="connsiteY171" fmla="*/ 1595522 h 2084191"/>
              <a:gd name="connsiteX172" fmla="*/ 1070980 w 2051041"/>
              <a:gd name="connsiteY172" fmla="*/ 1615656 h 2084191"/>
              <a:gd name="connsiteX173" fmla="*/ 1050301 w 2051041"/>
              <a:gd name="connsiteY173" fmla="*/ 1595522 h 2084191"/>
              <a:gd name="connsiteX174" fmla="*/ 1071524 w 2051041"/>
              <a:gd name="connsiteY174" fmla="*/ 1574843 h 2084191"/>
              <a:gd name="connsiteX175" fmla="*/ 1233688 w 2051041"/>
              <a:gd name="connsiteY175" fmla="*/ 1573210 h 2084191"/>
              <a:gd name="connsiteX176" fmla="*/ 1256544 w 2051041"/>
              <a:gd name="connsiteY176" fmla="*/ 1595522 h 2084191"/>
              <a:gd name="connsiteX177" fmla="*/ 1233688 w 2051041"/>
              <a:gd name="connsiteY177" fmla="*/ 1618377 h 2084191"/>
              <a:gd name="connsiteX178" fmla="*/ 1211377 w 2051041"/>
              <a:gd name="connsiteY178" fmla="*/ 1596610 h 2084191"/>
              <a:gd name="connsiteX179" fmla="*/ 1233688 w 2051041"/>
              <a:gd name="connsiteY179" fmla="*/ 1573210 h 2084191"/>
              <a:gd name="connsiteX180" fmla="*/ 1398030 w 2051041"/>
              <a:gd name="connsiteY180" fmla="*/ 1569402 h 2084191"/>
              <a:gd name="connsiteX181" fmla="*/ 1423062 w 2051041"/>
              <a:gd name="connsiteY181" fmla="*/ 1595522 h 2084191"/>
              <a:gd name="connsiteX182" fmla="*/ 1397485 w 2051041"/>
              <a:gd name="connsiteY182" fmla="*/ 1621099 h 2084191"/>
              <a:gd name="connsiteX183" fmla="*/ 1371365 w 2051041"/>
              <a:gd name="connsiteY183" fmla="*/ 1595522 h 2084191"/>
              <a:gd name="connsiteX184" fmla="*/ 1398030 w 2051041"/>
              <a:gd name="connsiteY184" fmla="*/ 1569402 h 2084191"/>
              <a:gd name="connsiteX185" fmla="*/ 1560194 w 2051041"/>
              <a:gd name="connsiteY185" fmla="*/ 1568313 h 2084191"/>
              <a:gd name="connsiteX186" fmla="*/ 1587947 w 2051041"/>
              <a:gd name="connsiteY186" fmla="*/ 1594433 h 2084191"/>
              <a:gd name="connsiteX187" fmla="*/ 1560194 w 2051041"/>
              <a:gd name="connsiteY187" fmla="*/ 1622730 h 2084191"/>
              <a:gd name="connsiteX188" fmla="*/ 1532985 w 2051041"/>
              <a:gd name="connsiteY188" fmla="*/ 1594977 h 2084191"/>
              <a:gd name="connsiteX189" fmla="*/ 1560194 w 2051041"/>
              <a:gd name="connsiteY189" fmla="*/ 1568313 h 2084191"/>
              <a:gd name="connsiteX190" fmla="*/ 1887244 w 2051041"/>
              <a:gd name="connsiteY190" fmla="*/ 1567225 h 2084191"/>
              <a:gd name="connsiteX191" fmla="*/ 1915541 w 2051041"/>
              <a:gd name="connsiteY191" fmla="*/ 1594978 h 2084191"/>
              <a:gd name="connsiteX192" fmla="*/ 1886699 w 2051041"/>
              <a:gd name="connsiteY192" fmla="*/ 1623819 h 2084191"/>
              <a:gd name="connsiteX193" fmla="*/ 1858947 w 2051041"/>
              <a:gd name="connsiteY193" fmla="*/ 1594978 h 2084191"/>
              <a:gd name="connsiteX194" fmla="*/ 1887244 w 2051041"/>
              <a:gd name="connsiteY194" fmla="*/ 1567225 h 2084191"/>
              <a:gd name="connsiteX195" fmla="*/ 1724535 w 2051041"/>
              <a:gd name="connsiteY195" fmla="*/ 1567225 h 2084191"/>
              <a:gd name="connsiteX196" fmla="*/ 1752288 w 2051041"/>
              <a:gd name="connsiteY196" fmla="*/ 1594978 h 2084191"/>
              <a:gd name="connsiteX197" fmla="*/ 1724535 w 2051041"/>
              <a:gd name="connsiteY197" fmla="*/ 1623275 h 2084191"/>
              <a:gd name="connsiteX198" fmla="*/ 1696238 w 2051041"/>
              <a:gd name="connsiteY198" fmla="*/ 1594978 h 2084191"/>
              <a:gd name="connsiteX199" fmla="*/ 1724535 w 2051041"/>
              <a:gd name="connsiteY199" fmla="*/ 1567225 h 2084191"/>
              <a:gd name="connsiteX200" fmla="*/ 2050496 w 2051041"/>
              <a:gd name="connsiteY200" fmla="*/ 1566680 h 2084191"/>
              <a:gd name="connsiteX201" fmla="*/ 2051041 w 2051041"/>
              <a:gd name="connsiteY201" fmla="*/ 1566888 h 2084191"/>
              <a:gd name="connsiteX202" fmla="*/ 2051041 w 2051041"/>
              <a:gd name="connsiteY202" fmla="*/ 1623794 h 2084191"/>
              <a:gd name="connsiteX203" fmla="*/ 2049408 w 2051041"/>
              <a:gd name="connsiteY203" fmla="*/ 1624363 h 2084191"/>
              <a:gd name="connsiteX204" fmla="*/ 2021655 w 2051041"/>
              <a:gd name="connsiteY204" fmla="*/ 1594977 h 2084191"/>
              <a:gd name="connsiteX205" fmla="*/ 2050496 w 2051041"/>
              <a:gd name="connsiteY205" fmla="*/ 1566680 h 2084191"/>
              <a:gd name="connsiteX206" fmla="*/ 663392 w 2051041"/>
              <a:gd name="connsiteY206" fmla="*/ 1505188 h 2084191"/>
              <a:gd name="connsiteX207" fmla="*/ 674819 w 2051041"/>
              <a:gd name="connsiteY207" fmla="*/ 1513895 h 2084191"/>
              <a:gd name="connsiteX208" fmla="*/ 662848 w 2051041"/>
              <a:gd name="connsiteY208" fmla="*/ 1522058 h 2084191"/>
              <a:gd name="connsiteX209" fmla="*/ 654685 w 2051041"/>
              <a:gd name="connsiteY209" fmla="*/ 1513351 h 2084191"/>
              <a:gd name="connsiteX210" fmla="*/ 663392 w 2051041"/>
              <a:gd name="connsiteY210" fmla="*/ 1505188 h 2084191"/>
              <a:gd name="connsiteX211" fmla="*/ 826101 w 2051041"/>
              <a:gd name="connsiteY211" fmla="*/ 1497570 h 2084191"/>
              <a:gd name="connsiteX212" fmla="*/ 842970 w 2051041"/>
              <a:gd name="connsiteY212" fmla="*/ 1513351 h 2084191"/>
              <a:gd name="connsiteX213" fmla="*/ 826645 w 2051041"/>
              <a:gd name="connsiteY213" fmla="*/ 1529676 h 2084191"/>
              <a:gd name="connsiteX214" fmla="*/ 810319 w 2051041"/>
              <a:gd name="connsiteY214" fmla="*/ 1514983 h 2084191"/>
              <a:gd name="connsiteX215" fmla="*/ 826101 w 2051041"/>
              <a:gd name="connsiteY215" fmla="*/ 1497570 h 2084191"/>
              <a:gd name="connsiteX216" fmla="*/ 988265 w 2051041"/>
              <a:gd name="connsiteY216" fmla="*/ 1492128 h 2084191"/>
              <a:gd name="connsiteX217" fmla="*/ 1010577 w 2051041"/>
              <a:gd name="connsiteY217" fmla="*/ 1513351 h 2084191"/>
              <a:gd name="connsiteX218" fmla="*/ 989354 w 2051041"/>
              <a:gd name="connsiteY218" fmla="*/ 1534574 h 2084191"/>
              <a:gd name="connsiteX219" fmla="*/ 968131 w 2051041"/>
              <a:gd name="connsiteY219" fmla="*/ 1513895 h 2084191"/>
              <a:gd name="connsiteX220" fmla="*/ 988265 w 2051041"/>
              <a:gd name="connsiteY220" fmla="*/ 1492128 h 2084191"/>
              <a:gd name="connsiteX221" fmla="*/ 1152606 w 2051041"/>
              <a:gd name="connsiteY221" fmla="*/ 1490496 h 2084191"/>
              <a:gd name="connsiteX222" fmla="*/ 1176006 w 2051041"/>
              <a:gd name="connsiteY222" fmla="*/ 1513351 h 2084191"/>
              <a:gd name="connsiteX223" fmla="*/ 1152606 w 2051041"/>
              <a:gd name="connsiteY223" fmla="*/ 1537839 h 2084191"/>
              <a:gd name="connsiteX224" fmla="*/ 1129207 w 2051041"/>
              <a:gd name="connsiteY224" fmla="*/ 1514984 h 2084191"/>
              <a:gd name="connsiteX225" fmla="*/ 1152606 w 2051041"/>
              <a:gd name="connsiteY225" fmla="*/ 1490496 h 2084191"/>
              <a:gd name="connsiteX226" fmla="*/ 1316403 w 2051041"/>
              <a:gd name="connsiteY226" fmla="*/ 1487231 h 2084191"/>
              <a:gd name="connsiteX227" fmla="*/ 1342523 w 2051041"/>
              <a:gd name="connsiteY227" fmla="*/ 1513896 h 2084191"/>
              <a:gd name="connsiteX228" fmla="*/ 1315314 w 2051041"/>
              <a:gd name="connsiteY228" fmla="*/ 1540560 h 2084191"/>
              <a:gd name="connsiteX229" fmla="*/ 1288650 w 2051041"/>
              <a:gd name="connsiteY229" fmla="*/ 1513896 h 2084191"/>
              <a:gd name="connsiteX230" fmla="*/ 1316403 w 2051041"/>
              <a:gd name="connsiteY230" fmla="*/ 1487231 h 2084191"/>
              <a:gd name="connsiteX231" fmla="*/ 1479656 w 2051041"/>
              <a:gd name="connsiteY231" fmla="*/ 1485054 h 2084191"/>
              <a:gd name="connsiteX232" fmla="*/ 1507409 w 2051041"/>
              <a:gd name="connsiteY232" fmla="*/ 1513895 h 2084191"/>
              <a:gd name="connsiteX233" fmla="*/ 1479112 w 2051041"/>
              <a:gd name="connsiteY233" fmla="*/ 1541648 h 2084191"/>
              <a:gd name="connsiteX234" fmla="*/ 1451359 w 2051041"/>
              <a:gd name="connsiteY234" fmla="*/ 1513351 h 2084191"/>
              <a:gd name="connsiteX235" fmla="*/ 1479656 w 2051041"/>
              <a:gd name="connsiteY235" fmla="*/ 1485054 h 2084191"/>
              <a:gd name="connsiteX236" fmla="*/ 1641820 w 2051041"/>
              <a:gd name="connsiteY236" fmla="*/ 1482334 h 2084191"/>
              <a:gd name="connsiteX237" fmla="*/ 1673382 w 2051041"/>
              <a:gd name="connsiteY237" fmla="*/ 1512807 h 2084191"/>
              <a:gd name="connsiteX238" fmla="*/ 1642909 w 2051041"/>
              <a:gd name="connsiteY238" fmla="*/ 1544370 h 2084191"/>
              <a:gd name="connsiteX239" fmla="*/ 1612435 w 2051041"/>
              <a:gd name="connsiteY239" fmla="*/ 1513351 h 2084191"/>
              <a:gd name="connsiteX240" fmla="*/ 1641820 w 2051041"/>
              <a:gd name="connsiteY240" fmla="*/ 1482334 h 2084191"/>
              <a:gd name="connsiteX241" fmla="*/ 1804529 w 2051041"/>
              <a:gd name="connsiteY241" fmla="*/ 1481788 h 2084191"/>
              <a:gd name="connsiteX242" fmla="*/ 1837180 w 2051041"/>
              <a:gd name="connsiteY242" fmla="*/ 1513351 h 2084191"/>
              <a:gd name="connsiteX243" fmla="*/ 1805617 w 2051041"/>
              <a:gd name="connsiteY243" fmla="*/ 1545457 h 2084191"/>
              <a:gd name="connsiteX244" fmla="*/ 1773511 w 2051041"/>
              <a:gd name="connsiteY244" fmla="*/ 1514983 h 2084191"/>
              <a:gd name="connsiteX245" fmla="*/ 1804529 w 2051041"/>
              <a:gd name="connsiteY245" fmla="*/ 1481788 h 2084191"/>
              <a:gd name="connsiteX246" fmla="*/ 1968870 w 2051041"/>
              <a:gd name="connsiteY246" fmla="*/ 1480700 h 2084191"/>
              <a:gd name="connsiteX247" fmla="*/ 2000977 w 2051041"/>
              <a:gd name="connsiteY247" fmla="*/ 1513351 h 2084191"/>
              <a:gd name="connsiteX248" fmla="*/ 1968870 w 2051041"/>
              <a:gd name="connsiteY248" fmla="*/ 1545457 h 2084191"/>
              <a:gd name="connsiteX249" fmla="*/ 1936764 w 2051041"/>
              <a:gd name="connsiteY249" fmla="*/ 1513351 h 2084191"/>
              <a:gd name="connsiteX250" fmla="*/ 1968870 w 2051041"/>
              <a:gd name="connsiteY250" fmla="*/ 1480700 h 2084191"/>
              <a:gd name="connsiteX251" fmla="*/ 581221 w 2051041"/>
              <a:gd name="connsiteY251" fmla="*/ 1423562 h 2084191"/>
              <a:gd name="connsiteX252" fmla="*/ 588840 w 2051041"/>
              <a:gd name="connsiteY252" fmla="*/ 1431725 h 2084191"/>
              <a:gd name="connsiteX253" fmla="*/ 581765 w 2051041"/>
              <a:gd name="connsiteY253" fmla="*/ 1443153 h 2084191"/>
              <a:gd name="connsiteX254" fmla="*/ 573059 w 2051041"/>
              <a:gd name="connsiteY254" fmla="*/ 1432813 h 2084191"/>
              <a:gd name="connsiteX255" fmla="*/ 581221 w 2051041"/>
              <a:gd name="connsiteY255" fmla="*/ 1423562 h 2084191"/>
              <a:gd name="connsiteX256" fmla="*/ 745562 w 2051041"/>
              <a:gd name="connsiteY256" fmla="*/ 1414855 h 2084191"/>
              <a:gd name="connsiteX257" fmla="*/ 761344 w 2051041"/>
              <a:gd name="connsiteY257" fmla="*/ 1432269 h 2084191"/>
              <a:gd name="connsiteX258" fmla="*/ 745018 w 2051041"/>
              <a:gd name="connsiteY258" fmla="*/ 1448050 h 2084191"/>
              <a:gd name="connsiteX259" fmla="*/ 728693 w 2051041"/>
              <a:gd name="connsiteY259" fmla="*/ 1431725 h 2084191"/>
              <a:gd name="connsiteX260" fmla="*/ 745562 w 2051041"/>
              <a:gd name="connsiteY260" fmla="*/ 1414855 h 2084191"/>
              <a:gd name="connsiteX261" fmla="*/ 908815 w 2051041"/>
              <a:gd name="connsiteY261" fmla="*/ 1409958 h 2084191"/>
              <a:gd name="connsiteX262" fmla="*/ 930038 w 2051041"/>
              <a:gd name="connsiteY262" fmla="*/ 1431725 h 2084191"/>
              <a:gd name="connsiteX263" fmla="*/ 907183 w 2051041"/>
              <a:gd name="connsiteY263" fmla="*/ 1453492 h 2084191"/>
              <a:gd name="connsiteX264" fmla="*/ 885960 w 2051041"/>
              <a:gd name="connsiteY264" fmla="*/ 1431725 h 2084191"/>
              <a:gd name="connsiteX265" fmla="*/ 908815 w 2051041"/>
              <a:gd name="connsiteY265" fmla="*/ 1409958 h 2084191"/>
              <a:gd name="connsiteX266" fmla="*/ 1070436 w 2051041"/>
              <a:gd name="connsiteY266" fmla="*/ 1406693 h 2084191"/>
              <a:gd name="connsiteX267" fmla="*/ 1096012 w 2051041"/>
              <a:gd name="connsiteY267" fmla="*/ 1432269 h 2084191"/>
              <a:gd name="connsiteX268" fmla="*/ 1070436 w 2051041"/>
              <a:gd name="connsiteY268" fmla="*/ 1457846 h 2084191"/>
              <a:gd name="connsiteX269" fmla="*/ 1045404 w 2051041"/>
              <a:gd name="connsiteY269" fmla="*/ 1431181 h 2084191"/>
              <a:gd name="connsiteX270" fmla="*/ 1070436 w 2051041"/>
              <a:gd name="connsiteY270" fmla="*/ 1406693 h 2084191"/>
              <a:gd name="connsiteX271" fmla="*/ 1235865 w 2051041"/>
              <a:gd name="connsiteY271" fmla="*/ 1404516 h 2084191"/>
              <a:gd name="connsiteX272" fmla="*/ 1261986 w 2051041"/>
              <a:gd name="connsiteY272" fmla="*/ 1433358 h 2084191"/>
              <a:gd name="connsiteX273" fmla="*/ 1233689 w 2051041"/>
              <a:gd name="connsiteY273" fmla="*/ 1459478 h 2084191"/>
              <a:gd name="connsiteX274" fmla="*/ 1206480 w 2051041"/>
              <a:gd name="connsiteY274" fmla="*/ 1432269 h 2084191"/>
              <a:gd name="connsiteX275" fmla="*/ 1235865 w 2051041"/>
              <a:gd name="connsiteY275" fmla="*/ 1404516 h 2084191"/>
              <a:gd name="connsiteX276" fmla="*/ 1397485 w 2051041"/>
              <a:gd name="connsiteY276" fmla="*/ 1400162 h 2084191"/>
              <a:gd name="connsiteX277" fmla="*/ 1427959 w 2051041"/>
              <a:gd name="connsiteY277" fmla="*/ 1431724 h 2084191"/>
              <a:gd name="connsiteX278" fmla="*/ 1398029 w 2051041"/>
              <a:gd name="connsiteY278" fmla="*/ 1463287 h 2084191"/>
              <a:gd name="connsiteX279" fmla="*/ 1366467 w 2051041"/>
              <a:gd name="connsiteY279" fmla="*/ 1432813 h 2084191"/>
              <a:gd name="connsiteX280" fmla="*/ 1397485 w 2051041"/>
              <a:gd name="connsiteY280" fmla="*/ 1400162 h 2084191"/>
              <a:gd name="connsiteX281" fmla="*/ 1561282 w 2051041"/>
              <a:gd name="connsiteY281" fmla="*/ 1399618 h 2084191"/>
              <a:gd name="connsiteX282" fmla="*/ 1593388 w 2051041"/>
              <a:gd name="connsiteY282" fmla="*/ 1432269 h 2084191"/>
              <a:gd name="connsiteX283" fmla="*/ 1560738 w 2051041"/>
              <a:gd name="connsiteY283" fmla="*/ 1464375 h 2084191"/>
              <a:gd name="connsiteX284" fmla="*/ 1528631 w 2051041"/>
              <a:gd name="connsiteY284" fmla="*/ 1432813 h 2084191"/>
              <a:gd name="connsiteX285" fmla="*/ 1561282 w 2051041"/>
              <a:gd name="connsiteY285" fmla="*/ 1399618 h 2084191"/>
              <a:gd name="connsiteX286" fmla="*/ 1723446 w 2051041"/>
              <a:gd name="connsiteY286" fmla="*/ 1399074 h 2084191"/>
              <a:gd name="connsiteX287" fmla="*/ 1757185 w 2051041"/>
              <a:gd name="connsiteY287" fmla="*/ 1432269 h 2084191"/>
              <a:gd name="connsiteX288" fmla="*/ 1723991 w 2051041"/>
              <a:gd name="connsiteY288" fmla="*/ 1465464 h 2084191"/>
              <a:gd name="connsiteX289" fmla="*/ 1691340 w 2051041"/>
              <a:gd name="connsiteY289" fmla="*/ 1433357 h 2084191"/>
              <a:gd name="connsiteX290" fmla="*/ 1723446 w 2051041"/>
              <a:gd name="connsiteY290" fmla="*/ 1399074 h 2084191"/>
              <a:gd name="connsiteX291" fmla="*/ 1886700 w 2051041"/>
              <a:gd name="connsiteY291" fmla="*/ 1398530 h 2084191"/>
              <a:gd name="connsiteX292" fmla="*/ 1920439 w 2051041"/>
              <a:gd name="connsiteY292" fmla="*/ 1432269 h 2084191"/>
              <a:gd name="connsiteX293" fmla="*/ 1887788 w 2051041"/>
              <a:gd name="connsiteY293" fmla="*/ 1464920 h 2084191"/>
              <a:gd name="connsiteX294" fmla="*/ 1854049 w 2051041"/>
              <a:gd name="connsiteY294" fmla="*/ 1433358 h 2084191"/>
              <a:gd name="connsiteX295" fmla="*/ 1886700 w 2051041"/>
              <a:gd name="connsiteY295" fmla="*/ 1398530 h 2084191"/>
              <a:gd name="connsiteX296" fmla="*/ 2051041 w 2051041"/>
              <a:gd name="connsiteY296" fmla="*/ 1398217 h 2084191"/>
              <a:gd name="connsiteX297" fmla="*/ 2051041 w 2051041"/>
              <a:gd name="connsiteY297" fmla="*/ 1464535 h 2084191"/>
              <a:gd name="connsiteX298" fmla="*/ 2049953 w 2051041"/>
              <a:gd name="connsiteY298" fmla="*/ 1464920 h 2084191"/>
              <a:gd name="connsiteX299" fmla="*/ 2017302 w 2051041"/>
              <a:gd name="connsiteY299" fmla="*/ 1431725 h 2084191"/>
              <a:gd name="connsiteX300" fmla="*/ 2027709 w 2051041"/>
              <a:gd name="connsiteY300" fmla="*/ 1408121 h 2084191"/>
              <a:gd name="connsiteX301" fmla="*/ 500139 w 2051041"/>
              <a:gd name="connsiteY301" fmla="*/ 1341936 h 2084191"/>
              <a:gd name="connsiteX302" fmla="*/ 511023 w 2051041"/>
              <a:gd name="connsiteY302" fmla="*/ 1350643 h 2084191"/>
              <a:gd name="connsiteX303" fmla="*/ 499595 w 2051041"/>
              <a:gd name="connsiteY303" fmla="*/ 1358261 h 2084191"/>
              <a:gd name="connsiteX304" fmla="*/ 491432 w 2051041"/>
              <a:gd name="connsiteY304" fmla="*/ 1349010 h 2084191"/>
              <a:gd name="connsiteX305" fmla="*/ 500139 w 2051041"/>
              <a:gd name="connsiteY305" fmla="*/ 1341936 h 2084191"/>
              <a:gd name="connsiteX306" fmla="*/ 662848 w 2051041"/>
              <a:gd name="connsiteY306" fmla="*/ 1333773 h 2084191"/>
              <a:gd name="connsiteX307" fmla="*/ 679173 w 2051041"/>
              <a:gd name="connsiteY307" fmla="*/ 1350643 h 2084191"/>
              <a:gd name="connsiteX308" fmla="*/ 662848 w 2051041"/>
              <a:gd name="connsiteY308" fmla="*/ 1366424 h 2084191"/>
              <a:gd name="connsiteX309" fmla="*/ 647067 w 2051041"/>
              <a:gd name="connsiteY309" fmla="*/ 1350098 h 2084191"/>
              <a:gd name="connsiteX310" fmla="*/ 662848 w 2051041"/>
              <a:gd name="connsiteY310" fmla="*/ 1333773 h 2084191"/>
              <a:gd name="connsiteX311" fmla="*/ 826645 w 2051041"/>
              <a:gd name="connsiteY311" fmla="*/ 1328331 h 2084191"/>
              <a:gd name="connsiteX312" fmla="*/ 847868 w 2051041"/>
              <a:gd name="connsiteY312" fmla="*/ 1350642 h 2084191"/>
              <a:gd name="connsiteX313" fmla="*/ 825556 w 2051041"/>
              <a:gd name="connsiteY313" fmla="*/ 1372409 h 2084191"/>
              <a:gd name="connsiteX314" fmla="*/ 804334 w 2051041"/>
              <a:gd name="connsiteY314" fmla="*/ 1349554 h 2084191"/>
              <a:gd name="connsiteX315" fmla="*/ 826645 w 2051041"/>
              <a:gd name="connsiteY315" fmla="*/ 1328331 h 2084191"/>
              <a:gd name="connsiteX316" fmla="*/ 989353 w 2051041"/>
              <a:gd name="connsiteY316" fmla="*/ 1323978 h 2084191"/>
              <a:gd name="connsiteX317" fmla="*/ 1015473 w 2051041"/>
              <a:gd name="connsiteY317" fmla="*/ 1350098 h 2084191"/>
              <a:gd name="connsiteX318" fmla="*/ 989353 w 2051041"/>
              <a:gd name="connsiteY318" fmla="*/ 1376763 h 2084191"/>
              <a:gd name="connsiteX319" fmla="*/ 963777 w 2051041"/>
              <a:gd name="connsiteY319" fmla="*/ 1350642 h 2084191"/>
              <a:gd name="connsiteX320" fmla="*/ 989353 w 2051041"/>
              <a:gd name="connsiteY320" fmla="*/ 1323978 h 2084191"/>
              <a:gd name="connsiteX321" fmla="*/ 1152606 w 2051041"/>
              <a:gd name="connsiteY321" fmla="*/ 1322889 h 2084191"/>
              <a:gd name="connsiteX322" fmla="*/ 1181447 w 2051041"/>
              <a:gd name="connsiteY322" fmla="*/ 1350098 h 2084191"/>
              <a:gd name="connsiteX323" fmla="*/ 1152606 w 2051041"/>
              <a:gd name="connsiteY323" fmla="*/ 1379483 h 2084191"/>
              <a:gd name="connsiteX324" fmla="*/ 1124853 w 2051041"/>
              <a:gd name="connsiteY324" fmla="*/ 1350642 h 2084191"/>
              <a:gd name="connsiteX325" fmla="*/ 1152606 w 2051041"/>
              <a:gd name="connsiteY325" fmla="*/ 1322889 h 2084191"/>
              <a:gd name="connsiteX326" fmla="*/ 1315315 w 2051041"/>
              <a:gd name="connsiteY326" fmla="*/ 1318536 h 2084191"/>
              <a:gd name="connsiteX327" fmla="*/ 1347966 w 2051041"/>
              <a:gd name="connsiteY327" fmla="*/ 1350098 h 2084191"/>
              <a:gd name="connsiteX328" fmla="*/ 1315315 w 2051041"/>
              <a:gd name="connsiteY328" fmla="*/ 1381661 h 2084191"/>
              <a:gd name="connsiteX329" fmla="*/ 1284297 w 2051041"/>
              <a:gd name="connsiteY329" fmla="*/ 1350098 h 2084191"/>
              <a:gd name="connsiteX330" fmla="*/ 1315315 w 2051041"/>
              <a:gd name="connsiteY330" fmla="*/ 1318536 h 2084191"/>
              <a:gd name="connsiteX331" fmla="*/ 1480744 w 2051041"/>
              <a:gd name="connsiteY331" fmla="*/ 1317448 h 2084191"/>
              <a:gd name="connsiteX332" fmla="*/ 1512306 w 2051041"/>
              <a:gd name="connsiteY332" fmla="*/ 1351731 h 2084191"/>
              <a:gd name="connsiteX333" fmla="*/ 1477479 w 2051041"/>
              <a:gd name="connsiteY333" fmla="*/ 1383293 h 2084191"/>
              <a:gd name="connsiteX334" fmla="*/ 1446461 w 2051041"/>
              <a:gd name="connsiteY334" fmla="*/ 1349554 h 2084191"/>
              <a:gd name="connsiteX335" fmla="*/ 1480744 w 2051041"/>
              <a:gd name="connsiteY335" fmla="*/ 1317448 h 2084191"/>
              <a:gd name="connsiteX336" fmla="*/ 1642908 w 2051041"/>
              <a:gd name="connsiteY336" fmla="*/ 1315815 h 2084191"/>
              <a:gd name="connsiteX337" fmla="*/ 1676647 w 2051041"/>
              <a:gd name="connsiteY337" fmla="*/ 1351731 h 2084191"/>
              <a:gd name="connsiteX338" fmla="*/ 1640732 w 2051041"/>
              <a:gd name="connsiteY338" fmla="*/ 1383837 h 2084191"/>
              <a:gd name="connsiteX339" fmla="*/ 1608081 w 2051041"/>
              <a:gd name="connsiteY339" fmla="*/ 1349554 h 2084191"/>
              <a:gd name="connsiteX340" fmla="*/ 1642908 w 2051041"/>
              <a:gd name="connsiteY340" fmla="*/ 1315815 h 2084191"/>
              <a:gd name="connsiteX341" fmla="*/ 1968870 w 2051041"/>
              <a:gd name="connsiteY341" fmla="*/ 1314183 h 2084191"/>
              <a:gd name="connsiteX342" fmla="*/ 2005329 w 2051041"/>
              <a:gd name="connsiteY342" fmla="*/ 1351187 h 2084191"/>
              <a:gd name="connsiteX343" fmla="*/ 1967781 w 2051041"/>
              <a:gd name="connsiteY343" fmla="*/ 1388191 h 2084191"/>
              <a:gd name="connsiteX344" fmla="*/ 1931866 w 2051041"/>
              <a:gd name="connsiteY344" fmla="*/ 1350098 h 2084191"/>
              <a:gd name="connsiteX345" fmla="*/ 1968870 w 2051041"/>
              <a:gd name="connsiteY345" fmla="*/ 1314183 h 2084191"/>
              <a:gd name="connsiteX346" fmla="*/ 1806161 w 2051041"/>
              <a:gd name="connsiteY346" fmla="*/ 1313639 h 2084191"/>
              <a:gd name="connsiteX347" fmla="*/ 1841533 w 2051041"/>
              <a:gd name="connsiteY347" fmla="*/ 1351187 h 2084191"/>
              <a:gd name="connsiteX348" fmla="*/ 1830105 w 2051041"/>
              <a:gd name="connsiteY348" fmla="*/ 1376763 h 2084191"/>
              <a:gd name="connsiteX349" fmla="*/ 1803984 w 2051041"/>
              <a:gd name="connsiteY349" fmla="*/ 1387102 h 2084191"/>
              <a:gd name="connsiteX350" fmla="*/ 1768613 w 2051041"/>
              <a:gd name="connsiteY350" fmla="*/ 1350098 h 2084191"/>
              <a:gd name="connsiteX351" fmla="*/ 1806161 w 2051041"/>
              <a:gd name="connsiteY351" fmla="*/ 1313639 h 2084191"/>
              <a:gd name="connsiteX352" fmla="*/ 419057 w 2051041"/>
              <a:gd name="connsiteY352" fmla="*/ 1262486 h 2084191"/>
              <a:gd name="connsiteX353" fmla="*/ 424499 w 2051041"/>
              <a:gd name="connsiteY353" fmla="*/ 1269016 h 2084191"/>
              <a:gd name="connsiteX354" fmla="*/ 417969 w 2051041"/>
              <a:gd name="connsiteY354" fmla="*/ 1278811 h 2084191"/>
              <a:gd name="connsiteX355" fmla="*/ 411983 w 2051041"/>
              <a:gd name="connsiteY355" fmla="*/ 1269016 h 2084191"/>
              <a:gd name="connsiteX356" fmla="*/ 419057 w 2051041"/>
              <a:gd name="connsiteY356" fmla="*/ 1262486 h 2084191"/>
              <a:gd name="connsiteX357" fmla="*/ 581221 w 2051041"/>
              <a:gd name="connsiteY357" fmla="*/ 1252147 h 2084191"/>
              <a:gd name="connsiteX358" fmla="*/ 597547 w 2051041"/>
              <a:gd name="connsiteY358" fmla="*/ 1269017 h 2084191"/>
              <a:gd name="connsiteX359" fmla="*/ 580133 w 2051041"/>
              <a:gd name="connsiteY359" fmla="*/ 1284254 h 2084191"/>
              <a:gd name="connsiteX360" fmla="*/ 564896 w 2051041"/>
              <a:gd name="connsiteY360" fmla="*/ 1268472 h 2084191"/>
              <a:gd name="connsiteX361" fmla="*/ 581221 w 2051041"/>
              <a:gd name="connsiteY361" fmla="*/ 1252147 h 2084191"/>
              <a:gd name="connsiteX362" fmla="*/ 745018 w 2051041"/>
              <a:gd name="connsiteY362" fmla="*/ 1246705 h 2084191"/>
              <a:gd name="connsiteX363" fmla="*/ 766241 w 2051041"/>
              <a:gd name="connsiteY363" fmla="*/ 1269560 h 2084191"/>
              <a:gd name="connsiteX364" fmla="*/ 744474 w 2051041"/>
              <a:gd name="connsiteY364" fmla="*/ 1290783 h 2084191"/>
              <a:gd name="connsiteX365" fmla="*/ 722707 w 2051041"/>
              <a:gd name="connsiteY365" fmla="*/ 1267928 h 2084191"/>
              <a:gd name="connsiteX366" fmla="*/ 745018 w 2051041"/>
              <a:gd name="connsiteY366" fmla="*/ 1246705 h 2084191"/>
              <a:gd name="connsiteX367" fmla="*/ 907727 w 2051041"/>
              <a:gd name="connsiteY367" fmla="*/ 1241807 h 2084191"/>
              <a:gd name="connsiteX368" fmla="*/ 933847 w 2051041"/>
              <a:gd name="connsiteY368" fmla="*/ 1269016 h 2084191"/>
              <a:gd name="connsiteX369" fmla="*/ 907183 w 2051041"/>
              <a:gd name="connsiteY369" fmla="*/ 1295136 h 2084191"/>
              <a:gd name="connsiteX370" fmla="*/ 880518 w 2051041"/>
              <a:gd name="connsiteY370" fmla="*/ 1267927 h 2084191"/>
              <a:gd name="connsiteX371" fmla="*/ 907727 w 2051041"/>
              <a:gd name="connsiteY371" fmla="*/ 1241807 h 2084191"/>
              <a:gd name="connsiteX372" fmla="*/ 1070979 w 2051041"/>
              <a:gd name="connsiteY372" fmla="*/ 1240719 h 2084191"/>
              <a:gd name="connsiteX373" fmla="*/ 1099821 w 2051041"/>
              <a:gd name="connsiteY373" fmla="*/ 1268472 h 2084191"/>
              <a:gd name="connsiteX374" fmla="*/ 1070435 w 2051041"/>
              <a:gd name="connsiteY374" fmla="*/ 1297858 h 2084191"/>
              <a:gd name="connsiteX375" fmla="*/ 1042138 w 2051041"/>
              <a:gd name="connsiteY375" fmla="*/ 1269560 h 2084191"/>
              <a:gd name="connsiteX376" fmla="*/ 1070979 w 2051041"/>
              <a:gd name="connsiteY376" fmla="*/ 1240719 h 2084191"/>
              <a:gd name="connsiteX377" fmla="*/ 1234233 w 2051041"/>
              <a:gd name="connsiteY377" fmla="*/ 1235821 h 2084191"/>
              <a:gd name="connsiteX378" fmla="*/ 1266883 w 2051041"/>
              <a:gd name="connsiteY378" fmla="*/ 1269016 h 2084191"/>
              <a:gd name="connsiteX379" fmla="*/ 1234233 w 2051041"/>
              <a:gd name="connsiteY379" fmla="*/ 1300578 h 2084191"/>
              <a:gd name="connsiteX380" fmla="*/ 1201582 w 2051041"/>
              <a:gd name="connsiteY380" fmla="*/ 1267383 h 2084191"/>
              <a:gd name="connsiteX381" fmla="*/ 1234233 w 2051041"/>
              <a:gd name="connsiteY381" fmla="*/ 1235821 h 2084191"/>
              <a:gd name="connsiteX382" fmla="*/ 1396397 w 2051041"/>
              <a:gd name="connsiteY382" fmla="*/ 1234733 h 2084191"/>
              <a:gd name="connsiteX383" fmla="*/ 1431224 w 2051041"/>
              <a:gd name="connsiteY383" fmla="*/ 1268472 h 2084191"/>
              <a:gd name="connsiteX384" fmla="*/ 1396941 w 2051041"/>
              <a:gd name="connsiteY384" fmla="*/ 1302755 h 2084191"/>
              <a:gd name="connsiteX385" fmla="*/ 1363746 w 2051041"/>
              <a:gd name="connsiteY385" fmla="*/ 1269016 h 2084191"/>
              <a:gd name="connsiteX386" fmla="*/ 1396397 w 2051041"/>
              <a:gd name="connsiteY386" fmla="*/ 1234733 h 2084191"/>
              <a:gd name="connsiteX387" fmla="*/ 1559649 w 2051041"/>
              <a:gd name="connsiteY387" fmla="*/ 1232557 h 2084191"/>
              <a:gd name="connsiteX388" fmla="*/ 1597742 w 2051041"/>
              <a:gd name="connsiteY388" fmla="*/ 1268472 h 2084191"/>
              <a:gd name="connsiteX389" fmla="*/ 1561826 w 2051041"/>
              <a:gd name="connsiteY389" fmla="*/ 1305476 h 2084191"/>
              <a:gd name="connsiteX390" fmla="*/ 1523734 w 2051041"/>
              <a:gd name="connsiteY390" fmla="*/ 1269561 h 2084191"/>
              <a:gd name="connsiteX391" fmla="*/ 1559649 w 2051041"/>
              <a:gd name="connsiteY391" fmla="*/ 1232557 h 2084191"/>
              <a:gd name="connsiteX392" fmla="*/ 1723990 w 2051041"/>
              <a:gd name="connsiteY392" fmla="*/ 1231468 h 2084191"/>
              <a:gd name="connsiteX393" fmla="*/ 1762083 w 2051041"/>
              <a:gd name="connsiteY393" fmla="*/ 1268472 h 2084191"/>
              <a:gd name="connsiteX394" fmla="*/ 1724535 w 2051041"/>
              <a:gd name="connsiteY394" fmla="*/ 1307109 h 2084191"/>
              <a:gd name="connsiteX395" fmla="*/ 1686442 w 2051041"/>
              <a:gd name="connsiteY395" fmla="*/ 1270105 h 2084191"/>
              <a:gd name="connsiteX396" fmla="*/ 1723990 w 2051041"/>
              <a:gd name="connsiteY396" fmla="*/ 1231468 h 2084191"/>
              <a:gd name="connsiteX397" fmla="*/ 1888332 w 2051041"/>
              <a:gd name="connsiteY397" fmla="*/ 1230924 h 2084191"/>
              <a:gd name="connsiteX398" fmla="*/ 1925336 w 2051041"/>
              <a:gd name="connsiteY398" fmla="*/ 1269561 h 2084191"/>
              <a:gd name="connsiteX399" fmla="*/ 1887243 w 2051041"/>
              <a:gd name="connsiteY399" fmla="*/ 1307653 h 2084191"/>
              <a:gd name="connsiteX400" fmla="*/ 1849151 w 2051041"/>
              <a:gd name="connsiteY400" fmla="*/ 1267928 h 2084191"/>
              <a:gd name="connsiteX401" fmla="*/ 1888332 w 2051041"/>
              <a:gd name="connsiteY401" fmla="*/ 1230924 h 2084191"/>
              <a:gd name="connsiteX402" fmla="*/ 2049952 w 2051041"/>
              <a:gd name="connsiteY402" fmla="*/ 1230380 h 2084191"/>
              <a:gd name="connsiteX403" fmla="*/ 2051041 w 2051041"/>
              <a:gd name="connsiteY403" fmla="*/ 1230805 h 2084191"/>
              <a:gd name="connsiteX404" fmla="*/ 2051041 w 2051041"/>
              <a:gd name="connsiteY404" fmla="*/ 1307109 h 2084191"/>
              <a:gd name="connsiteX405" fmla="*/ 2012404 w 2051041"/>
              <a:gd name="connsiteY405" fmla="*/ 1268472 h 2084191"/>
              <a:gd name="connsiteX406" fmla="*/ 2049952 w 2051041"/>
              <a:gd name="connsiteY406" fmla="*/ 1230380 h 2084191"/>
              <a:gd name="connsiteX407" fmla="*/ 337431 w 2051041"/>
              <a:gd name="connsiteY407" fmla="*/ 1181404 h 2084191"/>
              <a:gd name="connsiteX408" fmla="*/ 345050 w 2051041"/>
              <a:gd name="connsiteY408" fmla="*/ 1187934 h 2084191"/>
              <a:gd name="connsiteX409" fmla="*/ 336343 w 2051041"/>
              <a:gd name="connsiteY409" fmla="*/ 1192288 h 2084191"/>
              <a:gd name="connsiteX410" fmla="*/ 330901 w 2051041"/>
              <a:gd name="connsiteY410" fmla="*/ 1185758 h 2084191"/>
              <a:gd name="connsiteX411" fmla="*/ 337431 w 2051041"/>
              <a:gd name="connsiteY411" fmla="*/ 1181404 h 2084191"/>
              <a:gd name="connsiteX412" fmla="*/ 499051 w 2051041"/>
              <a:gd name="connsiteY412" fmla="*/ 1171065 h 2084191"/>
              <a:gd name="connsiteX413" fmla="*/ 516465 w 2051041"/>
              <a:gd name="connsiteY413" fmla="*/ 1187390 h 2084191"/>
              <a:gd name="connsiteX414" fmla="*/ 500140 w 2051041"/>
              <a:gd name="connsiteY414" fmla="*/ 1202627 h 2084191"/>
              <a:gd name="connsiteX415" fmla="*/ 483814 w 2051041"/>
              <a:gd name="connsiteY415" fmla="*/ 1187390 h 2084191"/>
              <a:gd name="connsiteX416" fmla="*/ 499051 w 2051041"/>
              <a:gd name="connsiteY416" fmla="*/ 1171065 h 2084191"/>
              <a:gd name="connsiteX417" fmla="*/ 662848 w 2051041"/>
              <a:gd name="connsiteY417" fmla="*/ 1165623 h 2084191"/>
              <a:gd name="connsiteX418" fmla="*/ 684615 w 2051041"/>
              <a:gd name="connsiteY418" fmla="*/ 1187390 h 2084191"/>
              <a:gd name="connsiteX419" fmla="*/ 662848 w 2051041"/>
              <a:gd name="connsiteY419" fmla="*/ 1209157 h 2084191"/>
              <a:gd name="connsiteX420" fmla="*/ 641081 w 2051041"/>
              <a:gd name="connsiteY420" fmla="*/ 1186846 h 2084191"/>
              <a:gd name="connsiteX421" fmla="*/ 662848 w 2051041"/>
              <a:gd name="connsiteY421" fmla="*/ 1165623 h 2084191"/>
              <a:gd name="connsiteX422" fmla="*/ 825556 w 2051041"/>
              <a:gd name="connsiteY422" fmla="*/ 1160725 h 2084191"/>
              <a:gd name="connsiteX423" fmla="*/ 852765 w 2051041"/>
              <a:gd name="connsiteY423" fmla="*/ 1186846 h 2084191"/>
              <a:gd name="connsiteX424" fmla="*/ 826645 w 2051041"/>
              <a:gd name="connsiteY424" fmla="*/ 1213511 h 2084191"/>
              <a:gd name="connsiteX425" fmla="*/ 798892 w 2051041"/>
              <a:gd name="connsiteY425" fmla="*/ 1188479 h 2084191"/>
              <a:gd name="connsiteX426" fmla="*/ 825556 w 2051041"/>
              <a:gd name="connsiteY426" fmla="*/ 1160725 h 2084191"/>
              <a:gd name="connsiteX427" fmla="*/ 989353 w 2051041"/>
              <a:gd name="connsiteY427" fmla="*/ 1158004 h 2084191"/>
              <a:gd name="connsiteX428" fmla="*/ 1018195 w 2051041"/>
              <a:gd name="connsiteY428" fmla="*/ 1187934 h 2084191"/>
              <a:gd name="connsiteX429" fmla="*/ 988809 w 2051041"/>
              <a:gd name="connsiteY429" fmla="*/ 1216775 h 2084191"/>
              <a:gd name="connsiteX430" fmla="*/ 959968 w 2051041"/>
              <a:gd name="connsiteY430" fmla="*/ 1187934 h 2084191"/>
              <a:gd name="connsiteX431" fmla="*/ 989353 w 2051041"/>
              <a:gd name="connsiteY431" fmla="*/ 1158004 h 2084191"/>
              <a:gd name="connsiteX432" fmla="*/ 1152062 w 2051041"/>
              <a:gd name="connsiteY432" fmla="*/ 1153651 h 2084191"/>
              <a:gd name="connsiteX433" fmla="*/ 1185801 w 2051041"/>
              <a:gd name="connsiteY433" fmla="*/ 1186301 h 2084191"/>
              <a:gd name="connsiteX434" fmla="*/ 1153150 w 2051041"/>
              <a:gd name="connsiteY434" fmla="*/ 1219496 h 2084191"/>
              <a:gd name="connsiteX435" fmla="*/ 1119956 w 2051041"/>
              <a:gd name="connsiteY435" fmla="*/ 1187390 h 2084191"/>
              <a:gd name="connsiteX436" fmla="*/ 1152062 w 2051041"/>
              <a:gd name="connsiteY436" fmla="*/ 1153651 h 2084191"/>
              <a:gd name="connsiteX437" fmla="*/ 1315315 w 2051041"/>
              <a:gd name="connsiteY437" fmla="*/ 1152018 h 2084191"/>
              <a:gd name="connsiteX438" fmla="*/ 1351230 w 2051041"/>
              <a:gd name="connsiteY438" fmla="*/ 1186845 h 2084191"/>
              <a:gd name="connsiteX439" fmla="*/ 1315859 w 2051041"/>
              <a:gd name="connsiteY439" fmla="*/ 1221673 h 2084191"/>
              <a:gd name="connsiteX440" fmla="*/ 1281576 w 2051041"/>
              <a:gd name="connsiteY440" fmla="*/ 1187390 h 2084191"/>
              <a:gd name="connsiteX441" fmla="*/ 1315315 w 2051041"/>
              <a:gd name="connsiteY441" fmla="*/ 1152018 h 2084191"/>
              <a:gd name="connsiteX442" fmla="*/ 1479656 w 2051041"/>
              <a:gd name="connsiteY442" fmla="*/ 1149298 h 2084191"/>
              <a:gd name="connsiteX443" fmla="*/ 1516660 w 2051041"/>
              <a:gd name="connsiteY443" fmla="*/ 1188479 h 2084191"/>
              <a:gd name="connsiteX444" fmla="*/ 1478023 w 2051041"/>
              <a:gd name="connsiteY444" fmla="*/ 1224394 h 2084191"/>
              <a:gd name="connsiteX445" fmla="*/ 1441563 w 2051041"/>
              <a:gd name="connsiteY445" fmla="*/ 1185758 h 2084191"/>
              <a:gd name="connsiteX446" fmla="*/ 1479656 w 2051041"/>
              <a:gd name="connsiteY446" fmla="*/ 1149298 h 2084191"/>
              <a:gd name="connsiteX447" fmla="*/ 1642365 w 2051041"/>
              <a:gd name="connsiteY447" fmla="*/ 1148209 h 2084191"/>
              <a:gd name="connsiteX448" fmla="*/ 1681001 w 2051041"/>
              <a:gd name="connsiteY448" fmla="*/ 1187390 h 2084191"/>
              <a:gd name="connsiteX449" fmla="*/ 1641821 w 2051041"/>
              <a:gd name="connsiteY449" fmla="*/ 1226026 h 2084191"/>
              <a:gd name="connsiteX450" fmla="*/ 1603728 w 2051041"/>
              <a:gd name="connsiteY450" fmla="*/ 1186846 h 2084191"/>
              <a:gd name="connsiteX451" fmla="*/ 1642365 w 2051041"/>
              <a:gd name="connsiteY451" fmla="*/ 1148209 h 2084191"/>
              <a:gd name="connsiteX452" fmla="*/ 1969414 w 2051041"/>
              <a:gd name="connsiteY452" fmla="*/ 1147665 h 2084191"/>
              <a:gd name="connsiteX453" fmla="*/ 2009139 w 2051041"/>
              <a:gd name="connsiteY453" fmla="*/ 1187934 h 2084191"/>
              <a:gd name="connsiteX454" fmla="*/ 1968870 w 2051041"/>
              <a:gd name="connsiteY454" fmla="*/ 1227114 h 2084191"/>
              <a:gd name="connsiteX455" fmla="*/ 1929145 w 2051041"/>
              <a:gd name="connsiteY455" fmla="*/ 1186301 h 2084191"/>
              <a:gd name="connsiteX456" fmla="*/ 1969414 w 2051041"/>
              <a:gd name="connsiteY456" fmla="*/ 1147665 h 2084191"/>
              <a:gd name="connsiteX457" fmla="*/ 1805617 w 2051041"/>
              <a:gd name="connsiteY457" fmla="*/ 1147665 h 2084191"/>
              <a:gd name="connsiteX458" fmla="*/ 1844798 w 2051041"/>
              <a:gd name="connsiteY458" fmla="*/ 1187934 h 2084191"/>
              <a:gd name="connsiteX459" fmla="*/ 1805073 w 2051041"/>
              <a:gd name="connsiteY459" fmla="*/ 1226571 h 2084191"/>
              <a:gd name="connsiteX460" fmla="*/ 1766981 w 2051041"/>
              <a:gd name="connsiteY460" fmla="*/ 1186845 h 2084191"/>
              <a:gd name="connsiteX461" fmla="*/ 1805617 w 2051041"/>
              <a:gd name="connsiteY461" fmla="*/ 1147665 h 2084191"/>
              <a:gd name="connsiteX462" fmla="*/ 417425 w 2051041"/>
              <a:gd name="connsiteY462" fmla="*/ 1090527 h 2084191"/>
              <a:gd name="connsiteX463" fmla="*/ 432662 w 2051041"/>
              <a:gd name="connsiteY463" fmla="*/ 1105764 h 2084191"/>
              <a:gd name="connsiteX464" fmla="*/ 417969 w 2051041"/>
              <a:gd name="connsiteY464" fmla="*/ 1120457 h 2084191"/>
              <a:gd name="connsiteX465" fmla="*/ 402732 w 2051041"/>
              <a:gd name="connsiteY465" fmla="*/ 1105219 h 2084191"/>
              <a:gd name="connsiteX466" fmla="*/ 417425 w 2051041"/>
              <a:gd name="connsiteY466" fmla="*/ 1090527 h 2084191"/>
              <a:gd name="connsiteX467" fmla="*/ 580677 w 2051041"/>
              <a:gd name="connsiteY467" fmla="*/ 1083996 h 2084191"/>
              <a:gd name="connsiteX468" fmla="*/ 602444 w 2051041"/>
              <a:gd name="connsiteY468" fmla="*/ 1105219 h 2084191"/>
              <a:gd name="connsiteX469" fmla="*/ 581221 w 2051041"/>
              <a:gd name="connsiteY469" fmla="*/ 1127530 h 2084191"/>
              <a:gd name="connsiteX470" fmla="*/ 558910 w 2051041"/>
              <a:gd name="connsiteY470" fmla="*/ 1105219 h 2084191"/>
              <a:gd name="connsiteX471" fmla="*/ 580677 w 2051041"/>
              <a:gd name="connsiteY471" fmla="*/ 1083996 h 2084191"/>
              <a:gd name="connsiteX472" fmla="*/ 743386 w 2051041"/>
              <a:gd name="connsiteY472" fmla="*/ 1079099 h 2084191"/>
              <a:gd name="connsiteX473" fmla="*/ 770595 w 2051041"/>
              <a:gd name="connsiteY473" fmla="*/ 1105219 h 2084191"/>
              <a:gd name="connsiteX474" fmla="*/ 745019 w 2051041"/>
              <a:gd name="connsiteY474" fmla="*/ 1132428 h 2084191"/>
              <a:gd name="connsiteX475" fmla="*/ 717810 w 2051041"/>
              <a:gd name="connsiteY475" fmla="*/ 1106308 h 2084191"/>
              <a:gd name="connsiteX476" fmla="*/ 743386 w 2051041"/>
              <a:gd name="connsiteY476" fmla="*/ 1079099 h 2084191"/>
              <a:gd name="connsiteX477" fmla="*/ 907727 w 2051041"/>
              <a:gd name="connsiteY477" fmla="*/ 1076378 h 2084191"/>
              <a:gd name="connsiteX478" fmla="*/ 937112 w 2051041"/>
              <a:gd name="connsiteY478" fmla="*/ 1105219 h 2084191"/>
              <a:gd name="connsiteX479" fmla="*/ 908271 w 2051041"/>
              <a:gd name="connsiteY479" fmla="*/ 1134061 h 2084191"/>
              <a:gd name="connsiteX480" fmla="*/ 878885 w 2051041"/>
              <a:gd name="connsiteY480" fmla="*/ 1105764 h 2084191"/>
              <a:gd name="connsiteX481" fmla="*/ 907727 w 2051041"/>
              <a:gd name="connsiteY481" fmla="*/ 1076378 h 2084191"/>
              <a:gd name="connsiteX482" fmla="*/ 1071524 w 2051041"/>
              <a:gd name="connsiteY482" fmla="*/ 1072569 h 2084191"/>
              <a:gd name="connsiteX483" fmla="*/ 1104174 w 2051041"/>
              <a:gd name="connsiteY483" fmla="*/ 1105220 h 2084191"/>
              <a:gd name="connsiteX484" fmla="*/ 1070435 w 2051041"/>
              <a:gd name="connsiteY484" fmla="*/ 1137870 h 2084191"/>
              <a:gd name="connsiteX485" fmla="*/ 1038329 w 2051041"/>
              <a:gd name="connsiteY485" fmla="*/ 1105764 h 2084191"/>
              <a:gd name="connsiteX486" fmla="*/ 1071524 w 2051041"/>
              <a:gd name="connsiteY486" fmla="*/ 1072569 h 2084191"/>
              <a:gd name="connsiteX487" fmla="*/ 1235865 w 2051041"/>
              <a:gd name="connsiteY487" fmla="*/ 1068760 h 2084191"/>
              <a:gd name="connsiteX488" fmla="*/ 1271237 w 2051041"/>
              <a:gd name="connsiteY488" fmla="*/ 1106852 h 2084191"/>
              <a:gd name="connsiteX489" fmla="*/ 1234777 w 2051041"/>
              <a:gd name="connsiteY489" fmla="*/ 1142223 h 2084191"/>
              <a:gd name="connsiteX490" fmla="*/ 1198861 w 2051041"/>
              <a:gd name="connsiteY490" fmla="*/ 1105219 h 2084191"/>
              <a:gd name="connsiteX491" fmla="*/ 1235865 w 2051041"/>
              <a:gd name="connsiteY491" fmla="*/ 1068760 h 2084191"/>
              <a:gd name="connsiteX492" fmla="*/ 1396397 w 2051041"/>
              <a:gd name="connsiteY492" fmla="*/ 1067127 h 2084191"/>
              <a:gd name="connsiteX493" fmla="*/ 1435578 w 2051041"/>
              <a:gd name="connsiteY493" fmla="*/ 1105219 h 2084191"/>
              <a:gd name="connsiteX494" fmla="*/ 1396941 w 2051041"/>
              <a:gd name="connsiteY494" fmla="*/ 1143856 h 2084191"/>
              <a:gd name="connsiteX495" fmla="*/ 1358849 w 2051041"/>
              <a:gd name="connsiteY495" fmla="*/ 1105763 h 2084191"/>
              <a:gd name="connsiteX496" fmla="*/ 1396397 w 2051041"/>
              <a:gd name="connsiteY496" fmla="*/ 1067127 h 2084191"/>
              <a:gd name="connsiteX497" fmla="*/ 1560738 w 2051041"/>
              <a:gd name="connsiteY497" fmla="*/ 1066582 h 2084191"/>
              <a:gd name="connsiteX498" fmla="*/ 1599919 w 2051041"/>
              <a:gd name="connsiteY498" fmla="*/ 1105763 h 2084191"/>
              <a:gd name="connsiteX499" fmla="*/ 1560738 w 2051041"/>
              <a:gd name="connsiteY499" fmla="*/ 1144400 h 2084191"/>
              <a:gd name="connsiteX500" fmla="*/ 1521013 w 2051041"/>
              <a:gd name="connsiteY500" fmla="*/ 1105763 h 2084191"/>
              <a:gd name="connsiteX501" fmla="*/ 1560738 w 2051041"/>
              <a:gd name="connsiteY501" fmla="*/ 1066582 h 2084191"/>
              <a:gd name="connsiteX502" fmla="*/ 1723447 w 2051041"/>
              <a:gd name="connsiteY502" fmla="*/ 1064406 h 2084191"/>
              <a:gd name="connsiteX503" fmla="*/ 1764260 w 2051041"/>
              <a:gd name="connsiteY503" fmla="*/ 1104675 h 2084191"/>
              <a:gd name="connsiteX504" fmla="*/ 1724535 w 2051041"/>
              <a:gd name="connsiteY504" fmla="*/ 1146032 h 2084191"/>
              <a:gd name="connsiteX505" fmla="*/ 1683178 w 2051041"/>
              <a:gd name="connsiteY505" fmla="*/ 1105764 h 2084191"/>
              <a:gd name="connsiteX506" fmla="*/ 1723447 w 2051041"/>
              <a:gd name="connsiteY506" fmla="*/ 1064406 h 2084191"/>
              <a:gd name="connsiteX507" fmla="*/ 2051041 w 2051041"/>
              <a:gd name="connsiteY507" fmla="*/ 1063318 h 2084191"/>
              <a:gd name="connsiteX508" fmla="*/ 2051041 w 2051041"/>
              <a:gd name="connsiteY508" fmla="*/ 1147740 h 2084191"/>
              <a:gd name="connsiteX509" fmla="*/ 2049952 w 2051041"/>
              <a:gd name="connsiteY509" fmla="*/ 1148210 h 2084191"/>
              <a:gd name="connsiteX510" fmla="*/ 2008051 w 2051041"/>
              <a:gd name="connsiteY510" fmla="*/ 1105764 h 2084191"/>
              <a:gd name="connsiteX511" fmla="*/ 2051041 w 2051041"/>
              <a:gd name="connsiteY511" fmla="*/ 1063318 h 2084191"/>
              <a:gd name="connsiteX512" fmla="*/ 1887787 w 2051041"/>
              <a:gd name="connsiteY512" fmla="*/ 1062773 h 2084191"/>
              <a:gd name="connsiteX513" fmla="*/ 1929145 w 2051041"/>
              <a:gd name="connsiteY513" fmla="*/ 1105763 h 2084191"/>
              <a:gd name="connsiteX514" fmla="*/ 1886699 w 2051041"/>
              <a:gd name="connsiteY514" fmla="*/ 1147665 h 2084191"/>
              <a:gd name="connsiteX515" fmla="*/ 1844798 w 2051041"/>
              <a:gd name="connsiteY515" fmla="*/ 1105219 h 2084191"/>
              <a:gd name="connsiteX516" fmla="*/ 1887787 w 2051041"/>
              <a:gd name="connsiteY516" fmla="*/ 1062773 h 2084191"/>
              <a:gd name="connsiteX517" fmla="*/ 335798 w 2051041"/>
              <a:gd name="connsiteY517" fmla="*/ 1011621 h 2084191"/>
              <a:gd name="connsiteX518" fmla="*/ 348314 w 2051041"/>
              <a:gd name="connsiteY518" fmla="*/ 1023049 h 2084191"/>
              <a:gd name="connsiteX519" fmla="*/ 336886 w 2051041"/>
              <a:gd name="connsiteY519" fmla="*/ 1036109 h 2084191"/>
              <a:gd name="connsiteX520" fmla="*/ 324370 w 2051041"/>
              <a:gd name="connsiteY520" fmla="*/ 1024681 h 2084191"/>
              <a:gd name="connsiteX521" fmla="*/ 335798 w 2051041"/>
              <a:gd name="connsiteY521" fmla="*/ 1011621 h 2084191"/>
              <a:gd name="connsiteX522" fmla="*/ 499051 w 2051041"/>
              <a:gd name="connsiteY522" fmla="*/ 1002914 h 2084191"/>
              <a:gd name="connsiteX523" fmla="*/ 520818 w 2051041"/>
              <a:gd name="connsiteY523" fmla="*/ 1024137 h 2084191"/>
              <a:gd name="connsiteX524" fmla="*/ 499595 w 2051041"/>
              <a:gd name="connsiteY524" fmla="*/ 1045360 h 2084191"/>
              <a:gd name="connsiteX525" fmla="*/ 478372 w 2051041"/>
              <a:gd name="connsiteY525" fmla="*/ 1024137 h 2084191"/>
              <a:gd name="connsiteX526" fmla="*/ 499051 w 2051041"/>
              <a:gd name="connsiteY526" fmla="*/ 1002914 h 2084191"/>
              <a:gd name="connsiteX527" fmla="*/ 663392 w 2051041"/>
              <a:gd name="connsiteY527" fmla="*/ 997473 h 2084191"/>
              <a:gd name="connsiteX528" fmla="*/ 688424 w 2051041"/>
              <a:gd name="connsiteY528" fmla="*/ 1024138 h 2084191"/>
              <a:gd name="connsiteX529" fmla="*/ 661759 w 2051041"/>
              <a:gd name="connsiteY529" fmla="*/ 1050258 h 2084191"/>
              <a:gd name="connsiteX530" fmla="*/ 636727 w 2051041"/>
              <a:gd name="connsiteY530" fmla="*/ 1023593 h 2084191"/>
              <a:gd name="connsiteX531" fmla="*/ 663392 w 2051041"/>
              <a:gd name="connsiteY531" fmla="*/ 997473 h 2084191"/>
              <a:gd name="connsiteX532" fmla="*/ 826645 w 2051041"/>
              <a:gd name="connsiteY532" fmla="*/ 995840 h 2084191"/>
              <a:gd name="connsiteX533" fmla="*/ 854942 w 2051041"/>
              <a:gd name="connsiteY533" fmla="*/ 1024137 h 2084191"/>
              <a:gd name="connsiteX534" fmla="*/ 825557 w 2051041"/>
              <a:gd name="connsiteY534" fmla="*/ 1052978 h 2084191"/>
              <a:gd name="connsiteX535" fmla="*/ 797260 w 2051041"/>
              <a:gd name="connsiteY535" fmla="*/ 1023593 h 2084191"/>
              <a:gd name="connsiteX536" fmla="*/ 826645 w 2051041"/>
              <a:gd name="connsiteY536" fmla="*/ 995840 h 2084191"/>
              <a:gd name="connsiteX537" fmla="*/ 990441 w 2051041"/>
              <a:gd name="connsiteY537" fmla="*/ 990942 h 2084191"/>
              <a:gd name="connsiteX538" fmla="*/ 1022548 w 2051041"/>
              <a:gd name="connsiteY538" fmla="*/ 1025225 h 2084191"/>
              <a:gd name="connsiteX539" fmla="*/ 988809 w 2051041"/>
              <a:gd name="connsiteY539" fmla="*/ 1056787 h 2084191"/>
              <a:gd name="connsiteX540" fmla="*/ 956702 w 2051041"/>
              <a:gd name="connsiteY540" fmla="*/ 1023593 h 2084191"/>
              <a:gd name="connsiteX541" fmla="*/ 990441 w 2051041"/>
              <a:gd name="connsiteY541" fmla="*/ 990942 h 2084191"/>
              <a:gd name="connsiteX542" fmla="*/ 1150974 w 2051041"/>
              <a:gd name="connsiteY542" fmla="*/ 987678 h 2084191"/>
              <a:gd name="connsiteX543" fmla="*/ 1189610 w 2051041"/>
              <a:gd name="connsiteY543" fmla="*/ 1023593 h 2084191"/>
              <a:gd name="connsiteX544" fmla="*/ 1152062 w 2051041"/>
              <a:gd name="connsiteY544" fmla="*/ 1061685 h 2084191"/>
              <a:gd name="connsiteX545" fmla="*/ 1115058 w 2051041"/>
              <a:gd name="connsiteY545" fmla="*/ 1024682 h 2084191"/>
              <a:gd name="connsiteX546" fmla="*/ 1150974 w 2051041"/>
              <a:gd name="connsiteY546" fmla="*/ 987678 h 2084191"/>
              <a:gd name="connsiteX547" fmla="*/ 1315314 w 2051041"/>
              <a:gd name="connsiteY547" fmla="*/ 985501 h 2084191"/>
              <a:gd name="connsiteX548" fmla="*/ 1354495 w 2051041"/>
              <a:gd name="connsiteY548" fmla="*/ 1023593 h 2084191"/>
              <a:gd name="connsiteX549" fmla="*/ 1315858 w 2051041"/>
              <a:gd name="connsiteY549" fmla="*/ 1062230 h 2084191"/>
              <a:gd name="connsiteX550" fmla="*/ 1277222 w 2051041"/>
              <a:gd name="connsiteY550" fmla="*/ 1024137 h 2084191"/>
              <a:gd name="connsiteX551" fmla="*/ 1315314 w 2051041"/>
              <a:gd name="connsiteY551" fmla="*/ 985501 h 2084191"/>
              <a:gd name="connsiteX552" fmla="*/ 1479656 w 2051041"/>
              <a:gd name="connsiteY552" fmla="*/ 984412 h 2084191"/>
              <a:gd name="connsiteX553" fmla="*/ 1519380 w 2051041"/>
              <a:gd name="connsiteY553" fmla="*/ 1025225 h 2084191"/>
              <a:gd name="connsiteX554" fmla="*/ 1478567 w 2051041"/>
              <a:gd name="connsiteY554" fmla="*/ 1063318 h 2084191"/>
              <a:gd name="connsiteX555" fmla="*/ 1439387 w 2051041"/>
              <a:gd name="connsiteY555" fmla="*/ 1023593 h 2084191"/>
              <a:gd name="connsiteX556" fmla="*/ 1479656 w 2051041"/>
              <a:gd name="connsiteY556" fmla="*/ 984412 h 2084191"/>
              <a:gd name="connsiteX557" fmla="*/ 1641820 w 2051041"/>
              <a:gd name="connsiteY557" fmla="*/ 981691 h 2084191"/>
              <a:gd name="connsiteX558" fmla="*/ 1684810 w 2051041"/>
              <a:gd name="connsiteY558" fmla="*/ 1023592 h 2084191"/>
              <a:gd name="connsiteX559" fmla="*/ 1642909 w 2051041"/>
              <a:gd name="connsiteY559" fmla="*/ 1066038 h 2084191"/>
              <a:gd name="connsiteX560" fmla="*/ 1599919 w 2051041"/>
              <a:gd name="connsiteY560" fmla="*/ 1023592 h 2084191"/>
              <a:gd name="connsiteX561" fmla="*/ 1641820 w 2051041"/>
              <a:gd name="connsiteY561" fmla="*/ 981691 h 2084191"/>
              <a:gd name="connsiteX562" fmla="*/ 1806161 w 2051041"/>
              <a:gd name="connsiteY562" fmla="*/ 980603 h 2084191"/>
              <a:gd name="connsiteX563" fmla="*/ 1849151 w 2051041"/>
              <a:gd name="connsiteY563" fmla="*/ 1023592 h 2084191"/>
              <a:gd name="connsiteX564" fmla="*/ 1805617 w 2051041"/>
              <a:gd name="connsiteY564" fmla="*/ 1067127 h 2084191"/>
              <a:gd name="connsiteX565" fmla="*/ 1762083 w 2051041"/>
              <a:gd name="connsiteY565" fmla="*/ 1023592 h 2084191"/>
              <a:gd name="connsiteX566" fmla="*/ 1806161 w 2051041"/>
              <a:gd name="connsiteY566" fmla="*/ 980603 h 2084191"/>
              <a:gd name="connsiteX567" fmla="*/ 1969414 w 2051041"/>
              <a:gd name="connsiteY567" fmla="*/ 980059 h 2084191"/>
              <a:gd name="connsiteX568" fmla="*/ 2012404 w 2051041"/>
              <a:gd name="connsiteY568" fmla="*/ 1024137 h 2084191"/>
              <a:gd name="connsiteX569" fmla="*/ 1968870 w 2051041"/>
              <a:gd name="connsiteY569" fmla="*/ 1067127 h 2084191"/>
              <a:gd name="connsiteX570" fmla="*/ 1924792 w 2051041"/>
              <a:gd name="connsiteY570" fmla="*/ 1024137 h 2084191"/>
              <a:gd name="connsiteX571" fmla="*/ 1969414 w 2051041"/>
              <a:gd name="connsiteY571" fmla="*/ 980059 h 2084191"/>
              <a:gd name="connsiteX572" fmla="*/ 254171 w 2051041"/>
              <a:gd name="connsiteY572" fmla="*/ 931083 h 2084191"/>
              <a:gd name="connsiteX573" fmla="*/ 265599 w 2051041"/>
              <a:gd name="connsiteY573" fmla="*/ 941967 h 2084191"/>
              <a:gd name="connsiteX574" fmla="*/ 254171 w 2051041"/>
              <a:gd name="connsiteY574" fmla="*/ 952850 h 2084191"/>
              <a:gd name="connsiteX575" fmla="*/ 243832 w 2051041"/>
              <a:gd name="connsiteY575" fmla="*/ 941967 h 2084191"/>
              <a:gd name="connsiteX576" fmla="*/ 254171 w 2051041"/>
              <a:gd name="connsiteY576" fmla="*/ 931083 h 2084191"/>
              <a:gd name="connsiteX577" fmla="*/ 417968 w 2051041"/>
              <a:gd name="connsiteY577" fmla="*/ 922377 h 2084191"/>
              <a:gd name="connsiteX578" fmla="*/ 437559 w 2051041"/>
              <a:gd name="connsiteY578" fmla="*/ 942511 h 2084191"/>
              <a:gd name="connsiteX579" fmla="*/ 417968 w 2051041"/>
              <a:gd name="connsiteY579" fmla="*/ 961557 h 2084191"/>
              <a:gd name="connsiteX580" fmla="*/ 397834 w 2051041"/>
              <a:gd name="connsiteY580" fmla="*/ 941423 h 2084191"/>
              <a:gd name="connsiteX581" fmla="*/ 417968 w 2051041"/>
              <a:gd name="connsiteY581" fmla="*/ 922377 h 2084191"/>
              <a:gd name="connsiteX582" fmla="*/ 581222 w 2051041"/>
              <a:gd name="connsiteY582" fmla="*/ 916934 h 2084191"/>
              <a:gd name="connsiteX583" fmla="*/ 606798 w 2051041"/>
              <a:gd name="connsiteY583" fmla="*/ 943054 h 2084191"/>
              <a:gd name="connsiteX584" fmla="*/ 581222 w 2051041"/>
              <a:gd name="connsiteY584" fmla="*/ 967542 h 2084191"/>
              <a:gd name="connsiteX585" fmla="*/ 556190 w 2051041"/>
              <a:gd name="connsiteY585" fmla="*/ 943054 h 2084191"/>
              <a:gd name="connsiteX586" fmla="*/ 581222 w 2051041"/>
              <a:gd name="connsiteY586" fmla="*/ 916934 h 2084191"/>
              <a:gd name="connsiteX587" fmla="*/ 744474 w 2051041"/>
              <a:gd name="connsiteY587" fmla="*/ 913669 h 2084191"/>
              <a:gd name="connsiteX588" fmla="*/ 773315 w 2051041"/>
              <a:gd name="connsiteY588" fmla="*/ 942510 h 2084191"/>
              <a:gd name="connsiteX589" fmla="*/ 743930 w 2051041"/>
              <a:gd name="connsiteY589" fmla="*/ 970807 h 2084191"/>
              <a:gd name="connsiteX590" fmla="*/ 716177 w 2051041"/>
              <a:gd name="connsiteY590" fmla="*/ 941966 h 2084191"/>
              <a:gd name="connsiteX591" fmla="*/ 744474 w 2051041"/>
              <a:gd name="connsiteY591" fmla="*/ 913669 h 2084191"/>
              <a:gd name="connsiteX592" fmla="*/ 908271 w 2051041"/>
              <a:gd name="connsiteY592" fmla="*/ 908772 h 2084191"/>
              <a:gd name="connsiteX593" fmla="*/ 940377 w 2051041"/>
              <a:gd name="connsiteY593" fmla="*/ 944144 h 2084191"/>
              <a:gd name="connsiteX594" fmla="*/ 906094 w 2051041"/>
              <a:gd name="connsiteY594" fmla="*/ 975162 h 2084191"/>
              <a:gd name="connsiteX595" fmla="*/ 874532 w 2051041"/>
              <a:gd name="connsiteY595" fmla="*/ 940879 h 2084191"/>
              <a:gd name="connsiteX596" fmla="*/ 908271 w 2051041"/>
              <a:gd name="connsiteY596" fmla="*/ 908772 h 2084191"/>
              <a:gd name="connsiteX597" fmla="*/ 1072068 w 2051041"/>
              <a:gd name="connsiteY597" fmla="*/ 906051 h 2084191"/>
              <a:gd name="connsiteX598" fmla="*/ 1107984 w 2051041"/>
              <a:gd name="connsiteY598" fmla="*/ 942511 h 2084191"/>
              <a:gd name="connsiteX599" fmla="*/ 1070980 w 2051041"/>
              <a:gd name="connsiteY599" fmla="*/ 979515 h 2084191"/>
              <a:gd name="connsiteX600" fmla="*/ 1034520 w 2051041"/>
              <a:gd name="connsiteY600" fmla="*/ 942511 h 2084191"/>
              <a:gd name="connsiteX601" fmla="*/ 1072068 w 2051041"/>
              <a:gd name="connsiteY601" fmla="*/ 906051 h 2084191"/>
              <a:gd name="connsiteX602" fmla="*/ 1235321 w 2051041"/>
              <a:gd name="connsiteY602" fmla="*/ 903874 h 2084191"/>
              <a:gd name="connsiteX603" fmla="*/ 1272325 w 2051041"/>
              <a:gd name="connsiteY603" fmla="*/ 943054 h 2084191"/>
              <a:gd name="connsiteX604" fmla="*/ 1233688 w 2051041"/>
              <a:gd name="connsiteY604" fmla="*/ 981147 h 2084191"/>
              <a:gd name="connsiteX605" fmla="*/ 1195596 w 2051041"/>
              <a:gd name="connsiteY605" fmla="*/ 940878 h 2084191"/>
              <a:gd name="connsiteX606" fmla="*/ 1235321 w 2051041"/>
              <a:gd name="connsiteY606" fmla="*/ 903874 h 2084191"/>
              <a:gd name="connsiteX607" fmla="*/ 1397486 w 2051041"/>
              <a:gd name="connsiteY607" fmla="*/ 901153 h 2084191"/>
              <a:gd name="connsiteX608" fmla="*/ 1438299 w 2051041"/>
              <a:gd name="connsiteY608" fmla="*/ 942511 h 2084191"/>
              <a:gd name="connsiteX609" fmla="*/ 1396941 w 2051041"/>
              <a:gd name="connsiteY609" fmla="*/ 983324 h 2084191"/>
              <a:gd name="connsiteX610" fmla="*/ 1356128 w 2051041"/>
              <a:gd name="connsiteY610" fmla="*/ 941967 h 2084191"/>
              <a:gd name="connsiteX611" fmla="*/ 1397486 w 2051041"/>
              <a:gd name="connsiteY611" fmla="*/ 901153 h 2084191"/>
              <a:gd name="connsiteX612" fmla="*/ 1560738 w 2051041"/>
              <a:gd name="connsiteY612" fmla="*/ 898977 h 2084191"/>
              <a:gd name="connsiteX613" fmla="*/ 1603728 w 2051041"/>
              <a:gd name="connsiteY613" fmla="*/ 942511 h 2084191"/>
              <a:gd name="connsiteX614" fmla="*/ 1560738 w 2051041"/>
              <a:gd name="connsiteY614" fmla="*/ 985501 h 2084191"/>
              <a:gd name="connsiteX615" fmla="*/ 1517204 w 2051041"/>
              <a:gd name="connsiteY615" fmla="*/ 941423 h 2084191"/>
              <a:gd name="connsiteX616" fmla="*/ 1560738 w 2051041"/>
              <a:gd name="connsiteY616" fmla="*/ 898977 h 2084191"/>
              <a:gd name="connsiteX617" fmla="*/ 1723990 w 2051041"/>
              <a:gd name="connsiteY617" fmla="*/ 897888 h 2084191"/>
              <a:gd name="connsiteX618" fmla="*/ 1768069 w 2051041"/>
              <a:gd name="connsiteY618" fmla="*/ 942510 h 2084191"/>
              <a:gd name="connsiteX619" fmla="*/ 1723990 w 2051041"/>
              <a:gd name="connsiteY619" fmla="*/ 986589 h 2084191"/>
              <a:gd name="connsiteX620" fmla="*/ 1679912 w 2051041"/>
              <a:gd name="connsiteY620" fmla="*/ 941422 h 2084191"/>
              <a:gd name="connsiteX621" fmla="*/ 1723990 w 2051041"/>
              <a:gd name="connsiteY621" fmla="*/ 897888 h 2084191"/>
              <a:gd name="connsiteX622" fmla="*/ 2050497 w 2051041"/>
              <a:gd name="connsiteY622" fmla="*/ 897344 h 2084191"/>
              <a:gd name="connsiteX623" fmla="*/ 2051041 w 2051041"/>
              <a:gd name="connsiteY623" fmla="*/ 897453 h 2084191"/>
              <a:gd name="connsiteX624" fmla="*/ 2051041 w 2051041"/>
              <a:gd name="connsiteY624" fmla="*/ 986917 h 2084191"/>
              <a:gd name="connsiteX625" fmla="*/ 2049952 w 2051041"/>
              <a:gd name="connsiteY625" fmla="*/ 987133 h 2084191"/>
              <a:gd name="connsiteX626" fmla="*/ 2005330 w 2051041"/>
              <a:gd name="connsiteY626" fmla="*/ 941422 h 2084191"/>
              <a:gd name="connsiteX627" fmla="*/ 2050497 w 2051041"/>
              <a:gd name="connsiteY627" fmla="*/ 897344 h 2084191"/>
              <a:gd name="connsiteX628" fmla="*/ 1887243 w 2051041"/>
              <a:gd name="connsiteY628" fmla="*/ 897344 h 2084191"/>
              <a:gd name="connsiteX629" fmla="*/ 1931866 w 2051041"/>
              <a:gd name="connsiteY629" fmla="*/ 942511 h 2084191"/>
              <a:gd name="connsiteX630" fmla="*/ 1887243 w 2051041"/>
              <a:gd name="connsiteY630" fmla="*/ 986589 h 2084191"/>
              <a:gd name="connsiteX631" fmla="*/ 1843165 w 2051041"/>
              <a:gd name="connsiteY631" fmla="*/ 941422 h 2084191"/>
              <a:gd name="connsiteX632" fmla="*/ 1887243 w 2051041"/>
              <a:gd name="connsiteY632" fmla="*/ 897344 h 2084191"/>
              <a:gd name="connsiteX633" fmla="*/ 172545 w 2051041"/>
              <a:gd name="connsiteY633" fmla="*/ 854354 h 2084191"/>
              <a:gd name="connsiteX634" fmla="*/ 179619 w 2051041"/>
              <a:gd name="connsiteY634" fmla="*/ 860884 h 2084191"/>
              <a:gd name="connsiteX635" fmla="*/ 173634 w 2051041"/>
              <a:gd name="connsiteY635" fmla="*/ 866870 h 2084191"/>
              <a:gd name="connsiteX636" fmla="*/ 166015 w 2051041"/>
              <a:gd name="connsiteY636" fmla="*/ 861973 h 2084191"/>
              <a:gd name="connsiteX637" fmla="*/ 172545 w 2051041"/>
              <a:gd name="connsiteY637" fmla="*/ 854354 h 2084191"/>
              <a:gd name="connsiteX638" fmla="*/ 336342 w 2051041"/>
              <a:gd name="connsiteY638" fmla="*/ 843471 h 2084191"/>
              <a:gd name="connsiteX639" fmla="*/ 353211 w 2051041"/>
              <a:gd name="connsiteY639" fmla="*/ 860340 h 2084191"/>
              <a:gd name="connsiteX640" fmla="*/ 336886 w 2051041"/>
              <a:gd name="connsiteY640" fmla="*/ 877210 h 2084191"/>
              <a:gd name="connsiteX641" fmla="*/ 320017 w 2051041"/>
              <a:gd name="connsiteY641" fmla="*/ 860884 h 2084191"/>
              <a:gd name="connsiteX642" fmla="*/ 336342 w 2051041"/>
              <a:gd name="connsiteY642" fmla="*/ 843471 h 2084191"/>
              <a:gd name="connsiteX643" fmla="*/ 500139 w 2051041"/>
              <a:gd name="connsiteY643" fmla="*/ 837485 h 2084191"/>
              <a:gd name="connsiteX644" fmla="*/ 522994 w 2051041"/>
              <a:gd name="connsiteY644" fmla="*/ 861428 h 2084191"/>
              <a:gd name="connsiteX645" fmla="*/ 499595 w 2051041"/>
              <a:gd name="connsiteY645" fmla="*/ 884284 h 2084191"/>
              <a:gd name="connsiteX646" fmla="*/ 476739 w 2051041"/>
              <a:gd name="connsiteY646" fmla="*/ 860340 h 2084191"/>
              <a:gd name="connsiteX647" fmla="*/ 500139 w 2051041"/>
              <a:gd name="connsiteY647" fmla="*/ 837485 h 2084191"/>
              <a:gd name="connsiteX648" fmla="*/ 662848 w 2051041"/>
              <a:gd name="connsiteY648" fmla="*/ 832587 h 2084191"/>
              <a:gd name="connsiteX649" fmla="*/ 690057 w 2051041"/>
              <a:gd name="connsiteY649" fmla="*/ 860340 h 2084191"/>
              <a:gd name="connsiteX650" fmla="*/ 662848 w 2051041"/>
              <a:gd name="connsiteY650" fmla="*/ 888637 h 2084191"/>
              <a:gd name="connsiteX651" fmla="*/ 634551 w 2051041"/>
              <a:gd name="connsiteY651" fmla="*/ 861428 h 2084191"/>
              <a:gd name="connsiteX652" fmla="*/ 662848 w 2051041"/>
              <a:gd name="connsiteY652" fmla="*/ 832587 h 2084191"/>
              <a:gd name="connsiteX653" fmla="*/ 826101 w 2051041"/>
              <a:gd name="connsiteY653" fmla="*/ 827146 h 2084191"/>
              <a:gd name="connsiteX654" fmla="*/ 859295 w 2051041"/>
              <a:gd name="connsiteY654" fmla="*/ 860885 h 2084191"/>
              <a:gd name="connsiteX655" fmla="*/ 825556 w 2051041"/>
              <a:gd name="connsiteY655" fmla="*/ 892991 h 2084191"/>
              <a:gd name="connsiteX656" fmla="*/ 793450 w 2051041"/>
              <a:gd name="connsiteY656" fmla="*/ 860885 h 2084191"/>
              <a:gd name="connsiteX657" fmla="*/ 826101 w 2051041"/>
              <a:gd name="connsiteY657" fmla="*/ 827146 h 2084191"/>
              <a:gd name="connsiteX658" fmla="*/ 988809 w 2051041"/>
              <a:gd name="connsiteY658" fmla="*/ 824424 h 2084191"/>
              <a:gd name="connsiteX659" fmla="*/ 1025813 w 2051041"/>
              <a:gd name="connsiteY659" fmla="*/ 860339 h 2084191"/>
              <a:gd name="connsiteX660" fmla="*/ 989897 w 2051041"/>
              <a:gd name="connsiteY660" fmla="*/ 897344 h 2084191"/>
              <a:gd name="connsiteX661" fmla="*/ 953437 w 2051041"/>
              <a:gd name="connsiteY661" fmla="*/ 861972 h 2084191"/>
              <a:gd name="connsiteX662" fmla="*/ 988809 w 2051041"/>
              <a:gd name="connsiteY662" fmla="*/ 824424 h 2084191"/>
              <a:gd name="connsiteX663" fmla="*/ 1153695 w 2051041"/>
              <a:gd name="connsiteY663" fmla="*/ 821704 h 2084191"/>
              <a:gd name="connsiteX664" fmla="*/ 1191243 w 2051041"/>
              <a:gd name="connsiteY664" fmla="*/ 861429 h 2084191"/>
              <a:gd name="connsiteX665" fmla="*/ 1152606 w 2051041"/>
              <a:gd name="connsiteY665" fmla="*/ 899521 h 2084191"/>
              <a:gd name="connsiteX666" fmla="*/ 1114514 w 2051041"/>
              <a:gd name="connsiteY666" fmla="*/ 859252 h 2084191"/>
              <a:gd name="connsiteX667" fmla="*/ 1153695 w 2051041"/>
              <a:gd name="connsiteY667" fmla="*/ 821704 h 2084191"/>
              <a:gd name="connsiteX668" fmla="*/ 1316403 w 2051041"/>
              <a:gd name="connsiteY668" fmla="*/ 818982 h 2084191"/>
              <a:gd name="connsiteX669" fmla="*/ 1357216 w 2051041"/>
              <a:gd name="connsiteY669" fmla="*/ 860884 h 2084191"/>
              <a:gd name="connsiteX670" fmla="*/ 1315315 w 2051041"/>
              <a:gd name="connsiteY670" fmla="*/ 901697 h 2084191"/>
              <a:gd name="connsiteX671" fmla="*/ 1274501 w 2051041"/>
              <a:gd name="connsiteY671" fmla="*/ 860340 h 2084191"/>
              <a:gd name="connsiteX672" fmla="*/ 1316403 w 2051041"/>
              <a:gd name="connsiteY672" fmla="*/ 818982 h 2084191"/>
              <a:gd name="connsiteX673" fmla="*/ 1479112 w 2051041"/>
              <a:gd name="connsiteY673" fmla="*/ 816806 h 2084191"/>
              <a:gd name="connsiteX674" fmla="*/ 1522646 w 2051041"/>
              <a:gd name="connsiteY674" fmla="*/ 860340 h 2084191"/>
              <a:gd name="connsiteX675" fmla="*/ 1479656 w 2051041"/>
              <a:gd name="connsiteY675" fmla="*/ 904419 h 2084191"/>
              <a:gd name="connsiteX676" fmla="*/ 1435578 w 2051041"/>
              <a:gd name="connsiteY676" fmla="*/ 860884 h 2084191"/>
              <a:gd name="connsiteX677" fmla="*/ 1479112 w 2051041"/>
              <a:gd name="connsiteY677" fmla="*/ 816806 h 2084191"/>
              <a:gd name="connsiteX678" fmla="*/ 1642909 w 2051041"/>
              <a:gd name="connsiteY678" fmla="*/ 815718 h 2084191"/>
              <a:gd name="connsiteX679" fmla="*/ 1686987 w 2051041"/>
              <a:gd name="connsiteY679" fmla="*/ 860885 h 2084191"/>
              <a:gd name="connsiteX680" fmla="*/ 1641276 w 2051041"/>
              <a:gd name="connsiteY680" fmla="*/ 905507 h 2084191"/>
              <a:gd name="connsiteX681" fmla="*/ 1597742 w 2051041"/>
              <a:gd name="connsiteY681" fmla="*/ 860340 h 2084191"/>
              <a:gd name="connsiteX682" fmla="*/ 1642909 w 2051041"/>
              <a:gd name="connsiteY682" fmla="*/ 815718 h 2084191"/>
              <a:gd name="connsiteX683" fmla="*/ 1806161 w 2051041"/>
              <a:gd name="connsiteY683" fmla="*/ 815173 h 2084191"/>
              <a:gd name="connsiteX684" fmla="*/ 1852416 w 2051041"/>
              <a:gd name="connsiteY684" fmla="*/ 860884 h 2084191"/>
              <a:gd name="connsiteX685" fmla="*/ 1805617 w 2051041"/>
              <a:gd name="connsiteY685" fmla="*/ 906594 h 2084191"/>
              <a:gd name="connsiteX686" fmla="*/ 1759906 w 2051041"/>
              <a:gd name="connsiteY686" fmla="*/ 860884 h 2084191"/>
              <a:gd name="connsiteX687" fmla="*/ 1806161 w 2051041"/>
              <a:gd name="connsiteY687" fmla="*/ 815173 h 2084191"/>
              <a:gd name="connsiteX688" fmla="*/ 1968326 w 2051041"/>
              <a:gd name="connsiteY688" fmla="*/ 812453 h 2084191"/>
              <a:gd name="connsiteX689" fmla="*/ 2000977 w 2051041"/>
              <a:gd name="connsiteY689" fmla="*/ 826057 h 2084191"/>
              <a:gd name="connsiteX690" fmla="*/ 2015670 w 2051041"/>
              <a:gd name="connsiteY690" fmla="*/ 859796 h 2084191"/>
              <a:gd name="connsiteX691" fmla="*/ 1969415 w 2051041"/>
              <a:gd name="connsiteY691" fmla="*/ 907684 h 2084191"/>
              <a:gd name="connsiteX692" fmla="*/ 1922071 w 2051041"/>
              <a:gd name="connsiteY692" fmla="*/ 860885 h 2084191"/>
              <a:gd name="connsiteX693" fmla="*/ 1968326 w 2051041"/>
              <a:gd name="connsiteY693" fmla="*/ 812453 h 2084191"/>
              <a:gd name="connsiteX694" fmla="*/ 255260 w 2051041"/>
              <a:gd name="connsiteY694" fmla="*/ 762932 h 2084191"/>
              <a:gd name="connsiteX695" fmla="*/ 270497 w 2051041"/>
              <a:gd name="connsiteY695" fmla="*/ 779802 h 2084191"/>
              <a:gd name="connsiteX696" fmla="*/ 254172 w 2051041"/>
              <a:gd name="connsiteY696" fmla="*/ 795038 h 2084191"/>
              <a:gd name="connsiteX697" fmla="*/ 238935 w 2051041"/>
              <a:gd name="connsiteY697" fmla="*/ 778713 h 2084191"/>
              <a:gd name="connsiteX698" fmla="*/ 255260 w 2051041"/>
              <a:gd name="connsiteY698" fmla="*/ 762932 h 2084191"/>
              <a:gd name="connsiteX699" fmla="*/ 416881 w 2051041"/>
              <a:gd name="connsiteY699" fmla="*/ 756402 h 2084191"/>
              <a:gd name="connsiteX700" fmla="*/ 440280 w 2051041"/>
              <a:gd name="connsiteY700" fmla="*/ 778713 h 2084191"/>
              <a:gd name="connsiteX701" fmla="*/ 419057 w 2051041"/>
              <a:gd name="connsiteY701" fmla="*/ 801024 h 2084191"/>
              <a:gd name="connsiteX702" fmla="*/ 396202 w 2051041"/>
              <a:gd name="connsiteY702" fmla="*/ 779257 h 2084191"/>
              <a:gd name="connsiteX703" fmla="*/ 416881 w 2051041"/>
              <a:gd name="connsiteY703" fmla="*/ 756402 h 2084191"/>
              <a:gd name="connsiteX704" fmla="*/ 581766 w 2051041"/>
              <a:gd name="connsiteY704" fmla="*/ 751505 h 2084191"/>
              <a:gd name="connsiteX705" fmla="*/ 608975 w 2051041"/>
              <a:gd name="connsiteY705" fmla="*/ 779802 h 2084191"/>
              <a:gd name="connsiteX706" fmla="*/ 580678 w 2051041"/>
              <a:gd name="connsiteY706" fmla="*/ 806467 h 2084191"/>
              <a:gd name="connsiteX707" fmla="*/ 553469 w 2051041"/>
              <a:gd name="connsiteY707" fmla="*/ 778714 h 2084191"/>
              <a:gd name="connsiteX708" fmla="*/ 581766 w 2051041"/>
              <a:gd name="connsiteY708" fmla="*/ 751505 h 2084191"/>
              <a:gd name="connsiteX709" fmla="*/ 746107 w 2051041"/>
              <a:gd name="connsiteY709" fmla="*/ 746607 h 2084191"/>
              <a:gd name="connsiteX710" fmla="*/ 777125 w 2051041"/>
              <a:gd name="connsiteY710" fmla="*/ 780346 h 2084191"/>
              <a:gd name="connsiteX711" fmla="*/ 742842 w 2051041"/>
              <a:gd name="connsiteY711" fmla="*/ 811364 h 2084191"/>
              <a:gd name="connsiteX712" fmla="*/ 712368 w 2051041"/>
              <a:gd name="connsiteY712" fmla="*/ 778713 h 2084191"/>
              <a:gd name="connsiteX713" fmla="*/ 746107 w 2051041"/>
              <a:gd name="connsiteY713" fmla="*/ 746607 h 2084191"/>
              <a:gd name="connsiteX714" fmla="*/ 907727 w 2051041"/>
              <a:gd name="connsiteY714" fmla="*/ 741710 h 2084191"/>
              <a:gd name="connsiteX715" fmla="*/ 944187 w 2051041"/>
              <a:gd name="connsiteY715" fmla="*/ 778714 h 2084191"/>
              <a:gd name="connsiteX716" fmla="*/ 907727 w 2051041"/>
              <a:gd name="connsiteY716" fmla="*/ 815174 h 2084191"/>
              <a:gd name="connsiteX717" fmla="*/ 872355 w 2051041"/>
              <a:gd name="connsiteY717" fmla="*/ 779258 h 2084191"/>
              <a:gd name="connsiteX718" fmla="*/ 907727 w 2051041"/>
              <a:gd name="connsiteY718" fmla="*/ 741710 h 2084191"/>
              <a:gd name="connsiteX719" fmla="*/ 1070979 w 2051041"/>
              <a:gd name="connsiteY719" fmla="*/ 740621 h 2084191"/>
              <a:gd name="connsiteX720" fmla="*/ 1110160 w 2051041"/>
              <a:gd name="connsiteY720" fmla="*/ 779258 h 2084191"/>
              <a:gd name="connsiteX721" fmla="*/ 1070979 w 2051041"/>
              <a:gd name="connsiteY721" fmla="*/ 817894 h 2084191"/>
              <a:gd name="connsiteX722" fmla="*/ 1031799 w 2051041"/>
              <a:gd name="connsiteY722" fmla="*/ 778714 h 2084191"/>
              <a:gd name="connsiteX723" fmla="*/ 1070979 w 2051041"/>
              <a:gd name="connsiteY723" fmla="*/ 740621 h 2084191"/>
              <a:gd name="connsiteX724" fmla="*/ 1233688 w 2051041"/>
              <a:gd name="connsiteY724" fmla="*/ 736268 h 2084191"/>
              <a:gd name="connsiteX725" fmla="*/ 1276134 w 2051041"/>
              <a:gd name="connsiteY725" fmla="*/ 777625 h 2084191"/>
              <a:gd name="connsiteX726" fmla="*/ 1235320 w 2051041"/>
              <a:gd name="connsiteY726" fmla="*/ 820615 h 2084191"/>
              <a:gd name="connsiteX727" fmla="*/ 1192331 w 2051041"/>
              <a:gd name="connsiteY727" fmla="*/ 779258 h 2084191"/>
              <a:gd name="connsiteX728" fmla="*/ 1233688 w 2051041"/>
              <a:gd name="connsiteY728" fmla="*/ 736268 h 2084191"/>
              <a:gd name="connsiteX729" fmla="*/ 1397485 w 2051041"/>
              <a:gd name="connsiteY729" fmla="*/ 735724 h 2084191"/>
              <a:gd name="connsiteX730" fmla="*/ 1441019 w 2051041"/>
              <a:gd name="connsiteY730" fmla="*/ 779802 h 2084191"/>
              <a:gd name="connsiteX731" fmla="*/ 1396397 w 2051041"/>
              <a:gd name="connsiteY731" fmla="*/ 823336 h 2084191"/>
              <a:gd name="connsiteX732" fmla="*/ 1352863 w 2051041"/>
              <a:gd name="connsiteY732" fmla="*/ 779258 h 2084191"/>
              <a:gd name="connsiteX733" fmla="*/ 1397485 w 2051041"/>
              <a:gd name="connsiteY733" fmla="*/ 735724 h 2084191"/>
              <a:gd name="connsiteX734" fmla="*/ 1562371 w 2051041"/>
              <a:gd name="connsiteY734" fmla="*/ 734636 h 2084191"/>
              <a:gd name="connsiteX735" fmla="*/ 1605905 w 2051041"/>
              <a:gd name="connsiteY735" fmla="*/ 779802 h 2084191"/>
              <a:gd name="connsiteX736" fmla="*/ 1560194 w 2051041"/>
              <a:gd name="connsiteY736" fmla="*/ 823881 h 2084191"/>
              <a:gd name="connsiteX737" fmla="*/ 1515572 w 2051041"/>
              <a:gd name="connsiteY737" fmla="*/ 777626 h 2084191"/>
              <a:gd name="connsiteX738" fmla="*/ 1562371 w 2051041"/>
              <a:gd name="connsiteY738" fmla="*/ 734636 h 2084191"/>
              <a:gd name="connsiteX739" fmla="*/ 1724535 w 2051041"/>
              <a:gd name="connsiteY739" fmla="*/ 730827 h 2084191"/>
              <a:gd name="connsiteX740" fmla="*/ 1772422 w 2051041"/>
              <a:gd name="connsiteY740" fmla="*/ 779258 h 2084191"/>
              <a:gd name="connsiteX741" fmla="*/ 1723446 w 2051041"/>
              <a:gd name="connsiteY741" fmla="*/ 826602 h 2084191"/>
              <a:gd name="connsiteX742" fmla="*/ 1676647 w 2051041"/>
              <a:gd name="connsiteY742" fmla="*/ 778714 h 2084191"/>
              <a:gd name="connsiteX743" fmla="*/ 1724535 w 2051041"/>
              <a:gd name="connsiteY743" fmla="*/ 730827 h 2084191"/>
              <a:gd name="connsiteX744" fmla="*/ 1886699 w 2051041"/>
              <a:gd name="connsiteY744" fmla="*/ 730826 h 2084191"/>
              <a:gd name="connsiteX745" fmla="*/ 1935131 w 2051041"/>
              <a:gd name="connsiteY745" fmla="*/ 778713 h 2084191"/>
              <a:gd name="connsiteX746" fmla="*/ 1887244 w 2051041"/>
              <a:gd name="connsiteY746" fmla="*/ 827145 h 2084191"/>
              <a:gd name="connsiteX747" fmla="*/ 1838812 w 2051041"/>
              <a:gd name="connsiteY747" fmla="*/ 778713 h 2084191"/>
              <a:gd name="connsiteX748" fmla="*/ 1886699 w 2051041"/>
              <a:gd name="connsiteY748" fmla="*/ 730826 h 2084191"/>
              <a:gd name="connsiteX749" fmla="*/ 2050496 w 2051041"/>
              <a:gd name="connsiteY749" fmla="*/ 730282 h 2084191"/>
              <a:gd name="connsiteX750" fmla="*/ 2051041 w 2051041"/>
              <a:gd name="connsiteY750" fmla="*/ 730396 h 2084191"/>
              <a:gd name="connsiteX751" fmla="*/ 2051041 w 2051041"/>
              <a:gd name="connsiteY751" fmla="*/ 826942 h 2084191"/>
              <a:gd name="connsiteX752" fmla="*/ 2049952 w 2051041"/>
              <a:gd name="connsiteY752" fmla="*/ 827145 h 2084191"/>
              <a:gd name="connsiteX753" fmla="*/ 2002065 w 2051041"/>
              <a:gd name="connsiteY753" fmla="*/ 778169 h 2084191"/>
              <a:gd name="connsiteX754" fmla="*/ 2050496 w 2051041"/>
              <a:gd name="connsiteY754" fmla="*/ 730282 h 2084191"/>
              <a:gd name="connsiteX755" fmla="*/ 173634 w 2051041"/>
              <a:gd name="connsiteY755" fmla="*/ 685660 h 2084191"/>
              <a:gd name="connsiteX756" fmla="*/ 184518 w 2051041"/>
              <a:gd name="connsiteY756" fmla="*/ 698176 h 2084191"/>
              <a:gd name="connsiteX757" fmla="*/ 172546 w 2051041"/>
              <a:gd name="connsiteY757" fmla="*/ 709059 h 2084191"/>
              <a:gd name="connsiteX758" fmla="*/ 161118 w 2051041"/>
              <a:gd name="connsiteY758" fmla="*/ 697088 h 2084191"/>
              <a:gd name="connsiteX759" fmla="*/ 173634 w 2051041"/>
              <a:gd name="connsiteY759" fmla="*/ 685660 h 2084191"/>
              <a:gd name="connsiteX760" fmla="*/ 335798 w 2051041"/>
              <a:gd name="connsiteY760" fmla="*/ 675320 h 2084191"/>
              <a:gd name="connsiteX761" fmla="*/ 357565 w 2051041"/>
              <a:gd name="connsiteY761" fmla="*/ 696543 h 2084191"/>
              <a:gd name="connsiteX762" fmla="*/ 336342 w 2051041"/>
              <a:gd name="connsiteY762" fmla="*/ 718854 h 2084191"/>
              <a:gd name="connsiteX763" fmla="*/ 315120 w 2051041"/>
              <a:gd name="connsiteY763" fmla="*/ 697631 h 2084191"/>
              <a:gd name="connsiteX764" fmla="*/ 335798 w 2051041"/>
              <a:gd name="connsiteY764" fmla="*/ 675320 h 2084191"/>
              <a:gd name="connsiteX765" fmla="*/ 499051 w 2051041"/>
              <a:gd name="connsiteY765" fmla="*/ 670423 h 2084191"/>
              <a:gd name="connsiteX766" fmla="*/ 526804 w 2051041"/>
              <a:gd name="connsiteY766" fmla="*/ 697088 h 2084191"/>
              <a:gd name="connsiteX767" fmla="*/ 499595 w 2051041"/>
              <a:gd name="connsiteY767" fmla="*/ 724296 h 2084191"/>
              <a:gd name="connsiteX768" fmla="*/ 472930 w 2051041"/>
              <a:gd name="connsiteY768" fmla="*/ 697632 h 2084191"/>
              <a:gd name="connsiteX769" fmla="*/ 499051 w 2051041"/>
              <a:gd name="connsiteY769" fmla="*/ 670423 h 2084191"/>
              <a:gd name="connsiteX770" fmla="*/ 662848 w 2051041"/>
              <a:gd name="connsiteY770" fmla="*/ 665525 h 2084191"/>
              <a:gd name="connsiteX771" fmla="*/ 694954 w 2051041"/>
              <a:gd name="connsiteY771" fmla="*/ 697087 h 2084191"/>
              <a:gd name="connsiteX772" fmla="*/ 663392 w 2051041"/>
              <a:gd name="connsiteY772" fmla="*/ 729194 h 2084191"/>
              <a:gd name="connsiteX773" fmla="*/ 632374 w 2051041"/>
              <a:gd name="connsiteY773" fmla="*/ 698176 h 2084191"/>
              <a:gd name="connsiteX774" fmla="*/ 662848 w 2051041"/>
              <a:gd name="connsiteY774" fmla="*/ 665525 h 2084191"/>
              <a:gd name="connsiteX775" fmla="*/ 825013 w 2051041"/>
              <a:gd name="connsiteY775" fmla="*/ 663349 h 2084191"/>
              <a:gd name="connsiteX776" fmla="*/ 860384 w 2051041"/>
              <a:gd name="connsiteY776" fmla="*/ 697632 h 2084191"/>
              <a:gd name="connsiteX777" fmla="*/ 826101 w 2051041"/>
              <a:gd name="connsiteY777" fmla="*/ 731915 h 2084191"/>
              <a:gd name="connsiteX778" fmla="*/ 791818 w 2051041"/>
              <a:gd name="connsiteY778" fmla="*/ 698176 h 2084191"/>
              <a:gd name="connsiteX779" fmla="*/ 825013 w 2051041"/>
              <a:gd name="connsiteY779" fmla="*/ 663349 h 2084191"/>
              <a:gd name="connsiteX780" fmla="*/ 988809 w 2051041"/>
              <a:gd name="connsiteY780" fmla="*/ 658995 h 2084191"/>
              <a:gd name="connsiteX781" fmla="*/ 1027446 w 2051041"/>
              <a:gd name="connsiteY781" fmla="*/ 697087 h 2084191"/>
              <a:gd name="connsiteX782" fmla="*/ 989353 w 2051041"/>
              <a:gd name="connsiteY782" fmla="*/ 735723 h 2084191"/>
              <a:gd name="connsiteX783" fmla="*/ 950717 w 2051041"/>
              <a:gd name="connsiteY783" fmla="*/ 697631 h 2084191"/>
              <a:gd name="connsiteX784" fmla="*/ 988809 w 2051041"/>
              <a:gd name="connsiteY784" fmla="*/ 658995 h 2084191"/>
              <a:gd name="connsiteX785" fmla="*/ 1152607 w 2051041"/>
              <a:gd name="connsiteY785" fmla="*/ 655729 h 2084191"/>
              <a:gd name="connsiteX786" fmla="*/ 1195052 w 2051041"/>
              <a:gd name="connsiteY786" fmla="*/ 697087 h 2084191"/>
              <a:gd name="connsiteX787" fmla="*/ 1153151 w 2051041"/>
              <a:gd name="connsiteY787" fmla="*/ 739533 h 2084191"/>
              <a:gd name="connsiteX788" fmla="*/ 1110705 w 2051041"/>
              <a:gd name="connsiteY788" fmla="*/ 697631 h 2084191"/>
              <a:gd name="connsiteX789" fmla="*/ 1152607 w 2051041"/>
              <a:gd name="connsiteY789" fmla="*/ 655729 h 2084191"/>
              <a:gd name="connsiteX790" fmla="*/ 1316948 w 2051041"/>
              <a:gd name="connsiteY790" fmla="*/ 653554 h 2084191"/>
              <a:gd name="connsiteX791" fmla="*/ 1359937 w 2051041"/>
              <a:gd name="connsiteY791" fmla="*/ 697632 h 2084191"/>
              <a:gd name="connsiteX792" fmla="*/ 1315315 w 2051041"/>
              <a:gd name="connsiteY792" fmla="*/ 740622 h 2084191"/>
              <a:gd name="connsiteX793" fmla="*/ 1271781 w 2051041"/>
              <a:gd name="connsiteY793" fmla="*/ 696544 h 2084191"/>
              <a:gd name="connsiteX794" fmla="*/ 1316948 w 2051041"/>
              <a:gd name="connsiteY794" fmla="*/ 653554 h 2084191"/>
              <a:gd name="connsiteX795" fmla="*/ 1479112 w 2051041"/>
              <a:gd name="connsiteY795" fmla="*/ 651921 h 2084191"/>
              <a:gd name="connsiteX796" fmla="*/ 1524823 w 2051041"/>
              <a:gd name="connsiteY796" fmla="*/ 697088 h 2084191"/>
              <a:gd name="connsiteX797" fmla="*/ 1479112 w 2051041"/>
              <a:gd name="connsiteY797" fmla="*/ 742254 h 2084191"/>
              <a:gd name="connsiteX798" fmla="*/ 1433945 w 2051041"/>
              <a:gd name="connsiteY798" fmla="*/ 697088 h 2084191"/>
              <a:gd name="connsiteX799" fmla="*/ 1479112 w 2051041"/>
              <a:gd name="connsiteY799" fmla="*/ 651921 h 2084191"/>
              <a:gd name="connsiteX800" fmla="*/ 1642909 w 2051041"/>
              <a:gd name="connsiteY800" fmla="*/ 649744 h 2084191"/>
              <a:gd name="connsiteX801" fmla="*/ 1690796 w 2051041"/>
              <a:gd name="connsiteY801" fmla="*/ 697087 h 2084191"/>
              <a:gd name="connsiteX802" fmla="*/ 1642909 w 2051041"/>
              <a:gd name="connsiteY802" fmla="*/ 745519 h 2084191"/>
              <a:gd name="connsiteX803" fmla="*/ 1594477 w 2051041"/>
              <a:gd name="connsiteY803" fmla="*/ 697632 h 2084191"/>
              <a:gd name="connsiteX804" fmla="*/ 1642909 w 2051041"/>
              <a:gd name="connsiteY804" fmla="*/ 649744 h 2084191"/>
              <a:gd name="connsiteX805" fmla="*/ 1805617 w 2051041"/>
              <a:gd name="connsiteY805" fmla="*/ 648112 h 2084191"/>
              <a:gd name="connsiteX806" fmla="*/ 1854593 w 2051041"/>
              <a:gd name="connsiteY806" fmla="*/ 698176 h 2084191"/>
              <a:gd name="connsiteX807" fmla="*/ 1805073 w 2051041"/>
              <a:gd name="connsiteY807" fmla="*/ 746607 h 2084191"/>
              <a:gd name="connsiteX808" fmla="*/ 1756097 w 2051041"/>
              <a:gd name="connsiteY808" fmla="*/ 697087 h 2084191"/>
              <a:gd name="connsiteX809" fmla="*/ 1805617 w 2051041"/>
              <a:gd name="connsiteY809" fmla="*/ 648112 h 2084191"/>
              <a:gd name="connsiteX810" fmla="*/ 1969414 w 2051041"/>
              <a:gd name="connsiteY810" fmla="*/ 647023 h 2084191"/>
              <a:gd name="connsiteX811" fmla="*/ 2018934 w 2051041"/>
              <a:gd name="connsiteY811" fmla="*/ 698176 h 2084191"/>
              <a:gd name="connsiteX812" fmla="*/ 1968326 w 2051041"/>
              <a:gd name="connsiteY812" fmla="*/ 746063 h 2084191"/>
              <a:gd name="connsiteX813" fmla="*/ 1918806 w 2051041"/>
              <a:gd name="connsiteY813" fmla="*/ 697087 h 2084191"/>
              <a:gd name="connsiteX814" fmla="*/ 1969414 w 2051041"/>
              <a:gd name="connsiteY814" fmla="*/ 647023 h 2084191"/>
              <a:gd name="connsiteX815" fmla="*/ 90919 w 2051041"/>
              <a:gd name="connsiteY815" fmla="*/ 606754 h 2084191"/>
              <a:gd name="connsiteX816" fmla="*/ 99626 w 2051041"/>
              <a:gd name="connsiteY816" fmla="*/ 615460 h 2084191"/>
              <a:gd name="connsiteX817" fmla="*/ 92007 w 2051041"/>
              <a:gd name="connsiteY817" fmla="*/ 627976 h 2084191"/>
              <a:gd name="connsiteX818" fmla="*/ 82756 w 2051041"/>
              <a:gd name="connsiteY818" fmla="*/ 616005 h 2084191"/>
              <a:gd name="connsiteX819" fmla="*/ 90919 w 2051041"/>
              <a:gd name="connsiteY819" fmla="*/ 606754 h 2084191"/>
              <a:gd name="connsiteX820" fmla="*/ 254172 w 2051041"/>
              <a:gd name="connsiteY820" fmla="*/ 598047 h 2084191"/>
              <a:gd name="connsiteX821" fmla="*/ 272674 w 2051041"/>
              <a:gd name="connsiteY821" fmla="*/ 614917 h 2084191"/>
              <a:gd name="connsiteX822" fmla="*/ 255260 w 2051041"/>
              <a:gd name="connsiteY822" fmla="*/ 633419 h 2084191"/>
              <a:gd name="connsiteX823" fmla="*/ 236758 w 2051041"/>
              <a:gd name="connsiteY823" fmla="*/ 616005 h 2084191"/>
              <a:gd name="connsiteX824" fmla="*/ 254172 w 2051041"/>
              <a:gd name="connsiteY824" fmla="*/ 598047 h 2084191"/>
              <a:gd name="connsiteX825" fmla="*/ 418513 w 2051041"/>
              <a:gd name="connsiteY825" fmla="*/ 590429 h 2084191"/>
              <a:gd name="connsiteX826" fmla="*/ 443001 w 2051041"/>
              <a:gd name="connsiteY826" fmla="*/ 614917 h 2084191"/>
              <a:gd name="connsiteX827" fmla="*/ 419058 w 2051041"/>
              <a:gd name="connsiteY827" fmla="*/ 640493 h 2084191"/>
              <a:gd name="connsiteX828" fmla="*/ 392937 w 2051041"/>
              <a:gd name="connsiteY828" fmla="*/ 616005 h 2084191"/>
              <a:gd name="connsiteX829" fmla="*/ 418513 w 2051041"/>
              <a:gd name="connsiteY829" fmla="*/ 590429 h 2084191"/>
              <a:gd name="connsiteX830" fmla="*/ 581222 w 2051041"/>
              <a:gd name="connsiteY830" fmla="*/ 587163 h 2084191"/>
              <a:gd name="connsiteX831" fmla="*/ 610063 w 2051041"/>
              <a:gd name="connsiteY831" fmla="*/ 616549 h 2084191"/>
              <a:gd name="connsiteX832" fmla="*/ 580677 w 2051041"/>
              <a:gd name="connsiteY832" fmla="*/ 645390 h 2084191"/>
              <a:gd name="connsiteX833" fmla="*/ 551836 w 2051041"/>
              <a:gd name="connsiteY833" fmla="*/ 615461 h 2084191"/>
              <a:gd name="connsiteX834" fmla="*/ 581222 w 2051041"/>
              <a:gd name="connsiteY834" fmla="*/ 587163 h 2084191"/>
              <a:gd name="connsiteX835" fmla="*/ 743930 w 2051041"/>
              <a:gd name="connsiteY835" fmla="*/ 582266 h 2084191"/>
              <a:gd name="connsiteX836" fmla="*/ 779301 w 2051041"/>
              <a:gd name="connsiteY836" fmla="*/ 616005 h 2084191"/>
              <a:gd name="connsiteX837" fmla="*/ 745563 w 2051041"/>
              <a:gd name="connsiteY837" fmla="*/ 649744 h 2084191"/>
              <a:gd name="connsiteX838" fmla="*/ 711824 w 2051041"/>
              <a:gd name="connsiteY838" fmla="*/ 616549 h 2084191"/>
              <a:gd name="connsiteX839" fmla="*/ 743930 w 2051041"/>
              <a:gd name="connsiteY839" fmla="*/ 582266 h 2084191"/>
              <a:gd name="connsiteX840" fmla="*/ 907183 w 2051041"/>
              <a:gd name="connsiteY840" fmla="*/ 577913 h 2084191"/>
              <a:gd name="connsiteX841" fmla="*/ 945276 w 2051041"/>
              <a:gd name="connsiteY841" fmla="*/ 615461 h 2084191"/>
              <a:gd name="connsiteX842" fmla="*/ 907727 w 2051041"/>
              <a:gd name="connsiteY842" fmla="*/ 654098 h 2084191"/>
              <a:gd name="connsiteX843" fmla="*/ 869091 w 2051041"/>
              <a:gd name="connsiteY843" fmla="*/ 616006 h 2084191"/>
              <a:gd name="connsiteX844" fmla="*/ 907183 w 2051041"/>
              <a:gd name="connsiteY844" fmla="*/ 577913 h 2084191"/>
              <a:gd name="connsiteX845" fmla="*/ 1069891 w 2051041"/>
              <a:gd name="connsiteY845" fmla="*/ 574648 h 2084191"/>
              <a:gd name="connsiteX846" fmla="*/ 1111248 w 2051041"/>
              <a:gd name="connsiteY846" fmla="*/ 615461 h 2084191"/>
              <a:gd name="connsiteX847" fmla="*/ 1070435 w 2051041"/>
              <a:gd name="connsiteY847" fmla="*/ 656274 h 2084191"/>
              <a:gd name="connsiteX848" fmla="*/ 1029622 w 2051041"/>
              <a:gd name="connsiteY848" fmla="*/ 614917 h 2084191"/>
              <a:gd name="connsiteX849" fmla="*/ 1069891 w 2051041"/>
              <a:gd name="connsiteY849" fmla="*/ 574648 h 2084191"/>
              <a:gd name="connsiteX850" fmla="*/ 1235321 w 2051041"/>
              <a:gd name="connsiteY850" fmla="*/ 572472 h 2084191"/>
              <a:gd name="connsiteX851" fmla="*/ 1277222 w 2051041"/>
              <a:gd name="connsiteY851" fmla="*/ 616550 h 2084191"/>
              <a:gd name="connsiteX852" fmla="*/ 1233688 w 2051041"/>
              <a:gd name="connsiteY852" fmla="*/ 660084 h 2084191"/>
              <a:gd name="connsiteX853" fmla="*/ 1190154 w 2051041"/>
              <a:gd name="connsiteY853" fmla="*/ 614917 h 2084191"/>
              <a:gd name="connsiteX854" fmla="*/ 1235321 w 2051041"/>
              <a:gd name="connsiteY854" fmla="*/ 572472 h 2084191"/>
              <a:gd name="connsiteX855" fmla="*/ 1397485 w 2051041"/>
              <a:gd name="connsiteY855" fmla="*/ 569206 h 2084191"/>
              <a:gd name="connsiteX856" fmla="*/ 1443196 w 2051041"/>
              <a:gd name="connsiteY856" fmla="*/ 616005 h 2084191"/>
              <a:gd name="connsiteX857" fmla="*/ 1396941 w 2051041"/>
              <a:gd name="connsiteY857" fmla="*/ 661172 h 2084191"/>
              <a:gd name="connsiteX858" fmla="*/ 1351775 w 2051041"/>
              <a:gd name="connsiteY858" fmla="*/ 614373 h 2084191"/>
              <a:gd name="connsiteX859" fmla="*/ 1397485 w 2051041"/>
              <a:gd name="connsiteY859" fmla="*/ 569206 h 2084191"/>
              <a:gd name="connsiteX860" fmla="*/ 1560738 w 2051041"/>
              <a:gd name="connsiteY860" fmla="*/ 567029 h 2084191"/>
              <a:gd name="connsiteX861" fmla="*/ 1609714 w 2051041"/>
              <a:gd name="connsiteY861" fmla="*/ 615461 h 2084191"/>
              <a:gd name="connsiteX862" fmla="*/ 1561283 w 2051041"/>
              <a:gd name="connsiteY862" fmla="*/ 663892 h 2084191"/>
              <a:gd name="connsiteX863" fmla="*/ 1512851 w 2051041"/>
              <a:gd name="connsiteY863" fmla="*/ 616005 h 2084191"/>
              <a:gd name="connsiteX864" fmla="*/ 1560738 w 2051041"/>
              <a:gd name="connsiteY864" fmla="*/ 567029 h 2084191"/>
              <a:gd name="connsiteX865" fmla="*/ 1725624 w 2051041"/>
              <a:gd name="connsiteY865" fmla="*/ 565397 h 2084191"/>
              <a:gd name="connsiteX866" fmla="*/ 1774599 w 2051041"/>
              <a:gd name="connsiteY866" fmla="*/ 616005 h 2084191"/>
              <a:gd name="connsiteX867" fmla="*/ 1723447 w 2051041"/>
              <a:gd name="connsiteY867" fmla="*/ 664981 h 2084191"/>
              <a:gd name="connsiteX868" fmla="*/ 1674471 w 2051041"/>
              <a:gd name="connsiteY868" fmla="*/ 615461 h 2084191"/>
              <a:gd name="connsiteX869" fmla="*/ 1725624 w 2051041"/>
              <a:gd name="connsiteY869" fmla="*/ 565397 h 2084191"/>
              <a:gd name="connsiteX870" fmla="*/ 1886699 w 2051041"/>
              <a:gd name="connsiteY870" fmla="*/ 564853 h 2084191"/>
              <a:gd name="connsiteX871" fmla="*/ 1938396 w 2051041"/>
              <a:gd name="connsiteY871" fmla="*/ 614917 h 2084191"/>
              <a:gd name="connsiteX872" fmla="*/ 1887787 w 2051041"/>
              <a:gd name="connsiteY872" fmla="*/ 665525 h 2084191"/>
              <a:gd name="connsiteX873" fmla="*/ 1837179 w 2051041"/>
              <a:gd name="connsiteY873" fmla="*/ 615461 h 2084191"/>
              <a:gd name="connsiteX874" fmla="*/ 1886699 w 2051041"/>
              <a:gd name="connsiteY874" fmla="*/ 564853 h 2084191"/>
              <a:gd name="connsiteX875" fmla="*/ 2050496 w 2051041"/>
              <a:gd name="connsiteY875" fmla="*/ 564852 h 2084191"/>
              <a:gd name="connsiteX876" fmla="*/ 2051041 w 2051041"/>
              <a:gd name="connsiteY876" fmla="*/ 564962 h 2084191"/>
              <a:gd name="connsiteX877" fmla="*/ 2051041 w 2051041"/>
              <a:gd name="connsiteY877" fmla="*/ 665899 h 2084191"/>
              <a:gd name="connsiteX878" fmla="*/ 2049952 w 2051041"/>
              <a:gd name="connsiteY878" fmla="*/ 666069 h 2084191"/>
              <a:gd name="connsiteX879" fmla="*/ 1999344 w 2051041"/>
              <a:gd name="connsiteY879" fmla="*/ 615460 h 2084191"/>
              <a:gd name="connsiteX880" fmla="*/ 2050496 w 2051041"/>
              <a:gd name="connsiteY880" fmla="*/ 564852 h 2084191"/>
              <a:gd name="connsiteX881" fmla="*/ 173090 w 2051041"/>
              <a:gd name="connsiteY881" fmla="*/ 517509 h 2084191"/>
              <a:gd name="connsiteX882" fmla="*/ 189959 w 2051041"/>
              <a:gd name="connsiteY882" fmla="*/ 533834 h 2084191"/>
              <a:gd name="connsiteX883" fmla="*/ 173634 w 2051041"/>
              <a:gd name="connsiteY883" fmla="*/ 550160 h 2084191"/>
              <a:gd name="connsiteX884" fmla="*/ 157308 w 2051041"/>
              <a:gd name="connsiteY884" fmla="*/ 534923 h 2084191"/>
              <a:gd name="connsiteX885" fmla="*/ 173090 w 2051041"/>
              <a:gd name="connsiteY885" fmla="*/ 517509 h 2084191"/>
              <a:gd name="connsiteX886" fmla="*/ 335798 w 2051041"/>
              <a:gd name="connsiteY886" fmla="*/ 511523 h 2084191"/>
              <a:gd name="connsiteX887" fmla="*/ 358654 w 2051041"/>
              <a:gd name="connsiteY887" fmla="*/ 533834 h 2084191"/>
              <a:gd name="connsiteX888" fmla="*/ 336343 w 2051041"/>
              <a:gd name="connsiteY888" fmla="*/ 556689 h 2084191"/>
              <a:gd name="connsiteX889" fmla="*/ 312943 w 2051041"/>
              <a:gd name="connsiteY889" fmla="*/ 534378 h 2084191"/>
              <a:gd name="connsiteX890" fmla="*/ 335798 w 2051041"/>
              <a:gd name="connsiteY890" fmla="*/ 511523 h 2084191"/>
              <a:gd name="connsiteX891" fmla="*/ 500139 w 2051041"/>
              <a:gd name="connsiteY891" fmla="*/ 506626 h 2084191"/>
              <a:gd name="connsiteX892" fmla="*/ 527348 w 2051041"/>
              <a:gd name="connsiteY892" fmla="*/ 535467 h 2084191"/>
              <a:gd name="connsiteX893" fmla="*/ 497963 w 2051041"/>
              <a:gd name="connsiteY893" fmla="*/ 561587 h 2084191"/>
              <a:gd name="connsiteX894" fmla="*/ 471842 w 2051041"/>
              <a:gd name="connsiteY894" fmla="*/ 533290 h 2084191"/>
              <a:gd name="connsiteX895" fmla="*/ 500139 w 2051041"/>
              <a:gd name="connsiteY895" fmla="*/ 506626 h 2084191"/>
              <a:gd name="connsiteX896" fmla="*/ 662304 w 2051041"/>
              <a:gd name="connsiteY896" fmla="*/ 500639 h 2084191"/>
              <a:gd name="connsiteX897" fmla="*/ 696042 w 2051041"/>
              <a:gd name="connsiteY897" fmla="*/ 533290 h 2084191"/>
              <a:gd name="connsiteX898" fmla="*/ 663392 w 2051041"/>
              <a:gd name="connsiteY898" fmla="*/ 566485 h 2084191"/>
              <a:gd name="connsiteX899" fmla="*/ 630197 w 2051041"/>
              <a:gd name="connsiteY899" fmla="*/ 534378 h 2084191"/>
              <a:gd name="connsiteX900" fmla="*/ 662304 w 2051041"/>
              <a:gd name="connsiteY900" fmla="*/ 500639 h 2084191"/>
              <a:gd name="connsiteX901" fmla="*/ 825557 w 2051041"/>
              <a:gd name="connsiteY901" fmla="*/ 496830 h 2084191"/>
              <a:gd name="connsiteX902" fmla="*/ 863649 w 2051041"/>
              <a:gd name="connsiteY902" fmla="*/ 534923 h 2084191"/>
              <a:gd name="connsiteX903" fmla="*/ 825557 w 2051041"/>
              <a:gd name="connsiteY903" fmla="*/ 571383 h 2084191"/>
              <a:gd name="connsiteX904" fmla="*/ 788553 w 2051041"/>
              <a:gd name="connsiteY904" fmla="*/ 534379 h 2084191"/>
              <a:gd name="connsiteX905" fmla="*/ 825557 w 2051041"/>
              <a:gd name="connsiteY905" fmla="*/ 496830 h 2084191"/>
              <a:gd name="connsiteX906" fmla="*/ 989898 w 2051041"/>
              <a:gd name="connsiteY906" fmla="*/ 494110 h 2084191"/>
              <a:gd name="connsiteX907" fmla="*/ 1029078 w 2051041"/>
              <a:gd name="connsiteY907" fmla="*/ 534923 h 2084191"/>
              <a:gd name="connsiteX908" fmla="*/ 989353 w 2051041"/>
              <a:gd name="connsiteY908" fmla="*/ 574104 h 2084191"/>
              <a:gd name="connsiteX909" fmla="*/ 949629 w 2051041"/>
              <a:gd name="connsiteY909" fmla="*/ 533835 h 2084191"/>
              <a:gd name="connsiteX910" fmla="*/ 989898 w 2051041"/>
              <a:gd name="connsiteY910" fmla="*/ 494110 h 2084191"/>
              <a:gd name="connsiteX911" fmla="*/ 1152062 w 2051041"/>
              <a:gd name="connsiteY911" fmla="*/ 490301 h 2084191"/>
              <a:gd name="connsiteX912" fmla="*/ 1196140 w 2051041"/>
              <a:gd name="connsiteY912" fmla="*/ 533835 h 2084191"/>
              <a:gd name="connsiteX913" fmla="*/ 1152606 w 2051041"/>
              <a:gd name="connsiteY913" fmla="*/ 577369 h 2084191"/>
              <a:gd name="connsiteX914" fmla="*/ 1109072 w 2051041"/>
              <a:gd name="connsiteY914" fmla="*/ 534379 h 2084191"/>
              <a:gd name="connsiteX915" fmla="*/ 1152062 w 2051041"/>
              <a:gd name="connsiteY915" fmla="*/ 490301 h 2084191"/>
              <a:gd name="connsiteX916" fmla="*/ 1316947 w 2051041"/>
              <a:gd name="connsiteY916" fmla="*/ 489212 h 2084191"/>
              <a:gd name="connsiteX917" fmla="*/ 1361570 w 2051041"/>
              <a:gd name="connsiteY917" fmla="*/ 534923 h 2084191"/>
              <a:gd name="connsiteX918" fmla="*/ 1315859 w 2051041"/>
              <a:gd name="connsiteY918" fmla="*/ 580090 h 2084191"/>
              <a:gd name="connsiteX919" fmla="*/ 1270693 w 2051041"/>
              <a:gd name="connsiteY919" fmla="*/ 533835 h 2084191"/>
              <a:gd name="connsiteX920" fmla="*/ 1316947 w 2051041"/>
              <a:gd name="connsiteY920" fmla="*/ 489212 h 2084191"/>
              <a:gd name="connsiteX921" fmla="*/ 1479112 w 2051041"/>
              <a:gd name="connsiteY921" fmla="*/ 484315 h 2084191"/>
              <a:gd name="connsiteX922" fmla="*/ 1528087 w 2051041"/>
              <a:gd name="connsiteY922" fmla="*/ 533835 h 2084191"/>
              <a:gd name="connsiteX923" fmla="*/ 1479656 w 2051041"/>
              <a:gd name="connsiteY923" fmla="*/ 582267 h 2084191"/>
              <a:gd name="connsiteX924" fmla="*/ 1431224 w 2051041"/>
              <a:gd name="connsiteY924" fmla="*/ 533835 h 2084191"/>
              <a:gd name="connsiteX925" fmla="*/ 1479112 w 2051041"/>
              <a:gd name="connsiteY925" fmla="*/ 484315 h 2084191"/>
              <a:gd name="connsiteX926" fmla="*/ 1643452 w 2051041"/>
              <a:gd name="connsiteY926" fmla="*/ 484314 h 2084191"/>
              <a:gd name="connsiteX927" fmla="*/ 1692973 w 2051041"/>
              <a:gd name="connsiteY927" fmla="*/ 534923 h 2084191"/>
              <a:gd name="connsiteX928" fmla="*/ 1641276 w 2051041"/>
              <a:gd name="connsiteY928" fmla="*/ 583898 h 2084191"/>
              <a:gd name="connsiteX929" fmla="*/ 1592300 w 2051041"/>
              <a:gd name="connsiteY929" fmla="*/ 532202 h 2084191"/>
              <a:gd name="connsiteX930" fmla="*/ 1643452 w 2051041"/>
              <a:gd name="connsiteY930" fmla="*/ 484314 h 2084191"/>
              <a:gd name="connsiteX931" fmla="*/ 1806162 w 2051041"/>
              <a:gd name="connsiteY931" fmla="*/ 481594 h 2084191"/>
              <a:gd name="connsiteX932" fmla="*/ 1857858 w 2051041"/>
              <a:gd name="connsiteY932" fmla="*/ 536011 h 2084191"/>
              <a:gd name="connsiteX933" fmla="*/ 1803441 w 2051041"/>
              <a:gd name="connsiteY933" fmla="*/ 586075 h 2084191"/>
              <a:gd name="connsiteX934" fmla="*/ 1753377 w 2051041"/>
              <a:gd name="connsiteY934" fmla="*/ 533290 h 2084191"/>
              <a:gd name="connsiteX935" fmla="*/ 1806162 w 2051041"/>
              <a:gd name="connsiteY935" fmla="*/ 481594 h 2084191"/>
              <a:gd name="connsiteX936" fmla="*/ 1968326 w 2051041"/>
              <a:gd name="connsiteY936" fmla="*/ 480505 h 2084191"/>
              <a:gd name="connsiteX937" fmla="*/ 2022200 w 2051041"/>
              <a:gd name="connsiteY937" fmla="*/ 534379 h 2084191"/>
              <a:gd name="connsiteX938" fmla="*/ 1969415 w 2051041"/>
              <a:gd name="connsiteY938" fmla="*/ 588252 h 2084191"/>
              <a:gd name="connsiteX939" fmla="*/ 1915541 w 2051041"/>
              <a:gd name="connsiteY939" fmla="*/ 534923 h 2084191"/>
              <a:gd name="connsiteX940" fmla="*/ 1968326 w 2051041"/>
              <a:gd name="connsiteY940" fmla="*/ 480505 h 2084191"/>
              <a:gd name="connsiteX941" fmla="*/ 91464 w 2051041"/>
              <a:gd name="connsiteY941" fmla="*/ 440780 h 2084191"/>
              <a:gd name="connsiteX942" fmla="*/ 102891 w 2051041"/>
              <a:gd name="connsiteY942" fmla="*/ 451664 h 2084191"/>
              <a:gd name="connsiteX943" fmla="*/ 92008 w 2051041"/>
              <a:gd name="connsiteY943" fmla="*/ 464179 h 2084191"/>
              <a:gd name="connsiteX944" fmla="*/ 80036 w 2051041"/>
              <a:gd name="connsiteY944" fmla="*/ 452752 h 2084191"/>
              <a:gd name="connsiteX945" fmla="*/ 91464 w 2051041"/>
              <a:gd name="connsiteY945" fmla="*/ 440780 h 2084191"/>
              <a:gd name="connsiteX946" fmla="*/ 254172 w 2051041"/>
              <a:gd name="connsiteY946" fmla="*/ 430441 h 2084191"/>
              <a:gd name="connsiteX947" fmla="*/ 275939 w 2051041"/>
              <a:gd name="connsiteY947" fmla="*/ 452208 h 2084191"/>
              <a:gd name="connsiteX948" fmla="*/ 254716 w 2051041"/>
              <a:gd name="connsiteY948" fmla="*/ 473975 h 2084191"/>
              <a:gd name="connsiteX949" fmla="*/ 232405 w 2051041"/>
              <a:gd name="connsiteY949" fmla="*/ 452752 h 2084191"/>
              <a:gd name="connsiteX950" fmla="*/ 254172 w 2051041"/>
              <a:gd name="connsiteY950" fmla="*/ 430441 h 2084191"/>
              <a:gd name="connsiteX951" fmla="*/ 417969 w 2051041"/>
              <a:gd name="connsiteY951" fmla="*/ 424999 h 2084191"/>
              <a:gd name="connsiteX952" fmla="*/ 444634 w 2051041"/>
              <a:gd name="connsiteY952" fmla="*/ 452752 h 2084191"/>
              <a:gd name="connsiteX953" fmla="*/ 417425 w 2051041"/>
              <a:gd name="connsiteY953" fmla="*/ 479417 h 2084191"/>
              <a:gd name="connsiteX954" fmla="*/ 390760 w 2051041"/>
              <a:gd name="connsiteY954" fmla="*/ 452208 h 2084191"/>
              <a:gd name="connsiteX955" fmla="*/ 417969 w 2051041"/>
              <a:gd name="connsiteY955" fmla="*/ 424999 h 2084191"/>
              <a:gd name="connsiteX956" fmla="*/ 580677 w 2051041"/>
              <a:gd name="connsiteY956" fmla="*/ 419558 h 2084191"/>
              <a:gd name="connsiteX957" fmla="*/ 612783 w 2051041"/>
              <a:gd name="connsiteY957" fmla="*/ 452208 h 2084191"/>
              <a:gd name="connsiteX958" fmla="*/ 581221 w 2051041"/>
              <a:gd name="connsiteY958" fmla="*/ 484315 h 2084191"/>
              <a:gd name="connsiteX959" fmla="*/ 549115 w 2051041"/>
              <a:gd name="connsiteY959" fmla="*/ 452208 h 2084191"/>
              <a:gd name="connsiteX960" fmla="*/ 580677 w 2051041"/>
              <a:gd name="connsiteY960" fmla="*/ 419558 h 2084191"/>
              <a:gd name="connsiteX961" fmla="*/ 743931 w 2051041"/>
              <a:gd name="connsiteY961" fmla="*/ 415748 h 2084191"/>
              <a:gd name="connsiteX962" fmla="*/ 780390 w 2051041"/>
              <a:gd name="connsiteY962" fmla="*/ 452208 h 2084191"/>
              <a:gd name="connsiteX963" fmla="*/ 744475 w 2051041"/>
              <a:gd name="connsiteY963" fmla="*/ 489212 h 2084191"/>
              <a:gd name="connsiteX964" fmla="*/ 708559 w 2051041"/>
              <a:gd name="connsiteY964" fmla="*/ 453840 h 2084191"/>
              <a:gd name="connsiteX965" fmla="*/ 743931 w 2051041"/>
              <a:gd name="connsiteY965" fmla="*/ 415748 h 2084191"/>
              <a:gd name="connsiteX966" fmla="*/ 908271 w 2051041"/>
              <a:gd name="connsiteY966" fmla="*/ 414116 h 2084191"/>
              <a:gd name="connsiteX967" fmla="*/ 946363 w 2051041"/>
              <a:gd name="connsiteY967" fmla="*/ 453296 h 2084191"/>
              <a:gd name="connsiteX968" fmla="*/ 906638 w 2051041"/>
              <a:gd name="connsiteY968" fmla="*/ 491933 h 2084191"/>
              <a:gd name="connsiteX969" fmla="*/ 868546 w 2051041"/>
              <a:gd name="connsiteY969" fmla="*/ 452208 h 2084191"/>
              <a:gd name="connsiteX970" fmla="*/ 908271 w 2051041"/>
              <a:gd name="connsiteY970" fmla="*/ 414116 h 2084191"/>
              <a:gd name="connsiteX971" fmla="*/ 1072068 w 2051041"/>
              <a:gd name="connsiteY971" fmla="*/ 409218 h 2084191"/>
              <a:gd name="connsiteX972" fmla="*/ 1113970 w 2051041"/>
              <a:gd name="connsiteY972" fmla="*/ 452752 h 2084191"/>
              <a:gd name="connsiteX973" fmla="*/ 1070436 w 2051041"/>
              <a:gd name="connsiteY973" fmla="*/ 495198 h 2084191"/>
              <a:gd name="connsiteX974" fmla="*/ 1028534 w 2051041"/>
              <a:gd name="connsiteY974" fmla="*/ 451120 h 2084191"/>
              <a:gd name="connsiteX975" fmla="*/ 1072068 w 2051041"/>
              <a:gd name="connsiteY975" fmla="*/ 409218 h 2084191"/>
              <a:gd name="connsiteX976" fmla="*/ 1235865 w 2051041"/>
              <a:gd name="connsiteY976" fmla="*/ 408130 h 2084191"/>
              <a:gd name="connsiteX977" fmla="*/ 1279400 w 2051041"/>
              <a:gd name="connsiteY977" fmla="*/ 453296 h 2084191"/>
              <a:gd name="connsiteX978" fmla="*/ 1233689 w 2051041"/>
              <a:gd name="connsiteY978" fmla="*/ 497374 h 2084191"/>
              <a:gd name="connsiteX979" fmla="*/ 1189611 w 2051041"/>
              <a:gd name="connsiteY979" fmla="*/ 451664 h 2084191"/>
              <a:gd name="connsiteX980" fmla="*/ 1235865 w 2051041"/>
              <a:gd name="connsiteY980" fmla="*/ 408130 h 2084191"/>
              <a:gd name="connsiteX981" fmla="*/ 1396941 w 2051041"/>
              <a:gd name="connsiteY981" fmla="*/ 403776 h 2084191"/>
              <a:gd name="connsiteX982" fmla="*/ 1446461 w 2051041"/>
              <a:gd name="connsiteY982" fmla="*/ 450575 h 2084191"/>
              <a:gd name="connsiteX983" fmla="*/ 1399118 w 2051041"/>
              <a:gd name="connsiteY983" fmla="*/ 500640 h 2084191"/>
              <a:gd name="connsiteX984" fmla="*/ 1349598 w 2051041"/>
              <a:gd name="connsiteY984" fmla="*/ 453296 h 2084191"/>
              <a:gd name="connsiteX985" fmla="*/ 1396941 w 2051041"/>
              <a:gd name="connsiteY985" fmla="*/ 403776 h 2084191"/>
              <a:gd name="connsiteX986" fmla="*/ 1560738 w 2051041"/>
              <a:gd name="connsiteY986" fmla="*/ 402144 h 2084191"/>
              <a:gd name="connsiteX987" fmla="*/ 1611347 w 2051041"/>
              <a:gd name="connsiteY987" fmla="*/ 453297 h 2084191"/>
              <a:gd name="connsiteX988" fmla="*/ 1560194 w 2051041"/>
              <a:gd name="connsiteY988" fmla="*/ 502272 h 2084191"/>
              <a:gd name="connsiteX989" fmla="*/ 1511218 w 2051041"/>
              <a:gd name="connsiteY989" fmla="*/ 451664 h 2084191"/>
              <a:gd name="connsiteX990" fmla="*/ 1560738 w 2051041"/>
              <a:gd name="connsiteY990" fmla="*/ 402144 h 2084191"/>
              <a:gd name="connsiteX991" fmla="*/ 1723991 w 2051041"/>
              <a:gd name="connsiteY991" fmla="*/ 399423 h 2084191"/>
              <a:gd name="connsiteX992" fmla="*/ 1776776 w 2051041"/>
              <a:gd name="connsiteY992" fmla="*/ 452752 h 2084191"/>
              <a:gd name="connsiteX993" fmla="*/ 1725079 w 2051041"/>
              <a:gd name="connsiteY993" fmla="*/ 504993 h 2084191"/>
              <a:gd name="connsiteX994" fmla="*/ 1671750 w 2051041"/>
              <a:gd name="connsiteY994" fmla="*/ 452752 h 2084191"/>
              <a:gd name="connsiteX995" fmla="*/ 1723991 w 2051041"/>
              <a:gd name="connsiteY995" fmla="*/ 399423 h 2084191"/>
              <a:gd name="connsiteX996" fmla="*/ 2051040 w 2051041"/>
              <a:gd name="connsiteY996" fmla="*/ 398335 h 2084191"/>
              <a:gd name="connsiteX997" fmla="*/ 2051041 w 2051041"/>
              <a:gd name="connsiteY997" fmla="*/ 398335 h 2084191"/>
              <a:gd name="connsiteX998" fmla="*/ 2051041 w 2051041"/>
              <a:gd name="connsiteY998" fmla="*/ 506936 h 2084191"/>
              <a:gd name="connsiteX999" fmla="*/ 2049952 w 2051041"/>
              <a:gd name="connsiteY999" fmla="*/ 507170 h 2084191"/>
              <a:gd name="connsiteX1000" fmla="*/ 1995534 w 2051041"/>
              <a:gd name="connsiteY1000" fmla="*/ 452208 h 2084191"/>
              <a:gd name="connsiteX1001" fmla="*/ 2051040 w 2051041"/>
              <a:gd name="connsiteY1001" fmla="*/ 398335 h 2084191"/>
              <a:gd name="connsiteX1002" fmla="*/ 1888332 w 2051041"/>
              <a:gd name="connsiteY1002" fmla="*/ 398335 h 2084191"/>
              <a:gd name="connsiteX1003" fmla="*/ 1941661 w 2051041"/>
              <a:gd name="connsiteY1003" fmla="*/ 452208 h 2084191"/>
              <a:gd name="connsiteX1004" fmla="*/ 1886699 w 2051041"/>
              <a:gd name="connsiteY1004" fmla="*/ 506082 h 2084191"/>
              <a:gd name="connsiteX1005" fmla="*/ 1833370 w 2051041"/>
              <a:gd name="connsiteY1005" fmla="*/ 452208 h 2084191"/>
              <a:gd name="connsiteX1006" fmla="*/ 1888332 w 2051041"/>
              <a:gd name="connsiteY1006" fmla="*/ 398335 h 2084191"/>
              <a:gd name="connsiteX1007" fmla="*/ 12014 w 2051041"/>
              <a:gd name="connsiteY1007" fmla="*/ 364052 h 2084191"/>
              <a:gd name="connsiteX1008" fmla="*/ 15823 w 2051041"/>
              <a:gd name="connsiteY1008" fmla="*/ 370038 h 2084191"/>
              <a:gd name="connsiteX1009" fmla="*/ 9293 w 2051041"/>
              <a:gd name="connsiteY1009" fmla="*/ 377656 h 2084191"/>
              <a:gd name="connsiteX1010" fmla="*/ 3307 w 2051041"/>
              <a:gd name="connsiteY1010" fmla="*/ 371126 h 2084191"/>
              <a:gd name="connsiteX1011" fmla="*/ 12014 w 2051041"/>
              <a:gd name="connsiteY1011" fmla="*/ 364052 h 2084191"/>
              <a:gd name="connsiteX1012" fmla="*/ 172545 w 2051041"/>
              <a:gd name="connsiteY1012" fmla="*/ 353713 h 2084191"/>
              <a:gd name="connsiteX1013" fmla="*/ 190503 w 2051041"/>
              <a:gd name="connsiteY1013" fmla="*/ 370582 h 2084191"/>
              <a:gd name="connsiteX1014" fmla="*/ 173090 w 2051041"/>
              <a:gd name="connsiteY1014" fmla="*/ 387996 h 2084191"/>
              <a:gd name="connsiteX1015" fmla="*/ 155676 w 2051041"/>
              <a:gd name="connsiteY1015" fmla="*/ 371126 h 2084191"/>
              <a:gd name="connsiteX1016" fmla="*/ 172545 w 2051041"/>
              <a:gd name="connsiteY1016" fmla="*/ 353713 h 2084191"/>
              <a:gd name="connsiteX1017" fmla="*/ 336886 w 2051041"/>
              <a:gd name="connsiteY1017" fmla="*/ 345550 h 2084191"/>
              <a:gd name="connsiteX1018" fmla="*/ 361374 w 2051041"/>
              <a:gd name="connsiteY1018" fmla="*/ 371670 h 2084191"/>
              <a:gd name="connsiteX1019" fmla="*/ 335798 w 2051041"/>
              <a:gd name="connsiteY1019" fmla="*/ 395070 h 2084191"/>
              <a:gd name="connsiteX1020" fmla="*/ 311854 w 2051041"/>
              <a:gd name="connsiteY1020" fmla="*/ 370038 h 2084191"/>
              <a:gd name="connsiteX1021" fmla="*/ 336886 w 2051041"/>
              <a:gd name="connsiteY1021" fmla="*/ 345550 h 2084191"/>
              <a:gd name="connsiteX1022" fmla="*/ 499596 w 2051041"/>
              <a:gd name="connsiteY1022" fmla="*/ 342284 h 2084191"/>
              <a:gd name="connsiteX1023" fmla="*/ 528437 w 2051041"/>
              <a:gd name="connsiteY1023" fmla="*/ 370582 h 2084191"/>
              <a:gd name="connsiteX1024" fmla="*/ 499051 w 2051041"/>
              <a:gd name="connsiteY1024" fmla="*/ 399423 h 2084191"/>
              <a:gd name="connsiteX1025" fmla="*/ 470210 w 2051041"/>
              <a:gd name="connsiteY1025" fmla="*/ 370037 h 2084191"/>
              <a:gd name="connsiteX1026" fmla="*/ 499596 w 2051041"/>
              <a:gd name="connsiteY1026" fmla="*/ 342284 h 2084191"/>
              <a:gd name="connsiteX1027" fmla="*/ 663392 w 2051041"/>
              <a:gd name="connsiteY1027" fmla="*/ 337387 h 2084191"/>
              <a:gd name="connsiteX1028" fmla="*/ 697131 w 2051041"/>
              <a:gd name="connsiteY1028" fmla="*/ 371126 h 2084191"/>
              <a:gd name="connsiteX1029" fmla="*/ 662304 w 2051041"/>
              <a:gd name="connsiteY1029" fmla="*/ 404321 h 2084191"/>
              <a:gd name="connsiteX1030" fmla="*/ 629109 w 2051041"/>
              <a:gd name="connsiteY1030" fmla="*/ 371126 h 2084191"/>
              <a:gd name="connsiteX1031" fmla="*/ 663392 w 2051041"/>
              <a:gd name="connsiteY1031" fmla="*/ 337387 h 2084191"/>
              <a:gd name="connsiteX1032" fmla="*/ 825556 w 2051041"/>
              <a:gd name="connsiteY1032" fmla="*/ 332489 h 2084191"/>
              <a:gd name="connsiteX1033" fmla="*/ 864737 w 2051041"/>
              <a:gd name="connsiteY1033" fmla="*/ 370037 h 2084191"/>
              <a:gd name="connsiteX1034" fmla="*/ 826645 w 2051041"/>
              <a:gd name="connsiteY1034" fmla="*/ 409218 h 2084191"/>
              <a:gd name="connsiteX1035" fmla="*/ 787464 w 2051041"/>
              <a:gd name="connsiteY1035" fmla="*/ 371126 h 2084191"/>
              <a:gd name="connsiteX1036" fmla="*/ 825556 w 2051041"/>
              <a:gd name="connsiteY1036" fmla="*/ 332489 h 2084191"/>
              <a:gd name="connsiteX1037" fmla="*/ 989898 w 2051041"/>
              <a:gd name="connsiteY1037" fmla="*/ 328680 h 2084191"/>
              <a:gd name="connsiteX1038" fmla="*/ 1031255 w 2051041"/>
              <a:gd name="connsiteY1038" fmla="*/ 371126 h 2084191"/>
              <a:gd name="connsiteX1039" fmla="*/ 989354 w 2051041"/>
              <a:gd name="connsiteY1039" fmla="*/ 413027 h 2084191"/>
              <a:gd name="connsiteX1040" fmla="*/ 947452 w 2051041"/>
              <a:gd name="connsiteY1040" fmla="*/ 370037 h 2084191"/>
              <a:gd name="connsiteX1041" fmla="*/ 989898 w 2051041"/>
              <a:gd name="connsiteY1041" fmla="*/ 328680 h 2084191"/>
              <a:gd name="connsiteX1042" fmla="*/ 1153150 w 2051041"/>
              <a:gd name="connsiteY1042" fmla="*/ 326504 h 2084191"/>
              <a:gd name="connsiteX1043" fmla="*/ 1197228 w 2051041"/>
              <a:gd name="connsiteY1043" fmla="*/ 370582 h 2084191"/>
              <a:gd name="connsiteX1044" fmla="*/ 1152606 w 2051041"/>
              <a:gd name="connsiteY1044" fmla="*/ 414661 h 2084191"/>
              <a:gd name="connsiteX1045" fmla="*/ 1108528 w 2051041"/>
              <a:gd name="connsiteY1045" fmla="*/ 370038 h 2084191"/>
              <a:gd name="connsiteX1046" fmla="*/ 1153150 w 2051041"/>
              <a:gd name="connsiteY1046" fmla="*/ 326504 h 2084191"/>
              <a:gd name="connsiteX1047" fmla="*/ 1317492 w 2051041"/>
              <a:gd name="connsiteY1047" fmla="*/ 323239 h 2084191"/>
              <a:gd name="connsiteX1048" fmla="*/ 1364835 w 2051041"/>
              <a:gd name="connsiteY1048" fmla="*/ 372215 h 2084191"/>
              <a:gd name="connsiteX1049" fmla="*/ 1314771 w 2051041"/>
              <a:gd name="connsiteY1049" fmla="*/ 419014 h 2084191"/>
              <a:gd name="connsiteX1050" fmla="*/ 1268516 w 2051041"/>
              <a:gd name="connsiteY1050" fmla="*/ 370582 h 2084191"/>
              <a:gd name="connsiteX1051" fmla="*/ 1317492 w 2051041"/>
              <a:gd name="connsiteY1051" fmla="*/ 323239 h 2084191"/>
              <a:gd name="connsiteX1052" fmla="*/ 1479112 w 2051041"/>
              <a:gd name="connsiteY1052" fmla="*/ 320517 h 2084191"/>
              <a:gd name="connsiteX1053" fmla="*/ 1529720 w 2051041"/>
              <a:gd name="connsiteY1053" fmla="*/ 371670 h 2084191"/>
              <a:gd name="connsiteX1054" fmla="*/ 1478568 w 2051041"/>
              <a:gd name="connsiteY1054" fmla="*/ 420101 h 2084191"/>
              <a:gd name="connsiteX1055" fmla="*/ 1429592 w 2051041"/>
              <a:gd name="connsiteY1055" fmla="*/ 370037 h 2084191"/>
              <a:gd name="connsiteX1056" fmla="*/ 1479112 w 2051041"/>
              <a:gd name="connsiteY1056" fmla="*/ 320517 h 2084191"/>
              <a:gd name="connsiteX1057" fmla="*/ 1642364 w 2051041"/>
              <a:gd name="connsiteY1057" fmla="*/ 318341 h 2084191"/>
              <a:gd name="connsiteX1058" fmla="*/ 1695694 w 2051041"/>
              <a:gd name="connsiteY1058" fmla="*/ 370582 h 2084191"/>
              <a:gd name="connsiteX1059" fmla="*/ 1643453 w 2051041"/>
              <a:gd name="connsiteY1059" fmla="*/ 424455 h 2084191"/>
              <a:gd name="connsiteX1060" fmla="*/ 1589035 w 2051041"/>
              <a:gd name="connsiteY1060" fmla="*/ 371670 h 2084191"/>
              <a:gd name="connsiteX1061" fmla="*/ 1642364 w 2051041"/>
              <a:gd name="connsiteY1061" fmla="*/ 318341 h 2084191"/>
              <a:gd name="connsiteX1062" fmla="*/ 90919 w 2051041"/>
              <a:gd name="connsiteY1062" fmla="*/ 273718 h 2084191"/>
              <a:gd name="connsiteX1063" fmla="*/ 106700 w 2051041"/>
              <a:gd name="connsiteY1063" fmla="*/ 288411 h 2084191"/>
              <a:gd name="connsiteX1064" fmla="*/ 91463 w 2051041"/>
              <a:gd name="connsiteY1064" fmla="*/ 303648 h 2084191"/>
              <a:gd name="connsiteX1065" fmla="*/ 76770 w 2051041"/>
              <a:gd name="connsiteY1065" fmla="*/ 288411 h 2084191"/>
              <a:gd name="connsiteX1066" fmla="*/ 90919 w 2051041"/>
              <a:gd name="connsiteY1066" fmla="*/ 273718 h 2084191"/>
              <a:gd name="connsiteX1067" fmla="*/ 254716 w 2051041"/>
              <a:gd name="connsiteY1067" fmla="*/ 267733 h 2084191"/>
              <a:gd name="connsiteX1068" fmla="*/ 276483 w 2051041"/>
              <a:gd name="connsiteY1068" fmla="*/ 288956 h 2084191"/>
              <a:gd name="connsiteX1069" fmla="*/ 254172 w 2051041"/>
              <a:gd name="connsiteY1069" fmla="*/ 311811 h 2084191"/>
              <a:gd name="connsiteX1070" fmla="*/ 232405 w 2051041"/>
              <a:gd name="connsiteY1070" fmla="*/ 289500 h 2084191"/>
              <a:gd name="connsiteX1071" fmla="*/ 254716 w 2051041"/>
              <a:gd name="connsiteY1071" fmla="*/ 267733 h 2084191"/>
              <a:gd name="connsiteX1072" fmla="*/ 1941117 w 2051041"/>
              <a:gd name="connsiteY1072" fmla="*/ 263202 h 2084191"/>
              <a:gd name="connsiteX1073" fmla="*/ 1936219 w 2051041"/>
              <a:gd name="connsiteY1073" fmla="*/ 266467 h 2084191"/>
              <a:gd name="connsiteX1074" fmla="*/ 1938396 w 2051041"/>
              <a:gd name="connsiteY1074" fmla="*/ 272453 h 2084191"/>
              <a:gd name="connsiteX1075" fmla="*/ 1932954 w 2051041"/>
              <a:gd name="connsiteY1075" fmla="*/ 325782 h 2084191"/>
              <a:gd name="connsiteX1076" fmla="*/ 1930777 w 2051041"/>
              <a:gd name="connsiteY1076" fmla="*/ 331224 h 2084191"/>
              <a:gd name="connsiteX1077" fmla="*/ 1936219 w 2051041"/>
              <a:gd name="connsiteY1077" fmla="*/ 330136 h 2084191"/>
              <a:gd name="connsiteX1078" fmla="*/ 1966693 w 2051041"/>
              <a:gd name="connsiteY1078" fmla="*/ 320340 h 2084191"/>
              <a:gd name="connsiteX1079" fmla="*/ 1998799 w 2051041"/>
              <a:gd name="connsiteY1079" fmla="*/ 328503 h 2084191"/>
              <a:gd name="connsiteX1080" fmla="*/ 2003153 w 2051041"/>
              <a:gd name="connsiteY1080" fmla="*/ 330136 h 2084191"/>
              <a:gd name="connsiteX1081" fmla="*/ 2001520 w 2051041"/>
              <a:gd name="connsiteY1081" fmla="*/ 324694 h 2084191"/>
              <a:gd name="connsiteX1082" fmla="*/ 1994446 w 2051041"/>
              <a:gd name="connsiteY1082" fmla="*/ 309457 h 2084191"/>
              <a:gd name="connsiteX1083" fmla="*/ 1998255 w 2051041"/>
              <a:gd name="connsiteY1083" fmla="*/ 267555 h 2084191"/>
              <a:gd name="connsiteX1084" fmla="*/ 2000976 w 2051041"/>
              <a:gd name="connsiteY1084" fmla="*/ 263746 h 2084191"/>
              <a:gd name="connsiteX1085" fmla="*/ 1995534 w 2051041"/>
              <a:gd name="connsiteY1085" fmla="*/ 263746 h 2084191"/>
              <a:gd name="connsiteX1086" fmla="*/ 1941117 w 2051041"/>
              <a:gd name="connsiteY1086" fmla="*/ 263202 h 2084191"/>
              <a:gd name="connsiteX1087" fmla="*/ 417425 w 2051041"/>
              <a:gd name="connsiteY1087" fmla="*/ 262291 h 2084191"/>
              <a:gd name="connsiteX1088" fmla="*/ 445178 w 2051041"/>
              <a:gd name="connsiteY1088" fmla="*/ 288956 h 2084191"/>
              <a:gd name="connsiteX1089" fmla="*/ 417969 w 2051041"/>
              <a:gd name="connsiteY1089" fmla="*/ 317253 h 2084191"/>
              <a:gd name="connsiteX1090" fmla="*/ 390216 w 2051041"/>
              <a:gd name="connsiteY1090" fmla="*/ 290044 h 2084191"/>
              <a:gd name="connsiteX1091" fmla="*/ 417425 w 2051041"/>
              <a:gd name="connsiteY1091" fmla="*/ 262291 h 2084191"/>
              <a:gd name="connsiteX1092" fmla="*/ 580678 w 2051041"/>
              <a:gd name="connsiteY1092" fmla="*/ 256304 h 2084191"/>
              <a:gd name="connsiteX1093" fmla="*/ 613872 w 2051041"/>
              <a:gd name="connsiteY1093" fmla="*/ 288955 h 2084191"/>
              <a:gd name="connsiteX1094" fmla="*/ 581222 w 2051041"/>
              <a:gd name="connsiteY1094" fmla="*/ 322150 h 2084191"/>
              <a:gd name="connsiteX1095" fmla="*/ 548027 w 2051041"/>
              <a:gd name="connsiteY1095" fmla="*/ 289499 h 2084191"/>
              <a:gd name="connsiteX1096" fmla="*/ 580678 w 2051041"/>
              <a:gd name="connsiteY1096" fmla="*/ 256304 h 2084191"/>
              <a:gd name="connsiteX1097" fmla="*/ 743930 w 2051041"/>
              <a:gd name="connsiteY1097" fmla="*/ 251951 h 2084191"/>
              <a:gd name="connsiteX1098" fmla="*/ 782022 w 2051041"/>
              <a:gd name="connsiteY1098" fmla="*/ 289499 h 2084191"/>
              <a:gd name="connsiteX1099" fmla="*/ 744474 w 2051041"/>
              <a:gd name="connsiteY1099" fmla="*/ 326503 h 2084191"/>
              <a:gd name="connsiteX1100" fmla="*/ 707470 w 2051041"/>
              <a:gd name="connsiteY1100" fmla="*/ 289499 h 2084191"/>
              <a:gd name="connsiteX1101" fmla="*/ 743930 w 2051041"/>
              <a:gd name="connsiteY1101" fmla="*/ 251951 h 2084191"/>
              <a:gd name="connsiteX1102" fmla="*/ 907183 w 2051041"/>
              <a:gd name="connsiteY1102" fmla="*/ 249775 h 2084191"/>
              <a:gd name="connsiteX1103" fmla="*/ 947452 w 2051041"/>
              <a:gd name="connsiteY1103" fmla="*/ 289500 h 2084191"/>
              <a:gd name="connsiteX1104" fmla="*/ 908271 w 2051041"/>
              <a:gd name="connsiteY1104" fmla="*/ 329225 h 2084191"/>
              <a:gd name="connsiteX1105" fmla="*/ 867458 w 2051041"/>
              <a:gd name="connsiteY1105" fmla="*/ 290044 h 2084191"/>
              <a:gd name="connsiteX1106" fmla="*/ 907183 w 2051041"/>
              <a:gd name="connsiteY1106" fmla="*/ 249775 h 2084191"/>
              <a:gd name="connsiteX1107" fmla="*/ 1070435 w 2051041"/>
              <a:gd name="connsiteY1107" fmla="*/ 245965 h 2084191"/>
              <a:gd name="connsiteX1108" fmla="*/ 1114513 w 2051041"/>
              <a:gd name="connsiteY1108" fmla="*/ 290043 h 2084191"/>
              <a:gd name="connsiteX1109" fmla="*/ 1069347 w 2051041"/>
              <a:gd name="connsiteY1109" fmla="*/ 333578 h 2084191"/>
              <a:gd name="connsiteX1110" fmla="*/ 1026357 w 2051041"/>
              <a:gd name="connsiteY1110" fmla="*/ 288955 h 2084191"/>
              <a:gd name="connsiteX1111" fmla="*/ 1070435 w 2051041"/>
              <a:gd name="connsiteY1111" fmla="*/ 245965 h 2084191"/>
              <a:gd name="connsiteX1112" fmla="*/ 1233689 w 2051041"/>
              <a:gd name="connsiteY1112" fmla="*/ 241613 h 2084191"/>
              <a:gd name="connsiteX1113" fmla="*/ 1282120 w 2051041"/>
              <a:gd name="connsiteY1113" fmla="*/ 288412 h 2084191"/>
              <a:gd name="connsiteX1114" fmla="*/ 1235321 w 2051041"/>
              <a:gd name="connsiteY1114" fmla="*/ 335755 h 2084191"/>
              <a:gd name="connsiteX1115" fmla="*/ 1187434 w 2051041"/>
              <a:gd name="connsiteY1115" fmla="*/ 289500 h 2084191"/>
              <a:gd name="connsiteX1116" fmla="*/ 1233689 w 2051041"/>
              <a:gd name="connsiteY1116" fmla="*/ 241613 h 2084191"/>
              <a:gd name="connsiteX1117" fmla="*/ 1397485 w 2051041"/>
              <a:gd name="connsiteY1117" fmla="*/ 238891 h 2084191"/>
              <a:gd name="connsiteX1118" fmla="*/ 1448094 w 2051041"/>
              <a:gd name="connsiteY1118" fmla="*/ 288955 h 2084191"/>
              <a:gd name="connsiteX1119" fmla="*/ 1398029 w 2051041"/>
              <a:gd name="connsiteY1119" fmla="*/ 338475 h 2084191"/>
              <a:gd name="connsiteX1120" fmla="*/ 1348509 w 2051041"/>
              <a:gd name="connsiteY1120" fmla="*/ 289499 h 2084191"/>
              <a:gd name="connsiteX1121" fmla="*/ 1397485 w 2051041"/>
              <a:gd name="connsiteY1121" fmla="*/ 238891 h 2084191"/>
              <a:gd name="connsiteX1122" fmla="*/ 1559650 w 2051041"/>
              <a:gd name="connsiteY1122" fmla="*/ 237258 h 2084191"/>
              <a:gd name="connsiteX1123" fmla="*/ 1613523 w 2051041"/>
              <a:gd name="connsiteY1123" fmla="*/ 288955 h 2084191"/>
              <a:gd name="connsiteX1124" fmla="*/ 1560738 w 2051041"/>
              <a:gd name="connsiteY1124" fmla="*/ 342829 h 2084191"/>
              <a:gd name="connsiteX1125" fmla="*/ 1507953 w 2051041"/>
              <a:gd name="connsiteY1125" fmla="*/ 289499 h 2084191"/>
              <a:gd name="connsiteX1126" fmla="*/ 1559650 w 2051041"/>
              <a:gd name="connsiteY1126" fmla="*/ 237258 h 2084191"/>
              <a:gd name="connsiteX1127" fmla="*/ 9837 w 2051041"/>
              <a:gd name="connsiteY1127" fmla="*/ 198078 h 2084191"/>
              <a:gd name="connsiteX1128" fmla="*/ 19632 w 2051041"/>
              <a:gd name="connsiteY1128" fmla="*/ 207873 h 2084191"/>
              <a:gd name="connsiteX1129" fmla="*/ 10381 w 2051041"/>
              <a:gd name="connsiteY1129" fmla="*/ 218213 h 2084191"/>
              <a:gd name="connsiteX1130" fmla="*/ 42 w 2051041"/>
              <a:gd name="connsiteY1130" fmla="*/ 207873 h 2084191"/>
              <a:gd name="connsiteX1131" fmla="*/ 9837 w 2051041"/>
              <a:gd name="connsiteY1131" fmla="*/ 198078 h 2084191"/>
              <a:gd name="connsiteX1132" fmla="*/ 173090 w 2051041"/>
              <a:gd name="connsiteY1132" fmla="*/ 187739 h 2084191"/>
              <a:gd name="connsiteX1133" fmla="*/ 192136 w 2051041"/>
              <a:gd name="connsiteY1133" fmla="*/ 207329 h 2084191"/>
              <a:gd name="connsiteX1134" fmla="*/ 172546 w 2051041"/>
              <a:gd name="connsiteY1134" fmla="*/ 227464 h 2084191"/>
              <a:gd name="connsiteX1135" fmla="*/ 154044 w 2051041"/>
              <a:gd name="connsiteY1135" fmla="*/ 208418 h 2084191"/>
              <a:gd name="connsiteX1136" fmla="*/ 173090 w 2051041"/>
              <a:gd name="connsiteY1136" fmla="*/ 187739 h 2084191"/>
              <a:gd name="connsiteX1137" fmla="*/ 336887 w 2051041"/>
              <a:gd name="connsiteY1137" fmla="*/ 182297 h 2084191"/>
              <a:gd name="connsiteX1138" fmla="*/ 363007 w 2051041"/>
              <a:gd name="connsiteY1138" fmla="*/ 207329 h 2084191"/>
              <a:gd name="connsiteX1139" fmla="*/ 336887 w 2051041"/>
              <a:gd name="connsiteY1139" fmla="*/ 233994 h 2084191"/>
              <a:gd name="connsiteX1140" fmla="*/ 310766 w 2051041"/>
              <a:gd name="connsiteY1140" fmla="*/ 208961 h 2084191"/>
              <a:gd name="connsiteX1141" fmla="*/ 336887 w 2051041"/>
              <a:gd name="connsiteY1141" fmla="*/ 182297 h 2084191"/>
              <a:gd name="connsiteX1142" fmla="*/ 1856225 w 2051041"/>
              <a:gd name="connsiteY1142" fmla="*/ 180487 h 2084191"/>
              <a:gd name="connsiteX1143" fmla="*/ 1855681 w 2051041"/>
              <a:gd name="connsiteY1143" fmla="*/ 185929 h 2084191"/>
              <a:gd name="connsiteX1144" fmla="*/ 1851872 w 2051041"/>
              <a:gd name="connsiteY1144" fmla="*/ 244700 h 2084191"/>
              <a:gd name="connsiteX1145" fmla="*/ 1851328 w 2051041"/>
              <a:gd name="connsiteY1145" fmla="*/ 247965 h 2084191"/>
              <a:gd name="connsiteX1146" fmla="*/ 1854593 w 2051041"/>
              <a:gd name="connsiteY1146" fmla="*/ 247421 h 2084191"/>
              <a:gd name="connsiteX1147" fmla="*/ 1899215 w 2051041"/>
              <a:gd name="connsiteY1147" fmla="*/ 238714 h 2084191"/>
              <a:gd name="connsiteX1148" fmla="*/ 1913908 w 2051041"/>
              <a:gd name="connsiteY1148" fmla="*/ 243067 h 2084191"/>
              <a:gd name="connsiteX1149" fmla="*/ 1918806 w 2051041"/>
              <a:gd name="connsiteY1149" fmla="*/ 242523 h 2084191"/>
              <a:gd name="connsiteX1150" fmla="*/ 1918261 w 2051041"/>
              <a:gd name="connsiteY1150" fmla="*/ 238170 h 2084191"/>
              <a:gd name="connsiteX1151" fmla="*/ 1917173 w 2051041"/>
              <a:gd name="connsiteY1151" fmla="*/ 185929 h 2084191"/>
              <a:gd name="connsiteX1152" fmla="*/ 1918261 w 2051041"/>
              <a:gd name="connsiteY1152" fmla="*/ 181576 h 2084191"/>
              <a:gd name="connsiteX1153" fmla="*/ 1913908 w 2051041"/>
              <a:gd name="connsiteY1153" fmla="*/ 182664 h 2084191"/>
              <a:gd name="connsiteX1154" fmla="*/ 1860579 w 2051041"/>
              <a:gd name="connsiteY1154" fmla="*/ 180487 h 2084191"/>
              <a:gd name="connsiteX1155" fmla="*/ 1856225 w 2051041"/>
              <a:gd name="connsiteY1155" fmla="*/ 180487 h 2084191"/>
              <a:gd name="connsiteX1156" fmla="*/ 499595 w 2051041"/>
              <a:gd name="connsiteY1156" fmla="*/ 175767 h 2084191"/>
              <a:gd name="connsiteX1157" fmla="*/ 531158 w 2051041"/>
              <a:gd name="connsiteY1157" fmla="*/ 207874 h 2084191"/>
              <a:gd name="connsiteX1158" fmla="*/ 498507 w 2051041"/>
              <a:gd name="connsiteY1158" fmla="*/ 238347 h 2084191"/>
              <a:gd name="connsiteX1159" fmla="*/ 468033 w 2051041"/>
              <a:gd name="connsiteY1159" fmla="*/ 207329 h 2084191"/>
              <a:gd name="connsiteX1160" fmla="*/ 499595 w 2051041"/>
              <a:gd name="connsiteY1160" fmla="*/ 175767 h 2084191"/>
              <a:gd name="connsiteX1161" fmla="*/ 662304 w 2051041"/>
              <a:gd name="connsiteY1161" fmla="*/ 173046 h 2084191"/>
              <a:gd name="connsiteX1162" fmla="*/ 697676 w 2051041"/>
              <a:gd name="connsiteY1162" fmla="*/ 207873 h 2084191"/>
              <a:gd name="connsiteX1163" fmla="*/ 662304 w 2051041"/>
              <a:gd name="connsiteY1163" fmla="*/ 242156 h 2084191"/>
              <a:gd name="connsiteX1164" fmla="*/ 628021 w 2051041"/>
              <a:gd name="connsiteY1164" fmla="*/ 207873 h 2084191"/>
              <a:gd name="connsiteX1165" fmla="*/ 662304 w 2051041"/>
              <a:gd name="connsiteY1165" fmla="*/ 173046 h 2084191"/>
              <a:gd name="connsiteX1166" fmla="*/ 826645 w 2051041"/>
              <a:gd name="connsiteY1166" fmla="*/ 168148 h 2084191"/>
              <a:gd name="connsiteX1167" fmla="*/ 864737 w 2051041"/>
              <a:gd name="connsiteY1167" fmla="*/ 207329 h 2084191"/>
              <a:gd name="connsiteX1168" fmla="*/ 826100 w 2051041"/>
              <a:gd name="connsiteY1168" fmla="*/ 247054 h 2084191"/>
              <a:gd name="connsiteX1169" fmla="*/ 787464 w 2051041"/>
              <a:gd name="connsiteY1169" fmla="*/ 207873 h 2084191"/>
              <a:gd name="connsiteX1170" fmla="*/ 826645 w 2051041"/>
              <a:gd name="connsiteY1170" fmla="*/ 168148 h 2084191"/>
              <a:gd name="connsiteX1171" fmla="*/ 987721 w 2051041"/>
              <a:gd name="connsiteY1171" fmla="*/ 164883 h 2084191"/>
              <a:gd name="connsiteX1172" fmla="*/ 1031799 w 2051041"/>
              <a:gd name="connsiteY1172" fmla="*/ 207329 h 2084191"/>
              <a:gd name="connsiteX1173" fmla="*/ 988809 w 2051041"/>
              <a:gd name="connsiteY1173" fmla="*/ 250319 h 2084191"/>
              <a:gd name="connsiteX1174" fmla="*/ 945819 w 2051041"/>
              <a:gd name="connsiteY1174" fmla="*/ 208417 h 2084191"/>
              <a:gd name="connsiteX1175" fmla="*/ 987721 w 2051041"/>
              <a:gd name="connsiteY1175" fmla="*/ 164883 h 2084191"/>
              <a:gd name="connsiteX1176" fmla="*/ 1153150 w 2051041"/>
              <a:gd name="connsiteY1176" fmla="*/ 162707 h 2084191"/>
              <a:gd name="connsiteX1177" fmla="*/ 1197772 w 2051041"/>
              <a:gd name="connsiteY1177" fmla="*/ 207874 h 2084191"/>
              <a:gd name="connsiteX1178" fmla="*/ 1151517 w 2051041"/>
              <a:gd name="connsiteY1178" fmla="*/ 253584 h 2084191"/>
              <a:gd name="connsiteX1179" fmla="*/ 1107439 w 2051041"/>
              <a:gd name="connsiteY1179" fmla="*/ 207329 h 2084191"/>
              <a:gd name="connsiteX1180" fmla="*/ 1153150 w 2051041"/>
              <a:gd name="connsiteY1180" fmla="*/ 162707 h 2084191"/>
              <a:gd name="connsiteX1181" fmla="*/ 1315315 w 2051041"/>
              <a:gd name="connsiteY1181" fmla="*/ 158353 h 2084191"/>
              <a:gd name="connsiteX1182" fmla="*/ 1365379 w 2051041"/>
              <a:gd name="connsiteY1182" fmla="*/ 206785 h 2084191"/>
              <a:gd name="connsiteX1183" fmla="*/ 1315859 w 2051041"/>
              <a:gd name="connsiteY1183" fmla="*/ 256305 h 2084191"/>
              <a:gd name="connsiteX1184" fmla="*/ 1266883 w 2051041"/>
              <a:gd name="connsiteY1184" fmla="*/ 207873 h 2084191"/>
              <a:gd name="connsiteX1185" fmla="*/ 1315315 w 2051041"/>
              <a:gd name="connsiteY1185" fmla="*/ 158353 h 2084191"/>
              <a:gd name="connsiteX1186" fmla="*/ 1478567 w 2051041"/>
              <a:gd name="connsiteY1186" fmla="*/ 156721 h 2084191"/>
              <a:gd name="connsiteX1187" fmla="*/ 1529720 w 2051041"/>
              <a:gd name="connsiteY1187" fmla="*/ 207329 h 2084191"/>
              <a:gd name="connsiteX1188" fmla="*/ 1478567 w 2051041"/>
              <a:gd name="connsiteY1188" fmla="*/ 258482 h 2084191"/>
              <a:gd name="connsiteX1189" fmla="*/ 1427959 w 2051041"/>
              <a:gd name="connsiteY1189" fmla="*/ 207874 h 2084191"/>
              <a:gd name="connsiteX1190" fmla="*/ 1478567 w 2051041"/>
              <a:gd name="connsiteY1190" fmla="*/ 156721 h 2084191"/>
              <a:gd name="connsiteX1191" fmla="*/ 1644541 w 2051041"/>
              <a:gd name="connsiteY1191" fmla="*/ 153456 h 2084191"/>
              <a:gd name="connsiteX1192" fmla="*/ 1697326 w 2051041"/>
              <a:gd name="connsiteY1192" fmla="*/ 209506 h 2084191"/>
              <a:gd name="connsiteX1193" fmla="*/ 1641276 w 2051041"/>
              <a:gd name="connsiteY1193" fmla="*/ 262835 h 2084191"/>
              <a:gd name="connsiteX1194" fmla="*/ 1587947 w 2051041"/>
              <a:gd name="connsiteY1194" fmla="*/ 206785 h 2084191"/>
              <a:gd name="connsiteX1195" fmla="*/ 1644541 w 2051041"/>
              <a:gd name="connsiteY1195" fmla="*/ 153456 h 2084191"/>
              <a:gd name="connsiteX1196" fmla="*/ 91463 w 2051041"/>
              <a:gd name="connsiteY1196" fmla="*/ 109922 h 2084191"/>
              <a:gd name="connsiteX1197" fmla="*/ 107244 w 2051041"/>
              <a:gd name="connsiteY1197" fmla="*/ 126247 h 2084191"/>
              <a:gd name="connsiteX1198" fmla="*/ 91463 w 2051041"/>
              <a:gd name="connsiteY1198" fmla="*/ 142028 h 2084191"/>
              <a:gd name="connsiteX1199" fmla="*/ 75682 w 2051041"/>
              <a:gd name="connsiteY1199" fmla="*/ 126247 h 2084191"/>
              <a:gd name="connsiteX1200" fmla="*/ 91463 w 2051041"/>
              <a:gd name="connsiteY1200" fmla="*/ 109922 h 2084191"/>
              <a:gd name="connsiteX1201" fmla="*/ 1942341 w 2051041"/>
              <a:gd name="connsiteY1201" fmla="*/ 104915 h 2084191"/>
              <a:gd name="connsiteX1202" fmla="*/ 1942205 w 2051041"/>
              <a:gd name="connsiteY1202" fmla="*/ 111377 h 2084191"/>
              <a:gd name="connsiteX1203" fmla="*/ 1946559 w 2051041"/>
              <a:gd name="connsiteY1203" fmla="*/ 131511 h 2084191"/>
              <a:gd name="connsiteX1204" fmla="*/ 1939484 w 2051041"/>
              <a:gd name="connsiteY1204" fmla="*/ 157088 h 2084191"/>
              <a:gd name="connsiteX1205" fmla="*/ 1941117 w 2051041"/>
              <a:gd name="connsiteY1205" fmla="*/ 160353 h 2084191"/>
              <a:gd name="connsiteX1206" fmla="*/ 1986828 w 2051041"/>
              <a:gd name="connsiteY1206" fmla="*/ 157088 h 2084191"/>
              <a:gd name="connsiteX1207" fmla="*/ 1987916 w 2051041"/>
              <a:gd name="connsiteY1207" fmla="*/ 157088 h 2084191"/>
              <a:gd name="connsiteX1208" fmla="*/ 1993902 w 2051041"/>
              <a:gd name="connsiteY1208" fmla="*/ 150013 h 2084191"/>
              <a:gd name="connsiteX1209" fmla="*/ 1993902 w 2051041"/>
              <a:gd name="connsiteY1209" fmla="*/ 109744 h 2084191"/>
              <a:gd name="connsiteX1210" fmla="*/ 1989004 w 2051041"/>
              <a:gd name="connsiteY1210" fmla="*/ 105391 h 2084191"/>
              <a:gd name="connsiteX1211" fmla="*/ 1948191 w 2051041"/>
              <a:gd name="connsiteY1211" fmla="*/ 105391 h 2084191"/>
              <a:gd name="connsiteX1212" fmla="*/ 1942341 w 2051041"/>
              <a:gd name="connsiteY1212" fmla="*/ 104915 h 2084191"/>
              <a:gd name="connsiteX1213" fmla="*/ 255804 w 2051041"/>
              <a:gd name="connsiteY1213" fmla="*/ 103392 h 2084191"/>
              <a:gd name="connsiteX1214" fmla="*/ 277571 w 2051041"/>
              <a:gd name="connsiteY1214" fmla="*/ 126791 h 2084191"/>
              <a:gd name="connsiteX1215" fmla="*/ 254172 w 2051041"/>
              <a:gd name="connsiteY1215" fmla="*/ 148014 h 2084191"/>
              <a:gd name="connsiteX1216" fmla="*/ 232405 w 2051041"/>
              <a:gd name="connsiteY1216" fmla="*/ 125159 h 2084191"/>
              <a:gd name="connsiteX1217" fmla="*/ 255804 w 2051041"/>
              <a:gd name="connsiteY1217" fmla="*/ 103392 h 2084191"/>
              <a:gd name="connsiteX1218" fmla="*/ 1773511 w 2051041"/>
              <a:gd name="connsiteY1218" fmla="*/ 99405 h 2084191"/>
              <a:gd name="connsiteX1219" fmla="*/ 1773511 w 2051041"/>
              <a:gd name="connsiteY1219" fmla="*/ 107023 h 2084191"/>
              <a:gd name="connsiteX1220" fmla="*/ 1780585 w 2051041"/>
              <a:gd name="connsiteY1220" fmla="*/ 130423 h 2084191"/>
              <a:gd name="connsiteX1221" fmla="*/ 1773511 w 2051041"/>
              <a:gd name="connsiteY1221" fmla="*/ 155999 h 2084191"/>
              <a:gd name="connsiteX1222" fmla="*/ 1774055 w 2051041"/>
              <a:gd name="connsiteY1222" fmla="*/ 161985 h 2084191"/>
              <a:gd name="connsiteX1223" fmla="*/ 1780041 w 2051041"/>
              <a:gd name="connsiteY1223" fmla="*/ 162529 h 2084191"/>
              <a:gd name="connsiteX1224" fmla="*/ 1811059 w 2051041"/>
              <a:gd name="connsiteY1224" fmla="*/ 157632 h 2084191"/>
              <a:gd name="connsiteX1225" fmla="*/ 1829561 w 2051041"/>
              <a:gd name="connsiteY1225" fmla="*/ 161985 h 2084191"/>
              <a:gd name="connsiteX1226" fmla="*/ 1836635 w 2051041"/>
              <a:gd name="connsiteY1226" fmla="*/ 161985 h 2084191"/>
              <a:gd name="connsiteX1227" fmla="*/ 1833914 w 2051041"/>
              <a:gd name="connsiteY1227" fmla="*/ 157088 h 2084191"/>
              <a:gd name="connsiteX1228" fmla="*/ 1834458 w 2051041"/>
              <a:gd name="connsiteY1228" fmla="*/ 104303 h 2084191"/>
              <a:gd name="connsiteX1229" fmla="*/ 1835547 w 2051041"/>
              <a:gd name="connsiteY1229" fmla="*/ 99405 h 2084191"/>
              <a:gd name="connsiteX1230" fmla="*/ 1831193 w 2051041"/>
              <a:gd name="connsiteY1230" fmla="*/ 101038 h 2084191"/>
              <a:gd name="connsiteX1231" fmla="*/ 1780041 w 2051041"/>
              <a:gd name="connsiteY1231" fmla="*/ 101582 h 2084191"/>
              <a:gd name="connsiteX1232" fmla="*/ 1773511 w 2051041"/>
              <a:gd name="connsiteY1232" fmla="*/ 99405 h 2084191"/>
              <a:gd name="connsiteX1233" fmla="*/ 417424 w 2051041"/>
              <a:gd name="connsiteY1233" fmla="*/ 97950 h 2084191"/>
              <a:gd name="connsiteX1234" fmla="*/ 445721 w 2051041"/>
              <a:gd name="connsiteY1234" fmla="*/ 126247 h 2084191"/>
              <a:gd name="connsiteX1235" fmla="*/ 417424 w 2051041"/>
              <a:gd name="connsiteY1235" fmla="*/ 153456 h 2084191"/>
              <a:gd name="connsiteX1236" fmla="*/ 390215 w 2051041"/>
              <a:gd name="connsiteY1236" fmla="*/ 125159 h 2084191"/>
              <a:gd name="connsiteX1237" fmla="*/ 417424 w 2051041"/>
              <a:gd name="connsiteY1237" fmla="*/ 97950 h 2084191"/>
              <a:gd name="connsiteX1238" fmla="*/ 580677 w 2051041"/>
              <a:gd name="connsiteY1238" fmla="*/ 92508 h 2084191"/>
              <a:gd name="connsiteX1239" fmla="*/ 614960 w 2051041"/>
              <a:gd name="connsiteY1239" fmla="*/ 125159 h 2084191"/>
              <a:gd name="connsiteX1240" fmla="*/ 581766 w 2051041"/>
              <a:gd name="connsiteY1240" fmla="*/ 158353 h 2084191"/>
              <a:gd name="connsiteX1241" fmla="*/ 548571 w 2051041"/>
              <a:gd name="connsiteY1241" fmla="*/ 125703 h 2084191"/>
              <a:gd name="connsiteX1242" fmla="*/ 580677 w 2051041"/>
              <a:gd name="connsiteY1242" fmla="*/ 92508 h 2084191"/>
              <a:gd name="connsiteX1243" fmla="*/ 745019 w 2051041"/>
              <a:gd name="connsiteY1243" fmla="*/ 88154 h 2084191"/>
              <a:gd name="connsiteX1244" fmla="*/ 782567 w 2051041"/>
              <a:gd name="connsiteY1244" fmla="*/ 126791 h 2084191"/>
              <a:gd name="connsiteX1245" fmla="*/ 743930 w 2051041"/>
              <a:gd name="connsiteY1245" fmla="*/ 164339 h 2084191"/>
              <a:gd name="connsiteX1246" fmla="*/ 706382 w 2051041"/>
              <a:gd name="connsiteY1246" fmla="*/ 125702 h 2084191"/>
              <a:gd name="connsiteX1247" fmla="*/ 745019 w 2051041"/>
              <a:gd name="connsiteY1247" fmla="*/ 88154 h 2084191"/>
              <a:gd name="connsiteX1248" fmla="*/ 1685898 w 2051041"/>
              <a:gd name="connsiteY1248" fmla="*/ 84712 h 2084191"/>
              <a:gd name="connsiteX1249" fmla="*/ 1685681 w 2051041"/>
              <a:gd name="connsiteY1249" fmla="*/ 85147 h 2084191"/>
              <a:gd name="connsiteX1250" fmla="*/ 1685354 w 2051041"/>
              <a:gd name="connsiteY1250" fmla="*/ 85256 h 2084191"/>
              <a:gd name="connsiteX1251" fmla="*/ 1685898 w 2051041"/>
              <a:gd name="connsiteY1251" fmla="*/ 84712 h 2084191"/>
              <a:gd name="connsiteX1252" fmla="*/ 907183 w 2051041"/>
              <a:gd name="connsiteY1252" fmla="*/ 84345 h 2084191"/>
              <a:gd name="connsiteX1253" fmla="*/ 934935 w 2051041"/>
              <a:gd name="connsiteY1253" fmla="*/ 95228 h 2084191"/>
              <a:gd name="connsiteX1254" fmla="*/ 949628 w 2051041"/>
              <a:gd name="connsiteY1254" fmla="*/ 125158 h 2084191"/>
              <a:gd name="connsiteX1255" fmla="*/ 908271 w 2051041"/>
              <a:gd name="connsiteY1255" fmla="*/ 167060 h 2084191"/>
              <a:gd name="connsiteX1256" fmla="*/ 866369 w 2051041"/>
              <a:gd name="connsiteY1256" fmla="*/ 125702 h 2084191"/>
              <a:gd name="connsiteX1257" fmla="*/ 907183 w 2051041"/>
              <a:gd name="connsiteY1257" fmla="*/ 84345 h 2084191"/>
              <a:gd name="connsiteX1258" fmla="*/ 1070979 w 2051041"/>
              <a:gd name="connsiteY1258" fmla="*/ 82169 h 2084191"/>
              <a:gd name="connsiteX1259" fmla="*/ 1115602 w 2051041"/>
              <a:gd name="connsiteY1259" fmla="*/ 126247 h 2084191"/>
              <a:gd name="connsiteX1260" fmla="*/ 1071524 w 2051041"/>
              <a:gd name="connsiteY1260" fmla="*/ 170325 h 2084191"/>
              <a:gd name="connsiteX1261" fmla="*/ 1026357 w 2051041"/>
              <a:gd name="connsiteY1261" fmla="*/ 125703 h 2084191"/>
              <a:gd name="connsiteX1262" fmla="*/ 1070979 w 2051041"/>
              <a:gd name="connsiteY1262" fmla="*/ 82169 h 2084191"/>
              <a:gd name="connsiteX1263" fmla="*/ 1684811 w 2051041"/>
              <a:gd name="connsiteY1263" fmla="*/ 82168 h 2084191"/>
              <a:gd name="connsiteX1264" fmla="*/ 1684266 w 2051041"/>
              <a:gd name="connsiteY1264" fmla="*/ 82713 h 2084191"/>
              <a:gd name="connsiteX1265" fmla="*/ 1684469 w 2051041"/>
              <a:gd name="connsiteY1265" fmla="*/ 82365 h 2084191"/>
              <a:gd name="connsiteX1266" fmla="*/ 1234777 w 2051041"/>
              <a:gd name="connsiteY1266" fmla="*/ 78360 h 2084191"/>
              <a:gd name="connsiteX1267" fmla="*/ 1282664 w 2051041"/>
              <a:gd name="connsiteY1267" fmla="*/ 126791 h 2084191"/>
              <a:gd name="connsiteX1268" fmla="*/ 1234232 w 2051041"/>
              <a:gd name="connsiteY1268" fmla="*/ 174135 h 2084191"/>
              <a:gd name="connsiteX1269" fmla="*/ 1186889 w 2051041"/>
              <a:gd name="connsiteY1269" fmla="*/ 126791 h 2084191"/>
              <a:gd name="connsiteX1270" fmla="*/ 1234777 w 2051041"/>
              <a:gd name="connsiteY1270" fmla="*/ 78360 h 2084191"/>
              <a:gd name="connsiteX1271" fmla="*/ 1398574 w 2051041"/>
              <a:gd name="connsiteY1271" fmla="*/ 76182 h 2084191"/>
              <a:gd name="connsiteX1272" fmla="*/ 1448094 w 2051041"/>
              <a:gd name="connsiteY1272" fmla="*/ 127335 h 2084191"/>
              <a:gd name="connsiteX1273" fmla="*/ 1396941 w 2051041"/>
              <a:gd name="connsiteY1273" fmla="*/ 175766 h 2084191"/>
              <a:gd name="connsiteX1274" fmla="*/ 1347421 w 2051041"/>
              <a:gd name="connsiteY1274" fmla="*/ 125702 h 2084191"/>
              <a:gd name="connsiteX1275" fmla="*/ 1398574 w 2051041"/>
              <a:gd name="connsiteY1275" fmla="*/ 76182 h 2084191"/>
              <a:gd name="connsiteX1276" fmla="*/ 1561282 w 2051041"/>
              <a:gd name="connsiteY1276" fmla="*/ 72373 h 2084191"/>
              <a:gd name="connsiteX1277" fmla="*/ 1614611 w 2051041"/>
              <a:gd name="connsiteY1277" fmla="*/ 126247 h 2084191"/>
              <a:gd name="connsiteX1278" fmla="*/ 1560738 w 2051041"/>
              <a:gd name="connsiteY1278" fmla="*/ 179576 h 2084191"/>
              <a:gd name="connsiteX1279" fmla="*/ 1507409 w 2051041"/>
              <a:gd name="connsiteY1279" fmla="*/ 126247 h 2084191"/>
              <a:gd name="connsiteX1280" fmla="*/ 1561282 w 2051041"/>
              <a:gd name="connsiteY1280" fmla="*/ 72373 h 2084191"/>
              <a:gd name="connsiteX1281" fmla="*/ 10381 w 2051041"/>
              <a:gd name="connsiteY1281" fmla="*/ 33737 h 2084191"/>
              <a:gd name="connsiteX1282" fmla="*/ 20720 w 2051041"/>
              <a:gd name="connsiteY1282" fmla="*/ 45165 h 2084191"/>
              <a:gd name="connsiteX1283" fmla="*/ 9292 w 2051041"/>
              <a:gd name="connsiteY1283" fmla="*/ 54960 h 2084191"/>
              <a:gd name="connsiteX1284" fmla="*/ 41 w 2051041"/>
              <a:gd name="connsiteY1284" fmla="*/ 44621 h 2084191"/>
              <a:gd name="connsiteX1285" fmla="*/ 10381 w 2051041"/>
              <a:gd name="connsiteY1285" fmla="*/ 33737 h 2084191"/>
              <a:gd name="connsiteX1286" fmla="*/ 172546 w 2051041"/>
              <a:gd name="connsiteY1286" fmla="*/ 23942 h 2084191"/>
              <a:gd name="connsiteX1287" fmla="*/ 193224 w 2051041"/>
              <a:gd name="connsiteY1287" fmla="*/ 44621 h 2084191"/>
              <a:gd name="connsiteX1288" fmla="*/ 173090 w 2051041"/>
              <a:gd name="connsiteY1288" fmla="*/ 64755 h 2084191"/>
              <a:gd name="connsiteX1289" fmla="*/ 152411 w 2051041"/>
              <a:gd name="connsiteY1289" fmla="*/ 44621 h 2084191"/>
              <a:gd name="connsiteX1290" fmla="*/ 172546 w 2051041"/>
              <a:gd name="connsiteY1290" fmla="*/ 23942 h 2084191"/>
              <a:gd name="connsiteX1291" fmla="*/ 1861123 w 2051041"/>
              <a:gd name="connsiteY1291" fmla="*/ 22132 h 2084191"/>
              <a:gd name="connsiteX1292" fmla="*/ 1861123 w 2051041"/>
              <a:gd name="connsiteY1292" fmla="*/ 35737 h 2084191"/>
              <a:gd name="connsiteX1293" fmla="*/ 1861123 w 2051041"/>
              <a:gd name="connsiteY1293" fmla="*/ 61313 h 2084191"/>
              <a:gd name="connsiteX1294" fmla="*/ 1858946 w 2051041"/>
              <a:gd name="connsiteY1294" fmla="*/ 72740 h 2084191"/>
              <a:gd name="connsiteX1295" fmla="*/ 1866021 w 2051041"/>
              <a:gd name="connsiteY1295" fmla="*/ 76550 h 2084191"/>
              <a:gd name="connsiteX1296" fmla="*/ 1873639 w 2051041"/>
              <a:gd name="connsiteY1296" fmla="*/ 74917 h 2084191"/>
              <a:gd name="connsiteX1297" fmla="*/ 1900304 w 2051041"/>
              <a:gd name="connsiteY1297" fmla="*/ 74373 h 2084191"/>
              <a:gd name="connsiteX1298" fmla="*/ 1907922 w 2051041"/>
              <a:gd name="connsiteY1298" fmla="*/ 76006 h 2084191"/>
              <a:gd name="connsiteX1299" fmla="*/ 1912820 w 2051041"/>
              <a:gd name="connsiteY1299" fmla="*/ 70020 h 2084191"/>
              <a:gd name="connsiteX1300" fmla="*/ 1912820 w 2051041"/>
              <a:gd name="connsiteY1300" fmla="*/ 27030 h 2084191"/>
              <a:gd name="connsiteX1301" fmla="*/ 1908466 w 2051041"/>
              <a:gd name="connsiteY1301" fmla="*/ 22132 h 2084191"/>
              <a:gd name="connsiteX1302" fmla="*/ 1902480 w 2051041"/>
              <a:gd name="connsiteY1302" fmla="*/ 24309 h 2084191"/>
              <a:gd name="connsiteX1303" fmla="*/ 1873095 w 2051041"/>
              <a:gd name="connsiteY1303" fmla="*/ 24309 h 2084191"/>
              <a:gd name="connsiteX1304" fmla="*/ 1861123 w 2051041"/>
              <a:gd name="connsiteY1304" fmla="*/ 22132 h 2084191"/>
              <a:gd name="connsiteX1305" fmla="*/ 336886 w 2051041"/>
              <a:gd name="connsiteY1305" fmla="*/ 17412 h 2084191"/>
              <a:gd name="connsiteX1306" fmla="*/ 363007 w 2051041"/>
              <a:gd name="connsiteY1306" fmla="*/ 44077 h 2084191"/>
              <a:gd name="connsiteX1307" fmla="*/ 337431 w 2051041"/>
              <a:gd name="connsiteY1307" fmla="*/ 71285 h 2084191"/>
              <a:gd name="connsiteX1308" fmla="*/ 310222 w 2051041"/>
              <a:gd name="connsiteY1308" fmla="*/ 45165 h 2084191"/>
              <a:gd name="connsiteX1309" fmla="*/ 336886 w 2051041"/>
              <a:gd name="connsiteY1309" fmla="*/ 17412 h 2084191"/>
              <a:gd name="connsiteX1310" fmla="*/ 498507 w 2051041"/>
              <a:gd name="connsiteY1310" fmla="*/ 13059 h 2084191"/>
              <a:gd name="connsiteX1311" fmla="*/ 531702 w 2051041"/>
              <a:gd name="connsiteY1311" fmla="*/ 44621 h 2084191"/>
              <a:gd name="connsiteX1312" fmla="*/ 499595 w 2051041"/>
              <a:gd name="connsiteY1312" fmla="*/ 76727 h 2084191"/>
              <a:gd name="connsiteX1313" fmla="*/ 467489 w 2051041"/>
              <a:gd name="connsiteY1313" fmla="*/ 45165 h 2084191"/>
              <a:gd name="connsiteX1314" fmla="*/ 498507 w 2051041"/>
              <a:gd name="connsiteY1314" fmla="*/ 13059 h 2084191"/>
              <a:gd name="connsiteX1315" fmla="*/ 662303 w 2051041"/>
              <a:gd name="connsiteY1315" fmla="*/ 7616 h 2084191"/>
              <a:gd name="connsiteX1316" fmla="*/ 698763 w 2051041"/>
              <a:gd name="connsiteY1316" fmla="*/ 44076 h 2084191"/>
              <a:gd name="connsiteX1317" fmla="*/ 662303 w 2051041"/>
              <a:gd name="connsiteY1317" fmla="*/ 81080 h 2084191"/>
              <a:gd name="connsiteX1318" fmla="*/ 626932 w 2051041"/>
              <a:gd name="connsiteY1318" fmla="*/ 44076 h 2084191"/>
              <a:gd name="connsiteX1319" fmla="*/ 662303 w 2051041"/>
              <a:gd name="connsiteY1319" fmla="*/ 7616 h 2084191"/>
              <a:gd name="connsiteX1320" fmla="*/ 825557 w 2051041"/>
              <a:gd name="connsiteY1320" fmla="*/ 5440 h 2084191"/>
              <a:gd name="connsiteX1321" fmla="*/ 865281 w 2051041"/>
              <a:gd name="connsiteY1321" fmla="*/ 44621 h 2084191"/>
              <a:gd name="connsiteX1322" fmla="*/ 826101 w 2051041"/>
              <a:gd name="connsiteY1322" fmla="*/ 83257 h 2084191"/>
              <a:gd name="connsiteX1323" fmla="*/ 786920 w 2051041"/>
              <a:gd name="connsiteY1323" fmla="*/ 44621 h 2084191"/>
              <a:gd name="connsiteX1324" fmla="*/ 825557 w 2051041"/>
              <a:gd name="connsiteY1324" fmla="*/ 5440 h 2084191"/>
              <a:gd name="connsiteX1325" fmla="*/ 989353 w 2051041"/>
              <a:gd name="connsiteY1325" fmla="*/ 1086 h 2084191"/>
              <a:gd name="connsiteX1326" fmla="*/ 1032343 w 2051041"/>
              <a:gd name="connsiteY1326" fmla="*/ 43532 h 2084191"/>
              <a:gd name="connsiteX1327" fmla="*/ 989897 w 2051041"/>
              <a:gd name="connsiteY1327" fmla="*/ 87610 h 2084191"/>
              <a:gd name="connsiteX1328" fmla="*/ 945819 w 2051041"/>
              <a:gd name="connsiteY1328" fmla="*/ 44620 h 2084191"/>
              <a:gd name="connsiteX1329" fmla="*/ 989353 w 2051041"/>
              <a:gd name="connsiteY1329" fmla="*/ 1086 h 2084191"/>
              <a:gd name="connsiteX1330" fmla="*/ 1614056 w 2051041"/>
              <a:gd name="connsiteY1330" fmla="*/ 0 h 2084191"/>
              <a:gd name="connsiteX1331" fmla="*/ 1675529 w 2051041"/>
              <a:gd name="connsiteY1331" fmla="*/ 0 h 2084191"/>
              <a:gd name="connsiteX1332" fmla="*/ 1682905 w 2051041"/>
              <a:gd name="connsiteY1332" fmla="*/ 4720 h 2084191"/>
              <a:gd name="connsiteX1333" fmla="*/ 1933639 w 2051041"/>
              <a:gd name="connsiteY1333" fmla="*/ 4720 h 2084191"/>
              <a:gd name="connsiteX1334" fmla="*/ 2016655 w 2051041"/>
              <a:gd name="connsiteY1334" fmla="*/ 39107 h 2084191"/>
              <a:gd name="connsiteX1335" fmla="*/ 2028934 w 2051041"/>
              <a:gd name="connsiteY1335" fmla="*/ 57318 h 2084191"/>
              <a:gd name="connsiteX1336" fmla="*/ 2026008 w 2051041"/>
              <a:gd name="connsiteY1336" fmla="*/ 71108 h 2084191"/>
              <a:gd name="connsiteX1337" fmla="*/ 2030906 w 2051041"/>
              <a:gd name="connsiteY1337" fmla="*/ 75461 h 2084191"/>
              <a:gd name="connsiteX1338" fmla="*/ 2039929 w 2051041"/>
              <a:gd name="connsiteY1338" fmla="*/ 73627 h 2084191"/>
              <a:gd name="connsiteX1339" fmla="*/ 2041815 w 2051041"/>
              <a:gd name="connsiteY1339" fmla="*/ 76424 h 2084191"/>
              <a:gd name="connsiteX1340" fmla="*/ 2051041 w 2051041"/>
              <a:gd name="connsiteY1340" fmla="*/ 122122 h 2084191"/>
              <a:gd name="connsiteX1341" fmla="*/ 2051041 w 2051041"/>
              <a:gd name="connsiteY1341" fmla="*/ 186473 h 2084191"/>
              <a:gd name="connsiteX1342" fmla="*/ 2029818 w 2051041"/>
              <a:gd name="connsiteY1342" fmla="*/ 186473 h 2084191"/>
              <a:gd name="connsiteX1343" fmla="*/ 2023287 w 2051041"/>
              <a:gd name="connsiteY1343" fmla="*/ 192459 h 2084191"/>
              <a:gd name="connsiteX1344" fmla="*/ 2023832 w 2051041"/>
              <a:gd name="connsiteY1344" fmla="*/ 196268 h 2084191"/>
              <a:gd name="connsiteX1345" fmla="*/ 2019478 w 2051041"/>
              <a:gd name="connsiteY1345" fmla="*/ 239258 h 2084191"/>
              <a:gd name="connsiteX1346" fmla="*/ 2020022 w 2051041"/>
              <a:gd name="connsiteY1346" fmla="*/ 242523 h 2084191"/>
              <a:gd name="connsiteX1347" fmla="*/ 2023287 w 2051041"/>
              <a:gd name="connsiteY1347" fmla="*/ 243067 h 2084191"/>
              <a:gd name="connsiteX1348" fmla="*/ 2050224 w 2051041"/>
              <a:gd name="connsiteY1348" fmla="*/ 237150 h 2084191"/>
              <a:gd name="connsiteX1349" fmla="*/ 2051041 w 2051041"/>
              <a:gd name="connsiteY1349" fmla="*/ 237329 h 2084191"/>
              <a:gd name="connsiteX1350" fmla="*/ 2051041 w 2051041"/>
              <a:gd name="connsiteY1350" fmla="*/ 348996 h 2084191"/>
              <a:gd name="connsiteX1351" fmla="*/ 2036552 w 2051041"/>
              <a:gd name="connsiteY1351" fmla="*/ 347754 h 2084191"/>
              <a:gd name="connsiteX1352" fmla="*/ 2021111 w 2051041"/>
              <a:gd name="connsiteY1352" fmla="*/ 341019 h 2084191"/>
              <a:gd name="connsiteX1353" fmla="*/ 2016757 w 2051041"/>
              <a:gd name="connsiteY1353" fmla="*/ 338842 h 2084191"/>
              <a:gd name="connsiteX1354" fmla="*/ 2017301 w 2051041"/>
              <a:gd name="connsiteY1354" fmla="*/ 344284 h 2084191"/>
              <a:gd name="connsiteX1355" fmla="*/ 2025464 w 2051041"/>
              <a:gd name="connsiteY1355" fmla="*/ 376391 h 2084191"/>
              <a:gd name="connsiteX1356" fmla="*/ 1994446 w 2051041"/>
              <a:gd name="connsiteY1356" fmla="*/ 424278 h 2084191"/>
              <a:gd name="connsiteX1357" fmla="*/ 1933498 w 2051041"/>
              <a:gd name="connsiteY1357" fmla="*/ 416115 h 2084191"/>
              <a:gd name="connsiteX1358" fmla="*/ 1920438 w 2051041"/>
              <a:gd name="connsiteY1358" fmla="*/ 352447 h 2084191"/>
              <a:gd name="connsiteX1359" fmla="*/ 1925336 w 2051041"/>
              <a:gd name="connsiteY1359" fmla="*/ 338298 h 2084191"/>
              <a:gd name="connsiteX1360" fmla="*/ 1911731 w 2051041"/>
              <a:gd name="connsiteY1360" fmla="*/ 343196 h 2084191"/>
              <a:gd name="connsiteX1361" fmla="*/ 1898671 w 2051041"/>
              <a:gd name="connsiteY1361" fmla="*/ 347005 h 2084191"/>
              <a:gd name="connsiteX1362" fmla="*/ 1854593 w 2051041"/>
              <a:gd name="connsiteY1362" fmla="*/ 336666 h 2084191"/>
              <a:gd name="connsiteX1363" fmla="*/ 1847690 w 2051041"/>
              <a:gd name="connsiteY1363" fmla="*/ 333480 h 2084191"/>
              <a:gd name="connsiteX1364" fmla="*/ 1852961 w 2051041"/>
              <a:gd name="connsiteY1364" fmla="*/ 344461 h 2084191"/>
              <a:gd name="connsiteX1365" fmla="*/ 1826840 w 2051041"/>
              <a:gd name="connsiteY1365" fmla="*/ 420646 h 2084191"/>
              <a:gd name="connsiteX1366" fmla="*/ 1765893 w 2051041"/>
              <a:gd name="connsiteY1366" fmla="*/ 408130 h 2084191"/>
              <a:gd name="connsiteX1367" fmla="*/ 1759362 w 2051041"/>
              <a:gd name="connsiteY1367" fmla="*/ 342829 h 2084191"/>
              <a:gd name="connsiteX1368" fmla="*/ 1815991 w 2051041"/>
              <a:gd name="connsiteY1368" fmla="*/ 317193 h 2084191"/>
              <a:gd name="connsiteX1369" fmla="*/ 1834459 w 2051041"/>
              <a:gd name="connsiteY1369" fmla="*/ 325415 h 2084191"/>
              <a:gd name="connsiteX1370" fmla="*/ 1845023 w 2051041"/>
              <a:gd name="connsiteY1370" fmla="*/ 330169 h 2084191"/>
              <a:gd name="connsiteX1371" fmla="*/ 1840444 w 2051041"/>
              <a:gd name="connsiteY1371" fmla="*/ 321429 h 2084191"/>
              <a:gd name="connsiteX1372" fmla="*/ 1834458 w 2051041"/>
              <a:gd name="connsiteY1372" fmla="*/ 275174 h 2084191"/>
              <a:gd name="connsiteX1373" fmla="*/ 1840988 w 2051041"/>
              <a:gd name="connsiteY1373" fmla="*/ 259937 h 2084191"/>
              <a:gd name="connsiteX1374" fmla="*/ 1842077 w 2051041"/>
              <a:gd name="connsiteY1374" fmla="*/ 255584 h 2084191"/>
              <a:gd name="connsiteX1375" fmla="*/ 1837723 w 2051041"/>
              <a:gd name="connsiteY1375" fmla="*/ 257216 h 2084191"/>
              <a:gd name="connsiteX1376" fmla="*/ 1817589 w 2051041"/>
              <a:gd name="connsiteY1376" fmla="*/ 264834 h 2084191"/>
              <a:gd name="connsiteX1377" fmla="*/ 1768069 w 2051041"/>
              <a:gd name="connsiteY1377" fmla="*/ 251774 h 2084191"/>
              <a:gd name="connsiteX1378" fmla="*/ 1764740 w 2051041"/>
              <a:gd name="connsiteY1378" fmla="*/ 250110 h 2084191"/>
              <a:gd name="connsiteX1379" fmla="*/ 1773510 w 2051041"/>
              <a:gd name="connsiteY1379" fmla="*/ 267189 h 2084191"/>
              <a:gd name="connsiteX1380" fmla="*/ 1750655 w 2051041"/>
              <a:gd name="connsiteY1380" fmla="*/ 336843 h 2084191"/>
              <a:gd name="connsiteX1381" fmla="*/ 1673926 w 2051041"/>
              <a:gd name="connsiteY1381" fmla="*/ 310723 h 2084191"/>
              <a:gd name="connsiteX1382" fmla="*/ 1681545 w 2051041"/>
              <a:gd name="connsiteY1382" fmla="*/ 254673 h 2084191"/>
              <a:gd name="connsiteX1383" fmla="*/ 1733786 w 2051041"/>
              <a:gd name="connsiteY1383" fmla="*/ 235083 h 2084191"/>
              <a:gd name="connsiteX1384" fmla="*/ 1751743 w 2051041"/>
              <a:gd name="connsiteY1384" fmla="*/ 242157 h 2084191"/>
              <a:gd name="connsiteX1385" fmla="*/ 1762506 w 2051041"/>
              <a:gd name="connsiteY1385" fmla="*/ 246769 h 2084191"/>
              <a:gd name="connsiteX1386" fmla="*/ 1757185 w 2051041"/>
              <a:gd name="connsiteY1386" fmla="*/ 236537 h 2084191"/>
              <a:gd name="connsiteX1387" fmla="*/ 1756097 w 2051041"/>
              <a:gd name="connsiteY1387" fmla="*/ 185929 h 2084191"/>
              <a:gd name="connsiteX1388" fmla="*/ 1757185 w 2051041"/>
              <a:gd name="connsiteY1388" fmla="*/ 177766 h 2084191"/>
              <a:gd name="connsiteX1389" fmla="*/ 1749023 w 2051041"/>
              <a:gd name="connsiteY1389" fmla="*/ 178311 h 2084191"/>
              <a:gd name="connsiteX1390" fmla="*/ 1676103 w 2051041"/>
              <a:gd name="connsiteY1390" fmla="*/ 154911 h 2084191"/>
              <a:gd name="connsiteX1391" fmla="*/ 1681001 w 2051041"/>
              <a:gd name="connsiteY1391" fmla="*/ 94507 h 2084191"/>
              <a:gd name="connsiteX1392" fmla="*/ 1685681 w 2051041"/>
              <a:gd name="connsiteY1392" fmla="*/ 85147 h 2084191"/>
              <a:gd name="connsiteX1393" fmla="*/ 1693517 w 2051041"/>
              <a:gd name="connsiteY1393" fmla="*/ 82536 h 2084191"/>
              <a:gd name="connsiteX1394" fmla="*/ 1747934 w 2051041"/>
              <a:gd name="connsiteY1394" fmla="*/ 77638 h 2084191"/>
              <a:gd name="connsiteX1395" fmla="*/ 1756641 w 2051041"/>
              <a:gd name="connsiteY1395" fmla="*/ 79271 h 2084191"/>
              <a:gd name="connsiteX1396" fmla="*/ 1754464 w 2051041"/>
              <a:gd name="connsiteY1396" fmla="*/ 71652 h 2084191"/>
              <a:gd name="connsiteX1397" fmla="*/ 1752832 w 2051041"/>
              <a:gd name="connsiteY1397" fmla="*/ 68387 h 2084191"/>
              <a:gd name="connsiteX1398" fmla="*/ 1756097 w 2051041"/>
              <a:gd name="connsiteY1398" fmla="*/ 20500 h 2084191"/>
              <a:gd name="connsiteX1399" fmla="*/ 1756641 w 2051041"/>
              <a:gd name="connsiteY1399" fmla="*/ 16146 h 2084191"/>
              <a:gd name="connsiteX1400" fmla="*/ 1751744 w 2051041"/>
              <a:gd name="connsiteY1400" fmla="*/ 15058 h 2084191"/>
              <a:gd name="connsiteX1401" fmla="*/ 1741404 w 2051041"/>
              <a:gd name="connsiteY1401" fmla="*/ 19955 h 2084191"/>
              <a:gd name="connsiteX1402" fmla="*/ 1691884 w 2051041"/>
              <a:gd name="connsiteY1402" fmla="*/ 11249 h 2084191"/>
              <a:gd name="connsiteX1403" fmla="*/ 1685645 w 2051041"/>
              <a:gd name="connsiteY1403" fmla="*/ 8369 h 2084191"/>
              <a:gd name="connsiteX1404" fmla="*/ 1688620 w 2051041"/>
              <a:gd name="connsiteY1404" fmla="*/ 14691 h 2084191"/>
              <a:gd name="connsiteX1405" fmla="*/ 1691885 w 2051041"/>
              <a:gd name="connsiteY1405" fmla="*/ 69652 h 2084191"/>
              <a:gd name="connsiteX1406" fmla="*/ 1684469 w 2051041"/>
              <a:gd name="connsiteY1406" fmla="*/ 82365 h 2084191"/>
              <a:gd name="connsiteX1407" fmla="*/ 1663044 w 2051041"/>
              <a:gd name="connsiteY1407" fmla="*/ 94684 h 2084191"/>
              <a:gd name="connsiteX1408" fmla="*/ 1626584 w 2051041"/>
              <a:gd name="connsiteY1408" fmla="*/ 96861 h 2084191"/>
              <a:gd name="connsiteX1409" fmla="*/ 1590124 w 2051041"/>
              <a:gd name="connsiteY1409" fmla="*/ 60401 h 2084191"/>
              <a:gd name="connsiteX1410" fmla="*/ 1591757 w 2051041"/>
              <a:gd name="connsiteY1410" fmla="*/ 25030 h 2084191"/>
              <a:gd name="connsiteX1411" fmla="*/ 1460066 w 2051041"/>
              <a:gd name="connsiteY1411" fmla="*/ 0 h 2084191"/>
              <a:gd name="connsiteX1412" fmla="*/ 1498513 w 2051041"/>
              <a:gd name="connsiteY1412" fmla="*/ 0 h 2084191"/>
              <a:gd name="connsiteX1413" fmla="*/ 1517204 w 2051041"/>
              <a:gd name="connsiteY1413" fmla="*/ 8092 h 2084191"/>
              <a:gd name="connsiteX1414" fmla="*/ 1531896 w 2051041"/>
              <a:gd name="connsiteY1414" fmla="*/ 45164 h 2084191"/>
              <a:gd name="connsiteX1415" fmla="*/ 1479111 w 2051041"/>
              <a:gd name="connsiteY1415" fmla="*/ 97949 h 2084191"/>
              <a:gd name="connsiteX1416" fmla="*/ 1426870 w 2051041"/>
              <a:gd name="connsiteY1416" fmla="*/ 45164 h 2084191"/>
              <a:gd name="connsiteX1417" fmla="*/ 1441631 w 2051041"/>
              <a:gd name="connsiteY1417" fmla="*/ 7684 h 2084191"/>
              <a:gd name="connsiteX1418" fmla="*/ 1296749 w 2051041"/>
              <a:gd name="connsiteY1418" fmla="*/ 0 h 2084191"/>
              <a:gd name="connsiteX1419" fmla="*/ 1335755 w 2051041"/>
              <a:gd name="connsiteY1419" fmla="*/ 0 h 2084191"/>
              <a:gd name="connsiteX1420" fmla="*/ 1350278 w 2051041"/>
              <a:gd name="connsiteY1420" fmla="*/ 10270 h 2084191"/>
              <a:gd name="connsiteX1421" fmla="*/ 1365923 w 2051041"/>
              <a:gd name="connsiteY1421" fmla="*/ 45165 h 2084191"/>
              <a:gd name="connsiteX1422" fmla="*/ 1315315 w 2051041"/>
              <a:gd name="connsiteY1422" fmla="*/ 93052 h 2084191"/>
              <a:gd name="connsiteX1423" fmla="*/ 1266339 w 2051041"/>
              <a:gd name="connsiteY1423" fmla="*/ 44076 h 2084191"/>
              <a:gd name="connsiteX1424" fmla="*/ 1282732 w 2051041"/>
              <a:gd name="connsiteY1424" fmla="*/ 9317 h 2084191"/>
              <a:gd name="connsiteX1425" fmla="*/ 1148085 w 2051041"/>
              <a:gd name="connsiteY1425" fmla="*/ 0 h 2084191"/>
              <a:gd name="connsiteX1426" fmla="*/ 1161802 w 2051041"/>
              <a:gd name="connsiteY1426" fmla="*/ 0 h 2084191"/>
              <a:gd name="connsiteX1427" fmla="*/ 1169637 w 2051041"/>
              <a:gd name="connsiteY1427" fmla="*/ 1315 h 2084191"/>
              <a:gd name="connsiteX1428" fmla="*/ 1199405 w 2051041"/>
              <a:gd name="connsiteY1428" fmla="*/ 45164 h 2084191"/>
              <a:gd name="connsiteX1429" fmla="*/ 1151518 w 2051041"/>
              <a:gd name="connsiteY1429" fmla="*/ 91419 h 2084191"/>
              <a:gd name="connsiteX1430" fmla="*/ 1105807 w 2051041"/>
              <a:gd name="connsiteY1430" fmla="*/ 44620 h 2084191"/>
              <a:gd name="connsiteX1431" fmla="*/ 1119139 w 2051041"/>
              <a:gd name="connsiteY1431" fmla="*/ 11902 h 20841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Lst>
            <a:rect l="l" t="t" r="r" b="b"/>
            <a:pathLst>
              <a:path w="2051041" h="2084191">
                <a:moveTo>
                  <a:pt x="2051041" y="2080382"/>
                </a:moveTo>
                <a:lnTo>
                  <a:pt x="2051041" y="2083967"/>
                </a:lnTo>
                <a:lnTo>
                  <a:pt x="2047231" y="2084191"/>
                </a:lnTo>
                <a:cubicBezTo>
                  <a:pt x="2046687" y="2084191"/>
                  <a:pt x="2046143" y="2082559"/>
                  <a:pt x="2045599" y="2081470"/>
                </a:cubicBezTo>
                <a:close/>
                <a:moveTo>
                  <a:pt x="1478568" y="1997668"/>
                </a:moveTo>
                <a:cubicBezTo>
                  <a:pt x="1484010" y="1997668"/>
                  <a:pt x="1485642" y="2000933"/>
                  <a:pt x="1484554" y="2004743"/>
                </a:cubicBezTo>
                <a:cubicBezTo>
                  <a:pt x="1484010" y="2006919"/>
                  <a:pt x="1480745" y="2008551"/>
                  <a:pt x="1478568" y="2009096"/>
                </a:cubicBezTo>
                <a:cubicBezTo>
                  <a:pt x="1474759" y="2009640"/>
                  <a:pt x="1473126" y="2007463"/>
                  <a:pt x="1473126" y="2003654"/>
                </a:cubicBezTo>
                <a:cubicBezTo>
                  <a:pt x="1473126" y="1998756"/>
                  <a:pt x="1475303" y="1997124"/>
                  <a:pt x="1478568" y="1997668"/>
                </a:cubicBezTo>
                <a:close/>
                <a:moveTo>
                  <a:pt x="1641820" y="1993859"/>
                </a:moveTo>
                <a:cubicBezTo>
                  <a:pt x="1646718" y="1993314"/>
                  <a:pt x="1652160" y="1999300"/>
                  <a:pt x="1652160" y="2003654"/>
                </a:cubicBezTo>
                <a:cubicBezTo>
                  <a:pt x="1652160" y="2008551"/>
                  <a:pt x="1646718" y="2013449"/>
                  <a:pt x="1641820" y="2013449"/>
                </a:cubicBezTo>
                <a:cubicBezTo>
                  <a:pt x="1636923" y="2013449"/>
                  <a:pt x="1632025" y="2008007"/>
                  <a:pt x="1632025" y="2003654"/>
                </a:cubicBezTo>
                <a:cubicBezTo>
                  <a:pt x="1632025" y="1999300"/>
                  <a:pt x="1638011" y="1993859"/>
                  <a:pt x="1641820" y="1993859"/>
                </a:cubicBezTo>
                <a:close/>
                <a:moveTo>
                  <a:pt x="1969414" y="1992226"/>
                </a:moveTo>
                <a:cubicBezTo>
                  <a:pt x="1976488" y="1992226"/>
                  <a:pt x="1979753" y="1996035"/>
                  <a:pt x="1979753" y="2003654"/>
                </a:cubicBezTo>
                <a:cubicBezTo>
                  <a:pt x="1979753" y="2011272"/>
                  <a:pt x="1975944" y="2014537"/>
                  <a:pt x="1968325" y="2014537"/>
                </a:cubicBezTo>
                <a:cubicBezTo>
                  <a:pt x="1960707" y="2014537"/>
                  <a:pt x="1957442" y="2010728"/>
                  <a:pt x="1957986" y="2003110"/>
                </a:cubicBezTo>
                <a:cubicBezTo>
                  <a:pt x="1957986" y="1994947"/>
                  <a:pt x="1961251" y="1992226"/>
                  <a:pt x="1969414" y="1992226"/>
                </a:cubicBezTo>
                <a:close/>
                <a:moveTo>
                  <a:pt x="1805073" y="1992226"/>
                </a:moveTo>
                <a:cubicBezTo>
                  <a:pt x="1811058" y="1992226"/>
                  <a:pt x="1815956" y="1996035"/>
                  <a:pt x="1815956" y="2002565"/>
                </a:cubicBezTo>
                <a:cubicBezTo>
                  <a:pt x="1816500" y="2009096"/>
                  <a:pt x="1812147" y="2014537"/>
                  <a:pt x="1805073" y="2014537"/>
                </a:cubicBezTo>
                <a:cubicBezTo>
                  <a:pt x="1799087" y="2014537"/>
                  <a:pt x="1794189" y="2010184"/>
                  <a:pt x="1794189" y="2004198"/>
                </a:cubicBezTo>
                <a:cubicBezTo>
                  <a:pt x="1794189" y="1997668"/>
                  <a:pt x="1799087" y="1992770"/>
                  <a:pt x="1805073" y="1992226"/>
                </a:cubicBezTo>
                <a:close/>
                <a:moveTo>
                  <a:pt x="1234233" y="1916042"/>
                </a:moveTo>
                <a:cubicBezTo>
                  <a:pt x="1238586" y="1915497"/>
                  <a:pt x="1240763" y="1917674"/>
                  <a:pt x="1240219" y="1923660"/>
                </a:cubicBezTo>
                <a:cubicBezTo>
                  <a:pt x="1239674" y="1924204"/>
                  <a:pt x="1237498" y="1926381"/>
                  <a:pt x="1236953" y="1926381"/>
                </a:cubicBezTo>
                <a:cubicBezTo>
                  <a:pt x="1234233" y="1924204"/>
                  <a:pt x="1231512" y="1921483"/>
                  <a:pt x="1229335" y="1918762"/>
                </a:cubicBezTo>
                <a:cubicBezTo>
                  <a:pt x="1230968" y="1917674"/>
                  <a:pt x="1232600" y="1916586"/>
                  <a:pt x="1234233" y="1916042"/>
                </a:cubicBezTo>
                <a:close/>
                <a:moveTo>
                  <a:pt x="1397486" y="1911144"/>
                </a:moveTo>
                <a:cubicBezTo>
                  <a:pt x="1402927" y="1911144"/>
                  <a:pt x="1408369" y="1916041"/>
                  <a:pt x="1408369" y="1921483"/>
                </a:cubicBezTo>
                <a:cubicBezTo>
                  <a:pt x="1408369" y="1926925"/>
                  <a:pt x="1404016" y="1931279"/>
                  <a:pt x="1399118" y="1931823"/>
                </a:cubicBezTo>
                <a:cubicBezTo>
                  <a:pt x="1392588" y="1932367"/>
                  <a:pt x="1387146" y="1928013"/>
                  <a:pt x="1387146" y="1922028"/>
                </a:cubicBezTo>
                <a:cubicBezTo>
                  <a:pt x="1386602" y="1916586"/>
                  <a:pt x="1391500" y="1911144"/>
                  <a:pt x="1397486" y="1911144"/>
                </a:cubicBezTo>
                <a:close/>
                <a:moveTo>
                  <a:pt x="1560194" y="1906790"/>
                </a:moveTo>
                <a:cubicBezTo>
                  <a:pt x="1566180" y="1906790"/>
                  <a:pt x="1574342" y="1914953"/>
                  <a:pt x="1574342" y="1921482"/>
                </a:cubicBezTo>
                <a:cubicBezTo>
                  <a:pt x="1574342" y="1928013"/>
                  <a:pt x="1566724" y="1936175"/>
                  <a:pt x="1560738" y="1935631"/>
                </a:cubicBezTo>
                <a:cubicBezTo>
                  <a:pt x="1554752" y="1935631"/>
                  <a:pt x="1547678" y="1928557"/>
                  <a:pt x="1547134" y="1922027"/>
                </a:cubicBezTo>
                <a:cubicBezTo>
                  <a:pt x="1546589" y="1915497"/>
                  <a:pt x="1554208" y="1907334"/>
                  <a:pt x="1560194" y="1906790"/>
                </a:cubicBezTo>
                <a:close/>
                <a:moveTo>
                  <a:pt x="2049952" y="1905702"/>
                </a:moveTo>
                <a:lnTo>
                  <a:pt x="2051041" y="1906027"/>
                </a:lnTo>
                <a:lnTo>
                  <a:pt x="2051041" y="1938133"/>
                </a:lnTo>
                <a:lnTo>
                  <a:pt x="2050496" y="1938353"/>
                </a:lnTo>
                <a:cubicBezTo>
                  <a:pt x="2039613" y="1937808"/>
                  <a:pt x="2034715" y="1933455"/>
                  <a:pt x="2034171" y="1922572"/>
                </a:cubicBezTo>
                <a:cubicBezTo>
                  <a:pt x="2034171" y="1911144"/>
                  <a:pt x="2039069" y="1905702"/>
                  <a:pt x="2049952" y="1905702"/>
                </a:cubicBezTo>
                <a:close/>
                <a:moveTo>
                  <a:pt x="1723447" y="1905702"/>
                </a:moveTo>
                <a:cubicBezTo>
                  <a:pt x="1730521" y="1905702"/>
                  <a:pt x="1739772" y="1914409"/>
                  <a:pt x="1739772" y="1920939"/>
                </a:cubicBezTo>
                <a:cubicBezTo>
                  <a:pt x="1740316" y="1929101"/>
                  <a:pt x="1732698" y="1936720"/>
                  <a:pt x="1724535" y="1937264"/>
                </a:cubicBezTo>
                <a:cubicBezTo>
                  <a:pt x="1716373" y="1937264"/>
                  <a:pt x="1708754" y="1930190"/>
                  <a:pt x="1708210" y="1922027"/>
                </a:cubicBezTo>
                <a:cubicBezTo>
                  <a:pt x="1708210" y="1914953"/>
                  <a:pt x="1716373" y="1905702"/>
                  <a:pt x="1723447" y="1905702"/>
                </a:cubicBezTo>
                <a:close/>
                <a:moveTo>
                  <a:pt x="1887787" y="1905158"/>
                </a:moveTo>
                <a:cubicBezTo>
                  <a:pt x="1898671" y="1905158"/>
                  <a:pt x="1904113" y="1911144"/>
                  <a:pt x="1904113" y="1922028"/>
                </a:cubicBezTo>
                <a:cubicBezTo>
                  <a:pt x="1904113" y="1932367"/>
                  <a:pt x="1898127" y="1937809"/>
                  <a:pt x="1886699" y="1937809"/>
                </a:cubicBezTo>
                <a:cubicBezTo>
                  <a:pt x="1876360" y="1937809"/>
                  <a:pt x="1870918" y="1931823"/>
                  <a:pt x="1870918" y="1921483"/>
                </a:cubicBezTo>
                <a:cubicBezTo>
                  <a:pt x="1870918" y="1910600"/>
                  <a:pt x="1876904" y="1904614"/>
                  <a:pt x="1887787" y="1905158"/>
                </a:cubicBezTo>
                <a:close/>
                <a:moveTo>
                  <a:pt x="1152606" y="1831693"/>
                </a:moveTo>
                <a:cubicBezTo>
                  <a:pt x="1155871" y="1832782"/>
                  <a:pt x="1160769" y="1836591"/>
                  <a:pt x="1161313" y="1839312"/>
                </a:cubicBezTo>
                <a:cubicBezTo>
                  <a:pt x="1160769" y="1843121"/>
                  <a:pt x="1156959" y="1846931"/>
                  <a:pt x="1153694" y="1852916"/>
                </a:cubicBezTo>
                <a:cubicBezTo>
                  <a:pt x="1149341" y="1847475"/>
                  <a:pt x="1146076" y="1844754"/>
                  <a:pt x="1144988" y="1841489"/>
                </a:cubicBezTo>
                <a:cubicBezTo>
                  <a:pt x="1143355" y="1837135"/>
                  <a:pt x="1148797" y="1830605"/>
                  <a:pt x="1152606" y="1831693"/>
                </a:cubicBezTo>
                <a:close/>
                <a:moveTo>
                  <a:pt x="1315315" y="1825708"/>
                </a:moveTo>
                <a:cubicBezTo>
                  <a:pt x="1321301" y="1825164"/>
                  <a:pt x="1331096" y="1834415"/>
                  <a:pt x="1330552" y="1840401"/>
                </a:cubicBezTo>
                <a:cubicBezTo>
                  <a:pt x="1330552" y="1845298"/>
                  <a:pt x="1321301" y="1854549"/>
                  <a:pt x="1316404" y="1854549"/>
                </a:cubicBezTo>
                <a:cubicBezTo>
                  <a:pt x="1310962" y="1855094"/>
                  <a:pt x="1302255" y="1846387"/>
                  <a:pt x="1301711" y="1840945"/>
                </a:cubicBezTo>
                <a:cubicBezTo>
                  <a:pt x="1301167" y="1834959"/>
                  <a:pt x="1309329" y="1826252"/>
                  <a:pt x="1315315" y="1825708"/>
                </a:cubicBezTo>
                <a:close/>
                <a:moveTo>
                  <a:pt x="1479656" y="1822987"/>
                </a:moveTo>
                <a:cubicBezTo>
                  <a:pt x="1489995" y="1823531"/>
                  <a:pt x="1495981" y="1830061"/>
                  <a:pt x="1495981" y="1840401"/>
                </a:cubicBezTo>
                <a:cubicBezTo>
                  <a:pt x="1495981" y="1851284"/>
                  <a:pt x="1490539" y="1856726"/>
                  <a:pt x="1478567" y="1856182"/>
                </a:cubicBezTo>
                <a:cubicBezTo>
                  <a:pt x="1467140" y="1856182"/>
                  <a:pt x="1462242" y="1850740"/>
                  <a:pt x="1462242" y="1839312"/>
                </a:cubicBezTo>
                <a:cubicBezTo>
                  <a:pt x="1462242" y="1828429"/>
                  <a:pt x="1468772" y="1822443"/>
                  <a:pt x="1479656" y="1822987"/>
                </a:cubicBezTo>
                <a:close/>
                <a:moveTo>
                  <a:pt x="1642365" y="1821355"/>
                </a:moveTo>
                <a:cubicBezTo>
                  <a:pt x="1653248" y="1821355"/>
                  <a:pt x="1661955" y="1829518"/>
                  <a:pt x="1660867" y="1840401"/>
                </a:cubicBezTo>
                <a:cubicBezTo>
                  <a:pt x="1659778" y="1853461"/>
                  <a:pt x="1653792" y="1857270"/>
                  <a:pt x="1642365" y="1857270"/>
                </a:cubicBezTo>
                <a:cubicBezTo>
                  <a:pt x="1630937" y="1857270"/>
                  <a:pt x="1624407" y="1850740"/>
                  <a:pt x="1624407" y="1839857"/>
                </a:cubicBezTo>
                <a:cubicBezTo>
                  <a:pt x="1624407" y="1828973"/>
                  <a:pt x="1632025" y="1821355"/>
                  <a:pt x="1642365" y="1821355"/>
                </a:cubicBezTo>
                <a:close/>
                <a:moveTo>
                  <a:pt x="1806162" y="1819723"/>
                </a:moveTo>
                <a:cubicBezTo>
                  <a:pt x="1816501" y="1819723"/>
                  <a:pt x="1827385" y="1831150"/>
                  <a:pt x="1826840" y="1840945"/>
                </a:cubicBezTo>
                <a:cubicBezTo>
                  <a:pt x="1826296" y="1850740"/>
                  <a:pt x="1813780" y="1862168"/>
                  <a:pt x="1804529" y="1861080"/>
                </a:cubicBezTo>
                <a:cubicBezTo>
                  <a:pt x="1795278" y="1860536"/>
                  <a:pt x="1783851" y="1847476"/>
                  <a:pt x="1784395" y="1839313"/>
                </a:cubicBezTo>
                <a:cubicBezTo>
                  <a:pt x="1784939" y="1828973"/>
                  <a:pt x="1796367" y="1819178"/>
                  <a:pt x="1806162" y="1819723"/>
                </a:cubicBezTo>
                <a:close/>
                <a:moveTo>
                  <a:pt x="1968870" y="1819178"/>
                </a:moveTo>
                <a:cubicBezTo>
                  <a:pt x="1980298" y="1819178"/>
                  <a:pt x="1990093" y="1828973"/>
                  <a:pt x="1990093" y="1840401"/>
                </a:cubicBezTo>
                <a:cubicBezTo>
                  <a:pt x="1990093" y="1851285"/>
                  <a:pt x="1980298" y="1861624"/>
                  <a:pt x="1968870" y="1861624"/>
                </a:cubicBezTo>
                <a:cubicBezTo>
                  <a:pt x="1957986" y="1861624"/>
                  <a:pt x="1947647" y="1851285"/>
                  <a:pt x="1947647" y="1840401"/>
                </a:cubicBezTo>
                <a:cubicBezTo>
                  <a:pt x="1947647" y="1828973"/>
                  <a:pt x="1957986" y="1819178"/>
                  <a:pt x="1968870" y="1819178"/>
                </a:cubicBezTo>
                <a:close/>
                <a:moveTo>
                  <a:pt x="1070436" y="1747347"/>
                </a:moveTo>
                <a:cubicBezTo>
                  <a:pt x="1078598" y="1747347"/>
                  <a:pt x="1081863" y="1750612"/>
                  <a:pt x="1081863" y="1758231"/>
                </a:cubicBezTo>
                <a:cubicBezTo>
                  <a:pt x="1081863" y="1766393"/>
                  <a:pt x="1078598" y="1769658"/>
                  <a:pt x="1070980" y="1769658"/>
                </a:cubicBezTo>
                <a:cubicBezTo>
                  <a:pt x="1063361" y="1769658"/>
                  <a:pt x="1060096" y="1766393"/>
                  <a:pt x="1059552" y="1758775"/>
                </a:cubicBezTo>
                <a:cubicBezTo>
                  <a:pt x="1059552" y="1751156"/>
                  <a:pt x="1062817" y="1747347"/>
                  <a:pt x="1070436" y="1747347"/>
                </a:cubicBezTo>
                <a:close/>
                <a:moveTo>
                  <a:pt x="1233688" y="1742449"/>
                </a:moveTo>
                <a:cubicBezTo>
                  <a:pt x="1242939" y="1741904"/>
                  <a:pt x="1250558" y="1750067"/>
                  <a:pt x="1250558" y="1758774"/>
                </a:cubicBezTo>
                <a:cubicBezTo>
                  <a:pt x="1250558" y="1767481"/>
                  <a:pt x="1242939" y="1775099"/>
                  <a:pt x="1233688" y="1775099"/>
                </a:cubicBezTo>
                <a:cubicBezTo>
                  <a:pt x="1224981" y="1775099"/>
                  <a:pt x="1218451" y="1768025"/>
                  <a:pt x="1217907" y="1759318"/>
                </a:cubicBezTo>
                <a:cubicBezTo>
                  <a:pt x="1217907" y="1750067"/>
                  <a:pt x="1224981" y="1742449"/>
                  <a:pt x="1233688" y="1742449"/>
                </a:cubicBezTo>
                <a:close/>
                <a:moveTo>
                  <a:pt x="1399662" y="1739728"/>
                </a:moveTo>
                <a:cubicBezTo>
                  <a:pt x="1410002" y="1740817"/>
                  <a:pt x="1418164" y="1750068"/>
                  <a:pt x="1417076" y="1760407"/>
                </a:cubicBezTo>
                <a:cubicBezTo>
                  <a:pt x="1415988" y="1769114"/>
                  <a:pt x="1404560" y="1779997"/>
                  <a:pt x="1396941" y="1779453"/>
                </a:cubicBezTo>
                <a:cubicBezTo>
                  <a:pt x="1388779" y="1778909"/>
                  <a:pt x="1376807" y="1765305"/>
                  <a:pt x="1377895" y="1757686"/>
                </a:cubicBezTo>
                <a:cubicBezTo>
                  <a:pt x="1379528" y="1746803"/>
                  <a:pt x="1389867" y="1738640"/>
                  <a:pt x="1399662" y="1739728"/>
                </a:cubicBezTo>
                <a:close/>
                <a:moveTo>
                  <a:pt x="1723991" y="1735919"/>
                </a:moveTo>
                <a:cubicBezTo>
                  <a:pt x="1738140" y="1735919"/>
                  <a:pt x="1746847" y="1744626"/>
                  <a:pt x="1746847" y="1758774"/>
                </a:cubicBezTo>
                <a:cubicBezTo>
                  <a:pt x="1746847" y="1772379"/>
                  <a:pt x="1738140" y="1781086"/>
                  <a:pt x="1723991" y="1781086"/>
                </a:cubicBezTo>
                <a:cubicBezTo>
                  <a:pt x="1709299" y="1781086"/>
                  <a:pt x="1701680" y="1773467"/>
                  <a:pt x="1701680" y="1758774"/>
                </a:cubicBezTo>
                <a:cubicBezTo>
                  <a:pt x="1701680" y="1744626"/>
                  <a:pt x="1709843" y="1735919"/>
                  <a:pt x="1723991" y="1735919"/>
                </a:cubicBezTo>
                <a:close/>
                <a:moveTo>
                  <a:pt x="1560194" y="1735919"/>
                </a:moveTo>
                <a:cubicBezTo>
                  <a:pt x="1572710" y="1736463"/>
                  <a:pt x="1582505" y="1746258"/>
                  <a:pt x="1582505" y="1758230"/>
                </a:cubicBezTo>
                <a:cubicBezTo>
                  <a:pt x="1582505" y="1770202"/>
                  <a:pt x="1572710" y="1779997"/>
                  <a:pt x="1560738" y="1779997"/>
                </a:cubicBezTo>
                <a:cubicBezTo>
                  <a:pt x="1549855" y="1779997"/>
                  <a:pt x="1538427" y="1769114"/>
                  <a:pt x="1538427" y="1758230"/>
                </a:cubicBezTo>
                <a:cubicBezTo>
                  <a:pt x="1538427" y="1746803"/>
                  <a:pt x="1548766" y="1735919"/>
                  <a:pt x="1560194" y="1735919"/>
                </a:cubicBezTo>
                <a:close/>
                <a:moveTo>
                  <a:pt x="2051041" y="1734831"/>
                </a:moveTo>
                <a:lnTo>
                  <a:pt x="2051041" y="1781438"/>
                </a:lnTo>
                <a:lnTo>
                  <a:pt x="2050496" y="1781630"/>
                </a:lnTo>
                <a:cubicBezTo>
                  <a:pt x="2033627" y="1782174"/>
                  <a:pt x="2027097" y="1772379"/>
                  <a:pt x="2027097" y="1758775"/>
                </a:cubicBezTo>
                <a:cubicBezTo>
                  <a:pt x="2027097" y="1744082"/>
                  <a:pt x="2033627" y="1734831"/>
                  <a:pt x="2051041" y="1734831"/>
                </a:cubicBezTo>
                <a:close/>
                <a:moveTo>
                  <a:pt x="1887788" y="1734831"/>
                </a:moveTo>
                <a:cubicBezTo>
                  <a:pt x="1902481" y="1735375"/>
                  <a:pt x="1910099" y="1742994"/>
                  <a:pt x="1910099" y="1758775"/>
                </a:cubicBezTo>
                <a:cubicBezTo>
                  <a:pt x="1910099" y="1771835"/>
                  <a:pt x="1903025" y="1782718"/>
                  <a:pt x="1886699" y="1781086"/>
                </a:cubicBezTo>
                <a:cubicBezTo>
                  <a:pt x="1872551" y="1782174"/>
                  <a:pt x="1863844" y="1770203"/>
                  <a:pt x="1863844" y="1757687"/>
                </a:cubicBezTo>
                <a:cubicBezTo>
                  <a:pt x="1863844" y="1742994"/>
                  <a:pt x="1874728" y="1734287"/>
                  <a:pt x="1887788" y="1734831"/>
                </a:cubicBezTo>
                <a:close/>
                <a:moveTo>
                  <a:pt x="826100" y="1671706"/>
                </a:moveTo>
                <a:cubicBezTo>
                  <a:pt x="830454" y="1670618"/>
                  <a:pt x="832086" y="1673338"/>
                  <a:pt x="832086" y="1677692"/>
                </a:cubicBezTo>
                <a:cubicBezTo>
                  <a:pt x="832086" y="1681501"/>
                  <a:pt x="829365" y="1683134"/>
                  <a:pt x="825556" y="1683134"/>
                </a:cubicBezTo>
                <a:cubicBezTo>
                  <a:pt x="821203" y="1683134"/>
                  <a:pt x="819570" y="1679869"/>
                  <a:pt x="820658" y="1676603"/>
                </a:cubicBezTo>
                <a:cubicBezTo>
                  <a:pt x="821203" y="1674427"/>
                  <a:pt x="823924" y="1672250"/>
                  <a:pt x="826100" y="1671706"/>
                </a:cubicBezTo>
                <a:close/>
                <a:moveTo>
                  <a:pt x="989354" y="1661912"/>
                </a:moveTo>
                <a:cubicBezTo>
                  <a:pt x="994251" y="1661912"/>
                  <a:pt x="1004046" y="1671707"/>
                  <a:pt x="1004046" y="1676604"/>
                </a:cubicBezTo>
                <a:cubicBezTo>
                  <a:pt x="1004046" y="1682590"/>
                  <a:pt x="996428" y="1690209"/>
                  <a:pt x="989354" y="1690209"/>
                </a:cubicBezTo>
                <a:cubicBezTo>
                  <a:pt x="982823" y="1690209"/>
                  <a:pt x="975749" y="1683679"/>
                  <a:pt x="975205" y="1677693"/>
                </a:cubicBezTo>
                <a:cubicBezTo>
                  <a:pt x="974661" y="1671707"/>
                  <a:pt x="983912" y="1661367"/>
                  <a:pt x="989354" y="1661912"/>
                </a:cubicBezTo>
                <a:close/>
                <a:moveTo>
                  <a:pt x="1153151" y="1659734"/>
                </a:moveTo>
                <a:cubicBezTo>
                  <a:pt x="1162946" y="1658646"/>
                  <a:pt x="1171108" y="1667353"/>
                  <a:pt x="1170564" y="1677692"/>
                </a:cubicBezTo>
                <a:cubicBezTo>
                  <a:pt x="1170020" y="1688575"/>
                  <a:pt x="1162946" y="1694562"/>
                  <a:pt x="1152062" y="1694562"/>
                </a:cubicBezTo>
                <a:cubicBezTo>
                  <a:pt x="1141179" y="1694017"/>
                  <a:pt x="1135737" y="1688031"/>
                  <a:pt x="1135737" y="1677148"/>
                </a:cubicBezTo>
                <a:cubicBezTo>
                  <a:pt x="1135737" y="1664632"/>
                  <a:pt x="1141179" y="1659190"/>
                  <a:pt x="1153151" y="1659734"/>
                </a:cubicBezTo>
                <a:close/>
                <a:moveTo>
                  <a:pt x="1315315" y="1655381"/>
                </a:moveTo>
                <a:cubicBezTo>
                  <a:pt x="1327287" y="1654836"/>
                  <a:pt x="1337082" y="1664088"/>
                  <a:pt x="1337082" y="1676603"/>
                </a:cubicBezTo>
                <a:cubicBezTo>
                  <a:pt x="1337082" y="1688575"/>
                  <a:pt x="1326743" y="1698915"/>
                  <a:pt x="1315315" y="1698915"/>
                </a:cubicBezTo>
                <a:cubicBezTo>
                  <a:pt x="1304976" y="1698915"/>
                  <a:pt x="1294092" y="1687487"/>
                  <a:pt x="1294092" y="1677148"/>
                </a:cubicBezTo>
                <a:cubicBezTo>
                  <a:pt x="1294092" y="1666264"/>
                  <a:pt x="1304431" y="1655925"/>
                  <a:pt x="1315315" y="1655381"/>
                </a:cubicBezTo>
                <a:close/>
                <a:moveTo>
                  <a:pt x="1479111" y="1654293"/>
                </a:moveTo>
                <a:cubicBezTo>
                  <a:pt x="1495437" y="1653204"/>
                  <a:pt x="1501967" y="1664632"/>
                  <a:pt x="1501967" y="1677692"/>
                </a:cubicBezTo>
                <a:cubicBezTo>
                  <a:pt x="1501967" y="1689664"/>
                  <a:pt x="1492716" y="1700548"/>
                  <a:pt x="1479111" y="1700548"/>
                </a:cubicBezTo>
                <a:cubicBezTo>
                  <a:pt x="1466596" y="1700548"/>
                  <a:pt x="1455712" y="1690208"/>
                  <a:pt x="1455712" y="1676604"/>
                </a:cubicBezTo>
                <a:cubicBezTo>
                  <a:pt x="1456256" y="1663544"/>
                  <a:pt x="1464963" y="1653204"/>
                  <a:pt x="1479111" y="1654293"/>
                </a:cubicBezTo>
                <a:close/>
                <a:moveTo>
                  <a:pt x="1643452" y="1650483"/>
                </a:moveTo>
                <a:cubicBezTo>
                  <a:pt x="1654880" y="1651027"/>
                  <a:pt x="1667940" y="1664087"/>
                  <a:pt x="1668484" y="1676603"/>
                </a:cubicBezTo>
                <a:cubicBezTo>
                  <a:pt x="1669029" y="1689120"/>
                  <a:pt x="1655968" y="1702724"/>
                  <a:pt x="1643452" y="1703268"/>
                </a:cubicBezTo>
                <a:cubicBezTo>
                  <a:pt x="1631480" y="1703812"/>
                  <a:pt x="1617332" y="1690208"/>
                  <a:pt x="1617332" y="1677692"/>
                </a:cubicBezTo>
                <a:cubicBezTo>
                  <a:pt x="1616788" y="1664632"/>
                  <a:pt x="1630392" y="1650483"/>
                  <a:pt x="1643452" y="1650483"/>
                </a:cubicBezTo>
                <a:close/>
                <a:moveTo>
                  <a:pt x="1968326" y="1649940"/>
                </a:moveTo>
                <a:cubicBezTo>
                  <a:pt x="1983019" y="1649395"/>
                  <a:pt x="1997167" y="1664088"/>
                  <a:pt x="1995535" y="1676604"/>
                </a:cubicBezTo>
                <a:cubicBezTo>
                  <a:pt x="1997167" y="1689664"/>
                  <a:pt x="1982474" y="1704901"/>
                  <a:pt x="1968870" y="1704357"/>
                </a:cubicBezTo>
                <a:cubicBezTo>
                  <a:pt x="1954177" y="1703813"/>
                  <a:pt x="1942205" y="1691841"/>
                  <a:pt x="1941661" y="1677148"/>
                </a:cubicBezTo>
                <a:cubicBezTo>
                  <a:pt x="1941117" y="1662456"/>
                  <a:pt x="1956354" y="1649940"/>
                  <a:pt x="1968326" y="1649940"/>
                </a:cubicBezTo>
                <a:close/>
                <a:moveTo>
                  <a:pt x="1805617" y="1649939"/>
                </a:moveTo>
                <a:cubicBezTo>
                  <a:pt x="1819222" y="1648851"/>
                  <a:pt x="1832826" y="1664088"/>
                  <a:pt x="1832826" y="1677148"/>
                </a:cubicBezTo>
                <a:cubicBezTo>
                  <a:pt x="1832282" y="1690752"/>
                  <a:pt x="1819222" y="1703812"/>
                  <a:pt x="1805073" y="1704357"/>
                </a:cubicBezTo>
                <a:cubicBezTo>
                  <a:pt x="1792557" y="1704901"/>
                  <a:pt x="1777864" y="1688031"/>
                  <a:pt x="1778409" y="1677148"/>
                </a:cubicBezTo>
                <a:cubicBezTo>
                  <a:pt x="1779497" y="1662999"/>
                  <a:pt x="1791469" y="1649939"/>
                  <a:pt x="1805617" y="1649939"/>
                </a:cubicBezTo>
                <a:close/>
                <a:moveTo>
                  <a:pt x="744474" y="1588992"/>
                </a:moveTo>
                <a:cubicBezTo>
                  <a:pt x="748827" y="1588992"/>
                  <a:pt x="751004" y="1590624"/>
                  <a:pt x="751004" y="1594978"/>
                </a:cubicBezTo>
                <a:cubicBezTo>
                  <a:pt x="751004" y="1598787"/>
                  <a:pt x="749916" y="1601508"/>
                  <a:pt x="745562" y="1602052"/>
                </a:cubicBezTo>
                <a:cubicBezTo>
                  <a:pt x="740665" y="1602052"/>
                  <a:pt x="738488" y="1600420"/>
                  <a:pt x="738488" y="1594978"/>
                </a:cubicBezTo>
                <a:cubicBezTo>
                  <a:pt x="737944" y="1590624"/>
                  <a:pt x="740121" y="1588992"/>
                  <a:pt x="744474" y="1588992"/>
                </a:cubicBezTo>
                <a:close/>
                <a:moveTo>
                  <a:pt x="907183" y="1579741"/>
                </a:moveTo>
                <a:cubicBezTo>
                  <a:pt x="913169" y="1579197"/>
                  <a:pt x="923508" y="1588992"/>
                  <a:pt x="923508" y="1594978"/>
                </a:cubicBezTo>
                <a:cubicBezTo>
                  <a:pt x="923508" y="1600964"/>
                  <a:pt x="915345" y="1610215"/>
                  <a:pt x="908815" y="1610759"/>
                </a:cubicBezTo>
                <a:cubicBezTo>
                  <a:pt x="901197" y="1611303"/>
                  <a:pt x="892490" y="1603685"/>
                  <a:pt x="892490" y="1595522"/>
                </a:cubicBezTo>
                <a:cubicBezTo>
                  <a:pt x="892490" y="1588448"/>
                  <a:pt x="900653" y="1579741"/>
                  <a:pt x="907183" y="1579741"/>
                </a:cubicBezTo>
                <a:close/>
                <a:moveTo>
                  <a:pt x="1071524" y="1574843"/>
                </a:moveTo>
                <a:cubicBezTo>
                  <a:pt x="1081319" y="1575387"/>
                  <a:pt x="1091114" y="1585726"/>
                  <a:pt x="1091114" y="1595522"/>
                </a:cubicBezTo>
                <a:cubicBezTo>
                  <a:pt x="1091114" y="1605317"/>
                  <a:pt x="1080231" y="1615656"/>
                  <a:pt x="1070980" y="1615656"/>
                </a:cubicBezTo>
                <a:cubicBezTo>
                  <a:pt x="1062273" y="1615656"/>
                  <a:pt x="1050845" y="1604228"/>
                  <a:pt x="1050301" y="1595522"/>
                </a:cubicBezTo>
                <a:cubicBezTo>
                  <a:pt x="1050301" y="1586270"/>
                  <a:pt x="1062273" y="1574299"/>
                  <a:pt x="1071524" y="1574843"/>
                </a:cubicBezTo>
                <a:close/>
                <a:moveTo>
                  <a:pt x="1233688" y="1573210"/>
                </a:moveTo>
                <a:cubicBezTo>
                  <a:pt x="1247837" y="1573210"/>
                  <a:pt x="1256544" y="1581373"/>
                  <a:pt x="1256544" y="1595522"/>
                </a:cubicBezTo>
                <a:cubicBezTo>
                  <a:pt x="1256544" y="1609670"/>
                  <a:pt x="1247837" y="1618377"/>
                  <a:pt x="1233688" y="1618377"/>
                </a:cubicBezTo>
                <a:cubicBezTo>
                  <a:pt x="1221172" y="1618377"/>
                  <a:pt x="1212465" y="1608582"/>
                  <a:pt x="1211377" y="1596610"/>
                </a:cubicBezTo>
                <a:cubicBezTo>
                  <a:pt x="1210289" y="1584638"/>
                  <a:pt x="1222261" y="1571034"/>
                  <a:pt x="1233688" y="1573210"/>
                </a:cubicBezTo>
                <a:close/>
                <a:moveTo>
                  <a:pt x="1398030" y="1569402"/>
                </a:moveTo>
                <a:cubicBezTo>
                  <a:pt x="1411634" y="1569946"/>
                  <a:pt x="1423606" y="1582462"/>
                  <a:pt x="1423062" y="1595522"/>
                </a:cubicBezTo>
                <a:cubicBezTo>
                  <a:pt x="1423062" y="1608582"/>
                  <a:pt x="1410546" y="1621099"/>
                  <a:pt x="1397485" y="1621099"/>
                </a:cubicBezTo>
                <a:cubicBezTo>
                  <a:pt x="1384969" y="1621099"/>
                  <a:pt x="1371365" y="1608038"/>
                  <a:pt x="1371365" y="1595522"/>
                </a:cubicBezTo>
                <a:cubicBezTo>
                  <a:pt x="1371365" y="1582462"/>
                  <a:pt x="1384969" y="1568857"/>
                  <a:pt x="1398030" y="1569402"/>
                </a:cubicBezTo>
                <a:close/>
                <a:moveTo>
                  <a:pt x="1560194" y="1568313"/>
                </a:moveTo>
                <a:cubicBezTo>
                  <a:pt x="1574342" y="1566680"/>
                  <a:pt x="1587403" y="1581373"/>
                  <a:pt x="1587947" y="1594433"/>
                </a:cubicBezTo>
                <a:cubicBezTo>
                  <a:pt x="1588491" y="1608582"/>
                  <a:pt x="1574887" y="1622730"/>
                  <a:pt x="1560194" y="1622730"/>
                </a:cubicBezTo>
                <a:cubicBezTo>
                  <a:pt x="1547134" y="1622730"/>
                  <a:pt x="1532985" y="1608582"/>
                  <a:pt x="1532985" y="1594977"/>
                </a:cubicBezTo>
                <a:cubicBezTo>
                  <a:pt x="1532985" y="1581917"/>
                  <a:pt x="1547134" y="1566680"/>
                  <a:pt x="1560194" y="1568313"/>
                </a:cubicBezTo>
                <a:close/>
                <a:moveTo>
                  <a:pt x="1887244" y="1567225"/>
                </a:moveTo>
                <a:cubicBezTo>
                  <a:pt x="1905202" y="1567225"/>
                  <a:pt x="1915541" y="1578109"/>
                  <a:pt x="1915541" y="1594978"/>
                </a:cubicBezTo>
                <a:cubicBezTo>
                  <a:pt x="1915541" y="1612392"/>
                  <a:pt x="1903569" y="1624363"/>
                  <a:pt x="1886699" y="1623819"/>
                </a:cubicBezTo>
                <a:cubicBezTo>
                  <a:pt x="1872551" y="1623819"/>
                  <a:pt x="1857314" y="1613480"/>
                  <a:pt x="1858947" y="1594978"/>
                </a:cubicBezTo>
                <a:cubicBezTo>
                  <a:pt x="1857858" y="1577564"/>
                  <a:pt x="1870918" y="1567225"/>
                  <a:pt x="1887244" y="1567225"/>
                </a:cubicBezTo>
                <a:close/>
                <a:moveTo>
                  <a:pt x="1724535" y="1567225"/>
                </a:moveTo>
                <a:cubicBezTo>
                  <a:pt x="1743037" y="1567225"/>
                  <a:pt x="1752288" y="1581373"/>
                  <a:pt x="1752288" y="1594978"/>
                </a:cubicBezTo>
                <a:cubicBezTo>
                  <a:pt x="1752288" y="1609127"/>
                  <a:pt x="1741949" y="1623275"/>
                  <a:pt x="1724535" y="1623275"/>
                </a:cubicBezTo>
                <a:cubicBezTo>
                  <a:pt x="1710930" y="1623819"/>
                  <a:pt x="1694605" y="1613480"/>
                  <a:pt x="1696238" y="1594978"/>
                </a:cubicBezTo>
                <a:cubicBezTo>
                  <a:pt x="1694605" y="1577564"/>
                  <a:pt x="1708754" y="1567225"/>
                  <a:pt x="1724535" y="1567225"/>
                </a:cubicBezTo>
                <a:close/>
                <a:moveTo>
                  <a:pt x="2050496" y="1566680"/>
                </a:moveTo>
                <a:lnTo>
                  <a:pt x="2051041" y="1566888"/>
                </a:lnTo>
                <a:lnTo>
                  <a:pt x="2051041" y="1623794"/>
                </a:lnTo>
                <a:lnTo>
                  <a:pt x="2049408" y="1624363"/>
                </a:lnTo>
                <a:cubicBezTo>
                  <a:pt x="2033083" y="1623818"/>
                  <a:pt x="2021111" y="1611302"/>
                  <a:pt x="2021655" y="1594977"/>
                </a:cubicBezTo>
                <a:cubicBezTo>
                  <a:pt x="2022199" y="1575931"/>
                  <a:pt x="2033627" y="1567224"/>
                  <a:pt x="2050496" y="1566680"/>
                </a:cubicBezTo>
                <a:close/>
                <a:moveTo>
                  <a:pt x="663392" y="1505188"/>
                </a:moveTo>
                <a:cubicBezTo>
                  <a:pt x="666113" y="1505188"/>
                  <a:pt x="669922" y="1510086"/>
                  <a:pt x="674819" y="1513895"/>
                </a:cubicBezTo>
                <a:cubicBezTo>
                  <a:pt x="669378" y="1517704"/>
                  <a:pt x="665569" y="1522602"/>
                  <a:pt x="662848" y="1522058"/>
                </a:cubicBezTo>
                <a:cubicBezTo>
                  <a:pt x="659583" y="1521513"/>
                  <a:pt x="654685" y="1516072"/>
                  <a:pt x="654685" y="1513351"/>
                </a:cubicBezTo>
                <a:cubicBezTo>
                  <a:pt x="654685" y="1510086"/>
                  <a:pt x="660127" y="1505188"/>
                  <a:pt x="663392" y="1505188"/>
                </a:cubicBezTo>
                <a:close/>
                <a:moveTo>
                  <a:pt x="826101" y="1497570"/>
                </a:moveTo>
                <a:cubicBezTo>
                  <a:pt x="834263" y="1497025"/>
                  <a:pt x="842426" y="1505188"/>
                  <a:pt x="842970" y="1513351"/>
                </a:cubicBezTo>
                <a:cubicBezTo>
                  <a:pt x="842970" y="1522058"/>
                  <a:pt x="835352" y="1529676"/>
                  <a:pt x="826645" y="1529676"/>
                </a:cubicBezTo>
                <a:cubicBezTo>
                  <a:pt x="818482" y="1529676"/>
                  <a:pt x="810864" y="1523146"/>
                  <a:pt x="810319" y="1514983"/>
                </a:cubicBezTo>
                <a:cubicBezTo>
                  <a:pt x="809775" y="1506276"/>
                  <a:pt x="817394" y="1498114"/>
                  <a:pt x="826101" y="1497570"/>
                </a:cubicBezTo>
                <a:close/>
                <a:moveTo>
                  <a:pt x="988265" y="1492128"/>
                </a:moveTo>
                <a:cubicBezTo>
                  <a:pt x="998605" y="1492128"/>
                  <a:pt x="1010577" y="1501379"/>
                  <a:pt x="1010577" y="1513351"/>
                </a:cubicBezTo>
                <a:cubicBezTo>
                  <a:pt x="1010577" y="1524234"/>
                  <a:pt x="1000237" y="1534574"/>
                  <a:pt x="989354" y="1534574"/>
                </a:cubicBezTo>
                <a:cubicBezTo>
                  <a:pt x="979559" y="1534574"/>
                  <a:pt x="968675" y="1523690"/>
                  <a:pt x="968131" y="1513895"/>
                </a:cubicBezTo>
                <a:cubicBezTo>
                  <a:pt x="968131" y="1503556"/>
                  <a:pt x="977926" y="1492672"/>
                  <a:pt x="988265" y="1492128"/>
                </a:cubicBezTo>
                <a:close/>
                <a:moveTo>
                  <a:pt x="1152606" y="1490496"/>
                </a:moveTo>
                <a:cubicBezTo>
                  <a:pt x="1167299" y="1489407"/>
                  <a:pt x="1176006" y="1498658"/>
                  <a:pt x="1176006" y="1513351"/>
                </a:cubicBezTo>
                <a:cubicBezTo>
                  <a:pt x="1176006" y="1530764"/>
                  <a:pt x="1166755" y="1537295"/>
                  <a:pt x="1152606" y="1537839"/>
                </a:cubicBezTo>
                <a:cubicBezTo>
                  <a:pt x="1139546" y="1537839"/>
                  <a:pt x="1129207" y="1530764"/>
                  <a:pt x="1129207" y="1514984"/>
                </a:cubicBezTo>
                <a:cubicBezTo>
                  <a:pt x="1129207" y="1498114"/>
                  <a:pt x="1138458" y="1491040"/>
                  <a:pt x="1152606" y="1490496"/>
                </a:cubicBezTo>
                <a:close/>
                <a:moveTo>
                  <a:pt x="1316403" y="1487231"/>
                </a:moveTo>
                <a:cubicBezTo>
                  <a:pt x="1331095" y="1487775"/>
                  <a:pt x="1342523" y="1499203"/>
                  <a:pt x="1342523" y="1513896"/>
                </a:cubicBezTo>
                <a:cubicBezTo>
                  <a:pt x="1342523" y="1528588"/>
                  <a:pt x="1330551" y="1540560"/>
                  <a:pt x="1315314" y="1540560"/>
                </a:cubicBezTo>
                <a:cubicBezTo>
                  <a:pt x="1303887" y="1542193"/>
                  <a:pt x="1288106" y="1527500"/>
                  <a:pt x="1288650" y="1513896"/>
                </a:cubicBezTo>
                <a:cubicBezTo>
                  <a:pt x="1289194" y="1498659"/>
                  <a:pt x="1301166" y="1486687"/>
                  <a:pt x="1316403" y="1487231"/>
                </a:cubicBezTo>
                <a:close/>
                <a:moveTo>
                  <a:pt x="1479656" y="1485054"/>
                </a:moveTo>
                <a:cubicBezTo>
                  <a:pt x="1495437" y="1485598"/>
                  <a:pt x="1508497" y="1496482"/>
                  <a:pt x="1507409" y="1513895"/>
                </a:cubicBezTo>
                <a:cubicBezTo>
                  <a:pt x="1508497" y="1527500"/>
                  <a:pt x="1498158" y="1542192"/>
                  <a:pt x="1479112" y="1541648"/>
                </a:cubicBezTo>
                <a:cubicBezTo>
                  <a:pt x="1462787" y="1541648"/>
                  <a:pt x="1451359" y="1529676"/>
                  <a:pt x="1451359" y="1513351"/>
                </a:cubicBezTo>
                <a:cubicBezTo>
                  <a:pt x="1451359" y="1493761"/>
                  <a:pt x="1466596" y="1485054"/>
                  <a:pt x="1479656" y="1485054"/>
                </a:cubicBezTo>
                <a:close/>
                <a:moveTo>
                  <a:pt x="1641820" y="1482334"/>
                </a:moveTo>
                <a:cubicBezTo>
                  <a:pt x="1657057" y="1481789"/>
                  <a:pt x="1672838" y="1496482"/>
                  <a:pt x="1673382" y="1512807"/>
                </a:cubicBezTo>
                <a:cubicBezTo>
                  <a:pt x="1673927" y="1528044"/>
                  <a:pt x="1658145" y="1544370"/>
                  <a:pt x="1642909" y="1544370"/>
                </a:cubicBezTo>
                <a:cubicBezTo>
                  <a:pt x="1626039" y="1542193"/>
                  <a:pt x="1612979" y="1532942"/>
                  <a:pt x="1612435" y="1513351"/>
                </a:cubicBezTo>
                <a:cubicBezTo>
                  <a:pt x="1611890" y="1497571"/>
                  <a:pt x="1626583" y="1483422"/>
                  <a:pt x="1641820" y="1482334"/>
                </a:cubicBezTo>
                <a:close/>
                <a:moveTo>
                  <a:pt x="1804529" y="1481788"/>
                </a:moveTo>
                <a:cubicBezTo>
                  <a:pt x="1820855" y="1481244"/>
                  <a:pt x="1836091" y="1494304"/>
                  <a:pt x="1837180" y="1513351"/>
                </a:cubicBezTo>
                <a:cubicBezTo>
                  <a:pt x="1838812" y="1528043"/>
                  <a:pt x="1825208" y="1544913"/>
                  <a:pt x="1805617" y="1545457"/>
                </a:cubicBezTo>
                <a:cubicBezTo>
                  <a:pt x="1787660" y="1544913"/>
                  <a:pt x="1774055" y="1532397"/>
                  <a:pt x="1773511" y="1514983"/>
                </a:cubicBezTo>
                <a:cubicBezTo>
                  <a:pt x="1772967" y="1494849"/>
                  <a:pt x="1788204" y="1482333"/>
                  <a:pt x="1804529" y="1481788"/>
                </a:cubicBezTo>
                <a:close/>
                <a:moveTo>
                  <a:pt x="1968870" y="1480700"/>
                </a:moveTo>
                <a:cubicBezTo>
                  <a:pt x="1984651" y="1480700"/>
                  <a:pt x="2000977" y="1495937"/>
                  <a:pt x="2000977" y="1513351"/>
                </a:cubicBezTo>
                <a:cubicBezTo>
                  <a:pt x="2001521" y="1529132"/>
                  <a:pt x="1987916" y="1546001"/>
                  <a:pt x="1968870" y="1545457"/>
                </a:cubicBezTo>
                <a:cubicBezTo>
                  <a:pt x="1949824" y="1545457"/>
                  <a:pt x="1936764" y="1530764"/>
                  <a:pt x="1936764" y="1513351"/>
                </a:cubicBezTo>
                <a:cubicBezTo>
                  <a:pt x="1936764" y="1493760"/>
                  <a:pt x="1953633" y="1480700"/>
                  <a:pt x="1968870" y="1480700"/>
                </a:cubicBezTo>
                <a:close/>
                <a:moveTo>
                  <a:pt x="581221" y="1423562"/>
                </a:moveTo>
                <a:cubicBezTo>
                  <a:pt x="586663" y="1423562"/>
                  <a:pt x="589384" y="1427371"/>
                  <a:pt x="588840" y="1431725"/>
                </a:cubicBezTo>
                <a:cubicBezTo>
                  <a:pt x="588840" y="1434990"/>
                  <a:pt x="585030" y="1438255"/>
                  <a:pt x="581765" y="1443153"/>
                </a:cubicBezTo>
                <a:cubicBezTo>
                  <a:pt x="577412" y="1438255"/>
                  <a:pt x="574147" y="1436078"/>
                  <a:pt x="573059" y="1432813"/>
                </a:cubicBezTo>
                <a:cubicBezTo>
                  <a:pt x="571426" y="1429004"/>
                  <a:pt x="576868" y="1423562"/>
                  <a:pt x="581221" y="1423562"/>
                </a:cubicBezTo>
                <a:close/>
                <a:moveTo>
                  <a:pt x="745562" y="1414855"/>
                </a:moveTo>
                <a:cubicBezTo>
                  <a:pt x="754269" y="1415399"/>
                  <a:pt x="761344" y="1423018"/>
                  <a:pt x="761344" y="1432269"/>
                </a:cubicBezTo>
                <a:cubicBezTo>
                  <a:pt x="761344" y="1442064"/>
                  <a:pt x="754813" y="1448050"/>
                  <a:pt x="745018" y="1448050"/>
                </a:cubicBezTo>
                <a:cubicBezTo>
                  <a:pt x="734679" y="1448050"/>
                  <a:pt x="728693" y="1442064"/>
                  <a:pt x="728693" y="1431725"/>
                </a:cubicBezTo>
                <a:cubicBezTo>
                  <a:pt x="728693" y="1421386"/>
                  <a:pt x="735223" y="1414311"/>
                  <a:pt x="745562" y="1414855"/>
                </a:cubicBezTo>
                <a:close/>
                <a:moveTo>
                  <a:pt x="908815" y="1409958"/>
                </a:moveTo>
                <a:cubicBezTo>
                  <a:pt x="920243" y="1410502"/>
                  <a:pt x="930038" y="1420297"/>
                  <a:pt x="930038" y="1431725"/>
                </a:cubicBezTo>
                <a:cubicBezTo>
                  <a:pt x="929494" y="1443697"/>
                  <a:pt x="919155" y="1454036"/>
                  <a:pt x="907183" y="1453492"/>
                </a:cubicBezTo>
                <a:cubicBezTo>
                  <a:pt x="896844" y="1453492"/>
                  <a:pt x="885960" y="1442064"/>
                  <a:pt x="885960" y="1431725"/>
                </a:cubicBezTo>
                <a:cubicBezTo>
                  <a:pt x="885960" y="1420297"/>
                  <a:pt x="897388" y="1409414"/>
                  <a:pt x="908815" y="1409958"/>
                </a:cubicBezTo>
                <a:close/>
                <a:moveTo>
                  <a:pt x="1070436" y="1406693"/>
                </a:moveTo>
                <a:cubicBezTo>
                  <a:pt x="1084584" y="1406693"/>
                  <a:pt x="1096012" y="1418121"/>
                  <a:pt x="1096012" y="1432269"/>
                </a:cubicBezTo>
                <a:cubicBezTo>
                  <a:pt x="1096012" y="1445329"/>
                  <a:pt x="1082952" y="1458390"/>
                  <a:pt x="1070436" y="1457846"/>
                </a:cubicBezTo>
                <a:cubicBezTo>
                  <a:pt x="1058464" y="1457301"/>
                  <a:pt x="1044860" y="1443153"/>
                  <a:pt x="1045404" y="1431181"/>
                </a:cubicBezTo>
                <a:cubicBezTo>
                  <a:pt x="1045948" y="1418665"/>
                  <a:pt x="1057920" y="1406693"/>
                  <a:pt x="1070436" y="1406693"/>
                </a:cubicBezTo>
                <a:close/>
                <a:moveTo>
                  <a:pt x="1235865" y="1404516"/>
                </a:moveTo>
                <a:cubicBezTo>
                  <a:pt x="1252191" y="1405605"/>
                  <a:pt x="1262530" y="1415944"/>
                  <a:pt x="1261986" y="1433358"/>
                </a:cubicBezTo>
                <a:cubicBezTo>
                  <a:pt x="1261442" y="1449683"/>
                  <a:pt x="1251102" y="1459478"/>
                  <a:pt x="1233689" y="1459478"/>
                </a:cubicBezTo>
                <a:cubicBezTo>
                  <a:pt x="1218452" y="1461655"/>
                  <a:pt x="1206480" y="1445329"/>
                  <a:pt x="1206480" y="1432269"/>
                </a:cubicBezTo>
                <a:cubicBezTo>
                  <a:pt x="1206480" y="1417032"/>
                  <a:pt x="1220084" y="1403428"/>
                  <a:pt x="1235865" y="1404516"/>
                </a:cubicBezTo>
                <a:close/>
                <a:moveTo>
                  <a:pt x="1397485" y="1400162"/>
                </a:moveTo>
                <a:cubicBezTo>
                  <a:pt x="1412178" y="1400162"/>
                  <a:pt x="1427959" y="1416487"/>
                  <a:pt x="1427959" y="1431724"/>
                </a:cubicBezTo>
                <a:cubicBezTo>
                  <a:pt x="1428503" y="1446961"/>
                  <a:pt x="1413810" y="1462198"/>
                  <a:pt x="1398029" y="1463287"/>
                </a:cubicBezTo>
                <a:cubicBezTo>
                  <a:pt x="1384425" y="1464375"/>
                  <a:pt x="1367555" y="1448049"/>
                  <a:pt x="1366467" y="1432813"/>
                </a:cubicBezTo>
                <a:cubicBezTo>
                  <a:pt x="1365923" y="1418120"/>
                  <a:pt x="1382792" y="1400162"/>
                  <a:pt x="1397485" y="1400162"/>
                </a:cubicBezTo>
                <a:close/>
                <a:moveTo>
                  <a:pt x="1561282" y="1399618"/>
                </a:moveTo>
                <a:cubicBezTo>
                  <a:pt x="1575975" y="1399618"/>
                  <a:pt x="1593388" y="1415943"/>
                  <a:pt x="1593388" y="1432269"/>
                </a:cubicBezTo>
                <a:cubicBezTo>
                  <a:pt x="1593388" y="1446961"/>
                  <a:pt x="1578696" y="1464919"/>
                  <a:pt x="1560738" y="1464375"/>
                </a:cubicBezTo>
                <a:cubicBezTo>
                  <a:pt x="1542236" y="1463831"/>
                  <a:pt x="1529176" y="1450226"/>
                  <a:pt x="1528631" y="1432813"/>
                </a:cubicBezTo>
                <a:cubicBezTo>
                  <a:pt x="1528087" y="1414311"/>
                  <a:pt x="1545501" y="1399618"/>
                  <a:pt x="1561282" y="1399618"/>
                </a:cubicBezTo>
                <a:close/>
                <a:moveTo>
                  <a:pt x="1723446" y="1399074"/>
                </a:moveTo>
                <a:cubicBezTo>
                  <a:pt x="1741948" y="1399074"/>
                  <a:pt x="1757185" y="1413767"/>
                  <a:pt x="1757185" y="1432269"/>
                </a:cubicBezTo>
                <a:cubicBezTo>
                  <a:pt x="1757185" y="1451315"/>
                  <a:pt x="1743037" y="1463831"/>
                  <a:pt x="1723991" y="1465464"/>
                </a:cubicBezTo>
                <a:cubicBezTo>
                  <a:pt x="1707121" y="1466552"/>
                  <a:pt x="1690252" y="1448594"/>
                  <a:pt x="1691340" y="1433357"/>
                </a:cubicBezTo>
                <a:cubicBezTo>
                  <a:pt x="1692428" y="1412678"/>
                  <a:pt x="1704400" y="1399074"/>
                  <a:pt x="1723446" y="1399074"/>
                </a:cubicBezTo>
                <a:close/>
                <a:moveTo>
                  <a:pt x="1886700" y="1398530"/>
                </a:moveTo>
                <a:cubicBezTo>
                  <a:pt x="1904113" y="1396898"/>
                  <a:pt x="1922071" y="1415944"/>
                  <a:pt x="1920439" y="1432269"/>
                </a:cubicBezTo>
                <a:cubicBezTo>
                  <a:pt x="1919350" y="1451315"/>
                  <a:pt x="1907378" y="1464920"/>
                  <a:pt x="1887788" y="1464920"/>
                </a:cubicBezTo>
                <a:cubicBezTo>
                  <a:pt x="1867109" y="1464920"/>
                  <a:pt x="1854049" y="1452948"/>
                  <a:pt x="1854049" y="1433358"/>
                </a:cubicBezTo>
                <a:cubicBezTo>
                  <a:pt x="1854049" y="1412679"/>
                  <a:pt x="1867109" y="1400163"/>
                  <a:pt x="1886700" y="1398530"/>
                </a:cubicBezTo>
                <a:close/>
                <a:moveTo>
                  <a:pt x="2051041" y="1398217"/>
                </a:moveTo>
                <a:lnTo>
                  <a:pt x="2051041" y="1464535"/>
                </a:lnTo>
                <a:lnTo>
                  <a:pt x="2049953" y="1464920"/>
                </a:lnTo>
                <a:cubicBezTo>
                  <a:pt x="2032539" y="1467096"/>
                  <a:pt x="2017302" y="1450771"/>
                  <a:pt x="2017302" y="1431725"/>
                </a:cubicBezTo>
                <a:cubicBezTo>
                  <a:pt x="2017302" y="1422746"/>
                  <a:pt x="2021383" y="1414311"/>
                  <a:pt x="2027709" y="1408121"/>
                </a:cubicBezTo>
                <a:close/>
                <a:moveTo>
                  <a:pt x="500139" y="1341936"/>
                </a:moveTo>
                <a:cubicBezTo>
                  <a:pt x="503404" y="1343568"/>
                  <a:pt x="506125" y="1346833"/>
                  <a:pt x="511023" y="1350643"/>
                </a:cubicBezTo>
                <a:cubicBezTo>
                  <a:pt x="506125" y="1354452"/>
                  <a:pt x="502860" y="1357717"/>
                  <a:pt x="499595" y="1358261"/>
                </a:cubicBezTo>
                <a:cubicBezTo>
                  <a:pt x="495241" y="1359349"/>
                  <a:pt x="490888" y="1353908"/>
                  <a:pt x="491432" y="1349010"/>
                </a:cubicBezTo>
                <a:cubicBezTo>
                  <a:pt x="491976" y="1344112"/>
                  <a:pt x="495241" y="1340848"/>
                  <a:pt x="500139" y="1341936"/>
                </a:cubicBezTo>
                <a:close/>
                <a:moveTo>
                  <a:pt x="662848" y="1333773"/>
                </a:moveTo>
                <a:cubicBezTo>
                  <a:pt x="673187" y="1333773"/>
                  <a:pt x="679173" y="1340303"/>
                  <a:pt x="679173" y="1350643"/>
                </a:cubicBezTo>
                <a:cubicBezTo>
                  <a:pt x="679173" y="1359894"/>
                  <a:pt x="672099" y="1366424"/>
                  <a:pt x="662848" y="1366424"/>
                </a:cubicBezTo>
                <a:cubicBezTo>
                  <a:pt x="653053" y="1366424"/>
                  <a:pt x="647067" y="1359894"/>
                  <a:pt x="647067" y="1350098"/>
                </a:cubicBezTo>
                <a:cubicBezTo>
                  <a:pt x="647067" y="1339759"/>
                  <a:pt x="653053" y="1333773"/>
                  <a:pt x="662848" y="1333773"/>
                </a:cubicBezTo>
                <a:close/>
                <a:moveTo>
                  <a:pt x="826645" y="1328331"/>
                </a:moveTo>
                <a:cubicBezTo>
                  <a:pt x="838617" y="1328331"/>
                  <a:pt x="848412" y="1338670"/>
                  <a:pt x="847868" y="1350642"/>
                </a:cubicBezTo>
                <a:cubicBezTo>
                  <a:pt x="847868" y="1362070"/>
                  <a:pt x="836984" y="1372409"/>
                  <a:pt x="825556" y="1372409"/>
                </a:cubicBezTo>
                <a:cubicBezTo>
                  <a:pt x="814673" y="1372409"/>
                  <a:pt x="803789" y="1360982"/>
                  <a:pt x="804334" y="1349554"/>
                </a:cubicBezTo>
                <a:cubicBezTo>
                  <a:pt x="804334" y="1337582"/>
                  <a:pt x="814673" y="1328331"/>
                  <a:pt x="826645" y="1328331"/>
                </a:cubicBezTo>
                <a:close/>
                <a:moveTo>
                  <a:pt x="989353" y="1323978"/>
                </a:moveTo>
                <a:cubicBezTo>
                  <a:pt x="1002957" y="1324522"/>
                  <a:pt x="1014385" y="1334861"/>
                  <a:pt x="1015473" y="1350098"/>
                </a:cubicBezTo>
                <a:cubicBezTo>
                  <a:pt x="1014929" y="1363702"/>
                  <a:pt x="1004046" y="1376219"/>
                  <a:pt x="989353" y="1376763"/>
                </a:cubicBezTo>
                <a:cubicBezTo>
                  <a:pt x="976293" y="1376763"/>
                  <a:pt x="963777" y="1364791"/>
                  <a:pt x="963777" y="1350642"/>
                </a:cubicBezTo>
                <a:cubicBezTo>
                  <a:pt x="963233" y="1334861"/>
                  <a:pt x="977925" y="1323434"/>
                  <a:pt x="989353" y="1323978"/>
                </a:cubicBezTo>
                <a:close/>
                <a:moveTo>
                  <a:pt x="1152606" y="1322889"/>
                </a:moveTo>
                <a:cubicBezTo>
                  <a:pt x="1170564" y="1320712"/>
                  <a:pt x="1180903" y="1335405"/>
                  <a:pt x="1181447" y="1350098"/>
                </a:cubicBezTo>
                <a:cubicBezTo>
                  <a:pt x="1181447" y="1364791"/>
                  <a:pt x="1171108" y="1379483"/>
                  <a:pt x="1152606" y="1379483"/>
                </a:cubicBezTo>
                <a:cubicBezTo>
                  <a:pt x="1137913" y="1379483"/>
                  <a:pt x="1124853" y="1367511"/>
                  <a:pt x="1124853" y="1350642"/>
                </a:cubicBezTo>
                <a:cubicBezTo>
                  <a:pt x="1124309" y="1333228"/>
                  <a:pt x="1137913" y="1320712"/>
                  <a:pt x="1152606" y="1322889"/>
                </a:cubicBezTo>
                <a:close/>
                <a:moveTo>
                  <a:pt x="1315315" y="1318536"/>
                </a:moveTo>
                <a:cubicBezTo>
                  <a:pt x="1334361" y="1318536"/>
                  <a:pt x="1345789" y="1331596"/>
                  <a:pt x="1347966" y="1350098"/>
                </a:cubicBezTo>
                <a:cubicBezTo>
                  <a:pt x="1345245" y="1369144"/>
                  <a:pt x="1334905" y="1382205"/>
                  <a:pt x="1315315" y="1381661"/>
                </a:cubicBezTo>
                <a:cubicBezTo>
                  <a:pt x="1296813" y="1381116"/>
                  <a:pt x="1284841" y="1369144"/>
                  <a:pt x="1284297" y="1350098"/>
                </a:cubicBezTo>
                <a:cubicBezTo>
                  <a:pt x="1284297" y="1331052"/>
                  <a:pt x="1297357" y="1319080"/>
                  <a:pt x="1315315" y="1318536"/>
                </a:cubicBezTo>
                <a:close/>
                <a:moveTo>
                  <a:pt x="1480744" y="1317448"/>
                </a:moveTo>
                <a:cubicBezTo>
                  <a:pt x="1499246" y="1317992"/>
                  <a:pt x="1512851" y="1332140"/>
                  <a:pt x="1512306" y="1351731"/>
                </a:cubicBezTo>
                <a:cubicBezTo>
                  <a:pt x="1511762" y="1370233"/>
                  <a:pt x="1497070" y="1383837"/>
                  <a:pt x="1477479" y="1383293"/>
                </a:cubicBezTo>
                <a:cubicBezTo>
                  <a:pt x="1458977" y="1382749"/>
                  <a:pt x="1447550" y="1368600"/>
                  <a:pt x="1446461" y="1349554"/>
                </a:cubicBezTo>
                <a:cubicBezTo>
                  <a:pt x="1445373" y="1333773"/>
                  <a:pt x="1463331" y="1314727"/>
                  <a:pt x="1480744" y="1317448"/>
                </a:cubicBezTo>
                <a:close/>
                <a:moveTo>
                  <a:pt x="1642908" y="1315815"/>
                </a:moveTo>
                <a:cubicBezTo>
                  <a:pt x="1663043" y="1315815"/>
                  <a:pt x="1677735" y="1333229"/>
                  <a:pt x="1676647" y="1351731"/>
                </a:cubicBezTo>
                <a:cubicBezTo>
                  <a:pt x="1675559" y="1371865"/>
                  <a:pt x="1661954" y="1384381"/>
                  <a:pt x="1640732" y="1383837"/>
                </a:cubicBezTo>
                <a:cubicBezTo>
                  <a:pt x="1620597" y="1384381"/>
                  <a:pt x="1608081" y="1368056"/>
                  <a:pt x="1608081" y="1349554"/>
                </a:cubicBezTo>
                <a:cubicBezTo>
                  <a:pt x="1608081" y="1329964"/>
                  <a:pt x="1623318" y="1315815"/>
                  <a:pt x="1642908" y="1315815"/>
                </a:cubicBezTo>
                <a:close/>
                <a:moveTo>
                  <a:pt x="1968870" y="1314183"/>
                </a:moveTo>
                <a:cubicBezTo>
                  <a:pt x="1989548" y="1314727"/>
                  <a:pt x="2004785" y="1329420"/>
                  <a:pt x="2005329" y="1351187"/>
                </a:cubicBezTo>
                <a:cubicBezTo>
                  <a:pt x="2004785" y="1370233"/>
                  <a:pt x="1985739" y="1388735"/>
                  <a:pt x="1967781" y="1388191"/>
                </a:cubicBezTo>
                <a:cubicBezTo>
                  <a:pt x="1949823" y="1387647"/>
                  <a:pt x="1931322" y="1367512"/>
                  <a:pt x="1931866" y="1350098"/>
                </a:cubicBezTo>
                <a:cubicBezTo>
                  <a:pt x="1932410" y="1331596"/>
                  <a:pt x="1950912" y="1313094"/>
                  <a:pt x="1968870" y="1314183"/>
                </a:cubicBezTo>
                <a:close/>
                <a:moveTo>
                  <a:pt x="1806161" y="1313639"/>
                </a:moveTo>
                <a:cubicBezTo>
                  <a:pt x="1825207" y="1314183"/>
                  <a:pt x="1843165" y="1332141"/>
                  <a:pt x="1841533" y="1351187"/>
                </a:cubicBezTo>
                <a:cubicBezTo>
                  <a:pt x="1840988" y="1360438"/>
                  <a:pt x="1838267" y="1370233"/>
                  <a:pt x="1830105" y="1376763"/>
                </a:cubicBezTo>
                <a:cubicBezTo>
                  <a:pt x="1822486" y="1383293"/>
                  <a:pt x="1813235" y="1387102"/>
                  <a:pt x="1803984" y="1387102"/>
                </a:cubicBezTo>
                <a:cubicBezTo>
                  <a:pt x="1786027" y="1387102"/>
                  <a:pt x="1768613" y="1367512"/>
                  <a:pt x="1768613" y="1350098"/>
                </a:cubicBezTo>
                <a:cubicBezTo>
                  <a:pt x="1769157" y="1331596"/>
                  <a:pt x="1788203" y="1313094"/>
                  <a:pt x="1806161" y="1313639"/>
                </a:cubicBezTo>
                <a:close/>
                <a:moveTo>
                  <a:pt x="419057" y="1262486"/>
                </a:moveTo>
                <a:cubicBezTo>
                  <a:pt x="423410" y="1262486"/>
                  <a:pt x="425587" y="1265207"/>
                  <a:pt x="424499" y="1269016"/>
                </a:cubicBezTo>
                <a:cubicBezTo>
                  <a:pt x="423410" y="1271737"/>
                  <a:pt x="421234" y="1273914"/>
                  <a:pt x="417969" y="1278811"/>
                </a:cubicBezTo>
                <a:cubicBezTo>
                  <a:pt x="414704" y="1273914"/>
                  <a:pt x="412527" y="1271737"/>
                  <a:pt x="411983" y="1269016"/>
                </a:cubicBezTo>
                <a:cubicBezTo>
                  <a:pt x="410894" y="1264118"/>
                  <a:pt x="414159" y="1262486"/>
                  <a:pt x="419057" y="1262486"/>
                </a:cubicBezTo>
                <a:close/>
                <a:moveTo>
                  <a:pt x="581221" y="1252147"/>
                </a:moveTo>
                <a:cubicBezTo>
                  <a:pt x="591016" y="1252691"/>
                  <a:pt x="598091" y="1260310"/>
                  <a:pt x="597547" y="1269017"/>
                </a:cubicBezTo>
                <a:cubicBezTo>
                  <a:pt x="597547" y="1278268"/>
                  <a:pt x="589928" y="1284798"/>
                  <a:pt x="580133" y="1284254"/>
                </a:cubicBezTo>
                <a:cubicBezTo>
                  <a:pt x="570882" y="1283709"/>
                  <a:pt x="564896" y="1277179"/>
                  <a:pt x="564896" y="1268472"/>
                </a:cubicBezTo>
                <a:cubicBezTo>
                  <a:pt x="564896" y="1259222"/>
                  <a:pt x="571970" y="1252147"/>
                  <a:pt x="581221" y="1252147"/>
                </a:cubicBezTo>
                <a:close/>
                <a:moveTo>
                  <a:pt x="745018" y="1246705"/>
                </a:moveTo>
                <a:cubicBezTo>
                  <a:pt x="757534" y="1246705"/>
                  <a:pt x="766785" y="1257044"/>
                  <a:pt x="766241" y="1269560"/>
                </a:cubicBezTo>
                <a:cubicBezTo>
                  <a:pt x="765697" y="1280988"/>
                  <a:pt x="755358" y="1290783"/>
                  <a:pt x="744474" y="1290783"/>
                </a:cubicBezTo>
                <a:cubicBezTo>
                  <a:pt x="733046" y="1290783"/>
                  <a:pt x="722707" y="1279900"/>
                  <a:pt x="722707" y="1267928"/>
                </a:cubicBezTo>
                <a:cubicBezTo>
                  <a:pt x="722707" y="1255956"/>
                  <a:pt x="733046" y="1246705"/>
                  <a:pt x="745018" y="1246705"/>
                </a:cubicBezTo>
                <a:close/>
                <a:moveTo>
                  <a:pt x="907727" y="1241807"/>
                </a:moveTo>
                <a:cubicBezTo>
                  <a:pt x="921331" y="1241807"/>
                  <a:pt x="934391" y="1257044"/>
                  <a:pt x="933847" y="1269016"/>
                </a:cubicBezTo>
                <a:cubicBezTo>
                  <a:pt x="933847" y="1282620"/>
                  <a:pt x="920787" y="1295680"/>
                  <a:pt x="907183" y="1295136"/>
                </a:cubicBezTo>
                <a:cubicBezTo>
                  <a:pt x="893578" y="1294592"/>
                  <a:pt x="880518" y="1280988"/>
                  <a:pt x="880518" y="1267927"/>
                </a:cubicBezTo>
                <a:cubicBezTo>
                  <a:pt x="881062" y="1254323"/>
                  <a:pt x="894122" y="1242351"/>
                  <a:pt x="907727" y="1241807"/>
                </a:cubicBezTo>
                <a:close/>
                <a:moveTo>
                  <a:pt x="1070979" y="1240719"/>
                </a:moveTo>
                <a:cubicBezTo>
                  <a:pt x="1091114" y="1240175"/>
                  <a:pt x="1099276" y="1252691"/>
                  <a:pt x="1099821" y="1268472"/>
                </a:cubicBezTo>
                <a:cubicBezTo>
                  <a:pt x="1099821" y="1285886"/>
                  <a:pt x="1088393" y="1297858"/>
                  <a:pt x="1070435" y="1297858"/>
                </a:cubicBezTo>
                <a:cubicBezTo>
                  <a:pt x="1053566" y="1297858"/>
                  <a:pt x="1042138" y="1286430"/>
                  <a:pt x="1042138" y="1269560"/>
                </a:cubicBezTo>
                <a:cubicBezTo>
                  <a:pt x="1042138" y="1250514"/>
                  <a:pt x="1053566" y="1240719"/>
                  <a:pt x="1070979" y="1240719"/>
                </a:cubicBezTo>
                <a:close/>
                <a:moveTo>
                  <a:pt x="1234233" y="1235821"/>
                </a:moveTo>
                <a:cubicBezTo>
                  <a:pt x="1250558" y="1235821"/>
                  <a:pt x="1267972" y="1252691"/>
                  <a:pt x="1266883" y="1269016"/>
                </a:cubicBezTo>
                <a:cubicBezTo>
                  <a:pt x="1266339" y="1285885"/>
                  <a:pt x="1251646" y="1301122"/>
                  <a:pt x="1234233" y="1300578"/>
                </a:cubicBezTo>
                <a:cubicBezTo>
                  <a:pt x="1216275" y="1300578"/>
                  <a:pt x="1201582" y="1286430"/>
                  <a:pt x="1201582" y="1267383"/>
                </a:cubicBezTo>
                <a:cubicBezTo>
                  <a:pt x="1201582" y="1249425"/>
                  <a:pt x="1217907" y="1235821"/>
                  <a:pt x="1234233" y="1235821"/>
                </a:cubicBezTo>
                <a:close/>
                <a:moveTo>
                  <a:pt x="1396397" y="1234733"/>
                </a:moveTo>
                <a:cubicBezTo>
                  <a:pt x="1413810" y="1233645"/>
                  <a:pt x="1433945" y="1250514"/>
                  <a:pt x="1431224" y="1268472"/>
                </a:cubicBezTo>
                <a:cubicBezTo>
                  <a:pt x="1433401" y="1286430"/>
                  <a:pt x="1415443" y="1303299"/>
                  <a:pt x="1396941" y="1302755"/>
                </a:cubicBezTo>
                <a:cubicBezTo>
                  <a:pt x="1381160" y="1302211"/>
                  <a:pt x="1363202" y="1290783"/>
                  <a:pt x="1363746" y="1269016"/>
                </a:cubicBezTo>
                <a:cubicBezTo>
                  <a:pt x="1364290" y="1248881"/>
                  <a:pt x="1376806" y="1235821"/>
                  <a:pt x="1396397" y="1234733"/>
                </a:cubicBezTo>
                <a:close/>
                <a:moveTo>
                  <a:pt x="1559649" y="1232557"/>
                </a:moveTo>
                <a:cubicBezTo>
                  <a:pt x="1580328" y="1232013"/>
                  <a:pt x="1595021" y="1246705"/>
                  <a:pt x="1597742" y="1268472"/>
                </a:cubicBezTo>
                <a:cubicBezTo>
                  <a:pt x="1598286" y="1286974"/>
                  <a:pt x="1580872" y="1304932"/>
                  <a:pt x="1561826" y="1305476"/>
                </a:cubicBezTo>
                <a:cubicBezTo>
                  <a:pt x="1543868" y="1306564"/>
                  <a:pt x="1524822" y="1288063"/>
                  <a:pt x="1523734" y="1269561"/>
                </a:cubicBezTo>
                <a:cubicBezTo>
                  <a:pt x="1522645" y="1252147"/>
                  <a:pt x="1541147" y="1232557"/>
                  <a:pt x="1559649" y="1232557"/>
                </a:cubicBezTo>
                <a:close/>
                <a:moveTo>
                  <a:pt x="1723990" y="1231468"/>
                </a:moveTo>
                <a:cubicBezTo>
                  <a:pt x="1743037" y="1231468"/>
                  <a:pt x="1761539" y="1249426"/>
                  <a:pt x="1762083" y="1268472"/>
                </a:cubicBezTo>
                <a:cubicBezTo>
                  <a:pt x="1762627" y="1290239"/>
                  <a:pt x="1741404" y="1306020"/>
                  <a:pt x="1724535" y="1307109"/>
                </a:cubicBezTo>
                <a:cubicBezTo>
                  <a:pt x="1706033" y="1306564"/>
                  <a:pt x="1687531" y="1290239"/>
                  <a:pt x="1686442" y="1270105"/>
                </a:cubicBezTo>
                <a:cubicBezTo>
                  <a:pt x="1685354" y="1254323"/>
                  <a:pt x="1701679" y="1231468"/>
                  <a:pt x="1723990" y="1231468"/>
                </a:cubicBezTo>
                <a:close/>
                <a:moveTo>
                  <a:pt x="1888332" y="1230924"/>
                </a:moveTo>
                <a:cubicBezTo>
                  <a:pt x="1905745" y="1229836"/>
                  <a:pt x="1928056" y="1250514"/>
                  <a:pt x="1925336" y="1269561"/>
                </a:cubicBezTo>
                <a:cubicBezTo>
                  <a:pt x="1925336" y="1289695"/>
                  <a:pt x="1907378" y="1306564"/>
                  <a:pt x="1887243" y="1307653"/>
                </a:cubicBezTo>
                <a:cubicBezTo>
                  <a:pt x="1870918" y="1308197"/>
                  <a:pt x="1847519" y="1288063"/>
                  <a:pt x="1849151" y="1267928"/>
                </a:cubicBezTo>
                <a:cubicBezTo>
                  <a:pt x="1850239" y="1247794"/>
                  <a:pt x="1867653" y="1231468"/>
                  <a:pt x="1888332" y="1230924"/>
                </a:cubicBezTo>
                <a:close/>
                <a:moveTo>
                  <a:pt x="2049952" y="1230380"/>
                </a:moveTo>
                <a:lnTo>
                  <a:pt x="2051041" y="1230805"/>
                </a:lnTo>
                <a:lnTo>
                  <a:pt x="2051041" y="1307109"/>
                </a:lnTo>
                <a:cubicBezTo>
                  <a:pt x="2033627" y="1309830"/>
                  <a:pt x="2011316" y="1286974"/>
                  <a:pt x="2012404" y="1268472"/>
                </a:cubicBezTo>
                <a:cubicBezTo>
                  <a:pt x="2013493" y="1247794"/>
                  <a:pt x="2029274" y="1230380"/>
                  <a:pt x="2049952" y="1230380"/>
                </a:cubicBezTo>
                <a:close/>
                <a:moveTo>
                  <a:pt x="337431" y="1181404"/>
                </a:moveTo>
                <a:cubicBezTo>
                  <a:pt x="339608" y="1182493"/>
                  <a:pt x="341240" y="1184669"/>
                  <a:pt x="345050" y="1187934"/>
                </a:cubicBezTo>
                <a:cubicBezTo>
                  <a:pt x="340696" y="1190111"/>
                  <a:pt x="338519" y="1192288"/>
                  <a:pt x="336343" y="1192288"/>
                </a:cubicBezTo>
                <a:cubicBezTo>
                  <a:pt x="331445" y="1192832"/>
                  <a:pt x="330901" y="1189567"/>
                  <a:pt x="330901" y="1185758"/>
                </a:cubicBezTo>
                <a:cubicBezTo>
                  <a:pt x="330901" y="1181404"/>
                  <a:pt x="334166" y="1180860"/>
                  <a:pt x="337431" y="1181404"/>
                </a:cubicBezTo>
                <a:close/>
                <a:moveTo>
                  <a:pt x="499051" y="1171065"/>
                </a:moveTo>
                <a:cubicBezTo>
                  <a:pt x="506125" y="1170521"/>
                  <a:pt x="516465" y="1179772"/>
                  <a:pt x="516465" y="1187390"/>
                </a:cubicBezTo>
                <a:cubicBezTo>
                  <a:pt x="515921" y="1193920"/>
                  <a:pt x="507214" y="1202627"/>
                  <a:pt x="500140" y="1202627"/>
                </a:cubicBezTo>
                <a:cubicBezTo>
                  <a:pt x="493065" y="1202627"/>
                  <a:pt x="484358" y="1195008"/>
                  <a:pt x="483814" y="1187390"/>
                </a:cubicBezTo>
                <a:cubicBezTo>
                  <a:pt x="483270" y="1180316"/>
                  <a:pt x="491977" y="1171065"/>
                  <a:pt x="499051" y="1171065"/>
                </a:cubicBezTo>
                <a:close/>
                <a:moveTo>
                  <a:pt x="662848" y="1165623"/>
                </a:moveTo>
                <a:cubicBezTo>
                  <a:pt x="675364" y="1165623"/>
                  <a:pt x="684615" y="1174874"/>
                  <a:pt x="684615" y="1187390"/>
                </a:cubicBezTo>
                <a:cubicBezTo>
                  <a:pt x="684615" y="1199362"/>
                  <a:pt x="674820" y="1209157"/>
                  <a:pt x="662848" y="1209157"/>
                </a:cubicBezTo>
                <a:cubicBezTo>
                  <a:pt x="651420" y="1209157"/>
                  <a:pt x="641081" y="1198274"/>
                  <a:pt x="641081" y="1186846"/>
                </a:cubicBezTo>
                <a:cubicBezTo>
                  <a:pt x="641081" y="1175418"/>
                  <a:pt x="651420" y="1165623"/>
                  <a:pt x="662848" y="1165623"/>
                </a:cubicBezTo>
                <a:close/>
                <a:moveTo>
                  <a:pt x="825556" y="1160725"/>
                </a:moveTo>
                <a:cubicBezTo>
                  <a:pt x="840249" y="1161270"/>
                  <a:pt x="851677" y="1171609"/>
                  <a:pt x="852765" y="1186846"/>
                </a:cubicBezTo>
                <a:cubicBezTo>
                  <a:pt x="853309" y="1199906"/>
                  <a:pt x="840249" y="1213511"/>
                  <a:pt x="826645" y="1213511"/>
                </a:cubicBezTo>
                <a:cubicBezTo>
                  <a:pt x="813585" y="1214055"/>
                  <a:pt x="799980" y="1200995"/>
                  <a:pt x="798892" y="1188479"/>
                </a:cubicBezTo>
                <a:cubicBezTo>
                  <a:pt x="797803" y="1173241"/>
                  <a:pt x="814129" y="1160181"/>
                  <a:pt x="825556" y="1160725"/>
                </a:cubicBezTo>
                <a:close/>
                <a:moveTo>
                  <a:pt x="989353" y="1158004"/>
                </a:moveTo>
                <a:cubicBezTo>
                  <a:pt x="1007855" y="1159092"/>
                  <a:pt x="1018739" y="1168888"/>
                  <a:pt x="1018195" y="1187934"/>
                </a:cubicBezTo>
                <a:cubicBezTo>
                  <a:pt x="1017651" y="1206436"/>
                  <a:pt x="1007311" y="1216231"/>
                  <a:pt x="988809" y="1216775"/>
                </a:cubicBezTo>
                <a:cubicBezTo>
                  <a:pt x="972484" y="1217319"/>
                  <a:pt x="960512" y="1203715"/>
                  <a:pt x="959968" y="1187934"/>
                </a:cubicBezTo>
                <a:cubicBezTo>
                  <a:pt x="959968" y="1170520"/>
                  <a:pt x="972484" y="1158004"/>
                  <a:pt x="989353" y="1158004"/>
                </a:cubicBezTo>
                <a:close/>
                <a:moveTo>
                  <a:pt x="1152062" y="1153651"/>
                </a:moveTo>
                <a:cubicBezTo>
                  <a:pt x="1166755" y="1152562"/>
                  <a:pt x="1186345" y="1171065"/>
                  <a:pt x="1185801" y="1186301"/>
                </a:cubicBezTo>
                <a:cubicBezTo>
                  <a:pt x="1184713" y="1205348"/>
                  <a:pt x="1171652" y="1218952"/>
                  <a:pt x="1153150" y="1219496"/>
                </a:cubicBezTo>
                <a:cubicBezTo>
                  <a:pt x="1135193" y="1221129"/>
                  <a:pt x="1119412" y="1204259"/>
                  <a:pt x="1119956" y="1187390"/>
                </a:cubicBezTo>
                <a:cubicBezTo>
                  <a:pt x="1120500" y="1168888"/>
                  <a:pt x="1134648" y="1154739"/>
                  <a:pt x="1152062" y="1153651"/>
                </a:cubicBezTo>
                <a:close/>
                <a:moveTo>
                  <a:pt x="1315315" y="1152018"/>
                </a:moveTo>
                <a:cubicBezTo>
                  <a:pt x="1336537" y="1151474"/>
                  <a:pt x="1351230" y="1169432"/>
                  <a:pt x="1351230" y="1186845"/>
                </a:cubicBezTo>
                <a:cubicBezTo>
                  <a:pt x="1350686" y="1205891"/>
                  <a:pt x="1338714" y="1222217"/>
                  <a:pt x="1315859" y="1221673"/>
                </a:cubicBezTo>
                <a:cubicBezTo>
                  <a:pt x="1294092" y="1221128"/>
                  <a:pt x="1282120" y="1209157"/>
                  <a:pt x="1281576" y="1187390"/>
                </a:cubicBezTo>
                <a:cubicBezTo>
                  <a:pt x="1281031" y="1167255"/>
                  <a:pt x="1295724" y="1152562"/>
                  <a:pt x="1315315" y="1152018"/>
                </a:cubicBezTo>
                <a:close/>
                <a:moveTo>
                  <a:pt x="1479656" y="1149298"/>
                </a:moveTo>
                <a:cubicBezTo>
                  <a:pt x="1500878" y="1149842"/>
                  <a:pt x="1517204" y="1168888"/>
                  <a:pt x="1516660" y="1188479"/>
                </a:cubicBezTo>
                <a:cubicBezTo>
                  <a:pt x="1515027" y="1210246"/>
                  <a:pt x="1495981" y="1224938"/>
                  <a:pt x="1478023" y="1224394"/>
                </a:cubicBezTo>
                <a:cubicBezTo>
                  <a:pt x="1457889" y="1223850"/>
                  <a:pt x="1439931" y="1205892"/>
                  <a:pt x="1441563" y="1185758"/>
                </a:cubicBezTo>
                <a:cubicBezTo>
                  <a:pt x="1442652" y="1166167"/>
                  <a:pt x="1458977" y="1149298"/>
                  <a:pt x="1479656" y="1149298"/>
                </a:cubicBezTo>
                <a:close/>
                <a:moveTo>
                  <a:pt x="1642365" y="1148209"/>
                </a:moveTo>
                <a:cubicBezTo>
                  <a:pt x="1659779" y="1147121"/>
                  <a:pt x="1681001" y="1166711"/>
                  <a:pt x="1681001" y="1187390"/>
                </a:cubicBezTo>
                <a:cubicBezTo>
                  <a:pt x="1681001" y="1208613"/>
                  <a:pt x="1658690" y="1226026"/>
                  <a:pt x="1641821" y="1226026"/>
                </a:cubicBezTo>
                <a:cubicBezTo>
                  <a:pt x="1624407" y="1226026"/>
                  <a:pt x="1601007" y="1205348"/>
                  <a:pt x="1603728" y="1186846"/>
                </a:cubicBezTo>
                <a:cubicBezTo>
                  <a:pt x="1603728" y="1165623"/>
                  <a:pt x="1621686" y="1149298"/>
                  <a:pt x="1642365" y="1148209"/>
                </a:cubicBezTo>
                <a:close/>
                <a:moveTo>
                  <a:pt x="1969414" y="1147665"/>
                </a:moveTo>
                <a:cubicBezTo>
                  <a:pt x="1991725" y="1146032"/>
                  <a:pt x="2009139" y="1165623"/>
                  <a:pt x="2009139" y="1187934"/>
                </a:cubicBezTo>
                <a:cubicBezTo>
                  <a:pt x="2008595" y="1209157"/>
                  <a:pt x="1990093" y="1227114"/>
                  <a:pt x="1968870" y="1227114"/>
                </a:cubicBezTo>
                <a:cubicBezTo>
                  <a:pt x="1949824" y="1227114"/>
                  <a:pt x="1928601" y="1209701"/>
                  <a:pt x="1929145" y="1186301"/>
                </a:cubicBezTo>
                <a:cubicBezTo>
                  <a:pt x="1929145" y="1165623"/>
                  <a:pt x="1948191" y="1145488"/>
                  <a:pt x="1969414" y="1147665"/>
                </a:cubicBezTo>
                <a:close/>
                <a:moveTo>
                  <a:pt x="1805617" y="1147665"/>
                </a:moveTo>
                <a:cubicBezTo>
                  <a:pt x="1825752" y="1147665"/>
                  <a:pt x="1845342" y="1165078"/>
                  <a:pt x="1844798" y="1187934"/>
                </a:cubicBezTo>
                <a:cubicBezTo>
                  <a:pt x="1844254" y="1208612"/>
                  <a:pt x="1824664" y="1227115"/>
                  <a:pt x="1805073" y="1226571"/>
                </a:cubicBezTo>
                <a:cubicBezTo>
                  <a:pt x="1787115" y="1226571"/>
                  <a:pt x="1764260" y="1209701"/>
                  <a:pt x="1766981" y="1186845"/>
                </a:cubicBezTo>
                <a:cubicBezTo>
                  <a:pt x="1764804" y="1165623"/>
                  <a:pt x="1786027" y="1147665"/>
                  <a:pt x="1805617" y="1147665"/>
                </a:cubicBezTo>
                <a:close/>
                <a:moveTo>
                  <a:pt x="417425" y="1090527"/>
                </a:moveTo>
                <a:cubicBezTo>
                  <a:pt x="423955" y="1090527"/>
                  <a:pt x="433206" y="1099234"/>
                  <a:pt x="432662" y="1105764"/>
                </a:cubicBezTo>
                <a:cubicBezTo>
                  <a:pt x="432662" y="1111206"/>
                  <a:pt x="423955" y="1119912"/>
                  <a:pt x="417969" y="1120457"/>
                </a:cubicBezTo>
                <a:cubicBezTo>
                  <a:pt x="411439" y="1121001"/>
                  <a:pt x="402188" y="1111750"/>
                  <a:pt x="402732" y="1105219"/>
                </a:cubicBezTo>
                <a:cubicBezTo>
                  <a:pt x="402732" y="1099234"/>
                  <a:pt x="411439" y="1090527"/>
                  <a:pt x="417425" y="1090527"/>
                </a:cubicBezTo>
                <a:close/>
                <a:moveTo>
                  <a:pt x="580677" y="1083996"/>
                </a:moveTo>
                <a:cubicBezTo>
                  <a:pt x="592105" y="1083996"/>
                  <a:pt x="601900" y="1093791"/>
                  <a:pt x="602444" y="1105219"/>
                </a:cubicBezTo>
                <a:cubicBezTo>
                  <a:pt x="602988" y="1116647"/>
                  <a:pt x="593193" y="1126986"/>
                  <a:pt x="581221" y="1127530"/>
                </a:cubicBezTo>
                <a:cubicBezTo>
                  <a:pt x="570338" y="1127530"/>
                  <a:pt x="558910" y="1116102"/>
                  <a:pt x="558910" y="1105219"/>
                </a:cubicBezTo>
                <a:cubicBezTo>
                  <a:pt x="558910" y="1094880"/>
                  <a:pt x="570338" y="1083996"/>
                  <a:pt x="580677" y="1083996"/>
                </a:cubicBezTo>
                <a:close/>
                <a:moveTo>
                  <a:pt x="743386" y="1079099"/>
                </a:moveTo>
                <a:cubicBezTo>
                  <a:pt x="756991" y="1079099"/>
                  <a:pt x="769507" y="1088894"/>
                  <a:pt x="770595" y="1105219"/>
                </a:cubicBezTo>
                <a:cubicBezTo>
                  <a:pt x="771683" y="1116103"/>
                  <a:pt x="760800" y="1131340"/>
                  <a:pt x="745019" y="1132428"/>
                </a:cubicBezTo>
                <a:cubicBezTo>
                  <a:pt x="734135" y="1134061"/>
                  <a:pt x="717810" y="1118280"/>
                  <a:pt x="717810" y="1106308"/>
                </a:cubicBezTo>
                <a:cubicBezTo>
                  <a:pt x="717810" y="1091071"/>
                  <a:pt x="731414" y="1079099"/>
                  <a:pt x="743386" y="1079099"/>
                </a:cubicBezTo>
                <a:close/>
                <a:moveTo>
                  <a:pt x="907727" y="1076378"/>
                </a:moveTo>
                <a:cubicBezTo>
                  <a:pt x="926773" y="1076378"/>
                  <a:pt x="937112" y="1087262"/>
                  <a:pt x="937112" y="1105219"/>
                </a:cubicBezTo>
                <a:cubicBezTo>
                  <a:pt x="937112" y="1121545"/>
                  <a:pt x="928950" y="1134061"/>
                  <a:pt x="908271" y="1134061"/>
                </a:cubicBezTo>
                <a:cubicBezTo>
                  <a:pt x="888681" y="1134605"/>
                  <a:pt x="878341" y="1122633"/>
                  <a:pt x="878885" y="1105764"/>
                </a:cubicBezTo>
                <a:cubicBezTo>
                  <a:pt x="878341" y="1086173"/>
                  <a:pt x="892490" y="1076378"/>
                  <a:pt x="907727" y="1076378"/>
                </a:cubicBezTo>
                <a:close/>
                <a:moveTo>
                  <a:pt x="1071524" y="1072569"/>
                </a:moveTo>
                <a:cubicBezTo>
                  <a:pt x="1089482" y="1072569"/>
                  <a:pt x="1104174" y="1087806"/>
                  <a:pt x="1104174" y="1105220"/>
                </a:cubicBezTo>
                <a:cubicBezTo>
                  <a:pt x="1104174" y="1123722"/>
                  <a:pt x="1090026" y="1137870"/>
                  <a:pt x="1070435" y="1137870"/>
                </a:cubicBezTo>
                <a:cubicBezTo>
                  <a:pt x="1054110" y="1140047"/>
                  <a:pt x="1037241" y="1121545"/>
                  <a:pt x="1038329" y="1105764"/>
                </a:cubicBezTo>
                <a:cubicBezTo>
                  <a:pt x="1039417" y="1086173"/>
                  <a:pt x="1052478" y="1072569"/>
                  <a:pt x="1071524" y="1072569"/>
                </a:cubicBezTo>
                <a:close/>
                <a:moveTo>
                  <a:pt x="1235865" y="1068760"/>
                </a:moveTo>
                <a:cubicBezTo>
                  <a:pt x="1254912" y="1070392"/>
                  <a:pt x="1272325" y="1088894"/>
                  <a:pt x="1271237" y="1106852"/>
                </a:cubicBezTo>
                <a:cubicBezTo>
                  <a:pt x="1270149" y="1124810"/>
                  <a:pt x="1252735" y="1142223"/>
                  <a:pt x="1234777" y="1142223"/>
                </a:cubicBezTo>
                <a:cubicBezTo>
                  <a:pt x="1215187" y="1142223"/>
                  <a:pt x="1197773" y="1124265"/>
                  <a:pt x="1198861" y="1105219"/>
                </a:cubicBezTo>
                <a:cubicBezTo>
                  <a:pt x="1199406" y="1085629"/>
                  <a:pt x="1217908" y="1067127"/>
                  <a:pt x="1235865" y="1068760"/>
                </a:cubicBezTo>
                <a:close/>
                <a:moveTo>
                  <a:pt x="1396397" y="1067127"/>
                </a:moveTo>
                <a:cubicBezTo>
                  <a:pt x="1416532" y="1065494"/>
                  <a:pt x="1437755" y="1087806"/>
                  <a:pt x="1435578" y="1105219"/>
                </a:cubicBezTo>
                <a:cubicBezTo>
                  <a:pt x="1437210" y="1125898"/>
                  <a:pt x="1413267" y="1144400"/>
                  <a:pt x="1396941" y="1143856"/>
                </a:cubicBezTo>
                <a:cubicBezTo>
                  <a:pt x="1377895" y="1143856"/>
                  <a:pt x="1358305" y="1122633"/>
                  <a:pt x="1358849" y="1105763"/>
                </a:cubicBezTo>
                <a:cubicBezTo>
                  <a:pt x="1359393" y="1085629"/>
                  <a:pt x="1376807" y="1068759"/>
                  <a:pt x="1396397" y="1067127"/>
                </a:cubicBezTo>
                <a:close/>
                <a:moveTo>
                  <a:pt x="1560738" y="1066582"/>
                </a:moveTo>
                <a:cubicBezTo>
                  <a:pt x="1581961" y="1063862"/>
                  <a:pt x="1599919" y="1083452"/>
                  <a:pt x="1599919" y="1105763"/>
                </a:cubicBezTo>
                <a:cubicBezTo>
                  <a:pt x="1599919" y="1127530"/>
                  <a:pt x="1581417" y="1144400"/>
                  <a:pt x="1560738" y="1144400"/>
                </a:cubicBezTo>
                <a:cubicBezTo>
                  <a:pt x="1538971" y="1144400"/>
                  <a:pt x="1521557" y="1125898"/>
                  <a:pt x="1521013" y="1105763"/>
                </a:cubicBezTo>
                <a:cubicBezTo>
                  <a:pt x="1521013" y="1085629"/>
                  <a:pt x="1538971" y="1063862"/>
                  <a:pt x="1560738" y="1066582"/>
                </a:cubicBezTo>
                <a:close/>
                <a:moveTo>
                  <a:pt x="1723447" y="1064406"/>
                </a:moveTo>
                <a:cubicBezTo>
                  <a:pt x="1744126" y="1063862"/>
                  <a:pt x="1763716" y="1076378"/>
                  <a:pt x="1764260" y="1104675"/>
                </a:cubicBezTo>
                <a:cubicBezTo>
                  <a:pt x="1764804" y="1130796"/>
                  <a:pt x="1745758" y="1145488"/>
                  <a:pt x="1724535" y="1146032"/>
                </a:cubicBezTo>
                <a:cubicBezTo>
                  <a:pt x="1703313" y="1147121"/>
                  <a:pt x="1683722" y="1130796"/>
                  <a:pt x="1683178" y="1105764"/>
                </a:cubicBezTo>
                <a:cubicBezTo>
                  <a:pt x="1684266" y="1082364"/>
                  <a:pt x="1698415" y="1064950"/>
                  <a:pt x="1723447" y="1064406"/>
                </a:cubicBezTo>
                <a:close/>
                <a:moveTo>
                  <a:pt x="2051041" y="1063318"/>
                </a:moveTo>
                <a:lnTo>
                  <a:pt x="2051041" y="1147740"/>
                </a:lnTo>
                <a:lnTo>
                  <a:pt x="2049952" y="1148210"/>
                </a:lnTo>
                <a:cubicBezTo>
                  <a:pt x="2028730" y="1147121"/>
                  <a:pt x="2008051" y="1128619"/>
                  <a:pt x="2008051" y="1105764"/>
                </a:cubicBezTo>
                <a:cubicBezTo>
                  <a:pt x="2008595" y="1081276"/>
                  <a:pt x="2027641" y="1063862"/>
                  <a:pt x="2051041" y="1063318"/>
                </a:cubicBezTo>
                <a:close/>
                <a:moveTo>
                  <a:pt x="1887787" y="1062773"/>
                </a:moveTo>
                <a:cubicBezTo>
                  <a:pt x="1909554" y="1063862"/>
                  <a:pt x="1930233" y="1084540"/>
                  <a:pt x="1929145" y="1105763"/>
                </a:cubicBezTo>
                <a:cubicBezTo>
                  <a:pt x="1928056" y="1130251"/>
                  <a:pt x="1908466" y="1147121"/>
                  <a:pt x="1886699" y="1147665"/>
                </a:cubicBezTo>
                <a:cubicBezTo>
                  <a:pt x="1862755" y="1145488"/>
                  <a:pt x="1845886" y="1127530"/>
                  <a:pt x="1844798" y="1105219"/>
                </a:cubicBezTo>
                <a:cubicBezTo>
                  <a:pt x="1844253" y="1083996"/>
                  <a:pt x="1867109" y="1061685"/>
                  <a:pt x="1887787" y="1062773"/>
                </a:cubicBezTo>
                <a:close/>
                <a:moveTo>
                  <a:pt x="335798" y="1011621"/>
                </a:moveTo>
                <a:cubicBezTo>
                  <a:pt x="343960" y="1011621"/>
                  <a:pt x="347770" y="1014886"/>
                  <a:pt x="348314" y="1023049"/>
                </a:cubicBezTo>
                <a:cubicBezTo>
                  <a:pt x="348314" y="1031755"/>
                  <a:pt x="344505" y="1036109"/>
                  <a:pt x="336886" y="1036109"/>
                </a:cubicBezTo>
                <a:cubicBezTo>
                  <a:pt x="329268" y="1036109"/>
                  <a:pt x="324914" y="1032300"/>
                  <a:pt x="324370" y="1024681"/>
                </a:cubicBezTo>
                <a:cubicBezTo>
                  <a:pt x="323826" y="1015974"/>
                  <a:pt x="327635" y="1011621"/>
                  <a:pt x="335798" y="1011621"/>
                </a:cubicBezTo>
                <a:close/>
                <a:moveTo>
                  <a:pt x="499051" y="1002914"/>
                </a:moveTo>
                <a:cubicBezTo>
                  <a:pt x="508846" y="1002370"/>
                  <a:pt x="520818" y="1014342"/>
                  <a:pt x="520818" y="1024137"/>
                </a:cubicBezTo>
                <a:cubicBezTo>
                  <a:pt x="520818" y="1032844"/>
                  <a:pt x="508846" y="1045360"/>
                  <a:pt x="499595" y="1045360"/>
                </a:cubicBezTo>
                <a:cubicBezTo>
                  <a:pt x="490888" y="1045360"/>
                  <a:pt x="478372" y="1032844"/>
                  <a:pt x="478372" y="1024137"/>
                </a:cubicBezTo>
                <a:cubicBezTo>
                  <a:pt x="478372" y="1014886"/>
                  <a:pt x="489800" y="1002914"/>
                  <a:pt x="499051" y="1002914"/>
                </a:cubicBezTo>
                <a:close/>
                <a:moveTo>
                  <a:pt x="663392" y="997473"/>
                </a:moveTo>
                <a:cubicBezTo>
                  <a:pt x="675908" y="998561"/>
                  <a:pt x="688968" y="1011622"/>
                  <a:pt x="688424" y="1024138"/>
                </a:cubicBezTo>
                <a:cubicBezTo>
                  <a:pt x="687880" y="1039374"/>
                  <a:pt x="676452" y="1050802"/>
                  <a:pt x="661759" y="1050258"/>
                </a:cubicBezTo>
                <a:cubicBezTo>
                  <a:pt x="647066" y="1049170"/>
                  <a:pt x="637271" y="1036109"/>
                  <a:pt x="636727" y="1023593"/>
                </a:cubicBezTo>
                <a:cubicBezTo>
                  <a:pt x="637271" y="1010533"/>
                  <a:pt x="651420" y="996929"/>
                  <a:pt x="663392" y="997473"/>
                </a:cubicBezTo>
                <a:close/>
                <a:moveTo>
                  <a:pt x="826645" y="995840"/>
                </a:moveTo>
                <a:cubicBezTo>
                  <a:pt x="845147" y="995296"/>
                  <a:pt x="855486" y="1007267"/>
                  <a:pt x="854942" y="1024137"/>
                </a:cubicBezTo>
                <a:cubicBezTo>
                  <a:pt x="855486" y="1039374"/>
                  <a:pt x="845147" y="1052978"/>
                  <a:pt x="825557" y="1052978"/>
                </a:cubicBezTo>
                <a:cubicBezTo>
                  <a:pt x="808143" y="1052434"/>
                  <a:pt x="796715" y="1041006"/>
                  <a:pt x="797260" y="1023593"/>
                </a:cubicBezTo>
                <a:cubicBezTo>
                  <a:pt x="797260" y="1005635"/>
                  <a:pt x="808687" y="995840"/>
                  <a:pt x="826645" y="995840"/>
                </a:cubicBezTo>
                <a:close/>
                <a:moveTo>
                  <a:pt x="990441" y="990942"/>
                </a:moveTo>
                <a:cubicBezTo>
                  <a:pt x="1008943" y="990942"/>
                  <a:pt x="1023092" y="1006179"/>
                  <a:pt x="1022548" y="1025225"/>
                </a:cubicBezTo>
                <a:cubicBezTo>
                  <a:pt x="1022004" y="1043183"/>
                  <a:pt x="1007311" y="1056243"/>
                  <a:pt x="988809" y="1056787"/>
                </a:cubicBezTo>
                <a:cubicBezTo>
                  <a:pt x="973028" y="1057332"/>
                  <a:pt x="956702" y="1041551"/>
                  <a:pt x="956702" y="1023593"/>
                </a:cubicBezTo>
                <a:cubicBezTo>
                  <a:pt x="956158" y="1006723"/>
                  <a:pt x="973572" y="988221"/>
                  <a:pt x="990441" y="990942"/>
                </a:cubicBezTo>
                <a:close/>
                <a:moveTo>
                  <a:pt x="1150974" y="987678"/>
                </a:moveTo>
                <a:cubicBezTo>
                  <a:pt x="1170020" y="986045"/>
                  <a:pt x="1189066" y="1004547"/>
                  <a:pt x="1189610" y="1023593"/>
                </a:cubicBezTo>
                <a:cubicBezTo>
                  <a:pt x="1190154" y="1042095"/>
                  <a:pt x="1170564" y="1061685"/>
                  <a:pt x="1152062" y="1061685"/>
                </a:cubicBezTo>
                <a:cubicBezTo>
                  <a:pt x="1134104" y="1061685"/>
                  <a:pt x="1115602" y="1042639"/>
                  <a:pt x="1115058" y="1024682"/>
                </a:cubicBezTo>
                <a:cubicBezTo>
                  <a:pt x="1115058" y="1006724"/>
                  <a:pt x="1133016" y="988222"/>
                  <a:pt x="1150974" y="987678"/>
                </a:cubicBezTo>
                <a:close/>
                <a:moveTo>
                  <a:pt x="1315314" y="985501"/>
                </a:moveTo>
                <a:cubicBezTo>
                  <a:pt x="1335993" y="983868"/>
                  <a:pt x="1354495" y="1005635"/>
                  <a:pt x="1354495" y="1023593"/>
                </a:cubicBezTo>
                <a:cubicBezTo>
                  <a:pt x="1355039" y="1042639"/>
                  <a:pt x="1333816" y="1065495"/>
                  <a:pt x="1315858" y="1062230"/>
                </a:cubicBezTo>
                <a:cubicBezTo>
                  <a:pt x="1294636" y="1062230"/>
                  <a:pt x="1277222" y="1045360"/>
                  <a:pt x="1277222" y="1024137"/>
                </a:cubicBezTo>
                <a:cubicBezTo>
                  <a:pt x="1277222" y="1002914"/>
                  <a:pt x="1294091" y="986589"/>
                  <a:pt x="1315314" y="985501"/>
                </a:cubicBezTo>
                <a:close/>
                <a:moveTo>
                  <a:pt x="1479656" y="984412"/>
                </a:moveTo>
                <a:cubicBezTo>
                  <a:pt x="1503055" y="984412"/>
                  <a:pt x="1519925" y="1000737"/>
                  <a:pt x="1519380" y="1025225"/>
                </a:cubicBezTo>
                <a:cubicBezTo>
                  <a:pt x="1518836" y="1045904"/>
                  <a:pt x="1502511" y="1065494"/>
                  <a:pt x="1478567" y="1063318"/>
                </a:cubicBezTo>
                <a:cubicBezTo>
                  <a:pt x="1454624" y="1064950"/>
                  <a:pt x="1438842" y="1044816"/>
                  <a:pt x="1439387" y="1023593"/>
                </a:cubicBezTo>
                <a:cubicBezTo>
                  <a:pt x="1439931" y="1000193"/>
                  <a:pt x="1455712" y="983868"/>
                  <a:pt x="1479656" y="984412"/>
                </a:cubicBezTo>
                <a:close/>
                <a:moveTo>
                  <a:pt x="1641820" y="981691"/>
                </a:moveTo>
                <a:cubicBezTo>
                  <a:pt x="1665220" y="981691"/>
                  <a:pt x="1683178" y="999649"/>
                  <a:pt x="1684810" y="1023592"/>
                </a:cubicBezTo>
                <a:cubicBezTo>
                  <a:pt x="1683722" y="1048625"/>
                  <a:pt x="1665220" y="1066038"/>
                  <a:pt x="1642909" y="1066038"/>
                </a:cubicBezTo>
                <a:cubicBezTo>
                  <a:pt x="1618421" y="1066038"/>
                  <a:pt x="1599919" y="1047536"/>
                  <a:pt x="1599919" y="1023592"/>
                </a:cubicBezTo>
                <a:cubicBezTo>
                  <a:pt x="1599919" y="1001281"/>
                  <a:pt x="1616788" y="982235"/>
                  <a:pt x="1641820" y="981691"/>
                </a:cubicBezTo>
                <a:close/>
                <a:moveTo>
                  <a:pt x="1806161" y="980603"/>
                </a:moveTo>
                <a:cubicBezTo>
                  <a:pt x="1829561" y="980603"/>
                  <a:pt x="1848607" y="1000737"/>
                  <a:pt x="1849151" y="1023592"/>
                </a:cubicBezTo>
                <a:cubicBezTo>
                  <a:pt x="1849151" y="1046992"/>
                  <a:pt x="1827928" y="1068215"/>
                  <a:pt x="1805617" y="1067127"/>
                </a:cubicBezTo>
                <a:cubicBezTo>
                  <a:pt x="1781673" y="1068215"/>
                  <a:pt x="1762083" y="1044815"/>
                  <a:pt x="1762083" y="1023592"/>
                </a:cubicBezTo>
                <a:cubicBezTo>
                  <a:pt x="1762083" y="1002370"/>
                  <a:pt x="1781673" y="980058"/>
                  <a:pt x="1806161" y="980603"/>
                </a:cubicBezTo>
                <a:close/>
                <a:moveTo>
                  <a:pt x="1969414" y="980059"/>
                </a:moveTo>
                <a:cubicBezTo>
                  <a:pt x="1993358" y="980603"/>
                  <a:pt x="2012404" y="1001282"/>
                  <a:pt x="2012404" y="1024137"/>
                </a:cubicBezTo>
                <a:cubicBezTo>
                  <a:pt x="2012404" y="1046449"/>
                  <a:pt x="1991726" y="1069304"/>
                  <a:pt x="1968870" y="1067127"/>
                </a:cubicBezTo>
                <a:cubicBezTo>
                  <a:pt x="1946015" y="1068760"/>
                  <a:pt x="1925336" y="1044272"/>
                  <a:pt x="1924792" y="1024137"/>
                </a:cubicBezTo>
                <a:cubicBezTo>
                  <a:pt x="1924792" y="1002914"/>
                  <a:pt x="1944382" y="980059"/>
                  <a:pt x="1969414" y="980059"/>
                </a:cubicBezTo>
                <a:close/>
                <a:moveTo>
                  <a:pt x="254171" y="931083"/>
                </a:moveTo>
                <a:cubicBezTo>
                  <a:pt x="260701" y="931083"/>
                  <a:pt x="265599" y="935437"/>
                  <a:pt x="265599" y="941967"/>
                </a:cubicBezTo>
                <a:cubicBezTo>
                  <a:pt x="265599" y="948497"/>
                  <a:pt x="260701" y="952850"/>
                  <a:pt x="254171" y="952850"/>
                </a:cubicBezTo>
                <a:cubicBezTo>
                  <a:pt x="247641" y="952850"/>
                  <a:pt x="243832" y="948497"/>
                  <a:pt x="243832" y="941967"/>
                </a:cubicBezTo>
                <a:cubicBezTo>
                  <a:pt x="243832" y="935437"/>
                  <a:pt x="247641" y="931627"/>
                  <a:pt x="254171" y="931083"/>
                </a:cubicBezTo>
                <a:close/>
                <a:moveTo>
                  <a:pt x="417968" y="922377"/>
                </a:moveTo>
                <a:cubicBezTo>
                  <a:pt x="427219" y="921833"/>
                  <a:pt x="437559" y="932716"/>
                  <a:pt x="437559" y="942511"/>
                </a:cubicBezTo>
                <a:cubicBezTo>
                  <a:pt x="437559" y="951762"/>
                  <a:pt x="427219" y="961557"/>
                  <a:pt x="417968" y="961557"/>
                </a:cubicBezTo>
                <a:cubicBezTo>
                  <a:pt x="409262" y="961557"/>
                  <a:pt x="397290" y="949585"/>
                  <a:pt x="397834" y="941423"/>
                </a:cubicBezTo>
                <a:cubicBezTo>
                  <a:pt x="398378" y="933260"/>
                  <a:pt x="409806" y="922377"/>
                  <a:pt x="417968" y="922377"/>
                </a:cubicBezTo>
                <a:close/>
                <a:moveTo>
                  <a:pt x="581222" y="916934"/>
                </a:moveTo>
                <a:cubicBezTo>
                  <a:pt x="593738" y="916934"/>
                  <a:pt x="607342" y="931082"/>
                  <a:pt x="606798" y="943054"/>
                </a:cubicBezTo>
                <a:cubicBezTo>
                  <a:pt x="606254" y="955570"/>
                  <a:pt x="593738" y="967542"/>
                  <a:pt x="581222" y="967542"/>
                </a:cubicBezTo>
                <a:cubicBezTo>
                  <a:pt x="567617" y="966454"/>
                  <a:pt x="557278" y="958291"/>
                  <a:pt x="556190" y="943054"/>
                </a:cubicBezTo>
                <a:cubicBezTo>
                  <a:pt x="555101" y="929994"/>
                  <a:pt x="568161" y="916934"/>
                  <a:pt x="581222" y="916934"/>
                </a:cubicBezTo>
                <a:close/>
                <a:moveTo>
                  <a:pt x="744474" y="913669"/>
                </a:moveTo>
                <a:cubicBezTo>
                  <a:pt x="765153" y="913669"/>
                  <a:pt x="773860" y="927273"/>
                  <a:pt x="773315" y="942510"/>
                </a:cubicBezTo>
                <a:cubicBezTo>
                  <a:pt x="772771" y="959924"/>
                  <a:pt x="761344" y="971352"/>
                  <a:pt x="743930" y="970807"/>
                </a:cubicBezTo>
                <a:cubicBezTo>
                  <a:pt x="727061" y="970807"/>
                  <a:pt x="716177" y="959380"/>
                  <a:pt x="716177" y="941966"/>
                </a:cubicBezTo>
                <a:cubicBezTo>
                  <a:pt x="716177" y="923464"/>
                  <a:pt x="727605" y="914213"/>
                  <a:pt x="744474" y="913669"/>
                </a:cubicBezTo>
                <a:close/>
                <a:moveTo>
                  <a:pt x="908271" y="908772"/>
                </a:moveTo>
                <a:cubicBezTo>
                  <a:pt x="927317" y="910405"/>
                  <a:pt x="940922" y="924553"/>
                  <a:pt x="940377" y="944144"/>
                </a:cubicBezTo>
                <a:cubicBezTo>
                  <a:pt x="939833" y="962101"/>
                  <a:pt x="925141" y="975162"/>
                  <a:pt x="906094" y="975162"/>
                </a:cubicBezTo>
                <a:cubicBezTo>
                  <a:pt x="890313" y="975162"/>
                  <a:pt x="873988" y="959925"/>
                  <a:pt x="874532" y="940879"/>
                </a:cubicBezTo>
                <a:cubicBezTo>
                  <a:pt x="874532" y="925641"/>
                  <a:pt x="891402" y="907684"/>
                  <a:pt x="908271" y="908772"/>
                </a:cubicBezTo>
                <a:close/>
                <a:moveTo>
                  <a:pt x="1072068" y="906051"/>
                </a:moveTo>
                <a:cubicBezTo>
                  <a:pt x="1093291" y="907683"/>
                  <a:pt x="1105807" y="921832"/>
                  <a:pt x="1107984" y="942511"/>
                </a:cubicBezTo>
                <a:cubicBezTo>
                  <a:pt x="1107984" y="961013"/>
                  <a:pt x="1088938" y="979515"/>
                  <a:pt x="1070980" y="979515"/>
                </a:cubicBezTo>
                <a:cubicBezTo>
                  <a:pt x="1053022" y="979515"/>
                  <a:pt x="1034520" y="960469"/>
                  <a:pt x="1034520" y="942511"/>
                </a:cubicBezTo>
                <a:cubicBezTo>
                  <a:pt x="1034520" y="923465"/>
                  <a:pt x="1053566" y="904419"/>
                  <a:pt x="1072068" y="906051"/>
                </a:cubicBezTo>
                <a:close/>
                <a:moveTo>
                  <a:pt x="1235321" y="903874"/>
                </a:moveTo>
                <a:cubicBezTo>
                  <a:pt x="1257088" y="903874"/>
                  <a:pt x="1272325" y="920199"/>
                  <a:pt x="1272325" y="943054"/>
                </a:cubicBezTo>
                <a:cubicBezTo>
                  <a:pt x="1275045" y="962645"/>
                  <a:pt x="1251646" y="982779"/>
                  <a:pt x="1233688" y="981147"/>
                </a:cubicBezTo>
                <a:cubicBezTo>
                  <a:pt x="1211921" y="979514"/>
                  <a:pt x="1195052" y="963189"/>
                  <a:pt x="1195596" y="940878"/>
                </a:cubicBezTo>
                <a:cubicBezTo>
                  <a:pt x="1196140" y="919111"/>
                  <a:pt x="1212465" y="903330"/>
                  <a:pt x="1235321" y="903874"/>
                </a:cubicBezTo>
                <a:close/>
                <a:moveTo>
                  <a:pt x="1397486" y="901153"/>
                </a:moveTo>
                <a:cubicBezTo>
                  <a:pt x="1420885" y="901698"/>
                  <a:pt x="1437755" y="917479"/>
                  <a:pt x="1438299" y="942511"/>
                </a:cubicBezTo>
                <a:cubicBezTo>
                  <a:pt x="1437210" y="966999"/>
                  <a:pt x="1420341" y="983324"/>
                  <a:pt x="1396941" y="983324"/>
                </a:cubicBezTo>
                <a:cubicBezTo>
                  <a:pt x="1371909" y="983324"/>
                  <a:pt x="1355584" y="963190"/>
                  <a:pt x="1356128" y="941967"/>
                </a:cubicBezTo>
                <a:cubicBezTo>
                  <a:pt x="1356128" y="919655"/>
                  <a:pt x="1373542" y="900609"/>
                  <a:pt x="1397486" y="901153"/>
                </a:cubicBezTo>
                <a:close/>
                <a:moveTo>
                  <a:pt x="1560738" y="898977"/>
                </a:moveTo>
                <a:cubicBezTo>
                  <a:pt x="1584138" y="899521"/>
                  <a:pt x="1603728" y="917479"/>
                  <a:pt x="1603728" y="942511"/>
                </a:cubicBezTo>
                <a:cubicBezTo>
                  <a:pt x="1603728" y="966999"/>
                  <a:pt x="1581961" y="985501"/>
                  <a:pt x="1560738" y="985501"/>
                </a:cubicBezTo>
                <a:cubicBezTo>
                  <a:pt x="1537883" y="985501"/>
                  <a:pt x="1516660" y="963734"/>
                  <a:pt x="1517204" y="941423"/>
                </a:cubicBezTo>
                <a:cubicBezTo>
                  <a:pt x="1517748" y="919656"/>
                  <a:pt x="1535706" y="898977"/>
                  <a:pt x="1560738" y="898977"/>
                </a:cubicBezTo>
                <a:close/>
                <a:moveTo>
                  <a:pt x="1723990" y="897888"/>
                </a:moveTo>
                <a:cubicBezTo>
                  <a:pt x="1747934" y="897888"/>
                  <a:pt x="1769701" y="919111"/>
                  <a:pt x="1768069" y="942510"/>
                </a:cubicBezTo>
                <a:cubicBezTo>
                  <a:pt x="1770245" y="965366"/>
                  <a:pt x="1746302" y="987133"/>
                  <a:pt x="1723990" y="986589"/>
                </a:cubicBezTo>
                <a:cubicBezTo>
                  <a:pt x="1701679" y="986589"/>
                  <a:pt x="1679912" y="964278"/>
                  <a:pt x="1679912" y="941422"/>
                </a:cubicBezTo>
                <a:cubicBezTo>
                  <a:pt x="1680456" y="919655"/>
                  <a:pt x="1700047" y="897888"/>
                  <a:pt x="1723990" y="897888"/>
                </a:cubicBezTo>
                <a:close/>
                <a:moveTo>
                  <a:pt x="2050497" y="897344"/>
                </a:moveTo>
                <a:lnTo>
                  <a:pt x="2051041" y="897453"/>
                </a:lnTo>
                <a:lnTo>
                  <a:pt x="2051041" y="986917"/>
                </a:lnTo>
                <a:lnTo>
                  <a:pt x="2049952" y="987133"/>
                </a:lnTo>
                <a:cubicBezTo>
                  <a:pt x="2026553" y="987133"/>
                  <a:pt x="2004786" y="965366"/>
                  <a:pt x="2005330" y="941422"/>
                </a:cubicBezTo>
                <a:cubicBezTo>
                  <a:pt x="2005874" y="918023"/>
                  <a:pt x="2026009" y="897344"/>
                  <a:pt x="2050497" y="897344"/>
                </a:cubicBezTo>
                <a:close/>
                <a:moveTo>
                  <a:pt x="1887243" y="897344"/>
                </a:moveTo>
                <a:cubicBezTo>
                  <a:pt x="1910099" y="897344"/>
                  <a:pt x="1931866" y="916390"/>
                  <a:pt x="1931866" y="942511"/>
                </a:cubicBezTo>
                <a:cubicBezTo>
                  <a:pt x="1931866" y="965910"/>
                  <a:pt x="1910099" y="986589"/>
                  <a:pt x="1887243" y="986589"/>
                </a:cubicBezTo>
                <a:cubicBezTo>
                  <a:pt x="1864932" y="987133"/>
                  <a:pt x="1839900" y="965910"/>
                  <a:pt x="1843165" y="941422"/>
                </a:cubicBezTo>
                <a:cubicBezTo>
                  <a:pt x="1840444" y="918567"/>
                  <a:pt x="1863299" y="897344"/>
                  <a:pt x="1887243" y="897344"/>
                </a:cubicBezTo>
                <a:close/>
                <a:moveTo>
                  <a:pt x="172545" y="854354"/>
                </a:moveTo>
                <a:cubicBezTo>
                  <a:pt x="176899" y="854354"/>
                  <a:pt x="179619" y="855442"/>
                  <a:pt x="179619" y="860884"/>
                </a:cubicBezTo>
                <a:cubicBezTo>
                  <a:pt x="180164" y="864693"/>
                  <a:pt x="177987" y="866870"/>
                  <a:pt x="173634" y="866870"/>
                </a:cubicBezTo>
                <a:cubicBezTo>
                  <a:pt x="169824" y="866870"/>
                  <a:pt x="166559" y="866870"/>
                  <a:pt x="166015" y="861973"/>
                </a:cubicBezTo>
                <a:cubicBezTo>
                  <a:pt x="165471" y="857075"/>
                  <a:pt x="167103" y="854354"/>
                  <a:pt x="172545" y="854354"/>
                </a:cubicBezTo>
                <a:close/>
                <a:moveTo>
                  <a:pt x="336342" y="843471"/>
                </a:moveTo>
                <a:cubicBezTo>
                  <a:pt x="346681" y="844015"/>
                  <a:pt x="353211" y="849457"/>
                  <a:pt x="353211" y="860340"/>
                </a:cubicBezTo>
                <a:cubicBezTo>
                  <a:pt x="353211" y="872312"/>
                  <a:pt x="348858" y="876665"/>
                  <a:pt x="336886" y="877210"/>
                </a:cubicBezTo>
                <a:cubicBezTo>
                  <a:pt x="324370" y="877210"/>
                  <a:pt x="320561" y="872856"/>
                  <a:pt x="320017" y="860884"/>
                </a:cubicBezTo>
                <a:cubicBezTo>
                  <a:pt x="319473" y="851089"/>
                  <a:pt x="327635" y="842927"/>
                  <a:pt x="336342" y="843471"/>
                </a:cubicBezTo>
                <a:close/>
                <a:moveTo>
                  <a:pt x="500139" y="837485"/>
                </a:moveTo>
                <a:cubicBezTo>
                  <a:pt x="514832" y="837485"/>
                  <a:pt x="522994" y="846735"/>
                  <a:pt x="522994" y="861428"/>
                </a:cubicBezTo>
                <a:cubicBezTo>
                  <a:pt x="522994" y="876121"/>
                  <a:pt x="513743" y="884284"/>
                  <a:pt x="499595" y="884284"/>
                </a:cubicBezTo>
                <a:cubicBezTo>
                  <a:pt x="485446" y="883740"/>
                  <a:pt x="475651" y="875033"/>
                  <a:pt x="476739" y="860340"/>
                </a:cubicBezTo>
                <a:cubicBezTo>
                  <a:pt x="476195" y="842926"/>
                  <a:pt x="489256" y="836940"/>
                  <a:pt x="500139" y="837485"/>
                </a:cubicBezTo>
                <a:close/>
                <a:moveTo>
                  <a:pt x="662848" y="832587"/>
                </a:moveTo>
                <a:cubicBezTo>
                  <a:pt x="677541" y="832587"/>
                  <a:pt x="691689" y="842926"/>
                  <a:pt x="690057" y="860340"/>
                </a:cubicBezTo>
                <a:cubicBezTo>
                  <a:pt x="691689" y="876121"/>
                  <a:pt x="679718" y="888637"/>
                  <a:pt x="662848" y="888637"/>
                </a:cubicBezTo>
                <a:cubicBezTo>
                  <a:pt x="644890" y="888637"/>
                  <a:pt x="634551" y="874489"/>
                  <a:pt x="634551" y="861428"/>
                </a:cubicBezTo>
                <a:cubicBezTo>
                  <a:pt x="634551" y="842926"/>
                  <a:pt x="647611" y="832587"/>
                  <a:pt x="662848" y="832587"/>
                </a:cubicBezTo>
                <a:close/>
                <a:moveTo>
                  <a:pt x="826101" y="827146"/>
                </a:moveTo>
                <a:cubicBezTo>
                  <a:pt x="840249" y="826602"/>
                  <a:pt x="859840" y="843471"/>
                  <a:pt x="859295" y="860885"/>
                </a:cubicBezTo>
                <a:cubicBezTo>
                  <a:pt x="858751" y="875033"/>
                  <a:pt x="844603" y="894624"/>
                  <a:pt x="825556" y="892991"/>
                </a:cubicBezTo>
                <a:cubicBezTo>
                  <a:pt x="808687" y="894079"/>
                  <a:pt x="793450" y="877754"/>
                  <a:pt x="793450" y="860885"/>
                </a:cubicBezTo>
                <a:cubicBezTo>
                  <a:pt x="793994" y="842927"/>
                  <a:pt x="808143" y="828234"/>
                  <a:pt x="826101" y="827146"/>
                </a:cubicBezTo>
                <a:close/>
                <a:moveTo>
                  <a:pt x="988809" y="824424"/>
                </a:moveTo>
                <a:cubicBezTo>
                  <a:pt x="1010576" y="825512"/>
                  <a:pt x="1024180" y="839661"/>
                  <a:pt x="1025813" y="860339"/>
                </a:cubicBezTo>
                <a:cubicBezTo>
                  <a:pt x="1026901" y="878842"/>
                  <a:pt x="1008399" y="896799"/>
                  <a:pt x="989897" y="897344"/>
                </a:cubicBezTo>
                <a:cubicBezTo>
                  <a:pt x="971939" y="897344"/>
                  <a:pt x="953982" y="880474"/>
                  <a:pt x="953437" y="861972"/>
                </a:cubicBezTo>
                <a:cubicBezTo>
                  <a:pt x="951805" y="842926"/>
                  <a:pt x="969763" y="824968"/>
                  <a:pt x="988809" y="824424"/>
                </a:cubicBezTo>
                <a:close/>
                <a:moveTo>
                  <a:pt x="1153695" y="821704"/>
                </a:moveTo>
                <a:cubicBezTo>
                  <a:pt x="1175462" y="822248"/>
                  <a:pt x="1191243" y="839118"/>
                  <a:pt x="1191243" y="861429"/>
                </a:cubicBezTo>
                <a:cubicBezTo>
                  <a:pt x="1193964" y="882107"/>
                  <a:pt x="1169476" y="900610"/>
                  <a:pt x="1152606" y="899521"/>
                </a:cubicBezTo>
                <a:cubicBezTo>
                  <a:pt x="1130839" y="898433"/>
                  <a:pt x="1114514" y="882107"/>
                  <a:pt x="1114514" y="859252"/>
                </a:cubicBezTo>
                <a:cubicBezTo>
                  <a:pt x="1115058" y="837485"/>
                  <a:pt x="1131928" y="821704"/>
                  <a:pt x="1153695" y="821704"/>
                </a:cubicBezTo>
                <a:close/>
                <a:moveTo>
                  <a:pt x="1316403" y="818982"/>
                </a:moveTo>
                <a:cubicBezTo>
                  <a:pt x="1341979" y="820071"/>
                  <a:pt x="1356128" y="838573"/>
                  <a:pt x="1357216" y="860884"/>
                </a:cubicBezTo>
                <a:cubicBezTo>
                  <a:pt x="1356128" y="884828"/>
                  <a:pt x="1337626" y="901697"/>
                  <a:pt x="1315315" y="901697"/>
                </a:cubicBezTo>
                <a:cubicBezTo>
                  <a:pt x="1293003" y="901697"/>
                  <a:pt x="1273957" y="884284"/>
                  <a:pt x="1274501" y="860340"/>
                </a:cubicBezTo>
                <a:cubicBezTo>
                  <a:pt x="1275046" y="835852"/>
                  <a:pt x="1291915" y="818438"/>
                  <a:pt x="1316403" y="818982"/>
                </a:cubicBezTo>
                <a:close/>
                <a:moveTo>
                  <a:pt x="1479112" y="816806"/>
                </a:moveTo>
                <a:cubicBezTo>
                  <a:pt x="1501423" y="816806"/>
                  <a:pt x="1523190" y="835852"/>
                  <a:pt x="1522646" y="860340"/>
                </a:cubicBezTo>
                <a:cubicBezTo>
                  <a:pt x="1523735" y="885372"/>
                  <a:pt x="1499791" y="904419"/>
                  <a:pt x="1479656" y="904419"/>
                </a:cubicBezTo>
                <a:cubicBezTo>
                  <a:pt x="1457889" y="904419"/>
                  <a:pt x="1436122" y="883740"/>
                  <a:pt x="1435578" y="860884"/>
                </a:cubicBezTo>
                <a:cubicBezTo>
                  <a:pt x="1435578" y="838573"/>
                  <a:pt x="1455713" y="816806"/>
                  <a:pt x="1479112" y="816806"/>
                </a:cubicBezTo>
                <a:close/>
                <a:moveTo>
                  <a:pt x="1642909" y="815718"/>
                </a:moveTo>
                <a:cubicBezTo>
                  <a:pt x="1665764" y="816262"/>
                  <a:pt x="1686987" y="835852"/>
                  <a:pt x="1686987" y="860885"/>
                </a:cubicBezTo>
                <a:cubicBezTo>
                  <a:pt x="1686987" y="884284"/>
                  <a:pt x="1666308" y="906051"/>
                  <a:pt x="1641276" y="905507"/>
                </a:cubicBezTo>
                <a:cubicBezTo>
                  <a:pt x="1619509" y="905507"/>
                  <a:pt x="1595021" y="884284"/>
                  <a:pt x="1597742" y="860340"/>
                </a:cubicBezTo>
                <a:cubicBezTo>
                  <a:pt x="1595021" y="836941"/>
                  <a:pt x="1619509" y="815174"/>
                  <a:pt x="1642909" y="815718"/>
                </a:cubicBezTo>
                <a:close/>
                <a:moveTo>
                  <a:pt x="1806161" y="815173"/>
                </a:moveTo>
                <a:cubicBezTo>
                  <a:pt x="1832282" y="815717"/>
                  <a:pt x="1854593" y="836396"/>
                  <a:pt x="1852416" y="860884"/>
                </a:cubicBezTo>
                <a:cubicBezTo>
                  <a:pt x="1850240" y="885372"/>
                  <a:pt x="1837179" y="906050"/>
                  <a:pt x="1805617" y="906594"/>
                </a:cubicBezTo>
                <a:cubicBezTo>
                  <a:pt x="1776776" y="906594"/>
                  <a:pt x="1759362" y="885916"/>
                  <a:pt x="1759906" y="860884"/>
                </a:cubicBezTo>
                <a:cubicBezTo>
                  <a:pt x="1759906" y="834219"/>
                  <a:pt x="1776776" y="815717"/>
                  <a:pt x="1806161" y="815173"/>
                </a:cubicBezTo>
                <a:close/>
                <a:moveTo>
                  <a:pt x="1968326" y="812453"/>
                </a:moveTo>
                <a:cubicBezTo>
                  <a:pt x="1979754" y="812453"/>
                  <a:pt x="1991726" y="817351"/>
                  <a:pt x="2000977" y="826057"/>
                </a:cubicBezTo>
                <a:cubicBezTo>
                  <a:pt x="2010772" y="835308"/>
                  <a:pt x="2016214" y="847280"/>
                  <a:pt x="2015670" y="859796"/>
                </a:cubicBezTo>
                <a:cubicBezTo>
                  <a:pt x="2014581" y="884828"/>
                  <a:pt x="2000977" y="904963"/>
                  <a:pt x="1969415" y="907684"/>
                </a:cubicBezTo>
                <a:cubicBezTo>
                  <a:pt x="1942206" y="906051"/>
                  <a:pt x="1923704" y="890270"/>
                  <a:pt x="1922071" y="860885"/>
                </a:cubicBezTo>
                <a:cubicBezTo>
                  <a:pt x="1920983" y="836397"/>
                  <a:pt x="1943294" y="812453"/>
                  <a:pt x="1968326" y="812453"/>
                </a:cubicBezTo>
                <a:close/>
                <a:moveTo>
                  <a:pt x="255260" y="762932"/>
                </a:moveTo>
                <a:cubicBezTo>
                  <a:pt x="261790" y="763476"/>
                  <a:pt x="271041" y="773271"/>
                  <a:pt x="270497" y="779802"/>
                </a:cubicBezTo>
                <a:cubicBezTo>
                  <a:pt x="270497" y="786332"/>
                  <a:pt x="261246" y="795038"/>
                  <a:pt x="254172" y="795038"/>
                </a:cubicBezTo>
                <a:cubicBezTo>
                  <a:pt x="246553" y="795038"/>
                  <a:pt x="238391" y="786332"/>
                  <a:pt x="238935" y="778713"/>
                </a:cubicBezTo>
                <a:cubicBezTo>
                  <a:pt x="239479" y="771095"/>
                  <a:pt x="248186" y="762388"/>
                  <a:pt x="255260" y="762932"/>
                </a:cubicBezTo>
                <a:close/>
                <a:moveTo>
                  <a:pt x="416881" y="756402"/>
                </a:moveTo>
                <a:cubicBezTo>
                  <a:pt x="430485" y="756402"/>
                  <a:pt x="439736" y="765109"/>
                  <a:pt x="440280" y="778713"/>
                </a:cubicBezTo>
                <a:cubicBezTo>
                  <a:pt x="440280" y="791229"/>
                  <a:pt x="431573" y="801024"/>
                  <a:pt x="419057" y="801024"/>
                </a:cubicBezTo>
                <a:cubicBezTo>
                  <a:pt x="405997" y="801569"/>
                  <a:pt x="396202" y="792317"/>
                  <a:pt x="396202" y="779257"/>
                </a:cubicBezTo>
                <a:cubicBezTo>
                  <a:pt x="396202" y="766741"/>
                  <a:pt x="404909" y="756946"/>
                  <a:pt x="416881" y="756402"/>
                </a:cubicBezTo>
                <a:close/>
                <a:moveTo>
                  <a:pt x="581766" y="751505"/>
                </a:moveTo>
                <a:cubicBezTo>
                  <a:pt x="598091" y="752594"/>
                  <a:pt x="607887" y="762933"/>
                  <a:pt x="608975" y="779802"/>
                </a:cubicBezTo>
                <a:cubicBezTo>
                  <a:pt x="608975" y="792318"/>
                  <a:pt x="596459" y="808644"/>
                  <a:pt x="580678" y="806467"/>
                </a:cubicBezTo>
                <a:cubicBezTo>
                  <a:pt x="565985" y="808100"/>
                  <a:pt x="553469" y="792318"/>
                  <a:pt x="553469" y="778714"/>
                </a:cubicBezTo>
                <a:cubicBezTo>
                  <a:pt x="553469" y="764021"/>
                  <a:pt x="567618" y="750417"/>
                  <a:pt x="581766" y="751505"/>
                </a:cubicBezTo>
                <a:close/>
                <a:moveTo>
                  <a:pt x="746107" y="746607"/>
                </a:moveTo>
                <a:cubicBezTo>
                  <a:pt x="762432" y="747695"/>
                  <a:pt x="778213" y="765653"/>
                  <a:pt x="777125" y="780346"/>
                </a:cubicBezTo>
                <a:cubicBezTo>
                  <a:pt x="776581" y="795038"/>
                  <a:pt x="762432" y="811908"/>
                  <a:pt x="742842" y="811364"/>
                </a:cubicBezTo>
                <a:cubicBezTo>
                  <a:pt x="725428" y="810276"/>
                  <a:pt x="712368" y="795583"/>
                  <a:pt x="712368" y="778713"/>
                </a:cubicBezTo>
                <a:cubicBezTo>
                  <a:pt x="712368" y="760755"/>
                  <a:pt x="730870" y="745519"/>
                  <a:pt x="746107" y="746607"/>
                </a:cubicBezTo>
                <a:close/>
                <a:moveTo>
                  <a:pt x="907727" y="741710"/>
                </a:moveTo>
                <a:cubicBezTo>
                  <a:pt x="925684" y="741710"/>
                  <a:pt x="944187" y="760756"/>
                  <a:pt x="944187" y="778714"/>
                </a:cubicBezTo>
                <a:cubicBezTo>
                  <a:pt x="944187" y="796672"/>
                  <a:pt x="926229" y="815174"/>
                  <a:pt x="907727" y="815174"/>
                </a:cubicBezTo>
                <a:cubicBezTo>
                  <a:pt x="889225" y="815174"/>
                  <a:pt x="872899" y="798848"/>
                  <a:pt x="872355" y="779258"/>
                </a:cubicBezTo>
                <a:cubicBezTo>
                  <a:pt x="871811" y="759668"/>
                  <a:pt x="888136" y="742254"/>
                  <a:pt x="907727" y="741710"/>
                </a:cubicBezTo>
                <a:close/>
                <a:moveTo>
                  <a:pt x="1070979" y="740621"/>
                </a:moveTo>
                <a:cubicBezTo>
                  <a:pt x="1091114" y="737357"/>
                  <a:pt x="1110704" y="761300"/>
                  <a:pt x="1110160" y="779258"/>
                </a:cubicBezTo>
                <a:cubicBezTo>
                  <a:pt x="1110160" y="798304"/>
                  <a:pt x="1089481" y="817894"/>
                  <a:pt x="1070979" y="817894"/>
                </a:cubicBezTo>
                <a:cubicBezTo>
                  <a:pt x="1049757" y="817894"/>
                  <a:pt x="1031255" y="797216"/>
                  <a:pt x="1031799" y="778714"/>
                </a:cubicBezTo>
                <a:cubicBezTo>
                  <a:pt x="1033431" y="756947"/>
                  <a:pt x="1049212" y="740621"/>
                  <a:pt x="1070979" y="740621"/>
                </a:cubicBezTo>
                <a:close/>
                <a:moveTo>
                  <a:pt x="1233688" y="736268"/>
                </a:moveTo>
                <a:cubicBezTo>
                  <a:pt x="1254367" y="735723"/>
                  <a:pt x="1276134" y="756402"/>
                  <a:pt x="1276134" y="777625"/>
                </a:cubicBezTo>
                <a:cubicBezTo>
                  <a:pt x="1276134" y="801025"/>
                  <a:pt x="1258720" y="819526"/>
                  <a:pt x="1235320" y="820615"/>
                </a:cubicBezTo>
                <a:cubicBezTo>
                  <a:pt x="1211377" y="821159"/>
                  <a:pt x="1193419" y="802657"/>
                  <a:pt x="1192331" y="779258"/>
                </a:cubicBezTo>
                <a:cubicBezTo>
                  <a:pt x="1190698" y="758579"/>
                  <a:pt x="1213009" y="736812"/>
                  <a:pt x="1233688" y="736268"/>
                </a:cubicBezTo>
                <a:close/>
                <a:moveTo>
                  <a:pt x="1397485" y="735724"/>
                </a:moveTo>
                <a:cubicBezTo>
                  <a:pt x="1421973" y="734091"/>
                  <a:pt x="1441564" y="757491"/>
                  <a:pt x="1441019" y="779802"/>
                </a:cubicBezTo>
                <a:cubicBezTo>
                  <a:pt x="1441019" y="803746"/>
                  <a:pt x="1418708" y="823336"/>
                  <a:pt x="1396397" y="823336"/>
                </a:cubicBezTo>
                <a:cubicBezTo>
                  <a:pt x="1374630" y="823336"/>
                  <a:pt x="1352863" y="802113"/>
                  <a:pt x="1352863" y="779258"/>
                </a:cubicBezTo>
                <a:cubicBezTo>
                  <a:pt x="1353407" y="758579"/>
                  <a:pt x="1372453" y="733547"/>
                  <a:pt x="1397485" y="735724"/>
                </a:cubicBezTo>
                <a:close/>
                <a:moveTo>
                  <a:pt x="1562371" y="734636"/>
                </a:moveTo>
                <a:cubicBezTo>
                  <a:pt x="1586314" y="732459"/>
                  <a:pt x="1605905" y="754226"/>
                  <a:pt x="1605905" y="779802"/>
                </a:cubicBezTo>
                <a:cubicBezTo>
                  <a:pt x="1605361" y="805923"/>
                  <a:pt x="1585226" y="823881"/>
                  <a:pt x="1560194" y="823881"/>
                </a:cubicBezTo>
                <a:cubicBezTo>
                  <a:pt x="1535706" y="823881"/>
                  <a:pt x="1515027" y="803202"/>
                  <a:pt x="1515572" y="777626"/>
                </a:cubicBezTo>
                <a:cubicBezTo>
                  <a:pt x="1516116" y="755859"/>
                  <a:pt x="1535162" y="731371"/>
                  <a:pt x="1562371" y="734636"/>
                </a:cubicBezTo>
                <a:close/>
                <a:moveTo>
                  <a:pt x="1724535" y="730827"/>
                </a:moveTo>
                <a:cubicBezTo>
                  <a:pt x="1748478" y="731371"/>
                  <a:pt x="1772422" y="755314"/>
                  <a:pt x="1772422" y="779258"/>
                </a:cubicBezTo>
                <a:cubicBezTo>
                  <a:pt x="1771878" y="804290"/>
                  <a:pt x="1748478" y="826602"/>
                  <a:pt x="1723446" y="826602"/>
                </a:cubicBezTo>
                <a:cubicBezTo>
                  <a:pt x="1696238" y="823881"/>
                  <a:pt x="1677736" y="807011"/>
                  <a:pt x="1676647" y="778714"/>
                </a:cubicBezTo>
                <a:cubicBezTo>
                  <a:pt x="1676103" y="753138"/>
                  <a:pt x="1699503" y="730282"/>
                  <a:pt x="1724535" y="730827"/>
                </a:cubicBezTo>
                <a:close/>
                <a:moveTo>
                  <a:pt x="1886699" y="730826"/>
                </a:moveTo>
                <a:cubicBezTo>
                  <a:pt x="1914452" y="730826"/>
                  <a:pt x="1934587" y="749872"/>
                  <a:pt x="1935131" y="778713"/>
                </a:cubicBezTo>
                <a:cubicBezTo>
                  <a:pt x="1936219" y="804834"/>
                  <a:pt x="1916085" y="826601"/>
                  <a:pt x="1887244" y="827145"/>
                </a:cubicBezTo>
                <a:cubicBezTo>
                  <a:pt x="1860579" y="826601"/>
                  <a:pt x="1838812" y="805922"/>
                  <a:pt x="1838812" y="778713"/>
                </a:cubicBezTo>
                <a:cubicBezTo>
                  <a:pt x="1839356" y="750416"/>
                  <a:pt x="1860035" y="730282"/>
                  <a:pt x="1886699" y="730826"/>
                </a:cubicBezTo>
                <a:close/>
                <a:moveTo>
                  <a:pt x="2050496" y="730282"/>
                </a:moveTo>
                <a:lnTo>
                  <a:pt x="2051041" y="730396"/>
                </a:lnTo>
                <a:lnTo>
                  <a:pt x="2051041" y="826942"/>
                </a:lnTo>
                <a:lnTo>
                  <a:pt x="2049952" y="827145"/>
                </a:lnTo>
                <a:cubicBezTo>
                  <a:pt x="2023832" y="827145"/>
                  <a:pt x="2001521" y="804290"/>
                  <a:pt x="2002065" y="778169"/>
                </a:cubicBezTo>
                <a:cubicBezTo>
                  <a:pt x="2002609" y="751505"/>
                  <a:pt x="2024376" y="730282"/>
                  <a:pt x="2050496" y="730282"/>
                </a:cubicBezTo>
                <a:close/>
                <a:moveTo>
                  <a:pt x="173634" y="685660"/>
                </a:moveTo>
                <a:cubicBezTo>
                  <a:pt x="181253" y="685660"/>
                  <a:pt x="185062" y="690013"/>
                  <a:pt x="184518" y="698176"/>
                </a:cubicBezTo>
                <a:cubicBezTo>
                  <a:pt x="183973" y="705250"/>
                  <a:pt x="180164" y="709059"/>
                  <a:pt x="172546" y="709059"/>
                </a:cubicBezTo>
                <a:cubicBezTo>
                  <a:pt x="164383" y="709059"/>
                  <a:pt x="160574" y="705250"/>
                  <a:pt x="161118" y="697088"/>
                </a:cubicBezTo>
                <a:cubicBezTo>
                  <a:pt x="161662" y="688925"/>
                  <a:pt x="164927" y="685660"/>
                  <a:pt x="173634" y="685660"/>
                </a:cubicBezTo>
                <a:close/>
                <a:moveTo>
                  <a:pt x="335798" y="675320"/>
                </a:moveTo>
                <a:cubicBezTo>
                  <a:pt x="345593" y="675320"/>
                  <a:pt x="357565" y="685115"/>
                  <a:pt x="357565" y="696543"/>
                </a:cubicBezTo>
                <a:cubicBezTo>
                  <a:pt x="357565" y="707426"/>
                  <a:pt x="346682" y="718854"/>
                  <a:pt x="336342" y="718854"/>
                </a:cubicBezTo>
                <a:cubicBezTo>
                  <a:pt x="327091" y="718854"/>
                  <a:pt x="315664" y="707426"/>
                  <a:pt x="315120" y="697631"/>
                </a:cubicBezTo>
                <a:cubicBezTo>
                  <a:pt x="314575" y="687292"/>
                  <a:pt x="325459" y="675864"/>
                  <a:pt x="335798" y="675320"/>
                </a:cubicBezTo>
                <a:close/>
                <a:moveTo>
                  <a:pt x="499051" y="670423"/>
                </a:moveTo>
                <a:cubicBezTo>
                  <a:pt x="512111" y="669335"/>
                  <a:pt x="526804" y="684027"/>
                  <a:pt x="526804" y="697088"/>
                </a:cubicBezTo>
                <a:cubicBezTo>
                  <a:pt x="526804" y="711236"/>
                  <a:pt x="513744" y="724296"/>
                  <a:pt x="499595" y="724296"/>
                </a:cubicBezTo>
                <a:cubicBezTo>
                  <a:pt x="486535" y="724296"/>
                  <a:pt x="472930" y="711236"/>
                  <a:pt x="472930" y="697632"/>
                </a:cubicBezTo>
                <a:cubicBezTo>
                  <a:pt x="472386" y="684027"/>
                  <a:pt x="485446" y="670423"/>
                  <a:pt x="499051" y="670423"/>
                </a:cubicBezTo>
                <a:close/>
                <a:moveTo>
                  <a:pt x="662848" y="665525"/>
                </a:moveTo>
                <a:cubicBezTo>
                  <a:pt x="678629" y="665525"/>
                  <a:pt x="694410" y="681306"/>
                  <a:pt x="694954" y="697087"/>
                </a:cubicBezTo>
                <a:cubicBezTo>
                  <a:pt x="695499" y="712868"/>
                  <a:pt x="679173" y="729194"/>
                  <a:pt x="663392" y="729194"/>
                </a:cubicBezTo>
                <a:cubicBezTo>
                  <a:pt x="647611" y="729194"/>
                  <a:pt x="632374" y="713957"/>
                  <a:pt x="632374" y="698176"/>
                </a:cubicBezTo>
                <a:cubicBezTo>
                  <a:pt x="631286" y="681850"/>
                  <a:pt x="647067" y="665525"/>
                  <a:pt x="662848" y="665525"/>
                </a:cubicBezTo>
                <a:close/>
                <a:moveTo>
                  <a:pt x="825013" y="663349"/>
                </a:moveTo>
                <a:cubicBezTo>
                  <a:pt x="844603" y="662260"/>
                  <a:pt x="861472" y="676953"/>
                  <a:pt x="860384" y="697632"/>
                </a:cubicBezTo>
                <a:cubicBezTo>
                  <a:pt x="861472" y="716134"/>
                  <a:pt x="846780" y="731915"/>
                  <a:pt x="826101" y="731915"/>
                </a:cubicBezTo>
                <a:cubicBezTo>
                  <a:pt x="806511" y="731915"/>
                  <a:pt x="791818" y="719399"/>
                  <a:pt x="791818" y="698176"/>
                </a:cubicBezTo>
                <a:cubicBezTo>
                  <a:pt x="791818" y="676409"/>
                  <a:pt x="805967" y="663893"/>
                  <a:pt x="825013" y="663349"/>
                </a:cubicBezTo>
                <a:close/>
                <a:moveTo>
                  <a:pt x="988809" y="658995"/>
                </a:moveTo>
                <a:cubicBezTo>
                  <a:pt x="1008400" y="657362"/>
                  <a:pt x="1028534" y="679129"/>
                  <a:pt x="1027446" y="697087"/>
                </a:cubicBezTo>
                <a:cubicBezTo>
                  <a:pt x="1026902" y="718310"/>
                  <a:pt x="1010576" y="735723"/>
                  <a:pt x="989353" y="735723"/>
                </a:cubicBezTo>
                <a:cubicBezTo>
                  <a:pt x="968675" y="735723"/>
                  <a:pt x="950717" y="718310"/>
                  <a:pt x="950717" y="697631"/>
                </a:cubicBezTo>
                <a:cubicBezTo>
                  <a:pt x="950717" y="676408"/>
                  <a:pt x="968131" y="660627"/>
                  <a:pt x="988809" y="658995"/>
                </a:cubicBezTo>
                <a:close/>
                <a:moveTo>
                  <a:pt x="1152607" y="655729"/>
                </a:moveTo>
                <a:cubicBezTo>
                  <a:pt x="1173829" y="654097"/>
                  <a:pt x="1194508" y="675864"/>
                  <a:pt x="1195052" y="697087"/>
                </a:cubicBezTo>
                <a:cubicBezTo>
                  <a:pt x="1195596" y="717766"/>
                  <a:pt x="1173829" y="739533"/>
                  <a:pt x="1153151" y="739533"/>
                </a:cubicBezTo>
                <a:cubicBezTo>
                  <a:pt x="1132472" y="740077"/>
                  <a:pt x="1110705" y="718310"/>
                  <a:pt x="1110705" y="697631"/>
                </a:cubicBezTo>
                <a:cubicBezTo>
                  <a:pt x="1112882" y="674231"/>
                  <a:pt x="1127574" y="657362"/>
                  <a:pt x="1152607" y="655729"/>
                </a:cubicBezTo>
                <a:close/>
                <a:moveTo>
                  <a:pt x="1316948" y="653554"/>
                </a:moveTo>
                <a:cubicBezTo>
                  <a:pt x="1340347" y="654098"/>
                  <a:pt x="1359937" y="674777"/>
                  <a:pt x="1359937" y="697632"/>
                </a:cubicBezTo>
                <a:cubicBezTo>
                  <a:pt x="1359937" y="718855"/>
                  <a:pt x="1339803" y="743343"/>
                  <a:pt x="1315315" y="740622"/>
                </a:cubicBezTo>
                <a:cubicBezTo>
                  <a:pt x="1293004" y="742799"/>
                  <a:pt x="1271237" y="718311"/>
                  <a:pt x="1271781" y="696544"/>
                </a:cubicBezTo>
                <a:cubicBezTo>
                  <a:pt x="1271781" y="675321"/>
                  <a:pt x="1292460" y="653010"/>
                  <a:pt x="1316948" y="653554"/>
                </a:cubicBezTo>
                <a:close/>
                <a:moveTo>
                  <a:pt x="1479112" y="651921"/>
                </a:moveTo>
                <a:cubicBezTo>
                  <a:pt x="1506321" y="651377"/>
                  <a:pt x="1524823" y="669335"/>
                  <a:pt x="1524823" y="697088"/>
                </a:cubicBezTo>
                <a:cubicBezTo>
                  <a:pt x="1524823" y="722664"/>
                  <a:pt x="1506865" y="743343"/>
                  <a:pt x="1479112" y="742254"/>
                </a:cubicBezTo>
                <a:cubicBezTo>
                  <a:pt x="1450815" y="743343"/>
                  <a:pt x="1433401" y="721031"/>
                  <a:pt x="1433945" y="697088"/>
                </a:cubicBezTo>
                <a:cubicBezTo>
                  <a:pt x="1434490" y="670423"/>
                  <a:pt x="1451903" y="652465"/>
                  <a:pt x="1479112" y="651921"/>
                </a:cubicBezTo>
                <a:close/>
                <a:moveTo>
                  <a:pt x="1642909" y="649744"/>
                </a:moveTo>
                <a:cubicBezTo>
                  <a:pt x="1671750" y="650288"/>
                  <a:pt x="1690252" y="668790"/>
                  <a:pt x="1690796" y="697087"/>
                </a:cubicBezTo>
                <a:cubicBezTo>
                  <a:pt x="1691340" y="723752"/>
                  <a:pt x="1672294" y="743342"/>
                  <a:pt x="1642909" y="745519"/>
                </a:cubicBezTo>
                <a:cubicBezTo>
                  <a:pt x="1614067" y="743887"/>
                  <a:pt x="1594477" y="725384"/>
                  <a:pt x="1594477" y="697632"/>
                </a:cubicBezTo>
                <a:cubicBezTo>
                  <a:pt x="1594477" y="668790"/>
                  <a:pt x="1614611" y="649200"/>
                  <a:pt x="1642909" y="649744"/>
                </a:cubicBezTo>
                <a:close/>
                <a:moveTo>
                  <a:pt x="1805617" y="648112"/>
                </a:moveTo>
                <a:cubicBezTo>
                  <a:pt x="1829561" y="648112"/>
                  <a:pt x="1857314" y="672055"/>
                  <a:pt x="1854593" y="698176"/>
                </a:cubicBezTo>
                <a:cubicBezTo>
                  <a:pt x="1856770" y="719399"/>
                  <a:pt x="1832826" y="747151"/>
                  <a:pt x="1805073" y="746607"/>
                </a:cubicBezTo>
                <a:cubicBezTo>
                  <a:pt x="1779497" y="746063"/>
                  <a:pt x="1756097" y="721575"/>
                  <a:pt x="1756097" y="697087"/>
                </a:cubicBezTo>
                <a:cubicBezTo>
                  <a:pt x="1756097" y="670423"/>
                  <a:pt x="1782218" y="647567"/>
                  <a:pt x="1805617" y="648112"/>
                </a:cubicBezTo>
                <a:close/>
                <a:moveTo>
                  <a:pt x="1969414" y="647023"/>
                </a:moveTo>
                <a:cubicBezTo>
                  <a:pt x="1992814" y="647023"/>
                  <a:pt x="2020567" y="672055"/>
                  <a:pt x="2018934" y="698176"/>
                </a:cubicBezTo>
                <a:cubicBezTo>
                  <a:pt x="2017302" y="725384"/>
                  <a:pt x="1996623" y="746063"/>
                  <a:pt x="1968326" y="746063"/>
                </a:cubicBezTo>
                <a:cubicBezTo>
                  <a:pt x="1941661" y="748784"/>
                  <a:pt x="1919350" y="721031"/>
                  <a:pt x="1918806" y="697087"/>
                </a:cubicBezTo>
                <a:cubicBezTo>
                  <a:pt x="1918806" y="669878"/>
                  <a:pt x="1945471" y="647023"/>
                  <a:pt x="1969414" y="647023"/>
                </a:cubicBezTo>
                <a:close/>
                <a:moveTo>
                  <a:pt x="90919" y="606754"/>
                </a:moveTo>
                <a:cubicBezTo>
                  <a:pt x="94728" y="608386"/>
                  <a:pt x="99626" y="612195"/>
                  <a:pt x="99626" y="615460"/>
                </a:cubicBezTo>
                <a:cubicBezTo>
                  <a:pt x="100170" y="618181"/>
                  <a:pt x="95816" y="621990"/>
                  <a:pt x="92007" y="627976"/>
                </a:cubicBezTo>
                <a:cubicBezTo>
                  <a:pt x="87654" y="623079"/>
                  <a:pt x="84389" y="619814"/>
                  <a:pt x="82756" y="616005"/>
                </a:cubicBezTo>
                <a:cubicBezTo>
                  <a:pt x="81668" y="613284"/>
                  <a:pt x="88198" y="605665"/>
                  <a:pt x="90919" y="606754"/>
                </a:cubicBezTo>
                <a:close/>
                <a:moveTo>
                  <a:pt x="254172" y="598047"/>
                </a:moveTo>
                <a:cubicBezTo>
                  <a:pt x="265599" y="597503"/>
                  <a:pt x="273218" y="606210"/>
                  <a:pt x="272674" y="614917"/>
                </a:cubicBezTo>
                <a:cubicBezTo>
                  <a:pt x="272674" y="625800"/>
                  <a:pt x="266688" y="632874"/>
                  <a:pt x="255260" y="633419"/>
                </a:cubicBezTo>
                <a:cubicBezTo>
                  <a:pt x="244376" y="633963"/>
                  <a:pt x="237302" y="626889"/>
                  <a:pt x="236758" y="616005"/>
                </a:cubicBezTo>
                <a:cubicBezTo>
                  <a:pt x="236758" y="605122"/>
                  <a:pt x="243832" y="598047"/>
                  <a:pt x="254172" y="598047"/>
                </a:cubicBezTo>
                <a:close/>
                <a:moveTo>
                  <a:pt x="418513" y="590429"/>
                </a:moveTo>
                <a:cubicBezTo>
                  <a:pt x="431029" y="590429"/>
                  <a:pt x="442457" y="601857"/>
                  <a:pt x="443001" y="614917"/>
                </a:cubicBezTo>
                <a:cubicBezTo>
                  <a:pt x="443545" y="627977"/>
                  <a:pt x="432118" y="640493"/>
                  <a:pt x="419058" y="640493"/>
                </a:cubicBezTo>
                <a:cubicBezTo>
                  <a:pt x="404365" y="640493"/>
                  <a:pt x="394570" y="630698"/>
                  <a:pt x="392937" y="616005"/>
                </a:cubicBezTo>
                <a:cubicBezTo>
                  <a:pt x="391849" y="604033"/>
                  <a:pt x="405997" y="590429"/>
                  <a:pt x="418513" y="590429"/>
                </a:cubicBezTo>
                <a:close/>
                <a:moveTo>
                  <a:pt x="581222" y="587163"/>
                </a:moveTo>
                <a:cubicBezTo>
                  <a:pt x="600812" y="588252"/>
                  <a:pt x="610063" y="598047"/>
                  <a:pt x="610063" y="616549"/>
                </a:cubicBezTo>
                <a:cubicBezTo>
                  <a:pt x="610063" y="634507"/>
                  <a:pt x="599179" y="644846"/>
                  <a:pt x="580677" y="645390"/>
                </a:cubicBezTo>
                <a:cubicBezTo>
                  <a:pt x="565440" y="644846"/>
                  <a:pt x="551836" y="634507"/>
                  <a:pt x="551836" y="615461"/>
                </a:cubicBezTo>
                <a:cubicBezTo>
                  <a:pt x="551836" y="594782"/>
                  <a:pt x="567073" y="586075"/>
                  <a:pt x="581222" y="587163"/>
                </a:cubicBezTo>
                <a:close/>
                <a:moveTo>
                  <a:pt x="743930" y="582266"/>
                </a:moveTo>
                <a:cubicBezTo>
                  <a:pt x="761344" y="581178"/>
                  <a:pt x="779301" y="599136"/>
                  <a:pt x="779301" y="616005"/>
                </a:cubicBezTo>
                <a:cubicBezTo>
                  <a:pt x="779301" y="632874"/>
                  <a:pt x="762976" y="649744"/>
                  <a:pt x="745563" y="649744"/>
                </a:cubicBezTo>
                <a:cubicBezTo>
                  <a:pt x="728149" y="649200"/>
                  <a:pt x="710191" y="635595"/>
                  <a:pt x="711824" y="616549"/>
                </a:cubicBezTo>
                <a:cubicBezTo>
                  <a:pt x="711824" y="596415"/>
                  <a:pt x="724340" y="583355"/>
                  <a:pt x="743930" y="582266"/>
                </a:cubicBezTo>
                <a:close/>
                <a:moveTo>
                  <a:pt x="907183" y="577913"/>
                </a:moveTo>
                <a:cubicBezTo>
                  <a:pt x="927318" y="576825"/>
                  <a:pt x="947452" y="598592"/>
                  <a:pt x="945276" y="615461"/>
                </a:cubicBezTo>
                <a:cubicBezTo>
                  <a:pt x="945276" y="635596"/>
                  <a:pt x="927318" y="653554"/>
                  <a:pt x="907727" y="654098"/>
                </a:cubicBezTo>
                <a:cubicBezTo>
                  <a:pt x="890314" y="654642"/>
                  <a:pt x="869091" y="635052"/>
                  <a:pt x="869091" y="616006"/>
                </a:cubicBezTo>
                <a:cubicBezTo>
                  <a:pt x="869635" y="595871"/>
                  <a:pt x="887049" y="578457"/>
                  <a:pt x="907183" y="577913"/>
                </a:cubicBezTo>
                <a:close/>
                <a:moveTo>
                  <a:pt x="1069891" y="574648"/>
                </a:moveTo>
                <a:cubicBezTo>
                  <a:pt x="1092202" y="574648"/>
                  <a:pt x="1111793" y="589885"/>
                  <a:pt x="1111248" y="615461"/>
                </a:cubicBezTo>
                <a:cubicBezTo>
                  <a:pt x="1111793" y="639405"/>
                  <a:pt x="1093835" y="656274"/>
                  <a:pt x="1070435" y="656274"/>
                </a:cubicBezTo>
                <a:cubicBezTo>
                  <a:pt x="1045403" y="656274"/>
                  <a:pt x="1029622" y="635052"/>
                  <a:pt x="1029622" y="614917"/>
                </a:cubicBezTo>
                <a:cubicBezTo>
                  <a:pt x="1030166" y="593150"/>
                  <a:pt x="1046491" y="574648"/>
                  <a:pt x="1069891" y="574648"/>
                </a:cubicBezTo>
                <a:close/>
                <a:moveTo>
                  <a:pt x="1235321" y="572472"/>
                </a:moveTo>
                <a:cubicBezTo>
                  <a:pt x="1256543" y="572472"/>
                  <a:pt x="1279399" y="590973"/>
                  <a:pt x="1277222" y="616550"/>
                </a:cubicBezTo>
                <a:cubicBezTo>
                  <a:pt x="1278855" y="639949"/>
                  <a:pt x="1255455" y="660084"/>
                  <a:pt x="1233688" y="660084"/>
                </a:cubicBezTo>
                <a:cubicBezTo>
                  <a:pt x="1211377" y="660084"/>
                  <a:pt x="1189610" y="637773"/>
                  <a:pt x="1190154" y="614917"/>
                </a:cubicBezTo>
                <a:cubicBezTo>
                  <a:pt x="1190698" y="594783"/>
                  <a:pt x="1209200" y="571927"/>
                  <a:pt x="1235321" y="572472"/>
                </a:cubicBezTo>
                <a:close/>
                <a:moveTo>
                  <a:pt x="1397485" y="569206"/>
                </a:moveTo>
                <a:cubicBezTo>
                  <a:pt x="1423606" y="569750"/>
                  <a:pt x="1443196" y="587708"/>
                  <a:pt x="1443196" y="616005"/>
                </a:cubicBezTo>
                <a:cubicBezTo>
                  <a:pt x="1443196" y="642670"/>
                  <a:pt x="1424150" y="661716"/>
                  <a:pt x="1396941" y="661172"/>
                </a:cubicBezTo>
                <a:cubicBezTo>
                  <a:pt x="1369188" y="661172"/>
                  <a:pt x="1350686" y="638860"/>
                  <a:pt x="1351775" y="614373"/>
                </a:cubicBezTo>
                <a:cubicBezTo>
                  <a:pt x="1352319" y="587164"/>
                  <a:pt x="1371365" y="569206"/>
                  <a:pt x="1397485" y="569206"/>
                </a:cubicBezTo>
                <a:close/>
                <a:moveTo>
                  <a:pt x="1560738" y="567029"/>
                </a:moveTo>
                <a:cubicBezTo>
                  <a:pt x="1586859" y="567029"/>
                  <a:pt x="1608082" y="587708"/>
                  <a:pt x="1609714" y="615461"/>
                </a:cubicBezTo>
                <a:cubicBezTo>
                  <a:pt x="1608082" y="641581"/>
                  <a:pt x="1589580" y="663892"/>
                  <a:pt x="1561283" y="663892"/>
                </a:cubicBezTo>
                <a:cubicBezTo>
                  <a:pt x="1534074" y="663892"/>
                  <a:pt x="1512851" y="642669"/>
                  <a:pt x="1512851" y="616005"/>
                </a:cubicBezTo>
                <a:cubicBezTo>
                  <a:pt x="1512851" y="587163"/>
                  <a:pt x="1535706" y="567029"/>
                  <a:pt x="1560738" y="567029"/>
                </a:cubicBezTo>
                <a:close/>
                <a:moveTo>
                  <a:pt x="1725624" y="565397"/>
                </a:moveTo>
                <a:cubicBezTo>
                  <a:pt x="1747935" y="565941"/>
                  <a:pt x="1775144" y="590429"/>
                  <a:pt x="1774599" y="616005"/>
                </a:cubicBezTo>
                <a:cubicBezTo>
                  <a:pt x="1774055" y="638317"/>
                  <a:pt x="1751744" y="668246"/>
                  <a:pt x="1723447" y="664981"/>
                </a:cubicBezTo>
                <a:cubicBezTo>
                  <a:pt x="1700592" y="667158"/>
                  <a:pt x="1674471" y="643758"/>
                  <a:pt x="1674471" y="615461"/>
                </a:cubicBezTo>
                <a:cubicBezTo>
                  <a:pt x="1674471" y="588797"/>
                  <a:pt x="1700592" y="565397"/>
                  <a:pt x="1725624" y="565397"/>
                </a:cubicBezTo>
                <a:close/>
                <a:moveTo>
                  <a:pt x="1886699" y="564853"/>
                </a:moveTo>
                <a:cubicBezTo>
                  <a:pt x="1914996" y="564309"/>
                  <a:pt x="1938396" y="589341"/>
                  <a:pt x="1938396" y="614917"/>
                </a:cubicBezTo>
                <a:cubicBezTo>
                  <a:pt x="1938396" y="640493"/>
                  <a:pt x="1917717" y="667702"/>
                  <a:pt x="1887787" y="665525"/>
                </a:cubicBezTo>
                <a:cubicBezTo>
                  <a:pt x="1860034" y="667702"/>
                  <a:pt x="1837723" y="644302"/>
                  <a:pt x="1837179" y="615461"/>
                </a:cubicBezTo>
                <a:cubicBezTo>
                  <a:pt x="1837179" y="586620"/>
                  <a:pt x="1861667" y="565397"/>
                  <a:pt x="1886699" y="564853"/>
                </a:cubicBezTo>
                <a:close/>
                <a:moveTo>
                  <a:pt x="2050496" y="564852"/>
                </a:moveTo>
                <a:lnTo>
                  <a:pt x="2051041" y="564962"/>
                </a:lnTo>
                <a:lnTo>
                  <a:pt x="2051041" y="665899"/>
                </a:lnTo>
                <a:lnTo>
                  <a:pt x="2049952" y="666069"/>
                </a:lnTo>
                <a:cubicBezTo>
                  <a:pt x="2018934" y="667157"/>
                  <a:pt x="1999344" y="642669"/>
                  <a:pt x="1999344" y="615460"/>
                </a:cubicBezTo>
                <a:cubicBezTo>
                  <a:pt x="1999344" y="587163"/>
                  <a:pt x="2021655" y="564852"/>
                  <a:pt x="2050496" y="564852"/>
                </a:cubicBezTo>
                <a:close/>
                <a:moveTo>
                  <a:pt x="173090" y="517509"/>
                </a:moveTo>
                <a:cubicBezTo>
                  <a:pt x="181252" y="517509"/>
                  <a:pt x="189415" y="525672"/>
                  <a:pt x="189959" y="533834"/>
                </a:cubicBezTo>
                <a:cubicBezTo>
                  <a:pt x="189959" y="542541"/>
                  <a:pt x="182341" y="550160"/>
                  <a:pt x="173634" y="550160"/>
                </a:cubicBezTo>
                <a:cubicBezTo>
                  <a:pt x="165471" y="550160"/>
                  <a:pt x="157853" y="543085"/>
                  <a:pt x="157308" y="534923"/>
                </a:cubicBezTo>
                <a:cubicBezTo>
                  <a:pt x="156764" y="526216"/>
                  <a:pt x="164383" y="518053"/>
                  <a:pt x="173090" y="517509"/>
                </a:cubicBezTo>
                <a:close/>
                <a:moveTo>
                  <a:pt x="335798" y="511523"/>
                </a:moveTo>
                <a:cubicBezTo>
                  <a:pt x="349947" y="512067"/>
                  <a:pt x="357565" y="519686"/>
                  <a:pt x="358654" y="533834"/>
                </a:cubicBezTo>
                <a:cubicBezTo>
                  <a:pt x="359742" y="547439"/>
                  <a:pt x="348314" y="557778"/>
                  <a:pt x="336343" y="556689"/>
                </a:cubicBezTo>
                <a:cubicBezTo>
                  <a:pt x="324371" y="558322"/>
                  <a:pt x="312943" y="545806"/>
                  <a:pt x="312943" y="534378"/>
                </a:cubicBezTo>
                <a:cubicBezTo>
                  <a:pt x="312943" y="522951"/>
                  <a:pt x="322738" y="510979"/>
                  <a:pt x="335798" y="511523"/>
                </a:cubicBezTo>
                <a:close/>
                <a:moveTo>
                  <a:pt x="500139" y="506626"/>
                </a:moveTo>
                <a:cubicBezTo>
                  <a:pt x="517553" y="507170"/>
                  <a:pt x="527892" y="517509"/>
                  <a:pt x="527348" y="535467"/>
                </a:cubicBezTo>
                <a:cubicBezTo>
                  <a:pt x="526804" y="552880"/>
                  <a:pt x="515920" y="562131"/>
                  <a:pt x="497963" y="561587"/>
                </a:cubicBezTo>
                <a:cubicBezTo>
                  <a:pt x="481093" y="561043"/>
                  <a:pt x="472386" y="550704"/>
                  <a:pt x="471842" y="533290"/>
                </a:cubicBezTo>
                <a:cubicBezTo>
                  <a:pt x="471298" y="516965"/>
                  <a:pt x="485447" y="506081"/>
                  <a:pt x="500139" y="506626"/>
                </a:cubicBezTo>
                <a:close/>
                <a:moveTo>
                  <a:pt x="662304" y="500639"/>
                </a:moveTo>
                <a:cubicBezTo>
                  <a:pt x="677540" y="497919"/>
                  <a:pt x="696587" y="518597"/>
                  <a:pt x="696042" y="533290"/>
                </a:cubicBezTo>
                <a:cubicBezTo>
                  <a:pt x="694954" y="551792"/>
                  <a:pt x="681894" y="565396"/>
                  <a:pt x="663392" y="566485"/>
                </a:cubicBezTo>
                <a:cubicBezTo>
                  <a:pt x="643802" y="567573"/>
                  <a:pt x="629653" y="549615"/>
                  <a:pt x="630197" y="534378"/>
                </a:cubicBezTo>
                <a:cubicBezTo>
                  <a:pt x="630741" y="515876"/>
                  <a:pt x="644346" y="501184"/>
                  <a:pt x="662304" y="500639"/>
                </a:cubicBezTo>
                <a:close/>
                <a:moveTo>
                  <a:pt x="825557" y="496830"/>
                </a:moveTo>
                <a:cubicBezTo>
                  <a:pt x="846780" y="496286"/>
                  <a:pt x="862561" y="513700"/>
                  <a:pt x="863649" y="534923"/>
                </a:cubicBezTo>
                <a:cubicBezTo>
                  <a:pt x="862017" y="556690"/>
                  <a:pt x="845147" y="571927"/>
                  <a:pt x="825557" y="571383"/>
                </a:cubicBezTo>
                <a:cubicBezTo>
                  <a:pt x="805422" y="570838"/>
                  <a:pt x="788553" y="555057"/>
                  <a:pt x="788553" y="534379"/>
                </a:cubicBezTo>
                <a:cubicBezTo>
                  <a:pt x="788553" y="514244"/>
                  <a:pt x="804334" y="497375"/>
                  <a:pt x="825557" y="496830"/>
                </a:cubicBezTo>
                <a:close/>
                <a:moveTo>
                  <a:pt x="989898" y="494110"/>
                </a:moveTo>
                <a:cubicBezTo>
                  <a:pt x="1012209" y="494654"/>
                  <a:pt x="1029622" y="513156"/>
                  <a:pt x="1029078" y="534923"/>
                </a:cubicBezTo>
                <a:cubicBezTo>
                  <a:pt x="1028534" y="556146"/>
                  <a:pt x="1010576" y="574104"/>
                  <a:pt x="989353" y="574104"/>
                </a:cubicBezTo>
                <a:cubicBezTo>
                  <a:pt x="969763" y="574648"/>
                  <a:pt x="947452" y="556690"/>
                  <a:pt x="949629" y="533835"/>
                </a:cubicBezTo>
                <a:cubicBezTo>
                  <a:pt x="947996" y="512068"/>
                  <a:pt x="968675" y="494110"/>
                  <a:pt x="989898" y="494110"/>
                </a:cubicBezTo>
                <a:close/>
                <a:moveTo>
                  <a:pt x="1152062" y="490301"/>
                </a:moveTo>
                <a:cubicBezTo>
                  <a:pt x="1174917" y="490301"/>
                  <a:pt x="1196140" y="509347"/>
                  <a:pt x="1196140" y="533835"/>
                </a:cubicBezTo>
                <a:cubicBezTo>
                  <a:pt x="1197228" y="558867"/>
                  <a:pt x="1173829" y="577913"/>
                  <a:pt x="1152606" y="577369"/>
                </a:cubicBezTo>
                <a:cubicBezTo>
                  <a:pt x="1130839" y="577369"/>
                  <a:pt x="1109616" y="556690"/>
                  <a:pt x="1109072" y="534379"/>
                </a:cubicBezTo>
                <a:cubicBezTo>
                  <a:pt x="1108528" y="510980"/>
                  <a:pt x="1128662" y="490301"/>
                  <a:pt x="1152062" y="490301"/>
                </a:cubicBezTo>
                <a:close/>
                <a:moveTo>
                  <a:pt x="1316947" y="489212"/>
                </a:moveTo>
                <a:cubicBezTo>
                  <a:pt x="1343612" y="489756"/>
                  <a:pt x="1361570" y="510435"/>
                  <a:pt x="1361570" y="534923"/>
                </a:cubicBezTo>
                <a:cubicBezTo>
                  <a:pt x="1361570" y="560499"/>
                  <a:pt x="1341980" y="580090"/>
                  <a:pt x="1315859" y="580090"/>
                </a:cubicBezTo>
                <a:cubicBezTo>
                  <a:pt x="1291915" y="580090"/>
                  <a:pt x="1269060" y="560499"/>
                  <a:pt x="1270693" y="533835"/>
                </a:cubicBezTo>
                <a:cubicBezTo>
                  <a:pt x="1269604" y="508258"/>
                  <a:pt x="1291371" y="488124"/>
                  <a:pt x="1316947" y="489212"/>
                </a:cubicBezTo>
                <a:close/>
                <a:moveTo>
                  <a:pt x="1479112" y="484315"/>
                </a:moveTo>
                <a:cubicBezTo>
                  <a:pt x="1503599" y="484315"/>
                  <a:pt x="1528087" y="508259"/>
                  <a:pt x="1528087" y="533835"/>
                </a:cubicBezTo>
                <a:cubicBezTo>
                  <a:pt x="1528087" y="558867"/>
                  <a:pt x="1506865" y="582267"/>
                  <a:pt x="1479656" y="582267"/>
                </a:cubicBezTo>
                <a:cubicBezTo>
                  <a:pt x="1453535" y="582267"/>
                  <a:pt x="1431224" y="560500"/>
                  <a:pt x="1431224" y="533835"/>
                </a:cubicBezTo>
                <a:cubicBezTo>
                  <a:pt x="1430680" y="506626"/>
                  <a:pt x="1454624" y="485403"/>
                  <a:pt x="1479112" y="484315"/>
                </a:cubicBezTo>
                <a:close/>
                <a:moveTo>
                  <a:pt x="1643452" y="484314"/>
                </a:moveTo>
                <a:cubicBezTo>
                  <a:pt x="1667396" y="481049"/>
                  <a:pt x="1693517" y="509891"/>
                  <a:pt x="1692973" y="534923"/>
                </a:cubicBezTo>
                <a:cubicBezTo>
                  <a:pt x="1692428" y="558867"/>
                  <a:pt x="1669573" y="584987"/>
                  <a:pt x="1641276" y="583898"/>
                </a:cubicBezTo>
                <a:cubicBezTo>
                  <a:pt x="1616788" y="583354"/>
                  <a:pt x="1592300" y="562676"/>
                  <a:pt x="1592300" y="532202"/>
                </a:cubicBezTo>
                <a:cubicBezTo>
                  <a:pt x="1592300" y="509891"/>
                  <a:pt x="1615155" y="481049"/>
                  <a:pt x="1643452" y="484314"/>
                </a:cubicBezTo>
                <a:close/>
                <a:moveTo>
                  <a:pt x="1806162" y="481594"/>
                </a:moveTo>
                <a:cubicBezTo>
                  <a:pt x="1839901" y="484859"/>
                  <a:pt x="1858947" y="504993"/>
                  <a:pt x="1857858" y="536011"/>
                </a:cubicBezTo>
                <a:cubicBezTo>
                  <a:pt x="1855682" y="568662"/>
                  <a:pt x="1834459" y="584987"/>
                  <a:pt x="1803441" y="586075"/>
                </a:cubicBezTo>
                <a:cubicBezTo>
                  <a:pt x="1775144" y="584443"/>
                  <a:pt x="1751744" y="559955"/>
                  <a:pt x="1753377" y="533290"/>
                </a:cubicBezTo>
                <a:cubicBezTo>
                  <a:pt x="1755009" y="504993"/>
                  <a:pt x="1780041" y="479417"/>
                  <a:pt x="1806162" y="481594"/>
                </a:cubicBezTo>
                <a:close/>
                <a:moveTo>
                  <a:pt x="1968326" y="480505"/>
                </a:moveTo>
                <a:cubicBezTo>
                  <a:pt x="1998256" y="483226"/>
                  <a:pt x="2020023" y="501728"/>
                  <a:pt x="2022200" y="534379"/>
                </a:cubicBezTo>
                <a:cubicBezTo>
                  <a:pt x="2023832" y="560499"/>
                  <a:pt x="1996079" y="588252"/>
                  <a:pt x="1969415" y="588252"/>
                </a:cubicBezTo>
                <a:cubicBezTo>
                  <a:pt x="1943294" y="588796"/>
                  <a:pt x="1916085" y="561587"/>
                  <a:pt x="1915541" y="534923"/>
                </a:cubicBezTo>
                <a:cubicBezTo>
                  <a:pt x="1914453" y="508258"/>
                  <a:pt x="1941117" y="480505"/>
                  <a:pt x="1968326" y="480505"/>
                </a:cubicBezTo>
                <a:close/>
                <a:moveTo>
                  <a:pt x="91464" y="440780"/>
                </a:moveTo>
                <a:cubicBezTo>
                  <a:pt x="99082" y="440780"/>
                  <a:pt x="102347" y="443501"/>
                  <a:pt x="102891" y="451664"/>
                </a:cubicBezTo>
                <a:cubicBezTo>
                  <a:pt x="102891" y="460915"/>
                  <a:pt x="100171" y="464179"/>
                  <a:pt x="92008" y="464179"/>
                </a:cubicBezTo>
                <a:cubicBezTo>
                  <a:pt x="83301" y="464179"/>
                  <a:pt x="80036" y="461459"/>
                  <a:pt x="80036" y="452752"/>
                </a:cubicBezTo>
                <a:cubicBezTo>
                  <a:pt x="80036" y="444045"/>
                  <a:pt x="83301" y="440780"/>
                  <a:pt x="91464" y="440780"/>
                </a:cubicBezTo>
                <a:close/>
                <a:moveTo>
                  <a:pt x="254172" y="430441"/>
                </a:moveTo>
                <a:cubicBezTo>
                  <a:pt x="263967" y="430441"/>
                  <a:pt x="276483" y="440236"/>
                  <a:pt x="275939" y="452208"/>
                </a:cubicBezTo>
                <a:cubicBezTo>
                  <a:pt x="275939" y="463092"/>
                  <a:pt x="265600" y="473975"/>
                  <a:pt x="254716" y="473975"/>
                </a:cubicBezTo>
                <a:cubicBezTo>
                  <a:pt x="244377" y="473975"/>
                  <a:pt x="232949" y="463092"/>
                  <a:pt x="232405" y="452752"/>
                </a:cubicBezTo>
                <a:cubicBezTo>
                  <a:pt x="232405" y="442413"/>
                  <a:pt x="243833" y="430985"/>
                  <a:pt x="254172" y="430441"/>
                </a:cubicBezTo>
                <a:close/>
                <a:moveTo>
                  <a:pt x="417969" y="424999"/>
                </a:moveTo>
                <a:cubicBezTo>
                  <a:pt x="432118" y="424999"/>
                  <a:pt x="444634" y="438059"/>
                  <a:pt x="444634" y="452752"/>
                </a:cubicBezTo>
                <a:cubicBezTo>
                  <a:pt x="445178" y="464180"/>
                  <a:pt x="432662" y="481049"/>
                  <a:pt x="417425" y="479417"/>
                </a:cubicBezTo>
                <a:cubicBezTo>
                  <a:pt x="405453" y="481049"/>
                  <a:pt x="389672" y="465268"/>
                  <a:pt x="390760" y="452208"/>
                </a:cubicBezTo>
                <a:cubicBezTo>
                  <a:pt x="391849" y="437515"/>
                  <a:pt x="403276" y="424999"/>
                  <a:pt x="417969" y="424999"/>
                </a:cubicBezTo>
                <a:close/>
                <a:moveTo>
                  <a:pt x="580677" y="419558"/>
                </a:moveTo>
                <a:cubicBezTo>
                  <a:pt x="596458" y="419013"/>
                  <a:pt x="612783" y="434795"/>
                  <a:pt x="612783" y="452208"/>
                </a:cubicBezTo>
                <a:cubicBezTo>
                  <a:pt x="612783" y="469622"/>
                  <a:pt x="599723" y="483226"/>
                  <a:pt x="581221" y="484315"/>
                </a:cubicBezTo>
                <a:cubicBezTo>
                  <a:pt x="561087" y="482138"/>
                  <a:pt x="549659" y="470710"/>
                  <a:pt x="549115" y="452208"/>
                </a:cubicBezTo>
                <a:cubicBezTo>
                  <a:pt x="548571" y="433162"/>
                  <a:pt x="564352" y="420102"/>
                  <a:pt x="580677" y="419558"/>
                </a:cubicBezTo>
                <a:close/>
                <a:moveTo>
                  <a:pt x="743931" y="415748"/>
                </a:moveTo>
                <a:cubicBezTo>
                  <a:pt x="761888" y="414660"/>
                  <a:pt x="779846" y="432618"/>
                  <a:pt x="780390" y="452208"/>
                </a:cubicBezTo>
                <a:cubicBezTo>
                  <a:pt x="780934" y="471254"/>
                  <a:pt x="764065" y="488668"/>
                  <a:pt x="744475" y="489212"/>
                </a:cubicBezTo>
                <a:cubicBezTo>
                  <a:pt x="727061" y="489212"/>
                  <a:pt x="709103" y="472342"/>
                  <a:pt x="708559" y="453840"/>
                </a:cubicBezTo>
                <a:cubicBezTo>
                  <a:pt x="707471" y="435883"/>
                  <a:pt x="725428" y="416836"/>
                  <a:pt x="743931" y="415748"/>
                </a:cubicBezTo>
                <a:close/>
                <a:moveTo>
                  <a:pt x="908271" y="414116"/>
                </a:moveTo>
                <a:cubicBezTo>
                  <a:pt x="927861" y="411395"/>
                  <a:pt x="946907" y="431529"/>
                  <a:pt x="946363" y="453296"/>
                </a:cubicBezTo>
                <a:cubicBezTo>
                  <a:pt x="946363" y="473975"/>
                  <a:pt x="927317" y="491933"/>
                  <a:pt x="906638" y="491933"/>
                </a:cubicBezTo>
                <a:cubicBezTo>
                  <a:pt x="887048" y="491933"/>
                  <a:pt x="866913" y="473431"/>
                  <a:pt x="868546" y="452208"/>
                </a:cubicBezTo>
                <a:cubicBezTo>
                  <a:pt x="870179" y="428808"/>
                  <a:pt x="884871" y="413571"/>
                  <a:pt x="908271" y="414116"/>
                </a:cubicBezTo>
                <a:close/>
                <a:moveTo>
                  <a:pt x="1072068" y="409218"/>
                </a:moveTo>
                <a:cubicBezTo>
                  <a:pt x="1097100" y="410307"/>
                  <a:pt x="1113970" y="427720"/>
                  <a:pt x="1113970" y="452752"/>
                </a:cubicBezTo>
                <a:cubicBezTo>
                  <a:pt x="1113970" y="478329"/>
                  <a:pt x="1092203" y="495198"/>
                  <a:pt x="1070436" y="495198"/>
                </a:cubicBezTo>
                <a:cubicBezTo>
                  <a:pt x="1048124" y="494654"/>
                  <a:pt x="1027446" y="475063"/>
                  <a:pt x="1028534" y="451120"/>
                </a:cubicBezTo>
                <a:cubicBezTo>
                  <a:pt x="1029622" y="427720"/>
                  <a:pt x="1048669" y="408130"/>
                  <a:pt x="1072068" y="409218"/>
                </a:cubicBezTo>
                <a:close/>
                <a:moveTo>
                  <a:pt x="1235865" y="408130"/>
                </a:moveTo>
                <a:cubicBezTo>
                  <a:pt x="1258721" y="405953"/>
                  <a:pt x="1279400" y="427176"/>
                  <a:pt x="1279400" y="453296"/>
                </a:cubicBezTo>
                <a:cubicBezTo>
                  <a:pt x="1278855" y="478328"/>
                  <a:pt x="1258177" y="497374"/>
                  <a:pt x="1233689" y="497374"/>
                </a:cubicBezTo>
                <a:cubicBezTo>
                  <a:pt x="1209745" y="496830"/>
                  <a:pt x="1189066" y="476151"/>
                  <a:pt x="1189611" y="451664"/>
                </a:cubicBezTo>
                <a:cubicBezTo>
                  <a:pt x="1189611" y="429352"/>
                  <a:pt x="1209201" y="404864"/>
                  <a:pt x="1235865" y="408130"/>
                </a:cubicBezTo>
                <a:close/>
                <a:moveTo>
                  <a:pt x="1396941" y="403776"/>
                </a:moveTo>
                <a:cubicBezTo>
                  <a:pt x="1425238" y="403232"/>
                  <a:pt x="1445373" y="423911"/>
                  <a:pt x="1446461" y="450575"/>
                </a:cubicBezTo>
                <a:cubicBezTo>
                  <a:pt x="1447005" y="476696"/>
                  <a:pt x="1426327" y="500096"/>
                  <a:pt x="1399118" y="500640"/>
                </a:cubicBezTo>
                <a:cubicBezTo>
                  <a:pt x="1372453" y="501184"/>
                  <a:pt x="1349598" y="479961"/>
                  <a:pt x="1349598" y="453296"/>
                </a:cubicBezTo>
                <a:cubicBezTo>
                  <a:pt x="1349598" y="424999"/>
                  <a:pt x="1370277" y="404865"/>
                  <a:pt x="1396941" y="403776"/>
                </a:cubicBezTo>
                <a:close/>
                <a:moveTo>
                  <a:pt x="1560738" y="402144"/>
                </a:moveTo>
                <a:cubicBezTo>
                  <a:pt x="1588491" y="402144"/>
                  <a:pt x="1611347" y="427176"/>
                  <a:pt x="1611347" y="453297"/>
                </a:cubicBezTo>
                <a:cubicBezTo>
                  <a:pt x="1610803" y="476152"/>
                  <a:pt x="1590668" y="502817"/>
                  <a:pt x="1560194" y="502272"/>
                </a:cubicBezTo>
                <a:cubicBezTo>
                  <a:pt x="1534074" y="501728"/>
                  <a:pt x="1508498" y="479961"/>
                  <a:pt x="1511218" y="451664"/>
                </a:cubicBezTo>
                <a:cubicBezTo>
                  <a:pt x="1508498" y="425544"/>
                  <a:pt x="1534618" y="402144"/>
                  <a:pt x="1560738" y="402144"/>
                </a:cubicBezTo>
                <a:close/>
                <a:moveTo>
                  <a:pt x="1723991" y="399423"/>
                </a:moveTo>
                <a:cubicBezTo>
                  <a:pt x="1756097" y="402688"/>
                  <a:pt x="1777320" y="422278"/>
                  <a:pt x="1776776" y="452752"/>
                </a:cubicBezTo>
                <a:cubicBezTo>
                  <a:pt x="1776232" y="483226"/>
                  <a:pt x="1757730" y="501728"/>
                  <a:pt x="1725079" y="504993"/>
                </a:cubicBezTo>
                <a:cubicBezTo>
                  <a:pt x="1697870" y="507714"/>
                  <a:pt x="1670117" y="479961"/>
                  <a:pt x="1671750" y="452752"/>
                </a:cubicBezTo>
                <a:cubicBezTo>
                  <a:pt x="1673382" y="420102"/>
                  <a:pt x="1692428" y="403232"/>
                  <a:pt x="1723991" y="399423"/>
                </a:cubicBezTo>
                <a:close/>
                <a:moveTo>
                  <a:pt x="2051040" y="398335"/>
                </a:moveTo>
                <a:lnTo>
                  <a:pt x="2051041" y="398335"/>
                </a:lnTo>
                <a:lnTo>
                  <a:pt x="2051041" y="506936"/>
                </a:lnTo>
                <a:lnTo>
                  <a:pt x="2049952" y="507170"/>
                </a:lnTo>
                <a:cubicBezTo>
                  <a:pt x="2020566" y="506626"/>
                  <a:pt x="1995534" y="481593"/>
                  <a:pt x="1995534" y="452208"/>
                </a:cubicBezTo>
                <a:cubicBezTo>
                  <a:pt x="1996078" y="424455"/>
                  <a:pt x="2021655" y="397246"/>
                  <a:pt x="2051040" y="398335"/>
                </a:cubicBezTo>
                <a:close/>
                <a:moveTo>
                  <a:pt x="1888332" y="398335"/>
                </a:moveTo>
                <a:cubicBezTo>
                  <a:pt x="1915541" y="398879"/>
                  <a:pt x="1941661" y="423911"/>
                  <a:pt x="1941661" y="452208"/>
                </a:cubicBezTo>
                <a:cubicBezTo>
                  <a:pt x="1941661" y="481594"/>
                  <a:pt x="1916085" y="507170"/>
                  <a:pt x="1886699" y="506082"/>
                </a:cubicBezTo>
                <a:cubicBezTo>
                  <a:pt x="1857314" y="505538"/>
                  <a:pt x="1833914" y="481594"/>
                  <a:pt x="1833370" y="452208"/>
                </a:cubicBezTo>
                <a:cubicBezTo>
                  <a:pt x="1833370" y="423911"/>
                  <a:pt x="1860035" y="398335"/>
                  <a:pt x="1888332" y="398335"/>
                </a:cubicBezTo>
                <a:close/>
                <a:moveTo>
                  <a:pt x="12014" y="364052"/>
                </a:moveTo>
                <a:cubicBezTo>
                  <a:pt x="13102" y="365140"/>
                  <a:pt x="15279" y="367317"/>
                  <a:pt x="15823" y="370038"/>
                </a:cubicBezTo>
                <a:cubicBezTo>
                  <a:pt x="16911" y="374391"/>
                  <a:pt x="14191" y="377656"/>
                  <a:pt x="9293" y="377656"/>
                </a:cubicBezTo>
                <a:cubicBezTo>
                  <a:pt x="4940" y="377656"/>
                  <a:pt x="3307" y="374936"/>
                  <a:pt x="3307" y="371126"/>
                </a:cubicBezTo>
                <a:cubicBezTo>
                  <a:pt x="3307" y="367317"/>
                  <a:pt x="4940" y="364052"/>
                  <a:pt x="12014" y="364052"/>
                </a:cubicBezTo>
                <a:close/>
                <a:moveTo>
                  <a:pt x="172545" y="353713"/>
                </a:moveTo>
                <a:cubicBezTo>
                  <a:pt x="184517" y="353713"/>
                  <a:pt x="190503" y="359154"/>
                  <a:pt x="190503" y="370582"/>
                </a:cubicBezTo>
                <a:cubicBezTo>
                  <a:pt x="190503" y="381466"/>
                  <a:pt x="184517" y="387996"/>
                  <a:pt x="173090" y="387996"/>
                </a:cubicBezTo>
                <a:cubicBezTo>
                  <a:pt x="163839" y="388540"/>
                  <a:pt x="155676" y="381466"/>
                  <a:pt x="155676" y="371126"/>
                </a:cubicBezTo>
                <a:cubicBezTo>
                  <a:pt x="155676" y="362419"/>
                  <a:pt x="161662" y="352080"/>
                  <a:pt x="172545" y="353713"/>
                </a:cubicBezTo>
                <a:close/>
                <a:moveTo>
                  <a:pt x="336886" y="345550"/>
                </a:moveTo>
                <a:cubicBezTo>
                  <a:pt x="350490" y="346094"/>
                  <a:pt x="362462" y="358610"/>
                  <a:pt x="361374" y="371670"/>
                </a:cubicBezTo>
                <a:cubicBezTo>
                  <a:pt x="360286" y="385275"/>
                  <a:pt x="348858" y="395614"/>
                  <a:pt x="335798" y="395070"/>
                </a:cubicBezTo>
                <a:cubicBezTo>
                  <a:pt x="319472" y="394526"/>
                  <a:pt x="311854" y="381466"/>
                  <a:pt x="311854" y="370038"/>
                </a:cubicBezTo>
                <a:cubicBezTo>
                  <a:pt x="311854" y="356978"/>
                  <a:pt x="324370" y="345550"/>
                  <a:pt x="336886" y="345550"/>
                </a:cubicBezTo>
                <a:close/>
                <a:moveTo>
                  <a:pt x="499596" y="342284"/>
                </a:moveTo>
                <a:cubicBezTo>
                  <a:pt x="518642" y="341196"/>
                  <a:pt x="528437" y="354256"/>
                  <a:pt x="528437" y="370582"/>
                </a:cubicBezTo>
                <a:cubicBezTo>
                  <a:pt x="528437" y="386363"/>
                  <a:pt x="518642" y="399967"/>
                  <a:pt x="499051" y="399423"/>
                </a:cubicBezTo>
                <a:cubicBezTo>
                  <a:pt x="481094" y="399423"/>
                  <a:pt x="470210" y="387995"/>
                  <a:pt x="470210" y="370037"/>
                </a:cubicBezTo>
                <a:cubicBezTo>
                  <a:pt x="470754" y="352624"/>
                  <a:pt x="481638" y="341740"/>
                  <a:pt x="499596" y="342284"/>
                </a:cubicBezTo>
                <a:close/>
                <a:moveTo>
                  <a:pt x="663392" y="337387"/>
                </a:moveTo>
                <a:cubicBezTo>
                  <a:pt x="680262" y="337387"/>
                  <a:pt x="697675" y="354801"/>
                  <a:pt x="697131" y="371126"/>
                </a:cubicBezTo>
                <a:cubicBezTo>
                  <a:pt x="696043" y="390172"/>
                  <a:pt x="682982" y="404321"/>
                  <a:pt x="662304" y="404321"/>
                </a:cubicBezTo>
                <a:cubicBezTo>
                  <a:pt x="643258" y="405953"/>
                  <a:pt x="629109" y="389084"/>
                  <a:pt x="629109" y="371126"/>
                </a:cubicBezTo>
                <a:cubicBezTo>
                  <a:pt x="629109" y="352624"/>
                  <a:pt x="645434" y="337387"/>
                  <a:pt x="663392" y="337387"/>
                </a:cubicBezTo>
                <a:close/>
                <a:moveTo>
                  <a:pt x="825556" y="332489"/>
                </a:moveTo>
                <a:cubicBezTo>
                  <a:pt x="847323" y="333577"/>
                  <a:pt x="864193" y="349358"/>
                  <a:pt x="864737" y="370037"/>
                </a:cubicBezTo>
                <a:cubicBezTo>
                  <a:pt x="864193" y="391260"/>
                  <a:pt x="847323" y="409218"/>
                  <a:pt x="826645" y="409218"/>
                </a:cubicBezTo>
                <a:cubicBezTo>
                  <a:pt x="808687" y="412483"/>
                  <a:pt x="788008" y="387995"/>
                  <a:pt x="787464" y="371126"/>
                </a:cubicBezTo>
                <a:cubicBezTo>
                  <a:pt x="787464" y="353712"/>
                  <a:pt x="808687" y="331945"/>
                  <a:pt x="825556" y="332489"/>
                </a:cubicBezTo>
                <a:close/>
                <a:moveTo>
                  <a:pt x="989898" y="328680"/>
                </a:moveTo>
                <a:cubicBezTo>
                  <a:pt x="1013297" y="329224"/>
                  <a:pt x="1030167" y="347182"/>
                  <a:pt x="1031255" y="371126"/>
                </a:cubicBezTo>
                <a:cubicBezTo>
                  <a:pt x="1029623" y="396702"/>
                  <a:pt x="1010576" y="413027"/>
                  <a:pt x="989354" y="413027"/>
                </a:cubicBezTo>
                <a:cubicBezTo>
                  <a:pt x="964866" y="412483"/>
                  <a:pt x="946908" y="393981"/>
                  <a:pt x="947452" y="370037"/>
                </a:cubicBezTo>
                <a:cubicBezTo>
                  <a:pt x="947996" y="346094"/>
                  <a:pt x="964866" y="328680"/>
                  <a:pt x="989898" y="328680"/>
                </a:cubicBezTo>
                <a:close/>
                <a:moveTo>
                  <a:pt x="1153150" y="326504"/>
                </a:moveTo>
                <a:cubicBezTo>
                  <a:pt x="1177094" y="326504"/>
                  <a:pt x="1197228" y="347727"/>
                  <a:pt x="1197228" y="370582"/>
                </a:cubicBezTo>
                <a:cubicBezTo>
                  <a:pt x="1197228" y="392894"/>
                  <a:pt x="1176550" y="417925"/>
                  <a:pt x="1152606" y="414661"/>
                </a:cubicBezTo>
                <a:cubicBezTo>
                  <a:pt x="1130295" y="417925"/>
                  <a:pt x="1107984" y="393982"/>
                  <a:pt x="1108528" y="370038"/>
                </a:cubicBezTo>
                <a:cubicBezTo>
                  <a:pt x="1109072" y="347727"/>
                  <a:pt x="1129751" y="326504"/>
                  <a:pt x="1153150" y="326504"/>
                </a:cubicBezTo>
                <a:close/>
                <a:moveTo>
                  <a:pt x="1317492" y="323239"/>
                </a:moveTo>
                <a:cubicBezTo>
                  <a:pt x="1341979" y="322151"/>
                  <a:pt x="1367012" y="348271"/>
                  <a:pt x="1364835" y="372215"/>
                </a:cubicBezTo>
                <a:cubicBezTo>
                  <a:pt x="1361026" y="399968"/>
                  <a:pt x="1344700" y="416837"/>
                  <a:pt x="1314771" y="419014"/>
                </a:cubicBezTo>
                <a:cubicBezTo>
                  <a:pt x="1286474" y="415205"/>
                  <a:pt x="1267972" y="398879"/>
                  <a:pt x="1268516" y="370582"/>
                </a:cubicBezTo>
                <a:cubicBezTo>
                  <a:pt x="1268516" y="341197"/>
                  <a:pt x="1288650" y="324327"/>
                  <a:pt x="1317492" y="323239"/>
                </a:cubicBezTo>
                <a:close/>
                <a:moveTo>
                  <a:pt x="1479112" y="320517"/>
                </a:moveTo>
                <a:cubicBezTo>
                  <a:pt x="1503600" y="319973"/>
                  <a:pt x="1530265" y="343917"/>
                  <a:pt x="1529720" y="371670"/>
                </a:cubicBezTo>
                <a:cubicBezTo>
                  <a:pt x="1528632" y="395069"/>
                  <a:pt x="1506321" y="423366"/>
                  <a:pt x="1478568" y="420101"/>
                </a:cubicBezTo>
                <a:cubicBezTo>
                  <a:pt x="1452447" y="422822"/>
                  <a:pt x="1429592" y="397246"/>
                  <a:pt x="1429592" y="370037"/>
                </a:cubicBezTo>
                <a:cubicBezTo>
                  <a:pt x="1429592" y="342284"/>
                  <a:pt x="1455713" y="320517"/>
                  <a:pt x="1479112" y="320517"/>
                </a:cubicBezTo>
                <a:close/>
                <a:moveTo>
                  <a:pt x="1642364" y="318341"/>
                </a:moveTo>
                <a:cubicBezTo>
                  <a:pt x="1670661" y="318341"/>
                  <a:pt x="1692973" y="339020"/>
                  <a:pt x="1695694" y="370582"/>
                </a:cubicBezTo>
                <a:cubicBezTo>
                  <a:pt x="1696238" y="397791"/>
                  <a:pt x="1671206" y="423367"/>
                  <a:pt x="1643453" y="424455"/>
                </a:cubicBezTo>
                <a:cubicBezTo>
                  <a:pt x="1616788" y="425544"/>
                  <a:pt x="1589035" y="398335"/>
                  <a:pt x="1589035" y="371670"/>
                </a:cubicBezTo>
                <a:cubicBezTo>
                  <a:pt x="1589035" y="345006"/>
                  <a:pt x="1615155" y="317797"/>
                  <a:pt x="1642364" y="318341"/>
                </a:cubicBezTo>
                <a:close/>
                <a:moveTo>
                  <a:pt x="90919" y="273718"/>
                </a:moveTo>
                <a:cubicBezTo>
                  <a:pt x="96361" y="273174"/>
                  <a:pt x="106156" y="282425"/>
                  <a:pt x="106700" y="288411"/>
                </a:cubicBezTo>
                <a:cubicBezTo>
                  <a:pt x="106700" y="294941"/>
                  <a:pt x="97993" y="303648"/>
                  <a:pt x="91463" y="303648"/>
                </a:cubicBezTo>
                <a:cubicBezTo>
                  <a:pt x="84933" y="303648"/>
                  <a:pt x="76226" y="294941"/>
                  <a:pt x="76770" y="288411"/>
                </a:cubicBezTo>
                <a:cubicBezTo>
                  <a:pt x="76770" y="283513"/>
                  <a:pt x="86021" y="274262"/>
                  <a:pt x="90919" y="273718"/>
                </a:cubicBezTo>
                <a:close/>
                <a:moveTo>
                  <a:pt x="254716" y="267733"/>
                </a:moveTo>
                <a:cubicBezTo>
                  <a:pt x="267776" y="267733"/>
                  <a:pt x="276483" y="276440"/>
                  <a:pt x="276483" y="288956"/>
                </a:cubicBezTo>
                <a:cubicBezTo>
                  <a:pt x="276483" y="301472"/>
                  <a:pt x="266688" y="311811"/>
                  <a:pt x="254172" y="311811"/>
                </a:cubicBezTo>
                <a:cubicBezTo>
                  <a:pt x="243289" y="311811"/>
                  <a:pt x="232405" y="300384"/>
                  <a:pt x="232405" y="289500"/>
                </a:cubicBezTo>
                <a:cubicBezTo>
                  <a:pt x="232405" y="276984"/>
                  <a:pt x="242744" y="267733"/>
                  <a:pt x="254716" y="267733"/>
                </a:cubicBezTo>
                <a:close/>
                <a:moveTo>
                  <a:pt x="1941117" y="263202"/>
                </a:moveTo>
                <a:cubicBezTo>
                  <a:pt x="1937852" y="261570"/>
                  <a:pt x="1936219" y="263202"/>
                  <a:pt x="1936219" y="266467"/>
                </a:cubicBezTo>
                <a:cubicBezTo>
                  <a:pt x="1936763" y="268644"/>
                  <a:pt x="1937852" y="270276"/>
                  <a:pt x="1938396" y="272453"/>
                </a:cubicBezTo>
                <a:cubicBezTo>
                  <a:pt x="1944382" y="290955"/>
                  <a:pt x="1943838" y="308913"/>
                  <a:pt x="1932954" y="325782"/>
                </a:cubicBezTo>
                <a:cubicBezTo>
                  <a:pt x="1931866" y="327415"/>
                  <a:pt x="1931866" y="329047"/>
                  <a:pt x="1930777" y="331224"/>
                </a:cubicBezTo>
                <a:cubicBezTo>
                  <a:pt x="1932410" y="331224"/>
                  <a:pt x="1935131" y="331224"/>
                  <a:pt x="1936219" y="330136"/>
                </a:cubicBezTo>
                <a:cubicBezTo>
                  <a:pt x="1945470" y="323061"/>
                  <a:pt x="1955265" y="320885"/>
                  <a:pt x="1966693" y="320340"/>
                </a:cubicBezTo>
                <a:cubicBezTo>
                  <a:pt x="1978121" y="319796"/>
                  <a:pt x="1989004" y="323061"/>
                  <a:pt x="1998799" y="328503"/>
                </a:cubicBezTo>
                <a:cubicBezTo>
                  <a:pt x="2000432" y="329047"/>
                  <a:pt x="2001520" y="329592"/>
                  <a:pt x="2003153" y="330136"/>
                </a:cubicBezTo>
                <a:cubicBezTo>
                  <a:pt x="2002609" y="328503"/>
                  <a:pt x="2002609" y="326326"/>
                  <a:pt x="2001520" y="324694"/>
                </a:cubicBezTo>
                <a:cubicBezTo>
                  <a:pt x="1999344" y="319796"/>
                  <a:pt x="1995534" y="314899"/>
                  <a:pt x="1994446" y="309457"/>
                </a:cubicBezTo>
                <a:cubicBezTo>
                  <a:pt x="1992269" y="295308"/>
                  <a:pt x="1990093" y="281160"/>
                  <a:pt x="1998255" y="267555"/>
                </a:cubicBezTo>
                <a:cubicBezTo>
                  <a:pt x="2000432" y="267555"/>
                  <a:pt x="2000432" y="265923"/>
                  <a:pt x="2000976" y="263746"/>
                </a:cubicBezTo>
                <a:cubicBezTo>
                  <a:pt x="1998799" y="263746"/>
                  <a:pt x="1996623" y="262658"/>
                  <a:pt x="1995534" y="263746"/>
                </a:cubicBezTo>
                <a:cubicBezTo>
                  <a:pt x="1977577" y="272997"/>
                  <a:pt x="1959075" y="272997"/>
                  <a:pt x="1941117" y="263202"/>
                </a:cubicBezTo>
                <a:close/>
                <a:moveTo>
                  <a:pt x="417425" y="262291"/>
                </a:moveTo>
                <a:cubicBezTo>
                  <a:pt x="434839" y="262291"/>
                  <a:pt x="445178" y="272086"/>
                  <a:pt x="445178" y="288956"/>
                </a:cubicBezTo>
                <a:cubicBezTo>
                  <a:pt x="445178" y="305825"/>
                  <a:pt x="434839" y="316164"/>
                  <a:pt x="417969" y="317253"/>
                </a:cubicBezTo>
                <a:cubicBezTo>
                  <a:pt x="404909" y="317797"/>
                  <a:pt x="389672" y="306369"/>
                  <a:pt x="390216" y="290044"/>
                </a:cubicBezTo>
                <a:cubicBezTo>
                  <a:pt x="391305" y="272086"/>
                  <a:pt x="400011" y="262291"/>
                  <a:pt x="417425" y="262291"/>
                </a:cubicBezTo>
                <a:close/>
                <a:moveTo>
                  <a:pt x="580678" y="256304"/>
                </a:moveTo>
                <a:cubicBezTo>
                  <a:pt x="596459" y="255760"/>
                  <a:pt x="616049" y="273174"/>
                  <a:pt x="613872" y="288955"/>
                </a:cubicBezTo>
                <a:cubicBezTo>
                  <a:pt x="615505" y="304736"/>
                  <a:pt x="598635" y="322150"/>
                  <a:pt x="581222" y="322150"/>
                </a:cubicBezTo>
                <a:cubicBezTo>
                  <a:pt x="564352" y="322150"/>
                  <a:pt x="548571" y="308001"/>
                  <a:pt x="548027" y="289499"/>
                </a:cubicBezTo>
                <a:cubicBezTo>
                  <a:pt x="547483" y="272086"/>
                  <a:pt x="565441" y="256849"/>
                  <a:pt x="580678" y="256304"/>
                </a:cubicBezTo>
                <a:close/>
                <a:moveTo>
                  <a:pt x="743930" y="251951"/>
                </a:moveTo>
                <a:cubicBezTo>
                  <a:pt x="764609" y="251951"/>
                  <a:pt x="782566" y="268820"/>
                  <a:pt x="782022" y="289499"/>
                </a:cubicBezTo>
                <a:cubicBezTo>
                  <a:pt x="781478" y="311266"/>
                  <a:pt x="765153" y="326503"/>
                  <a:pt x="744474" y="326503"/>
                </a:cubicBezTo>
                <a:cubicBezTo>
                  <a:pt x="723795" y="326503"/>
                  <a:pt x="708014" y="311266"/>
                  <a:pt x="707470" y="289499"/>
                </a:cubicBezTo>
                <a:cubicBezTo>
                  <a:pt x="706926" y="271541"/>
                  <a:pt x="722163" y="252495"/>
                  <a:pt x="743930" y="251951"/>
                </a:cubicBezTo>
                <a:close/>
                <a:moveTo>
                  <a:pt x="907183" y="249775"/>
                </a:moveTo>
                <a:cubicBezTo>
                  <a:pt x="929494" y="249775"/>
                  <a:pt x="946908" y="263924"/>
                  <a:pt x="947452" y="289500"/>
                </a:cubicBezTo>
                <a:cubicBezTo>
                  <a:pt x="947996" y="311811"/>
                  <a:pt x="931127" y="330313"/>
                  <a:pt x="908271" y="329225"/>
                </a:cubicBezTo>
                <a:cubicBezTo>
                  <a:pt x="885960" y="330857"/>
                  <a:pt x="868002" y="312355"/>
                  <a:pt x="867458" y="290044"/>
                </a:cubicBezTo>
                <a:cubicBezTo>
                  <a:pt x="867458" y="266100"/>
                  <a:pt x="884872" y="249775"/>
                  <a:pt x="907183" y="249775"/>
                </a:cubicBezTo>
                <a:close/>
                <a:moveTo>
                  <a:pt x="1070435" y="245965"/>
                </a:moveTo>
                <a:cubicBezTo>
                  <a:pt x="1093291" y="245421"/>
                  <a:pt x="1116146" y="264467"/>
                  <a:pt x="1114513" y="290043"/>
                </a:cubicBezTo>
                <a:cubicBezTo>
                  <a:pt x="1115602" y="312899"/>
                  <a:pt x="1092202" y="334122"/>
                  <a:pt x="1069347" y="333578"/>
                </a:cubicBezTo>
                <a:cubicBezTo>
                  <a:pt x="1047036" y="333034"/>
                  <a:pt x="1026357" y="311266"/>
                  <a:pt x="1026357" y="288955"/>
                </a:cubicBezTo>
                <a:cubicBezTo>
                  <a:pt x="1026901" y="268276"/>
                  <a:pt x="1045403" y="245965"/>
                  <a:pt x="1070435" y="245965"/>
                </a:cubicBezTo>
                <a:close/>
                <a:moveTo>
                  <a:pt x="1233689" y="241613"/>
                </a:moveTo>
                <a:cubicBezTo>
                  <a:pt x="1257632" y="241068"/>
                  <a:pt x="1281032" y="263924"/>
                  <a:pt x="1282120" y="288412"/>
                </a:cubicBezTo>
                <a:cubicBezTo>
                  <a:pt x="1282665" y="312900"/>
                  <a:pt x="1260898" y="336299"/>
                  <a:pt x="1235321" y="335755"/>
                </a:cubicBezTo>
                <a:cubicBezTo>
                  <a:pt x="1206480" y="335211"/>
                  <a:pt x="1190155" y="318886"/>
                  <a:pt x="1187434" y="289500"/>
                </a:cubicBezTo>
                <a:cubicBezTo>
                  <a:pt x="1184713" y="266100"/>
                  <a:pt x="1208657" y="242701"/>
                  <a:pt x="1233689" y="241613"/>
                </a:cubicBezTo>
                <a:close/>
                <a:moveTo>
                  <a:pt x="1397485" y="238891"/>
                </a:moveTo>
                <a:cubicBezTo>
                  <a:pt x="1421973" y="237259"/>
                  <a:pt x="1448638" y="264467"/>
                  <a:pt x="1448094" y="288955"/>
                </a:cubicBezTo>
                <a:cubicBezTo>
                  <a:pt x="1447005" y="312355"/>
                  <a:pt x="1424150" y="341196"/>
                  <a:pt x="1398029" y="338475"/>
                </a:cubicBezTo>
                <a:cubicBezTo>
                  <a:pt x="1372453" y="340652"/>
                  <a:pt x="1347421" y="315620"/>
                  <a:pt x="1348509" y="289499"/>
                </a:cubicBezTo>
                <a:cubicBezTo>
                  <a:pt x="1349598" y="261202"/>
                  <a:pt x="1369732" y="240524"/>
                  <a:pt x="1397485" y="238891"/>
                </a:cubicBezTo>
                <a:close/>
                <a:moveTo>
                  <a:pt x="1559650" y="237258"/>
                </a:moveTo>
                <a:cubicBezTo>
                  <a:pt x="1590668" y="236170"/>
                  <a:pt x="1611891" y="259570"/>
                  <a:pt x="1613523" y="288955"/>
                </a:cubicBezTo>
                <a:cubicBezTo>
                  <a:pt x="1613523" y="316164"/>
                  <a:pt x="1587403" y="342829"/>
                  <a:pt x="1560738" y="342829"/>
                </a:cubicBezTo>
                <a:cubicBezTo>
                  <a:pt x="1534618" y="342829"/>
                  <a:pt x="1505776" y="315620"/>
                  <a:pt x="1507953" y="289499"/>
                </a:cubicBezTo>
                <a:cubicBezTo>
                  <a:pt x="1510130" y="261202"/>
                  <a:pt x="1526455" y="238347"/>
                  <a:pt x="1559650" y="237258"/>
                </a:cubicBezTo>
                <a:close/>
                <a:moveTo>
                  <a:pt x="9837" y="198078"/>
                </a:moveTo>
                <a:cubicBezTo>
                  <a:pt x="14190" y="198078"/>
                  <a:pt x="19632" y="202976"/>
                  <a:pt x="19632" y="207873"/>
                </a:cubicBezTo>
                <a:cubicBezTo>
                  <a:pt x="19632" y="212227"/>
                  <a:pt x="14190" y="217668"/>
                  <a:pt x="10381" y="218213"/>
                </a:cubicBezTo>
                <a:cubicBezTo>
                  <a:pt x="5483" y="218757"/>
                  <a:pt x="-503" y="212771"/>
                  <a:pt x="42" y="207873"/>
                </a:cubicBezTo>
                <a:cubicBezTo>
                  <a:pt x="42" y="202976"/>
                  <a:pt x="5483" y="198078"/>
                  <a:pt x="9837" y="198078"/>
                </a:cubicBezTo>
                <a:close/>
                <a:moveTo>
                  <a:pt x="173090" y="187739"/>
                </a:moveTo>
                <a:cubicBezTo>
                  <a:pt x="183429" y="188283"/>
                  <a:pt x="192136" y="196990"/>
                  <a:pt x="192136" y="207329"/>
                </a:cubicBezTo>
                <a:cubicBezTo>
                  <a:pt x="192136" y="217669"/>
                  <a:pt x="182341" y="228008"/>
                  <a:pt x="172546" y="227464"/>
                </a:cubicBezTo>
                <a:cubicBezTo>
                  <a:pt x="163839" y="226920"/>
                  <a:pt x="154588" y="217669"/>
                  <a:pt x="154044" y="208418"/>
                </a:cubicBezTo>
                <a:cubicBezTo>
                  <a:pt x="153500" y="198078"/>
                  <a:pt x="162751" y="187739"/>
                  <a:pt x="173090" y="187739"/>
                </a:cubicBezTo>
                <a:close/>
                <a:moveTo>
                  <a:pt x="336887" y="182297"/>
                </a:moveTo>
                <a:cubicBezTo>
                  <a:pt x="350491" y="182841"/>
                  <a:pt x="361919" y="191548"/>
                  <a:pt x="363007" y="207329"/>
                </a:cubicBezTo>
                <a:cubicBezTo>
                  <a:pt x="363551" y="219845"/>
                  <a:pt x="349947" y="233449"/>
                  <a:pt x="336887" y="233994"/>
                </a:cubicBezTo>
                <a:cubicBezTo>
                  <a:pt x="324371" y="233994"/>
                  <a:pt x="311311" y="221478"/>
                  <a:pt x="310766" y="208961"/>
                </a:cubicBezTo>
                <a:cubicBezTo>
                  <a:pt x="310222" y="195357"/>
                  <a:pt x="323282" y="181753"/>
                  <a:pt x="336887" y="182297"/>
                </a:cubicBezTo>
                <a:close/>
                <a:moveTo>
                  <a:pt x="1856225" y="180487"/>
                </a:moveTo>
                <a:cubicBezTo>
                  <a:pt x="1856225" y="182664"/>
                  <a:pt x="1855137" y="184841"/>
                  <a:pt x="1855681" y="185929"/>
                </a:cubicBezTo>
                <a:cubicBezTo>
                  <a:pt x="1863844" y="206064"/>
                  <a:pt x="1863844" y="226198"/>
                  <a:pt x="1851872" y="244700"/>
                </a:cubicBezTo>
                <a:cubicBezTo>
                  <a:pt x="1851328" y="245788"/>
                  <a:pt x="1851328" y="246877"/>
                  <a:pt x="1851328" y="247965"/>
                </a:cubicBezTo>
                <a:cubicBezTo>
                  <a:pt x="1852416" y="247965"/>
                  <a:pt x="1854049" y="247965"/>
                  <a:pt x="1854593" y="247421"/>
                </a:cubicBezTo>
                <a:cubicBezTo>
                  <a:pt x="1868197" y="237082"/>
                  <a:pt x="1883434" y="237082"/>
                  <a:pt x="1899215" y="238714"/>
                </a:cubicBezTo>
                <a:cubicBezTo>
                  <a:pt x="1904113" y="239258"/>
                  <a:pt x="1909010" y="241979"/>
                  <a:pt x="1913908" y="243067"/>
                </a:cubicBezTo>
                <a:cubicBezTo>
                  <a:pt x="1915541" y="243612"/>
                  <a:pt x="1917173" y="242523"/>
                  <a:pt x="1918806" y="242523"/>
                </a:cubicBezTo>
                <a:cubicBezTo>
                  <a:pt x="1918806" y="240891"/>
                  <a:pt x="1918806" y="239258"/>
                  <a:pt x="1918261" y="238170"/>
                </a:cubicBezTo>
                <a:cubicBezTo>
                  <a:pt x="1908466" y="220756"/>
                  <a:pt x="1910099" y="203887"/>
                  <a:pt x="1917173" y="185929"/>
                </a:cubicBezTo>
                <a:cubicBezTo>
                  <a:pt x="1917717" y="184297"/>
                  <a:pt x="1917717" y="183208"/>
                  <a:pt x="1918261" y="181576"/>
                </a:cubicBezTo>
                <a:cubicBezTo>
                  <a:pt x="1916629" y="182120"/>
                  <a:pt x="1914996" y="182120"/>
                  <a:pt x="1913908" y="182664"/>
                </a:cubicBezTo>
                <a:cubicBezTo>
                  <a:pt x="1895950" y="189738"/>
                  <a:pt x="1877992" y="190827"/>
                  <a:pt x="1860579" y="180487"/>
                </a:cubicBezTo>
                <a:cubicBezTo>
                  <a:pt x="1858946" y="181031"/>
                  <a:pt x="1857858" y="181031"/>
                  <a:pt x="1856225" y="180487"/>
                </a:cubicBezTo>
                <a:close/>
                <a:moveTo>
                  <a:pt x="499595" y="175767"/>
                </a:moveTo>
                <a:cubicBezTo>
                  <a:pt x="514832" y="175767"/>
                  <a:pt x="531702" y="193181"/>
                  <a:pt x="531158" y="207874"/>
                </a:cubicBezTo>
                <a:cubicBezTo>
                  <a:pt x="530613" y="223110"/>
                  <a:pt x="513744" y="239980"/>
                  <a:pt x="498507" y="238347"/>
                </a:cubicBezTo>
                <a:cubicBezTo>
                  <a:pt x="479461" y="236715"/>
                  <a:pt x="469666" y="224743"/>
                  <a:pt x="468033" y="207329"/>
                </a:cubicBezTo>
                <a:cubicBezTo>
                  <a:pt x="466945" y="192636"/>
                  <a:pt x="484903" y="175767"/>
                  <a:pt x="499595" y="175767"/>
                </a:cubicBezTo>
                <a:close/>
                <a:moveTo>
                  <a:pt x="662304" y="173046"/>
                </a:moveTo>
                <a:cubicBezTo>
                  <a:pt x="683527" y="171958"/>
                  <a:pt x="698220" y="189916"/>
                  <a:pt x="697676" y="207873"/>
                </a:cubicBezTo>
                <a:cubicBezTo>
                  <a:pt x="697131" y="227464"/>
                  <a:pt x="684615" y="243245"/>
                  <a:pt x="662304" y="242156"/>
                </a:cubicBezTo>
                <a:cubicBezTo>
                  <a:pt x="639993" y="241612"/>
                  <a:pt x="628565" y="229096"/>
                  <a:pt x="628021" y="207873"/>
                </a:cubicBezTo>
                <a:cubicBezTo>
                  <a:pt x="628021" y="187739"/>
                  <a:pt x="642714" y="172502"/>
                  <a:pt x="662304" y="173046"/>
                </a:cubicBezTo>
                <a:close/>
                <a:moveTo>
                  <a:pt x="826645" y="168148"/>
                </a:moveTo>
                <a:cubicBezTo>
                  <a:pt x="844602" y="168148"/>
                  <a:pt x="867458" y="187194"/>
                  <a:pt x="864737" y="207329"/>
                </a:cubicBezTo>
                <a:cubicBezTo>
                  <a:pt x="867458" y="229096"/>
                  <a:pt x="844058" y="247054"/>
                  <a:pt x="826100" y="247054"/>
                </a:cubicBezTo>
                <a:cubicBezTo>
                  <a:pt x="808687" y="247054"/>
                  <a:pt x="787464" y="228552"/>
                  <a:pt x="787464" y="207873"/>
                </a:cubicBezTo>
                <a:cubicBezTo>
                  <a:pt x="787464" y="187194"/>
                  <a:pt x="807054" y="168148"/>
                  <a:pt x="826645" y="168148"/>
                </a:cubicBezTo>
                <a:close/>
                <a:moveTo>
                  <a:pt x="987721" y="164883"/>
                </a:moveTo>
                <a:cubicBezTo>
                  <a:pt x="1012209" y="164339"/>
                  <a:pt x="1030711" y="181753"/>
                  <a:pt x="1031799" y="207329"/>
                </a:cubicBezTo>
                <a:cubicBezTo>
                  <a:pt x="1031255" y="232361"/>
                  <a:pt x="1011665" y="250319"/>
                  <a:pt x="988809" y="250319"/>
                </a:cubicBezTo>
                <a:cubicBezTo>
                  <a:pt x="965954" y="250319"/>
                  <a:pt x="946364" y="231273"/>
                  <a:pt x="945819" y="208417"/>
                </a:cubicBezTo>
                <a:cubicBezTo>
                  <a:pt x="945275" y="185018"/>
                  <a:pt x="962689" y="165428"/>
                  <a:pt x="987721" y="164883"/>
                </a:cubicBezTo>
                <a:close/>
                <a:moveTo>
                  <a:pt x="1153150" y="162707"/>
                </a:moveTo>
                <a:cubicBezTo>
                  <a:pt x="1177638" y="161619"/>
                  <a:pt x="1197772" y="180665"/>
                  <a:pt x="1197772" y="207874"/>
                </a:cubicBezTo>
                <a:cubicBezTo>
                  <a:pt x="1197772" y="235083"/>
                  <a:pt x="1176005" y="253584"/>
                  <a:pt x="1151517" y="253584"/>
                </a:cubicBezTo>
                <a:cubicBezTo>
                  <a:pt x="1128118" y="253040"/>
                  <a:pt x="1106895" y="234538"/>
                  <a:pt x="1107439" y="207329"/>
                </a:cubicBezTo>
                <a:cubicBezTo>
                  <a:pt x="1107983" y="179576"/>
                  <a:pt x="1129206" y="161075"/>
                  <a:pt x="1153150" y="162707"/>
                </a:cubicBezTo>
                <a:close/>
                <a:moveTo>
                  <a:pt x="1315315" y="158353"/>
                </a:moveTo>
                <a:cubicBezTo>
                  <a:pt x="1341435" y="156177"/>
                  <a:pt x="1365923" y="184474"/>
                  <a:pt x="1365379" y="206785"/>
                </a:cubicBezTo>
                <a:cubicBezTo>
                  <a:pt x="1365379" y="229640"/>
                  <a:pt x="1344156" y="256849"/>
                  <a:pt x="1315859" y="256305"/>
                </a:cubicBezTo>
                <a:cubicBezTo>
                  <a:pt x="1290283" y="256305"/>
                  <a:pt x="1267427" y="233994"/>
                  <a:pt x="1266883" y="207873"/>
                </a:cubicBezTo>
                <a:cubicBezTo>
                  <a:pt x="1265795" y="181209"/>
                  <a:pt x="1292460" y="157265"/>
                  <a:pt x="1315315" y="158353"/>
                </a:cubicBezTo>
                <a:close/>
                <a:moveTo>
                  <a:pt x="1478567" y="156721"/>
                </a:moveTo>
                <a:cubicBezTo>
                  <a:pt x="1510129" y="156721"/>
                  <a:pt x="1530264" y="180665"/>
                  <a:pt x="1529720" y="207329"/>
                </a:cubicBezTo>
                <a:cubicBezTo>
                  <a:pt x="1530264" y="236715"/>
                  <a:pt x="1510129" y="258482"/>
                  <a:pt x="1478567" y="258482"/>
                </a:cubicBezTo>
                <a:cubicBezTo>
                  <a:pt x="1449182" y="257938"/>
                  <a:pt x="1428503" y="238892"/>
                  <a:pt x="1427959" y="207874"/>
                </a:cubicBezTo>
                <a:cubicBezTo>
                  <a:pt x="1427415" y="179576"/>
                  <a:pt x="1447549" y="156721"/>
                  <a:pt x="1478567" y="156721"/>
                </a:cubicBezTo>
                <a:close/>
                <a:moveTo>
                  <a:pt x="1644541" y="153456"/>
                </a:moveTo>
                <a:cubicBezTo>
                  <a:pt x="1672294" y="154544"/>
                  <a:pt x="1697870" y="180665"/>
                  <a:pt x="1697326" y="209506"/>
                </a:cubicBezTo>
                <a:cubicBezTo>
                  <a:pt x="1696782" y="238347"/>
                  <a:pt x="1669573" y="263924"/>
                  <a:pt x="1641276" y="262835"/>
                </a:cubicBezTo>
                <a:cubicBezTo>
                  <a:pt x="1612979" y="261203"/>
                  <a:pt x="1587402" y="236715"/>
                  <a:pt x="1587947" y="206785"/>
                </a:cubicBezTo>
                <a:cubicBezTo>
                  <a:pt x="1587947" y="180121"/>
                  <a:pt x="1613523" y="152368"/>
                  <a:pt x="1644541" y="153456"/>
                </a:cubicBezTo>
                <a:close/>
                <a:moveTo>
                  <a:pt x="91463" y="109922"/>
                </a:moveTo>
                <a:cubicBezTo>
                  <a:pt x="97993" y="109922"/>
                  <a:pt x="107244" y="119173"/>
                  <a:pt x="107244" y="126247"/>
                </a:cubicBezTo>
                <a:cubicBezTo>
                  <a:pt x="107788" y="132777"/>
                  <a:pt x="98537" y="142028"/>
                  <a:pt x="91463" y="142028"/>
                </a:cubicBezTo>
                <a:cubicBezTo>
                  <a:pt x="83845" y="142028"/>
                  <a:pt x="75682" y="133866"/>
                  <a:pt x="75682" y="126247"/>
                </a:cubicBezTo>
                <a:cubicBezTo>
                  <a:pt x="75682" y="118629"/>
                  <a:pt x="84389" y="109922"/>
                  <a:pt x="91463" y="109922"/>
                </a:cubicBezTo>
                <a:close/>
                <a:moveTo>
                  <a:pt x="1942341" y="104915"/>
                </a:moveTo>
                <a:cubicBezTo>
                  <a:pt x="1941389" y="105799"/>
                  <a:pt x="1941389" y="107840"/>
                  <a:pt x="1942205" y="111377"/>
                </a:cubicBezTo>
                <a:cubicBezTo>
                  <a:pt x="1943294" y="118451"/>
                  <a:pt x="1944926" y="124437"/>
                  <a:pt x="1946559" y="131511"/>
                </a:cubicBezTo>
                <a:cubicBezTo>
                  <a:pt x="1944382" y="139674"/>
                  <a:pt x="1941661" y="148381"/>
                  <a:pt x="1939484" y="157088"/>
                </a:cubicBezTo>
                <a:cubicBezTo>
                  <a:pt x="1939484" y="158176"/>
                  <a:pt x="1941117" y="160353"/>
                  <a:pt x="1941117" y="160353"/>
                </a:cubicBezTo>
                <a:cubicBezTo>
                  <a:pt x="1955810" y="154367"/>
                  <a:pt x="1971046" y="150558"/>
                  <a:pt x="1986828" y="157088"/>
                </a:cubicBezTo>
                <a:cubicBezTo>
                  <a:pt x="1987372" y="157088"/>
                  <a:pt x="1987916" y="157088"/>
                  <a:pt x="1987916" y="157088"/>
                </a:cubicBezTo>
                <a:cubicBezTo>
                  <a:pt x="1994990" y="157632"/>
                  <a:pt x="1996623" y="155999"/>
                  <a:pt x="1993902" y="150013"/>
                </a:cubicBezTo>
                <a:cubicBezTo>
                  <a:pt x="1988460" y="136409"/>
                  <a:pt x="1988460" y="123349"/>
                  <a:pt x="1993902" y="109744"/>
                </a:cubicBezTo>
                <a:cubicBezTo>
                  <a:pt x="1995534" y="105935"/>
                  <a:pt x="1994446" y="103214"/>
                  <a:pt x="1989004" y="105391"/>
                </a:cubicBezTo>
                <a:cubicBezTo>
                  <a:pt x="1975400" y="109744"/>
                  <a:pt x="1961796" y="109744"/>
                  <a:pt x="1948191" y="105391"/>
                </a:cubicBezTo>
                <a:cubicBezTo>
                  <a:pt x="1945198" y="104303"/>
                  <a:pt x="1943294" y="104031"/>
                  <a:pt x="1942341" y="104915"/>
                </a:cubicBezTo>
                <a:close/>
                <a:moveTo>
                  <a:pt x="255804" y="103392"/>
                </a:moveTo>
                <a:cubicBezTo>
                  <a:pt x="269409" y="103392"/>
                  <a:pt x="277571" y="112643"/>
                  <a:pt x="277571" y="126791"/>
                </a:cubicBezTo>
                <a:cubicBezTo>
                  <a:pt x="277027" y="139852"/>
                  <a:pt x="267776" y="148558"/>
                  <a:pt x="254172" y="148014"/>
                </a:cubicBezTo>
                <a:cubicBezTo>
                  <a:pt x="241112" y="148014"/>
                  <a:pt x="231861" y="138763"/>
                  <a:pt x="232405" y="125159"/>
                </a:cubicBezTo>
                <a:cubicBezTo>
                  <a:pt x="232405" y="112099"/>
                  <a:pt x="242200" y="102848"/>
                  <a:pt x="255804" y="103392"/>
                </a:cubicBezTo>
                <a:close/>
                <a:moveTo>
                  <a:pt x="1773511" y="99405"/>
                </a:moveTo>
                <a:cubicBezTo>
                  <a:pt x="1773511" y="102126"/>
                  <a:pt x="1772966" y="104303"/>
                  <a:pt x="1773511" y="107023"/>
                </a:cubicBezTo>
                <a:cubicBezTo>
                  <a:pt x="1776232" y="114098"/>
                  <a:pt x="1778408" y="121716"/>
                  <a:pt x="1780585" y="130423"/>
                </a:cubicBezTo>
                <a:cubicBezTo>
                  <a:pt x="1778408" y="139130"/>
                  <a:pt x="1775687" y="147293"/>
                  <a:pt x="1773511" y="155999"/>
                </a:cubicBezTo>
                <a:cubicBezTo>
                  <a:pt x="1772966" y="157632"/>
                  <a:pt x="1772966" y="160897"/>
                  <a:pt x="1774055" y="161985"/>
                </a:cubicBezTo>
                <a:cubicBezTo>
                  <a:pt x="1775143" y="163074"/>
                  <a:pt x="1778408" y="163074"/>
                  <a:pt x="1780041" y="162529"/>
                </a:cubicBezTo>
                <a:cubicBezTo>
                  <a:pt x="1789836" y="155455"/>
                  <a:pt x="1800719" y="157632"/>
                  <a:pt x="1811059" y="157632"/>
                </a:cubicBezTo>
                <a:cubicBezTo>
                  <a:pt x="1817589" y="157632"/>
                  <a:pt x="1824119" y="156543"/>
                  <a:pt x="1829561" y="161985"/>
                </a:cubicBezTo>
                <a:cubicBezTo>
                  <a:pt x="1830649" y="163074"/>
                  <a:pt x="1834458" y="161985"/>
                  <a:pt x="1836635" y="161985"/>
                </a:cubicBezTo>
                <a:cubicBezTo>
                  <a:pt x="1835547" y="160353"/>
                  <a:pt x="1835002" y="158720"/>
                  <a:pt x="1833914" y="157088"/>
                </a:cubicBezTo>
                <a:cubicBezTo>
                  <a:pt x="1826840" y="139674"/>
                  <a:pt x="1826296" y="121716"/>
                  <a:pt x="1834458" y="104303"/>
                </a:cubicBezTo>
                <a:cubicBezTo>
                  <a:pt x="1835002" y="102670"/>
                  <a:pt x="1835547" y="101038"/>
                  <a:pt x="1835547" y="99405"/>
                </a:cubicBezTo>
                <a:cubicBezTo>
                  <a:pt x="1833914" y="99949"/>
                  <a:pt x="1832282" y="99949"/>
                  <a:pt x="1831193" y="101038"/>
                </a:cubicBezTo>
                <a:cubicBezTo>
                  <a:pt x="1814324" y="109200"/>
                  <a:pt x="1797454" y="109200"/>
                  <a:pt x="1780041" y="101582"/>
                </a:cubicBezTo>
                <a:cubicBezTo>
                  <a:pt x="1777864" y="100493"/>
                  <a:pt x="1775687" y="100493"/>
                  <a:pt x="1773511" y="99405"/>
                </a:cubicBezTo>
                <a:close/>
                <a:moveTo>
                  <a:pt x="417424" y="97950"/>
                </a:moveTo>
                <a:cubicBezTo>
                  <a:pt x="435382" y="97950"/>
                  <a:pt x="445721" y="108289"/>
                  <a:pt x="445721" y="126247"/>
                </a:cubicBezTo>
                <a:cubicBezTo>
                  <a:pt x="445721" y="143661"/>
                  <a:pt x="435382" y="153456"/>
                  <a:pt x="417424" y="153456"/>
                </a:cubicBezTo>
                <a:cubicBezTo>
                  <a:pt x="402187" y="155088"/>
                  <a:pt x="389127" y="141484"/>
                  <a:pt x="390215" y="125159"/>
                </a:cubicBezTo>
                <a:cubicBezTo>
                  <a:pt x="391304" y="107745"/>
                  <a:pt x="400555" y="97950"/>
                  <a:pt x="417424" y="97950"/>
                </a:cubicBezTo>
                <a:close/>
                <a:moveTo>
                  <a:pt x="580677" y="92508"/>
                </a:moveTo>
                <a:cubicBezTo>
                  <a:pt x="599724" y="92508"/>
                  <a:pt x="613328" y="106112"/>
                  <a:pt x="614960" y="125159"/>
                </a:cubicBezTo>
                <a:cubicBezTo>
                  <a:pt x="616049" y="141484"/>
                  <a:pt x="598091" y="161618"/>
                  <a:pt x="581766" y="158353"/>
                </a:cubicBezTo>
                <a:cubicBezTo>
                  <a:pt x="561631" y="158353"/>
                  <a:pt x="548571" y="145293"/>
                  <a:pt x="548571" y="125703"/>
                </a:cubicBezTo>
                <a:cubicBezTo>
                  <a:pt x="548571" y="106657"/>
                  <a:pt x="562175" y="92508"/>
                  <a:pt x="580677" y="92508"/>
                </a:cubicBezTo>
                <a:close/>
                <a:moveTo>
                  <a:pt x="745019" y="88154"/>
                </a:moveTo>
                <a:cubicBezTo>
                  <a:pt x="763521" y="87610"/>
                  <a:pt x="783111" y="107745"/>
                  <a:pt x="782567" y="126791"/>
                </a:cubicBezTo>
                <a:cubicBezTo>
                  <a:pt x="782023" y="147469"/>
                  <a:pt x="761344" y="164339"/>
                  <a:pt x="743930" y="164339"/>
                </a:cubicBezTo>
                <a:cubicBezTo>
                  <a:pt x="723796" y="163795"/>
                  <a:pt x="705838" y="144204"/>
                  <a:pt x="706382" y="125702"/>
                </a:cubicBezTo>
                <a:cubicBezTo>
                  <a:pt x="706926" y="109377"/>
                  <a:pt x="723252" y="87066"/>
                  <a:pt x="745019" y="88154"/>
                </a:cubicBezTo>
                <a:close/>
                <a:moveTo>
                  <a:pt x="1685898" y="84712"/>
                </a:moveTo>
                <a:lnTo>
                  <a:pt x="1685681" y="85147"/>
                </a:lnTo>
                <a:lnTo>
                  <a:pt x="1685354" y="85256"/>
                </a:lnTo>
                <a:cubicBezTo>
                  <a:pt x="1685354" y="85256"/>
                  <a:pt x="1685898" y="84712"/>
                  <a:pt x="1685898" y="84712"/>
                </a:cubicBezTo>
                <a:close/>
                <a:moveTo>
                  <a:pt x="907183" y="84345"/>
                </a:moveTo>
                <a:cubicBezTo>
                  <a:pt x="916978" y="84345"/>
                  <a:pt x="926773" y="87610"/>
                  <a:pt x="934935" y="95228"/>
                </a:cubicBezTo>
                <a:cubicBezTo>
                  <a:pt x="944187" y="103935"/>
                  <a:pt x="946907" y="114819"/>
                  <a:pt x="949628" y="125158"/>
                </a:cubicBezTo>
                <a:cubicBezTo>
                  <a:pt x="946907" y="150190"/>
                  <a:pt x="932759" y="166515"/>
                  <a:pt x="908271" y="167060"/>
                </a:cubicBezTo>
                <a:cubicBezTo>
                  <a:pt x="884871" y="167604"/>
                  <a:pt x="867458" y="150734"/>
                  <a:pt x="866369" y="125702"/>
                </a:cubicBezTo>
                <a:cubicBezTo>
                  <a:pt x="865825" y="103935"/>
                  <a:pt x="884871" y="83801"/>
                  <a:pt x="907183" y="84345"/>
                </a:cubicBezTo>
                <a:close/>
                <a:moveTo>
                  <a:pt x="1070979" y="82169"/>
                </a:moveTo>
                <a:cubicBezTo>
                  <a:pt x="1095467" y="79448"/>
                  <a:pt x="1115602" y="103936"/>
                  <a:pt x="1115602" y="126247"/>
                </a:cubicBezTo>
                <a:cubicBezTo>
                  <a:pt x="1115602" y="148014"/>
                  <a:pt x="1094923" y="170325"/>
                  <a:pt x="1071524" y="170325"/>
                </a:cubicBezTo>
                <a:cubicBezTo>
                  <a:pt x="1047580" y="170325"/>
                  <a:pt x="1026357" y="148558"/>
                  <a:pt x="1026357" y="125703"/>
                </a:cubicBezTo>
                <a:cubicBezTo>
                  <a:pt x="1026357" y="103936"/>
                  <a:pt x="1047036" y="79448"/>
                  <a:pt x="1070979" y="82169"/>
                </a:cubicBezTo>
                <a:close/>
                <a:moveTo>
                  <a:pt x="1684811" y="82168"/>
                </a:moveTo>
                <a:cubicBezTo>
                  <a:pt x="1684811" y="82168"/>
                  <a:pt x="1684266" y="82713"/>
                  <a:pt x="1684266" y="82713"/>
                </a:cubicBezTo>
                <a:lnTo>
                  <a:pt x="1684469" y="82365"/>
                </a:lnTo>
                <a:close/>
                <a:moveTo>
                  <a:pt x="1234777" y="78360"/>
                </a:moveTo>
                <a:cubicBezTo>
                  <a:pt x="1259809" y="76727"/>
                  <a:pt x="1284297" y="101759"/>
                  <a:pt x="1282664" y="126791"/>
                </a:cubicBezTo>
                <a:cubicBezTo>
                  <a:pt x="1280487" y="152912"/>
                  <a:pt x="1264162" y="171958"/>
                  <a:pt x="1234232" y="174135"/>
                </a:cubicBezTo>
                <a:cubicBezTo>
                  <a:pt x="1205935" y="172502"/>
                  <a:pt x="1186345" y="153456"/>
                  <a:pt x="1186889" y="126791"/>
                </a:cubicBezTo>
                <a:cubicBezTo>
                  <a:pt x="1187433" y="96318"/>
                  <a:pt x="1207024" y="79992"/>
                  <a:pt x="1234777" y="78360"/>
                </a:cubicBezTo>
                <a:close/>
                <a:moveTo>
                  <a:pt x="1398574" y="76182"/>
                </a:moveTo>
                <a:cubicBezTo>
                  <a:pt x="1424150" y="74006"/>
                  <a:pt x="1448638" y="99582"/>
                  <a:pt x="1448094" y="127335"/>
                </a:cubicBezTo>
                <a:cubicBezTo>
                  <a:pt x="1447549" y="151823"/>
                  <a:pt x="1426327" y="176311"/>
                  <a:pt x="1396941" y="175766"/>
                </a:cubicBezTo>
                <a:cubicBezTo>
                  <a:pt x="1367011" y="175222"/>
                  <a:pt x="1347421" y="151278"/>
                  <a:pt x="1347421" y="125702"/>
                </a:cubicBezTo>
                <a:cubicBezTo>
                  <a:pt x="1347421" y="99038"/>
                  <a:pt x="1369732" y="74006"/>
                  <a:pt x="1398574" y="76182"/>
                </a:cubicBezTo>
                <a:close/>
                <a:moveTo>
                  <a:pt x="1561282" y="72373"/>
                </a:moveTo>
                <a:cubicBezTo>
                  <a:pt x="1588491" y="72373"/>
                  <a:pt x="1614611" y="96861"/>
                  <a:pt x="1614611" y="126247"/>
                </a:cubicBezTo>
                <a:cubicBezTo>
                  <a:pt x="1614067" y="155632"/>
                  <a:pt x="1590667" y="180120"/>
                  <a:pt x="1560738" y="179576"/>
                </a:cubicBezTo>
                <a:cubicBezTo>
                  <a:pt x="1530808" y="179576"/>
                  <a:pt x="1507953" y="156176"/>
                  <a:pt x="1507409" y="126247"/>
                </a:cubicBezTo>
                <a:cubicBezTo>
                  <a:pt x="1506864" y="96861"/>
                  <a:pt x="1532441" y="72373"/>
                  <a:pt x="1561282" y="72373"/>
                </a:cubicBezTo>
                <a:close/>
                <a:moveTo>
                  <a:pt x="10381" y="33737"/>
                </a:moveTo>
                <a:cubicBezTo>
                  <a:pt x="15822" y="33737"/>
                  <a:pt x="20720" y="39179"/>
                  <a:pt x="20720" y="45165"/>
                </a:cubicBezTo>
                <a:cubicBezTo>
                  <a:pt x="20176" y="50606"/>
                  <a:pt x="14734" y="55504"/>
                  <a:pt x="9292" y="54960"/>
                </a:cubicBezTo>
                <a:cubicBezTo>
                  <a:pt x="4395" y="54416"/>
                  <a:pt x="41" y="49518"/>
                  <a:pt x="41" y="44621"/>
                </a:cubicBezTo>
                <a:cubicBezTo>
                  <a:pt x="-503" y="38635"/>
                  <a:pt x="4395" y="33737"/>
                  <a:pt x="10381" y="33737"/>
                </a:cubicBezTo>
                <a:close/>
                <a:moveTo>
                  <a:pt x="172546" y="23942"/>
                </a:moveTo>
                <a:cubicBezTo>
                  <a:pt x="181796" y="22854"/>
                  <a:pt x="193224" y="34826"/>
                  <a:pt x="193224" y="44621"/>
                </a:cubicBezTo>
                <a:cubicBezTo>
                  <a:pt x="193224" y="53872"/>
                  <a:pt x="182341" y="64755"/>
                  <a:pt x="173090" y="64755"/>
                </a:cubicBezTo>
                <a:cubicBezTo>
                  <a:pt x="164383" y="64755"/>
                  <a:pt x="152411" y="52784"/>
                  <a:pt x="152411" y="44621"/>
                </a:cubicBezTo>
                <a:cubicBezTo>
                  <a:pt x="152411" y="36458"/>
                  <a:pt x="164927" y="24486"/>
                  <a:pt x="172546" y="23942"/>
                </a:cubicBezTo>
                <a:close/>
                <a:moveTo>
                  <a:pt x="1861123" y="22132"/>
                </a:moveTo>
                <a:cubicBezTo>
                  <a:pt x="1861123" y="26485"/>
                  <a:pt x="1860035" y="31383"/>
                  <a:pt x="1861123" y="35737"/>
                </a:cubicBezTo>
                <a:cubicBezTo>
                  <a:pt x="1863844" y="44443"/>
                  <a:pt x="1864932" y="52606"/>
                  <a:pt x="1861123" y="61313"/>
                </a:cubicBezTo>
                <a:cubicBezTo>
                  <a:pt x="1860035" y="64034"/>
                  <a:pt x="1860035" y="67299"/>
                  <a:pt x="1858946" y="72740"/>
                </a:cubicBezTo>
                <a:cubicBezTo>
                  <a:pt x="1858402" y="76550"/>
                  <a:pt x="1861123" y="77638"/>
                  <a:pt x="1866021" y="76550"/>
                </a:cubicBezTo>
                <a:cubicBezTo>
                  <a:pt x="1868741" y="76006"/>
                  <a:pt x="1871462" y="76006"/>
                  <a:pt x="1873639" y="74917"/>
                </a:cubicBezTo>
                <a:cubicBezTo>
                  <a:pt x="1882346" y="71108"/>
                  <a:pt x="1891053" y="71108"/>
                  <a:pt x="1900304" y="74373"/>
                </a:cubicBezTo>
                <a:cubicBezTo>
                  <a:pt x="1902480" y="75461"/>
                  <a:pt x="1905201" y="76006"/>
                  <a:pt x="1907922" y="76006"/>
                </a:cubicBezTo>
                <a:cubicBezTo>
                  <a:pt x="1912276" y="76550"/>
                  <a:pt x="1914996" y="75461"/>
                  <a:pt x="1912820" y="70020"/>
                </a:cubicBezTo>
                <a:cubicBezTo>
                  <a:pt x="1907378" y="55871"/>
                  <a:pt x="1906834" y="41178"/>
                  <a:pt x="1912820" y="27030"/>
                </a:cubicBezTo>
                <a:cubicBezTo>
                  <a:pt x="1914996" y="22132"/>
                  <a:pt x="1911731" y="21588"/>
                  <a:pt x="1908466" y="22132"/>
                </a:cubicBezTo>
                <a:cubicBezTo>
                  <a:pt x="1906290" y="22676"/>
                  <a:pt x="1904657" y="24309"/>
                  <a:pt x="1902480" y="24309"/>
                </a:cubicBezTo>
                <a:cubicBezTo>
                  <a:pt x="1892685" y="24309"/>
                  <a:pt x="1882890" y="24853"/>
                  <a:pt x="1873095" y="24309"/>
                </a:cubicBezTo>
                <a:cubicBezTo>
                  <a:pt x="1868741" y="24309"/>
                  <a:pt x="1864932" y="22676"/>
                  <a:pt x="1861123" y="22132"/>
                </a:cubicBezTo>
                <a:close/>
                <a:moveTo>
                  <a:pt x="336886" y="17412"/>
                </a:moveTo>
                <a:cubicBezTo>
                  <a:pt x="347770" y="17412"/>
                  <a:pt x="363551" y="31016"/>
                  <a:pt x="363007" y="44077"/>
                </a:cubicBezTo>
                <a:cubicBezTo>
                  <a:pt x="363007" y="57681"/>
                  <a:pt x="350491" y="70741"/>
                  <a:pt x="337431" y="71285"/>
                </a:cubicBezTo>
                <a:cubicBezTo>
                  <a:pt x="324370" y="71830"/>
                  <a:pt x="310766" y="58769"/>
                  <a:pt x="310222" y="45165"/>
                </a:cubicBezTo>
                <a:cubicBezTo>
                  <a:pt x="309678" y="31016"/>
                  <a:pt x="323282" y="17956"/>
                  <a:pt x="336886" y="17412"/>
                </a:cubicBezTo>
                <a:close/>
                <a:moveTo>
                  <a:pt x="498507" y="13059"/>
                </a:moveTo>
                <a:cubicBezTo>
                  <a:pt x="514832" y="11970"/>
                  <a:pt x="531702" y="28296"/>
                  <a:pt x="531702" y="44621"/>
                </a:cubicBezTo>
                <a:cubicBezTo>
                  <a:pt x="531702" y="60402"/>
                  <a:pt x="515376" y="76183"/>
                  <a:pt x="499595" y="76727"/>
                </a:cubicBezTo>
                <a:cubicBezTo>
                  <a:pt x="483270" y="76727"/>
                  <a:pt x="467489" y="61490"/>
                  <a:pt x="467489" y="45165"/>
                </a:cubicBezTo>
                <a:cubicBezTo>
                  <a:pt x="467489" y="28840"/>
                  <a:pt x="482182" y="13059"/>
                  <a:pt x="498507" y="13059"/>
                </a:cubicBezTo>
                <a:close/>
                <a:moveTo>
                  <a:pt x="662303" y="7616"/>
                </a:moveTo>
                <a:cubicBezTo>
                  <a:pt x="680805" y="7072"/>
                  <a:pt x="698763" y="25030"/>
                  <a:pt x="698763" y="44076"/>
                </a:cubicBezTo>
                <a:cubicBezTo>
                  <a:pt x="698763" y="62578"/>
                  <a:pt x="680261" y="81624"/>
                  <a:pt x="662303" y="81080"/>
                </a:cubicBezTo>
                <a:cubicBezTo>
                  <a:pt x="644346" y="80536"/>
                  <a:pt x="626932" y="62578"/>
                  <a:pt x="626932" y="44076"/>
                </a:cubicBezTo>
                <a:cubicBezTo>
                  <a:pt x="626932" y="25574"/>
                  <a:pt x="643257" y="8160"/>
                  <a:pt x="662303" y="7616"/>
                </a:cubicBezTo>
                <a:close/>
                <a:moveTo>
                  <a:pt x="825557" y="5440"/>
                </a:moveTo>
                <a:cubicBezTo>
                  <a:pt x="847868" y="5440"/>
                  <a:pt x="865281" y="23942"/>
                  <a:pt x="865281" y="44621"/>
                </a:cubicBezTo>
                <a:cubicBezTo>
                  <a:pt x="865281" y="63667"/>
                  <a:pt x="847324" y="85978"/>
                  <a:pt x="826101" y="83257"/>
                </a:cubicBezTo>
                <a:cubicBezTo>
                  <a:pt x="805422" y="85978"/>
                  <a:pt x="786920" y="64211"/>
                  <a:pt x="786920" y="44621"/>
                </a:cubicBezTo>
                <a:cubicBezTo>
                  <a:pt x="786920" y="22854"/>
                  <a:pt x="805422" y="5440"/>
                  <a:pt x="825557" y="5440"/>
                </a:cubicBezTo>
                <a:close/>
                <a:moveTo>
                  <a:pt x="989353" y="1086"/>
                </a:moveTo>
                <a:cubicBezTo>
                  <a:pt x="1013297" y="1086"/>
                  <a:pt x="1032343" y="21220"/>
                  <a:pt x="1032343" y="43532"/>
                </a:cubicBezTo>
                <a:cubicBezTo>
                  <a:pt x="1032887" y="66931"/>
                  <a:pt x="1012753" y="88698"/>
                  <a:pt x="989897" y="87610"/>
                </a:cubicBezTo>
                <a:cubicBezTo>
                  <a:pt x="967042" y="88698"/>
                  <a:pt x="945819" y="65843"/>
                  <a:pt x="945819" y="44620"/>
                </a:cubicBezTo>
                <a:cubicBezTo>
                  <a:pt x="945819" y="23941"/>
                  <a:pt x="964321" y="1086"/>
                  <a:pt x="989353" y="1086"/>
                </a:cubicBezTo>
                <a:close/>
                <a:moveTo>
                  <a:pt x="1614056" y="0"/>
                </a:moveTo>
                <a:lnTo>
                  <a:pt x="1675529" y="0"/>
                </a:lnTo>
                <a:lnTo>
                  <a:pt x="1682905" y="4720"/>
                </a:lnTo>
                <a:lnTo>
                  <a:pt x="1933639" y="4720"/>
                </a:lnTo>
                <a:cubicBezTo>
                  <a:pt x="1966059" y="4720"/>
                  <a:pt x="1995409" y="17861"/>
                  <a:pt x="2016655" y="39107"/>
                </a:cubicBezTo>
                <a:lnTo>
                  <a:pt x="2028934" y="57318"/>
                </a:lnTo>
                <a:lnTo>
                  <a:pt x="2026008" y="71108"/>
                </a:lnTo>
                <a:cubicBezTo>
                  <a:pt x="2023832" y="74917"/>
                  <a:pt x="2026552" y="77094"/>
                  <a:pt x="2030906" y="75461"/>
                </a:cubicBezTo>
                <a:lnTo>
                  <a:pt x="2039929" y="73627"/>
                </a:lnTo>
                <a:lnTo>
                  <a:pt x="2041815" y="76424"/>
                </a:lnTo>
                <a:cubicBezTo>
                  <a:pt x="2047756" y="90470"/>
                  <a:pt x="2051041" y="105912"/>
                  <a:pt x="2051041" y="122122"/>
                </a:cubicBezTo>
                <a:lnTo>
                  <a:pt x="2051041" y="186473"/>
                </a:lnTo>
                <a:lnTo>
                  <a:pt x="2029818" y="186473"/>
                </a:lnTo>
                <a:cubicBezTo>
                  <a:pt x="2023832" y="184297"/>
                  <a:pt x="2022743" y="185929"/>
                  <a:pt x="2023287" y="192459"/>
                </a:cubicBezTo>
                <a:cubicBezTo>
                  <a:pt x="2023287" y="193548"/>
                  <a:pt x="2023287" y="195180"/>
                  <a:pt x="2023832" y="196268"/>
                </a:cubicBezTo>
                <a:cubicBezTo>
                  <a:pt x="2028185" y="210961"/>
                  <a:pt x="2026008" y="225110"/>
                  <a:pt x="2019478" y="239258"/>
                </a:cubicBezTo>
                <a:cubicBezTo>
                  <a:pt x="2018934" y="240347"/>
                  <a:pt x="2019478" y="241979"/>
                  <a:pt x="2020022" y="242523"/>
                </a:cubicBezTo>
                <a:cubicBezTo>
                  <a:pt x="2020566" y="243067"/>
                  <a:pt x="2022743" y="243612"/>
                  <a:pt x="2023287" y="243067"/>
                </a:cubicBezTo>
                <a:cubicBezTo>
                  <a:pt x="2032266" y="238986"/>
                  <a:pt x="2041245" y="237082"/>
                  <a:pt x="2050224" y="237150"/>
                </a:cubicBezTo>
                <a:lnTo>
                  <a:pt x="2051041" y="237329"/>
                </a:lnTo>
                <a:lnTo>
                  <a:pt x="2051041" y="348996"/>
                </a:lnTo>
                <a:lnTo>
                  <a:pt x="2036552" y="347754"/>
                </a:lnTo>
                <a:cubicBezTo>
                  <a:pt x="2031178" y="346733"/>
                  <a:pt x="2026009" y="344829"/>
                  <a:pt x="2021111" y="341019"/>
                </a:cubicBezTo>
                <a:cubicBezTo>
                  <a:pt x="2020022" y="339931"/>
                  <a:pt x="2018390" y="339387"/>
                  <a:pt x="2016757" y="338842"/>
                </a:cubicBezTo>
                <a:cubicBezTo>
                  <a:pt x="2016757" y="340475"/>
                  <a:pt x="2016757" y="343196"/>
                  <a:pt x="2017301" y="344284"/>
                </a:cubicBezTo>
                <a:cubicBezTo>
                  <a:pt x="2022743" y="354079"/>
                  <a:pt x="2026008" y="364419"/>
                  <a:pt x="2025464" y="376391"/>
                </a:cubicBezTo>
                <a:cubicBezTo>
                  <a:pt x="2024376" y="398702"/>
                  <a:pt x="2014580" y="413939"/>
                  <a:pt x="1994446" y="424278"/>
                </a:cubicBezTo>
                <a:cubicBezTo>
                  <a:pt x="1972135" y="435706"/>
                  <a:pt x="1950912" y="431352"/>
                  <a:pt x="1933498" y="416115"/>
                </a:cubicBezTo>
                <a:cubicBezTo>
                  <a:pt x="1917173" y="401967"/>
                  <a:pt x="1908466" y="378567"/>
                  <a:pt x="1920438" y="352447"/>
                </a:cubicBezTo>
                <a:cubicBezTo>
                  <a:pt x="1922615" y="348093"/>
                  <a:pt x="1923703" y="343196"/>
                  <a:pt x="1925336" y="338298"/>
                </a:cubicBezTo>
                <a:cubicBezTo>
                  <a:pt x="1920982" y="339931"/>
                  <a:pt x="1916085" y="341563"/>
                  <a:pt x="1911731" y="343196"/>
                </a:cubicBezTo>
                <a:cubicBezTo>
                  <a:pt x="1907378" y="344828"/>
                  <a:pt x="1903024" y="347005"/>
                  <a:pt x="1898671" y="347005"/>
                </a:cubicBezTo>
                <a:cubicBezTo>
                  <a:pt x="1882890" y="348638"/>
                  <a:pt x="1867653" y="348638"/>
                  <a:pt x="1854593" y="336666"/>
                </a:cubicBezTo>
                <a:lnTo>
                  <a:pt x="1847690" y="333480"/>
                </a:lnTo>
                <a:lnTo>
                  <a:pt x="1852961" y="344461"/>
                </a:lnTo>
                <a:cubicBezTo>
                  <a:pt x="1868742" y="372214"/>
                  <a:pt x="1855137" y="408674"/>
                  <a:pt x="1826840" y="420646"/>
                </a:cubicBezTo>
                <a:cubicBezTo>
                  <a:pt x="1803441" y="430985"/>
                  <a:pt x="1777864" y="422278"/>
                  <a:pt x="1765893" y="408130"/>
                </a:cubicBezTo>
                <a:cubicBezTo>
                  <a:pt x="1749567" y="388539"/>
                  <a:pt x="1744126" y="368405"/>
                  <a:pt x="1759362" y="342829"/>
                </a:cubicBezTo>
                <a:cubicBezTo>
                  <a:pt x="1771199" y="322422"/>
                  <a:pt x="1795584" y="313341"/>
                  <a:pt x="1815991" y="317193"/>
                </a:cubicBezTo>
                <a:cubicBezTo>
                  <a:pt x="1822793" y="318477"/>
                  <a:pt x="1829153" y="321198"/>
                  <a:pt x="1834459" y="325415"/>
                </a:cubicBezTo>
                <a:lnTo>
                  <a:pt x="1845023" y="330169"/>
                </a:lnTo>
                <a:lnTo>
                  <a:pt x="1840444" y="321429"/>
                </a:lnTo>
                <a:cubicBezTo>
                  <a:pt x="1831193" y="306736"/>
                  <a:pt x="1832282" y="290955"/>
                  <a:pt x="1834458" y="275174"/>
                </a:cubicBezTo>
                <a:cubicBezTo>
                  <a:pt x="1835002" y="269732"/>
                  <a:pt x="1838812" y="265379"/>
                  <a:pt x="1840988" y="259937"/>
                </a:cubicBezTo>
                <a:cubicBezTo>
                  <a:pt x="1841533" y="258849"/>
                  <a:pt x="1842077" y="257216"/>
                  <a:pt x="1842077" y="255584"/>
                </a:cubicBezTo>
                <a:cubicBezTo>
                  <a:pt x="1840444" y="256128"/>
                  <a:pt x="1838812" y="256672"/>
                  <a:pt x="1837723" y="257216"/>
                </a:cubicBezTo>
                <a:cubicBezTo>
                  <a:pt x="1831193" y="259937"/>
                  <a:pt x="1824663" y="263746"/>
                  <a:pt x="1817589" y="264834"/>
                </a:cubicBezTo>
                <a:cubicBezTo>
                  <a:pt x="1799631" y="268100"/>
                  <a:pt x="1782762" y="264290"/>
                  <a:pt x="1768069" y="251774"/>
                </a:cubicBezTo>
                <a:lnTo>
                  <a:pt x="1764740" y="250110"/>
                </a:lnTo>
                <a:lnTo>
                  <a:pt x="1773510" y="267189"/>
                </a:lnTo>
                <a:cubicBezTo>
                  <a:pt x="1786571" y="292765"/>
                  <a:pt x="1773510" y="323239"/>
                  <a:pt x="1750655" y="336843"/>
                </a:cubicBezTo>
                <a:cubicBezTo>
                  <a:pt x="1721270" y="354257"/>
                  <a:pt x="1685354" y="337388"/>
                  <a:pt x="1673926" y="310723"/>
                </a:cubicBezTo>
                <a:cubicBezTo>
                  <a:pt x="1664675" y="289500"/>
                  <a:pt x="1669029" y="271542"/>
                  <a:pt x="1681545" y="254673"/>
                </a:cubicBezTo>
                <a:cubicBezTo>
                  <a:pt x="1694605" y="237803"/>
                  <a:pt x="1712563" y="231817"/>
                  <a:pt x="1733786" y="235083"/>
                </a:cubicBezTo>
                <a:cubicBezTo>
                  <a:pt x="1739771" y="236171"/>
                  <a:pt x="1745757" y="239980"/>
                  <a:pt x="1751743" y="242157"/>
                </a:cubicBezTo>
                <a:lnTo>
                  <a:pt x="1762506" y="246769"/>
                </a:lnTo>
                <a:lnTo>
                  <a:pt x="1757185" y="236537"/>
                </a:lnTo>
                <a:cubicBezTo>
                  <a:pt x="1747934" y="219668"/>
                  <a:pt x="1747390" y="203343"/>
                  <a:pt x="1756097" y="185929"/>
                </a:cubicBezTo>
                <a:cubicBezTo>
                  <a:pt x="1757185" y="183752"/>
                  <a:pt x="1756641" y="180487"/>
                  <a:pt x="1757185" y="177766"/>
                </a:cubicBezTo>
                <a:cubicBezTo>
                  <a:pt x="1754464" y="177766"/>
                  <a:pt x="1751199" y="177222"/>
                  <a:pt x="1749023" y="178311"/>
                </a:cubicBezTo>
                <a:cubicBezTo>
                  <a:pt x="1722358" y="193003"/>
                  <a:pt x="1688075" y="178855"/>
                  <a:pt x="1676103" y="154911"/>
                </a:cubicBezTo>
                <a:cubicBezTo>
                  <a:pt x="1665220" y="133688"/>
                  <a:pt x="1667396" y="113554"/>
                  <a:pt x="1681001" y="94507"/>
                </a:cubicBezTo>
                <a:lnTo>
                  <a:pt x="1685681" y="85147"/>
                </a:lnTo>
                <a:lnTo>
                  <a:pt x="1693517" y="82536"/>
                </a:lnTo>
                <a:cubicBezTo>
                  <a:pt x="1710930" y="71108"/>
                  <a:pt x="1728888" y="71108"/>
                  <a:pt x="1747934" y="77638"/>
                </a:cubicBezTo>
                <a:cubicBezTo>
                  <a:pt x="1750655" y="78726"/>
                  <a:pt x="1753920" y="78726"/>
                  <a:pt x="1756641" y="79271"/>
                </a:cubicBezTo>
                <a:cubicBezTo>
                  <a:pt x="1756097" y="76550"/>
                  <a:pt x="1755553" y="74373"/>
                  <a:pt x="1754464" y="71652"/>
                </a:cubicBezTo>
                <a:cubicBezTo>
                  <a:pt x="1753920" y="70564"/>
                  <a:pt x="1753376" y="69475"/>
                  <a:pt x="1752832" y="68387"/>
                </a:cubicBezTo>
                <a:cubicBezTo>
                  <a:pt x="1747934" y="52062"/>
                  <a:pt x="1747390" y="35737"/>
                  <a:pt x="1756097" y="20500"/>
                </a:cubicBezTo>
                <a:cubicBezTo>
                  <a:pt x="1756641" y="19411"/>
                  <a:pt x="1757185" y="16690"/>
                  <a:pt x="1756641" y="16146"/>
                </a:cubicBezTo>
                <a:cubicBezTo>
                  <a:pt x="1755553" y="15058"/>
                  <a:pt x="1753376" y="14514"/>
                  <a:pt x="1751744" y="15058"/>
                </a:cubicBezTo>
                <a:cubicBezTo>
                  <a:pt x="1747934" y="16146"/>
                  <a:pt x="1744669" y="19411"/>
                  <a:pt x="1741404" y="19955"/>
                </a:cubicBezTo>
                <a:cubicBezTo>
                  <a:pt x="1724535" y="21588"/>
                  <a:pt x="1707121" y="23765"/>
                  <a:pt x="1691884" y="11249"/>
                </a:cubicBezTo>
                <a:lnTo>
                  <a:pt x="1685645" y="8369"/>
                </a:lnTo>
                <a:lnTo>
                  <a:pt x="1688620" y="14691"/>
                </a:lnTo>
                <a:cubicBezTo>
                  <a:pt x="1700048" y="32648"/>
                  <a:pt x="1700048" y="50606"/>
                  <a:pt x="1691885" y="69652"/>
                </a:cubicBezTo>
                <a:lnTo>
                  <a:pt x="1684469" y="82365"/>
                </a:lnTo>
                <a:lnTo>
                  <a:pt x="1663044" y="94684"/>
                </a:lnTo>
                <a:cubicBezTo>
                  <a:pt x="1651072" y="101759"/>
                  <a:pt x="1638556" y="100126"/>
                  <a:pt x="1626584" y="96861"/>
                </a:cubicBezTo>
                <a:cubicBezTo>
                  <a:pt x="1608082" y="91419"/>
                  <a:pt x="1595566" y="78359"/>
                  <a:pt x="1590124" y="60401"/>
                </a:cubicBezTo>
                <a:cubicBezTo>
                  <a:pt x="1586315" y="48974"/>
                  <a:pt x="1586315" y="37002"/>
                  <a:pt x="1591757" y="25030"/>
                </a:cubicBezTo>
                <a:close/>
                <a:moveTo>
                  <a:pt x="1460066" y="0"/>
                </a:moveTo>
                <a:lnTo>
                  <a:pt x="1498513" y="0"/>
                </a:lnTo>
                <a:lnTo>
                  <a:pt x="1517204" y="8092"/>
                </a:lnTo>
                <a:cubicBezTo>
                  <a:pt x="1526183" y="17411"/>
                  <a:pt x="1531352" y="30199"/>
                  <a:pt x="1531896" y="45164"/>
                </a:cubicBezTo>
                <a:cubicBezTo>
                  <a:pt x="1532985" y="71829"/>
                  <a:pt x="1505776" y="97949"/>
                  <a:pt x="1479111" y="97949"/>
                </a:cubicBezTo>
                <a:cubicBezTo>
                  <a:pt x="1451902" y="97949"/>
                  <a:pt x="1425238" y="71829"/>
                  <a:pt x="1426870" y="45164"/>
                </a:cubicBezTo>
                <a:cubicBezTo>
                  <a:pt x="1427687" y="29655"/>
                  <a:pt x="1432720" y="16867"/>
                  <a:pt x="1441631" y="7684"/>
                </a:cubicBezTo>
                <a:close/>
                <a:moveTo>
                  <a:pt x="1296749" y="0"/>
                </a:moveTo>
                <a:lnTo>
                  <a:pt x="1335755" y="0"/>
                </a:lnTo>
                <a:lnTo>
                  <a:pt x="1350278" y="10270"/>
                </a:lnTo>
                <a:cubicBezTo>
                  <a:pt x="1359937" y="19861"/>
                  <a:pt x="1366467" y="32649"/>
                  <a:pt x="1365923" y="45165"/>
                </a:cubicBezTo>
                <a:cubicBezTo>
                  <a:pt x="1364291" y="71829"/>
                  <a:pt x="1343068" y="93052"/>
                  <a:pt x="1315315" y="93052"/>
                </a:cubicBezTo>
                <a:cubicBezTo>
                  <a:pt x="1290283" y="95229"/>
                  <a:pt x="1266339" y="69109"/>
                  <a:pt x="1266339" y="44076"/>
                </a:cubicBezTo>
                <a:cubicBezTo>
                  <a:pt x="1266339" y="30472"/>
                  <a:pt x="1273141" y="18228"/>
                  <a:pt x="1282732" y="9317"/>
                </a:cubicBezTo>
                <a:close/>
                <a:moveTo>
                  <a:pt x="1148085" y="0"/>
                </a:moveTo>
                <a:lnTo>
                  <a:pt x="1161802" y="0"/>
                </a:lnTo>
                <a:lnTo>
                  <a:pt x="1169637" y="1315"/>
                </a:lnTo>
                <a:cubicBezTo>
                  <a:pt x="1186447" y="8432"/>
                  <a:pt x="1199813" y="26798"/>
                  <a:pt x="1199405" y="45164"/>
                </a:cubicBezTo>
                <a:cubicBezTo>
                  <a:pt x="1198861" y="69652"/>
                  <a:pt x="1175462" y="93596"/>
                  <a:pt x="1151518" y="91419"/>
                </a:cubicBezTo>
                <a:cubicBezTo>
                  <a:pt x="1123765" y="88154"/>
                  <a:pt x="1109072" y="72373"/>
                  <a:pt x="1105807" y="44620"/>
                </a:cubicBezTo>
                <a:cubicBezTo>
                  <a:pt x="1107440" y="30472"/>
                  <a:pt x="1111657" y="19588"/>
                  <a:pt x="1119139" y="11902"/>
                </a:cubicBezTo>
                <a:close/>
              </a:path>
            </a:pathLst>
          </a:custGeom>
          <a:solidFill>
            <a:srgbClr val="9AA8C5">
              <a:alpha val="17000"/>
            </a:srgbClr>
          </a:solidFill>
          <a:ln w="5432" cap="flat">
            <a:noFill/>
            <a:prstDash val="solid"/>
            <a:miter/>
          </a:ln>
        </p:spPr>
        <p:txBody>
          <a:bodyPr rtlCol="0" anchor="ctr"/>
          <a:lstStyle/>
          <a:p>
            <a:endParaRPr lang="en-IN"/>
          </a:p>
        </p:txBody>
      </p:sp>
    </p:spTree>
    <p:extLst>
      <p:ext uri="{BB962C8B-B14F-4D97-AF65-F5344CB8AC3E}">
        <p14:creationId xmlns:p14="http://schemas.microsoft.com/office/powerpoint/2010/main" val="47051887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1_Content with Caption">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7CE9BDE9-691F-DA4C-988D-81409C76D5A4}"/>
              </a:ext>
            </a:extLst>
          </p:cNvPr>
          <p:cNvSpPr>
            <a:spLocks noGrp="1"/>
          </p:cNvSpPr>
          <p:nvPr>
            <p:ph type="body" sz="half" idx="2"/>
          </p:nvPr>
        </p:nvSpPr>
        <p:spPr>
          <a:xfrm>
            <a:off x="389061" y="1328531"/>
            <a:ext cx="10384956" cy="3811588"/>
          </a:xfrm>
          <a:prstGeom prst="rect">
            <a:avLst/>
          </a:prstGeom>
        </p:spPr>
        <p:txBody>
          <a:bodyPr/>
          <a:lstStyle>
            <a:lvl1pPr marL="285750" indent="-285750">
              <a:buClr>
                <a:srgbClr val="004582"/>
              </a:buClr>
              <a:buFont typeface="Arial" panose="020B0604020202020204" pitchFamily="34" charset="0"/>
              <a:buChar char="•"/>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9" name="Title 11">
            <a:extLst>
              <a:ext uri="{FF2B5EF4-FFF2-40B4-BE49-F238E27FC236}">
                <a16:creationId xmlns:a16="http://schemas.microsoft.com/office/drawing/2014/main" id="{A026BE90-548D-7545-8499-A23D5CF132ED}"/>
              </a:ext>
            </a:extLst>
          </p:cNvPr>
          <p:cNvSpPr>
            <a:spLocks noGrp="1"/>
          </p:cNvSpPr>
          <p:nvPr>
            <p:ph type="title" hasCustomPrompt="1"/>
          </p:nvPr>
        </p:nvSpPr>
        <p:spPr>
          <a:xfrm>
            <a:off x="374011" y="185817"/>
            <a:ext cx="10515600" cy="608663"/>
          </a:xfrm>
          <a:prstGeom prst="rect">
            <a:avLst/>
          </a:prstGeom>
        </p:spPr>
        <p:txBody>
          <a:bodyPr/>
          <a:lstStyle>
            <a:lvl1pPr>
              <a:defRPr sz="2600" b="1">
                <a:solidFill>
                  <a:srgbClr val="334D8B"/>
                </a:solidFill>
                <a:latin typeface="+mn-lt"/>
              </a:defRPr>
            </a:lvl1pPr>
          </a:lstStyle>
          <a:p>
            <a:r>
              <a:rPr lang="en-US"/>
              <a:t>Write your Heading here</a:t>
            </a:r>
          </a:p>
        </p:txBody>
      </p:sp>
      <p:sp>
        <p:nvSpPr>
          <p:cNvPr id="12" name="Slide Number Placeholder 5">
            <a:extLst>
              <a:ext uri="{FF2B5EF4-FFF2-40B4-BE49-F238E27FC236}">
                <a16:creationId xmlns:a16="http://schemas.microsoft.com/office/drawing/2014/main" id="{E614BEC8-F3F1-4E17-9F05-F00563F2B2E2}"/>
              </a:ext>
            </a:extLst>
          </p:cNvPr>
          <p:cNvSpPr txBox="1">
            <a:spLocks/>
          </p:cNvSpPr>
          <p:nvPr userDrawn="1"/>
        </p:nvSpPr>
        <p:spPr>
          <a:xfrm>
            <a:off x="11373135" y="6506785"/>
            <a:ext cx="609600" cy="261610"/>
          </a:xfrm>
          <a:prstGeom prst="rect">
            <a:avLst/>
          </a:prstGeom>
          <a:noFill/>
        </p:spPr>
        <p:txBody>
          <a:bodyPr>
            <a:spAutoFit/>
          </a:bodyPr>
          <a:lstStyle>
            <a:defPPr>
              <a:defRPr lang="en-US"/>
            </a:defPPr>
            <a:lvl1pPr marL="0" algn="ctr" defTabSz="914400" rtl="0" eaLnBrk="1" latinLnBrk="0" hangingPunct="1">
              <a:defRPr lang="en-US" sz="1800" kern="1200" smtClean="0">
                <a:solidFill>
                  <a:schemeClr val="bg1"/>
                </a:solidFill>
                <a:latin typeface="Tahoma" pitchFamily="34" charset="0"/>
                <a:ea typeface="Tahoma" pitchFamily="34" charset="0"/>
                <a:cs typeface="Tahoma"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fld id="{3413C1ED-5599-4BB6-878F-244F2E6B8E4A}" type="slidenum">
              <a:rPr lang="en-IN" sz="1100">
                <a:solidFill>
                  <a:prstClr val="black">
                    <a:lumMod val="50000"/>
                    <a:lumOff val="50000"/>
                  </a:prstClr>
                </a:solidFill>
              </a:rPr>
              <a:pPr fontAlgn="auto">
                <a:spcBef>
                  <a:spcPts val="0"/>
                </a:spcBef>
                <a:spcAft>
                  <a:spcPts val="0"/>
                </a:spcAft>
                <a:defRPr/>
              </a:pPr>
              <a:t>‹#›</a:t>
            </a:fld>
            <a:endParaRPr lang="en-IN" sz="1100">
              <a:solidFill>
                <a:prstClr val="black">
                  <a:lumMod val="50000"/>
                  <a:lumOff val="50000"/>
                </a:prstClr>
              </a:solidFill>
            </a:endParaRPr>
          </a:p>
        </p:txBody>
      </p:sp>
      <p:pic>
        <p:nvPicPr>
          <p:cNvPr id="13" name="Picture 12">
            <a:extLst>
              <a:ext uri="{FF2B5EF4-FFF2-40B4-BE49-F238E27FC236}">
                <a16:creationId xmlns:a16="http://schemas.microsoft.com/office/drawing/2014/main" id="{0B8A0809-7E73-4DFB-ACB9-511CA66736AC}"/>
              </a:ext>
            </a:extLst>
          </p:cNvPr>
          <p:cNvPicPr>
            <a:picLocks noChangeAspect="1"/>
          </p:cNvPicPr>
          <p:nvPr userDrawn="1"/>
        </p:nvPicPr>
        <p:blipFill>
          <a:blip r:embed="rId2"/>
          <a:stretch>
            <a:fillRect/>
          </a:stretch>
        </p:blipFill>
        <p:spPr>
          <a:xfrm>
            <a:off x="464908" y="6506785"/>
            <a:ext cx="1148260" cy="138938"/>
          </a:xfrm>
          <a:prstGeom prst="rect">
            <a:avLst/>
          </a:prstGeom>
        </p:spPr>
      </p:pic>
      <p:sp>
        <p:nvSpPr>
          <p:cNvPr id="14" name="Freeform: Shape 14">
            <a:extLst>
              <a:ext uri="{FF2B5EF4-FFF2-40B4-BE49-F238E27FC236}">
                <a16:creationId xmlns:a16="http://schemas.microsoft.com/office/drawing/2014/main" id="{B85C1611-6E9A-4819-85C5-7EF6E52BF6EC}"/>
              </a:ext>
            </a:extLst>
          </p:cNvPr>
          <p:cNvSpPr/>
          <p:nvPr userDrawn="1"/>
        </p:nvSpPr>
        <p:spPr>
          <a:xfrm rot="5400000" flipH="1">
            <a:off x="10650813" y="-6388"/>
            <a:ext cx="1528833" cy="1553542"/>
          </a:xfrm>
          <a:custGeom>
            <a:avLst/>
            <a:gdLst>
              <a:gd name="connsiteX0" fmla="*/ 2051041 w 2051041"/>
              <a:gd name="connsiteY0" fmla="*/ 2080382 h 2084191"/>
              <a:gd name="connsiteX1" fmla="*/ 2051041 w 2051041"/>
              <a:gd name="connsiteY1" fmla="*/ 2083967 h 2084191"/>
              <a:gd name="connsiteX2" fmla="*/ 2047231 w 2051041"/>
              <a:gd name="connsiteY2" fmla="*/ 2084191 h 2084191"/>
              <a:gd name="connsiteX3" fmla="*/ 2045599 w 2051041"/>
              <a:gd name="connsiteY3" fmla="*/ 2081470 h 2084191"/>
              <a:gd name="connsiteX4" fmla="*/ 1478568 w 2051041"/>
              <a:gd name="connsiteY4" fmla="*/ 1997668 h 2084191"/>
              <a:gd name="connsiteX5" fmla="*/ 1484554 w 2051041"/>
              <a:gd name="connsiteY5" fmla="*/ 2004743 h 2084191"/>
              <a:gd name="connsiteX6" fmla="*/ 1478568 w 2051041"/>
              <a:gd name="connsiteY6" fmla="*/ 2009096 h 2084191"/>
              <a:gd name="connsiteX7" fmla="*/ 1473126 w 2051041"/>
              <a:gd name="connsiteY7" fmla="*/ 2003654 h 2084191"/>
              <a:gd name="connsiteX8" fmla="*/ 1478568 w 2051041"/>
              <a:gd name="connsiteY8" fmla="*/ 1997668 h 2084191"/>
              <a:gd name="connsiteX9" fmla="*/ 1641820 w 2051041"/>
              <a:gd name="connsiteY9" fmla="*/ 1993859 h 2084191"/>
              <a:gd name="connsiteX10" fmla="*/ 1652160 w 2051041"/>
              <a:gd name="connsiteY10" fmla="*/ 2003654 h 2084191"/>
              <a:gd name="connsiteX11" fmla="*/ 1641820 w 2051041"/>
              <a:gd name="connsiteY11" fmla="*/ 2013449 h 2084191"/>
              <a:gd name="connsiteX12" fmla="*/ 1632025 w 2051041"/>
              <a:gd name="connsiteY12" fmla="*/ 2003654 h 2084191"/>
              <a:gd name="connsiteX13" fmla="*/ 1641820 w 2051041"/>
              <a:gd name="connsiteY13" fmla="*/ 1993859 h 2084191"/>
              <a:gd name="connsiteX14" fmla="*/ 1969414 w 2051041"/>
              <a:gd name="connsiteY14" fmla="*/ 1992226 h 2084191"/>
              <a:gd name="connsiteX15" fmla="*/ 1979753 w 2051041"/>
              <a:gd name="connsiteY15" fmla="*/ 2003654 h 2084191"/>
              <a:gd name="connsiteX16" fmla="*/ 1968325 w 2051041"/>
              <a:gd name="connsiteY16" fmla="*/ 2014537 h 2084191"/>
              <a:gd name="connsiteX17" fmla="*/ 1957986 w 2051041"/>
              <a:gd name="connsiteY17" fmla="*/ 2003110 h 2084191"/>
              <a:gd name="connsiteX18" fmla="*/ 1969414 w 2051041"/>
              <a:gd name="connsiteY18" fmla="*/ 1992226 h 2084191"/>
              <a:gd name="connsiteX19" fmla="*/ 1805073 w 2051041"/>
              <a:gd name="connsiteY19" fmla="*/ 1992226 h 2084191"/>
              <a:gd name="connsiteX20" fmla="*/ 1815956 w 2051041"/>
              <a:gd name="connsiteY20" fmla="*/ 2002565 h 2084191"/>
              <a:gd name="connsiteX21" fmla="*/ 1805073 w 2051041"/>
              <a:gd name="connsiteY21" fmla="*/ 2014537 h 2084191"/>
              <a:gd name="connsiteX22" fmla="*/ 1794189 w 2051041"/>
              <a:gd name="connsiteY22" fmla="*/ 2004198 h 2084191"/>
              <a:gd name="connsiteX23" fmla="*/ 1805073 w 2051041"/>
              <a:gd name="connsiteY23" fmla="*/ 1992226 h 2084191"/>
              <a:gd name="connsiteX24" fmla="*/ 1234233 w 2051041"/>
              <a:gd name="connsiteY24" fmla="*/ 1916042 h 2084191"/>
              <a:gd name="connsiteX25" fmla="*/ 1240219 w 2051041"/>
              <a:gd name="connsiteY25" fmla="*/ 1923660 h 2084191"/>
              <a:gd name="connsiteX26" fmla="*/ 1236953 w 2051041"/>
              <a:gd name="connsiteY26" fmla="*/ 1926381 h 2084191"/>
              <a:gd name="connsiteX27" fmla="*/ 1229335 w 2051041"/>
              <a:gd name="connsiteY27" fmla="*/ 1918762 h 2084191"/>
              <a:gd name="connsiteX28" fmla="*/ 1234233 w 2051041"/>
              <a:gd name="connsiteY28" fmla="*/ 1916042 h 2084191"/>
              <a:gd name="connsiteX29" fmla="*/ 1397486 w 2051041"/>
              <a:gd name="connsiteY29" fmla="*/ 1911144 h 2084191"/>
              <a:gd name="connsiteX30" fmla="*/ 1408369 w 2051041"/>
              <a:gd name="connsiteY30" fmla="*/ 1921483 h 2084191"/>
              <a:gd name="connsiteX31" fmla="*/ 1399118 w 2051041"/>
              <a:gd name="connsiteY31" fmla="*/ 1931823 h 2084191"/>
              <a:gd name="connsiteX32" fmla="*/ 1387146 w 2051041"/>
              <a:gd name="connsiteY32" fmla="*/ 1922028 h 2084191"/>
              <a:gd name="connsiteX33" fmla="*/ 1397486 w 2051041"/>
              <a:gd name="connsiteY33" fmla="*/ 1911144 h 2084191"/>
              <a:gd name="connsiteX34" fmla="*/ 1560194 w 2051041"/>
              <a:gd name="connsiteY34" fmla="*/ 1906790 h 2084191"/>
              <a:gd name="connsiteX35" fmla="*/ 1574342 w 2051041"/>
              <a:gd name="connsiteY35" fmla="*/ 1921482 h 2084191"/>
              <a:gd name="connsiteX36" fmla="*/ 1560738 w 2051041"/>
              <a:gd name="connsiteY36" fmla="*/ 1935631 h 2084191"/>
              <a:gd name="connsiteX37" fmla="*/ 1547134 w 2051041"/>
              <a:gd name="connsiteY37" fmla="*/ 1922027 h 2084191"/>
              <a:gd name="connsiteX38" fmla="*/ 1560194 w 2051041"/>
              <a:gd name="connsiteY38" fmla="*/ 1906790 h 2084191"/>
              <a:gd name="connsiteX39" fmla="*/ 2049952 w 2051041"/>
              <a:gd name="connsiteY39" fmla="*/ 1905702 h 2084191"/>
              <a:gd name="connsiteX40" fmla="*/ 2051041 w 2051041"/>
              <a:gd name="connsiteY40" fmla="*/ 1906027 h 2084191"/>
              <a:gd name="connsiteX41" fmla="*/ 2051041 w 2051041"/>
              <a:gd name="connsiteY41" fmla="*/ 1938133 h 2084191"/>
              <a:gd name="connsiteX42" fmla="*/ 2050496 w 2051041"/>
              <a:gd name="connsiteY42" fmla="*/ 1938353 h 2084191"/>
              <a:gd name="connsiteX43" fmla="*/ 2034171 w 2051041"/>
              <a:gd name="connsiteY43" fmla="*/ 1922572 h 2084191"/>
              <a:gd name="connsiteX44" fmla="*/ 2049952 w 2051041"/>
              <a:gd name="connsiteY44" fmla="*/ 1905702 h 2084191"/>
              <a:gd name="connsiteX45" fmla="*/ 1723447 w 2051041"/>
              <a:gd name="connsiteY45" fmla="*/ 1905702 h 2084191"/>
              <a:gd name="connsiteX46" fmla="*/ 1739772 w 2051041"/>
              <a:gd name="connsiteY46" fmla="*/ 1920939 h 2084191"/>
              <a:gd name="connsiteX47" fmla="*/ 1724535 w 2051041"/>
              <a:gd name="connsiteY47" fmla="*/ 1937264 h 2084191"/>
              <a:gd name="connsiteX48" fmla="*/ 1708210 w 2051041"/>
              <a:gd name="connsiteY48" fmla="*/ 1922027 h 2084191"/>
              <a:gd name="connsiteX49" fmla="*/ 1723447 w 2051041"/>
              <a:gd name="connsiteY49" fmla="*/ 1905702 h 2084191"/>
              <a:gd name="connsiteX50" fmla="*/ 1887787 w 2051041"/>
              <a:gd name="connsiteY50" fmla="*/ 1905158 h 2084191"/>
              <a:gd name="connsiteX51" fmla="*/ 1904113 w 2051041"/>
              <a:gd name="connsiteY51" fmla="*/ 1922028 h 2084191"/>
              <a:gd name="connsiteX52" fmla="*/ 1886699 w 2051041"/>
              <a:gd name="connsiteY52" fmla="*/ 1937809 h 2084191"/>
              <a:gd name="connsiteX53" fmla="*/ 1870918 w 2051041"/>
              <a:gd name="connsiteY53" fmla="*/ 1921483 h 2084191"/>
              <a:gd name="connsiteX54" fmla="*/ 1887787 w 2051041"/>
              <a:gd name="connsiteY54" fmla="*/ 1905158 h 2084191"/>
              <a:gd name="connsiteX55" fmla="*/ 1152606 w 2051041"/>
              <a:gd name="connsiteY55" fmla="*/ 1831693 h 2084191"/>
              <a:gd name="connsiteX56" fmla="*/ 1161313 w 2051041"/>
              <a:gd name="connsiteY56" fmla="*/ 1839312 h 2084191"/>
              <a:gd name="connsiteX57" fmla="*/ 1153694 w 2051041"/>
              <a:gd name="connsiteY57" fmla="*/ 1852916 h 2084191"/>
              <a:gd name="connsiteX58" fmla="*/ 1144988 w 2051041"/>
              <a:gd name="connsiteY58" fmla="*/ 1841489 h 2084191"/>
              <a:gd name="connsiteX59" fmla="*/ 1152606 w 2051041"/>
              <a:gd name="connsiteY59" fmla="*/ 1831693 h 2084191"/>
              <a:gd name="connsiteX60" fmla="*/ 1315315 w 2051041"/>
              <a:gd name="connsiteY60" fmla="*/ 1825708 h 2084191"/>
              <a:gd name="connsiteX61" fmla="*/ 1330552 w 2051041"/>
              <a:gd name="connsiteY61" fmla="*/ 1840401 h 2084191"/>
              <a:gd name="connsiteX62" fmla="*/ 1316404 w 2051041"/>
              <a:gd name="connsiteY62" fmla="*/ 1854549 h 2084191"/>
              <a:gd name="connsiteX63" fmla="*/ 1301711 w 2051041"/>
              <a:gd name="connsiteY63" fmla="*/ 1840945 h 2084191"/>
              <a:gd name="connsiteX64" fmla="*/ 1315315 w 2051041"/>
              <a:gd name="connsiteY64" fmla="*/ 1825708 h 2084191"/>
              <a:gd name="connsiteX65" fmla="*/ 1479656 w 2051041"/>
              <a:gd name="connsiteY65" fmla="*/ 1822987 h 2084191"/>
              <a:gd name="connsiteX66" fmla="*/ 1495981 w 2051041"/>
              <a:gd name="connsiteY66" fmla="*/ 1840401 h 2084191"/>
              <a:gd name="connsiteX67" fmla="*/ 1478567 w 2051041"/>
              <a:gd name="connsiteY67" fmla="*/ 1856182 h 2084191"/>
              <a:gd name="connsiteX68" fmla="*/ 1462242 w 2051041"/>
              <a:gd name="connsiteY68" fmla="*/ 1839312 h 2084191"/>
              <a:gd name="connsiteX69" fmla="*/ 1479656 w 2051041"/>
              <a:gd name="connsiteY69" fmla="*/ 1822987 h 2084191"/>
              <a:gd name="connsiteX70" fmla="*/ 1642365 w 2051041"/>
              <a:gd name="connsiteY70" fmla="*/ 1821355 h 2084191"/>
              <a:gd name="connsiteX71" fmla="*/ 1660867 w 2051041"/>
              <a:gd name="connsiteY71" fmla="*/ 1840401 h 2084191"/>
              <a:gd name="connsiteX72" fmla="*/ 1642365 w 2051041"/>
              <a:gd name="connsiteY72" fmla="*/ 1857270 h 2084191"/>
              <a:gd name="connsiteX73" fmla="*/ 1624407 w 2051041"/>
              <a:gd name="connsiteY73" fmla="*/ 1839857 h 2084191"/>
              <a:gd name="connsiteX74" fmla="*/ 1642365 w 2051041"/>
              <a:gd name="connsiteY74" fmla="*/ 1821355 h 2084191"/>
              <a:gd name="connsiteX75" fmla="*/ 1806162 w 2051041"/>
              <a:gd name="connsiteY75" fmla="*/ 1819723 h 2084191"/>
              <a:gd name="connsiteX76" fmla="*/ 1826840 w 2051041"/>
              <a:gd name="connsiteY76" fmla="*/ 1840945 h 2084191"/>
              <a:gd name="connsiteX77" fmla="*/ 1804529 w 2051041"/>
              <a:gd name="connsiteY77" fmla="*/ 1861080 h 2084191"/>
              <a:gd name="connsiteX78" fmla="*/ 1784395 w 2051041"/>
              <a:gd name="connsiteY78" fmla="*/ 1839313 h 2084191"/>
              <a:gd name="connsiteX79" fmla="*/ 1806162 w 2051041"/>
              <a:gd name="connsiteY79" fmla="*/ 1819723 h 2084191"/>
              <a:gd name="connsiteX80" fmla="*/ 1968870 w 2051041"/>
              <a:gd name="connsiteY80" fmla="*/ 1819178 h 2084191"/>
              <a:gd name="connsiteX81" fmla="*/ 1990093 w 2051041"/>
              <a:gd name="connsiteY81" fmla="*/ 1840401 h 2084191"/>
              <a:gd name="connsiteX82" fmla="*/ 1968870 w 2051041"/>
              <a:gd name="connsiteY82" fmla="*/ 1861624 h 2084191"/>
              <a:gd name="connsiteX83" fmla="*/ 1947647 w 2051041"/>
              <a:gd name="connsiteY83" fmla="*/ 1840401 h 2084191"/>
              <a:gd name="connsiteX84" fmla="*/ 1968870 w 2051041"/>
              <a:gd name="connsiteY84" fmla="*/ 1819178 h 2084191"/>
              <a:gd name="connsiteX85" fmla="*/ 1070436 w 2051041"/>
              <a:gd name="connsiteY85" fmla="*/ 1747347 h 2084191"/>
              <a:gd name="connsiteX86" fmla="*/ 1081863 w 2051041"/>
              <a:gd name="connsiteY86" fmla="*/ 1758231 h 2084191"/>
              <a:gd name="connsiteX87" fmla="*/ 1070980 w 2051041"/>
              <a:gd name="connsiteY87" fmla="*/ 1769658 h 2084191"/>
              <a:gd name="connsiteX88" fmla="*/ 1059552 w 2051041"/>
              <a:gd name="connsiteY88" fmla="*/ 1758775 h 2084191"/>
              <a:gd name="connsiteX89" fmla="*/ 1070436 w 2051041"/>
              <a:gd name="connsiteY89" fmla="*/ 1747347 h 2084191"/>
              <a:gd name="connsiteX90" fmla="*/ 1233688 w 2051041"/>
              <a:gd name="connsiteY90" fmla="*/ 1742449 h 2084191"/>
              <a:gd name="connsiteX91" fmla="*/ 1250558 w 2051041"/>
              <a:gd name="connsiteY91" fmla="*/ 1758774 h 2084191"/>
              <a:gd name="connsiteX92" fmla="*/ 1233688 w 2051041"/>
              <a:gd name="connsiteY92" fmla="*/ 1775099 h 2084191"/>
              <a:gd name="connsiteX93" fmla="*/ 1217907 w 2051041"/>
              <a:gd name="connsiteY93" fmla="*/ 1759318 h 2084191"/>
              <a:gd name="connsiteX94" fmla="*/ 1233688 w 2051041"/>
              <a:gd name="connsiteY94" fmla="*/ 1742449 h 2084191"/>
              <a:gd name="connsiteX95" fmla="*/ 1399662 w 2051041"/>
              <a:gd name="connsiteY95" fmla="*/ 1739728 h 2084191"/>
              <a:gd name="connsiteX96" fmla="*/ 1417076 w 2051041"/>
              <a:gd name="connsiteY96" fmla="*/ 1760407 h 2084191"/>
              <a:gd name="connsiteX97" fmla="*/ 1396941 w 2051041"/>
              <a:gd name="connsiteY97" fmla="*/ 1779453 h 2084191"/>
              <a:gd name="connsiteX98" fmla="*/ 1377895 w 2051041"/>
              <a:gd name="connsiteY98" fmla="*/ 1757686 h 2084191"/>
              <a:gd name="connsiteX99" fmla="*/ 1399662 w 2051041"/>
              <a:gd name="connsiteY99" fmla="*/ 1739728 h 2084191"/>
              <a:gd name="connsiteX100" fmla="*/ 1723991 w 2051041"/>
              <a:gd name="connsiteY100" fmla="*/ 1735919 h 2084191"/>
              <a:gd name="connsiteX101" fmla="*/ 1746847 w 2051041"/>
              <a:gd name="connsiteY101" fmla="*/ 1758774 h 2084191"/>
              <a:gd name="connsiteX102" fmla="*/ 1723991 w 2051041"/>
              <a:gd name="connsiteY102" fmla="*/ 1781086 h 2084191"/>
              <a:gd name="connsiteX103" fmla="*/ 1701680 w 2051041"/>
              <a:gd name="connsiteY103" fmla="*/ 1758774 h 2084191"/>
              <a:gd name="connsiteX104" fmla="*/ 1723991 w 2051041"/>
              <a:gd name="connsiteY104" fmla="*/ 1735919 h 2084191"/>
              <a:gd name="connsiteX105" fmla="*/ 1560194 w 2051041"/>
              <a:gd name="connsiteY105" fmla="*/ 1735919 h 2084191"/>
              <a:gd name="connsiteX106" fmla="*/ 1582505 w 2051041"/>
              <a:gd name="connsiteY106" fmla="*/ 1758230 h 2084191"/>
              <a:gd name="connsiteX107" fmla="*/ 1560738 w 2051041"/>
              <a:gd name="connsiteY107" fmla="*/ 1779997 h 2084191"/>
              <a:gd name="connsiteX108" fmla="*/ 1538427 w 2051041"/>
              <a:gd name="connsiteY108" fmla="*/ 1758230 h 2084191"/>
              <a:gd name="connsiteX109" fmla="*/ 1560194 w 2051041"/>
              <a:gd name="connsiteY109" fmla="*/ 1735919 h 2084191"/>
              <a:gd name="connsiteX110" fmla="*/ 2051041 w 2051041"/>
              <a:gd name="connsiteY110" fmla="*/ 1734831 h 2084191"/>
              <a:gd name="connsiteX111" fmla="*/ 2051041 w 2051041"/>
              <a:gd name="connsiteY111" fmla="*/ 1781438 h 2084191"/>
              <a:gd name="connsiteX112" fmla="*/ 2050496 w 2051041"/>
              <a:gd name="connsiteY112" fmla="*/ 1781630 h 2084191"/>
              <a:gd name="connsiteX113" fmla="*/ 2027097 w 2051041"/>
              <a:gd name="connsiteY113" fmla="*/ 1758775 h 2084191"/>
              <a:gd name="connsiteX114" fmla="*/ 2051041 w 2051041"/>
              <a:gd name="connsiteY114" fmla="*/ 1734831 h 2084191"/>
              <a:gd name="connsiteX115" fmla="*/ 1887788 w 2051041"/>
              <a:gd name="connsiteY115" fmla="*/ 1734831 h 2084191"/>
              <a:gd name="connsiteX116" fmla="*/ 1910099 w 2051041"/>
              <a:gd name="connsiteY116" fmla="*/ 1758775 h 2084191"/>
              <a:gd name="connsiteX117" fmla="*/ 1886699 w 2051041"/>
              <a:gd name="connsiteY117" fmla="*/ 1781086 h 2084191"/>
              <a:gd name="connsiteX118" fmla="*/ 1863844 w 2051041"/>
              <a:gd name="connsiteY118" fmla="*/ 1757687 h 2084191"/>
              <a:gd name="connsiteX119" fmla="*/ 1887788 w 2051041"/>
              <a:gd name="connsiteY119" fmla="*/ 1734831 h 2084191"/>
              <a:gd name="connsiteX120" fmla="*/ 826100 w 2051041"/>
              <a:gd name="connsiteY120" fmla="*/ 1671706 h 2084191"/>
              <a:gd name="connsiteX121" fmla="*/ 832086 w 2051041"/>
              <a:gd name="connsiteY121" fmla="*/ 1677692 h 2084191"/>
              <a:gd name="connsiteX122" fmla="*/ 825556 w 2051041"/>
              <a:gd name="connsiteY122" fmla="*/ 1683134 h 2084191"/>
              <a:gd name="connsiteX123" fmla="*/ 820658 w 2051041"/>
              <a:gd name="connsiteY123" fmla="*/ 1676603 h 2084191"/>
              <a:gd name="connsiteX124" fmla="*/ 826100 w 2051041"/>
              <a:gd name="connsiteY124" fmla="*/ 1671706 h 2084191"/>
              <a:gd name="connsiteX125" fmla="*/ 989354 w 2051041"/>
              <a:gd name="connsiteY125" fmla="*/ 1661912 h 2084191"/>
              <a:gd name="connsiteX126" fmla="*/ 1004046 w 2051041"/>
              <a:gd name="connsiteY126" fmla="*/ 1676604 h 2084191"/>
              <a:gd name="connsiteX127" fmla="*/ 989354 w 2051041"/>
              <a:gd name="connsiteY127" fmla="*/ 1690209 h 2084191"/>
              <a:gd name="connsiteX128" fmla="*/ 975205 w 2051041"/>
              <a:gd name="connsiteY128" fmla="*/ 1677693 h 2084191"/>
              <a:gd name="connsiteX129" fmla="*/ 989354 w 2051041"/>
              <a:gd name="connsiteY129" fmla="*/ 1661912 h 2084191"/>
              <a:gd name="connsiteX130" fmla="*/ 1153151 w 2051041"/>
              <a:gd name="connsiteY130" fmla="*/ 1659734 h 2084191"/>
              <a:gd name="connsiteX131" fmla="*/ 1170564 w 2051041"/>
              <a:gd name="connsiteY131" fmla="*/ 1677692 h 2084191"/>
              <a:gd name="connsiteX132" fmla="*/ 1152062 w 2051041"/>
              <a:gd name="connsiteY132" fmla="*/ 1694562 h 2084191"/>
              <a:gd name="connsiteX133" fmla="*/ 1135737 w 2051041"/>
              <a:gd name="connsiteY133" fmla="*/ 1677148 h 2084191"/>
              <a:gd name="connsiteX134" fmla="*/ 1153151 w 2051041"/>
              <a:gd name="connsiteY134" fmla="*/ 1659734 h 2084191"/>
              <a:gd name="connsiteX135" fmla="*/ 1315315 w 2051041"/>
              <a:gd name="connsiteY135" fmla="*/ 1655381 h 2084191"/>
              <a:gd name="connsiteX136" fmla="*/ 1337082 w 2051041"/>
              <a:gd name="connsiteY136" fmla="*/ 1676603 h 2084191"/>
              <a:gd name="connsiteX137" fmla="*/ 1315315 w 2051041"/>
              <a:gd name="connsiteY137" fmla="*/ 1698915 h 2084191"/>
              <a:gd name="connsiteX138" fmla="*/ 1294092 w 2051041"/>
              <a:gd name="connsiteY138" fmla="*/ 1677148 h 2084191"/>
              <a:gd name="connsiteX139" fmla="*/ 1315315 w 2051041"/>
              <a:gd name="connsiteY139" fmla="*/ 1655381 h 2084191"/>
              <a:gd name="connsiteX140" fmla="*/ 1479111 w 2051041"/>
              <a:gd name="connsiteY140" fmla="*/ 1654293 h 2084191"/>
              <a:gd name="connsiteX141" fmla="*/ 1501967 w 2051041"/>
              <a:gd name="connsiteY141" fmla="*/ 1677692 h 2084191"/>
              <a:gd name="connsiteX142" fmla="*/ 1479111 w 2051041"/>
              <a:gd name="connsiteY142" fmla="*/ 1700548 h 2084191"/>
              <a:gd name="connsiteX143" fmla="*/ 1455712 w 2051041"/>
              <a:gd name="connsiteY143" fmla="*/ 1676604 h 2084191"/>
              <a:gd name="connsiteX144" fmla="*/ 1479111 w 2051041"/>
              <a:gd name="connsiteY144" fmla="*/ 1654293 h 2084191"/>
              <a:gd name="connsiteX145" fmla="*/ 1643452 w 2051041"/>
              <a:gd name="connsiteY145" fmla="*/ 1650483 h 2084191"/>
              <a:gd name="connsiteX146" fmla="*/ 1668484 w 2051041"/>
              <a:gd name="connsiteY146" fmla="*/ 1676603 h 2084191"/>
              <a:gd name="connsiteX147" fmla="*/ 1643452 w 2051041"/>
              <a:gd name="connsiteY147" fmla="*/ 1703268 h 2084191"/>
              <a:gd name="connsiteX148" fmla="*/ 1617332 w 2051041"/>
              <a:gd name="connsiteY148" fmla="*/ 1677692 h 2084191"/>
              <a:gd name="connsiteX149" fmla="*/ 1643452 w 2051041"/>
              <a:gd name="connsiteY149" fmla="*/ 1650483 h 2084191"/>
              <a:gd name="connsiteX150" fmla="*/ 1968326 w 2051041"/>
              <a:gd name="connsiteY150" fmla="*/ 1649940 h 2084191"/>
              <a:gd name="connsiteX151" fmla="*/ 1995535 w 2051041"/>
              <a:gd name="connsiteY151" fmla="*/ 1676604 h 2084191"/>
              <a:gd name="connsiteX152" fmla="*/ 1968870 w 2051041"/>
              <a:gd name="connsiteY152" fmla="*/ 1704357 h 2084191"/>
              <a:gd name="connsiteX153" fmla="*/ 1941661 w 2051041"/>
              <a:gd name="connsiteY153" fmla="*/ 1677148 h 2084191"/>
              <a:gd name="connsiteX154" fmla="*/ 1968326 w 2051041"/>
              <a:gd name="connsiteY154" fmla="*/ 1649940 h 2084191"/>
              <a:gd name="connsiteX155" fmla="*/ 1805617 w 2051041"/>
              <a:gd name="connsiteY155" fmla="*/ 1649939 h 2084191"/>
              <a:gd name="connsiteX156" fmla="*/ 1832826 w 2051041"/>
              <a:gd name="connsiteY156" fmla="*/ 1677148 h 2084191"/>
              <a:gd name="connsiteX157" fmla="*/ 1805073 w 2051041"/>
              <a:gd name="connsiteY157" fmla="*/ 1704357 h 2084191"/>
              <a:gd name="connsiteX158" fmla="*/ 1778409 w 2051041"/>
              <a:gd name="connsiteY158" fmla="*/ 1677148 h 2084191"/>
              <a:gd name="connsiteX159" fmla="*/ 1805617 w 2051041"/>
              <a:gd name="connsiteY159" fmla="*/ 1649939 h 2084191"/>
              <a:gd name="connsiteX160" fmla="*/ 744474 w 2051041"/>
              <a:gd name="connsiteY160" fmla="*/ 1588992 h 2084191"/>
              <a:gd name="connsiteX161" fmla="*/ 751004 w 2051041"/>
              <a:gd name="connsiteY161" fmla="*/ 1594978 h 2084191"/>
              <a:gd name="connsiteX162" fmla="*/ 745562 w 2051041"/>
              <a:gd name="connsiteY162" fmla="*/ 1602052 h 2084191"/>
              <a:gd name="connsiteX163" fmla="*/ 738488 w 2051041"/>
              <a:gd name="connsiteY163" fmla="*/ 1594978 h 2084191"/>
              <a:gd name="connsiteX164" fmla="*/ 744474 w 2051041"/>
              <a:gd name="connsiteY164" fmla="*/ 1588992 h 2084191"/>
              <a:gd name="connsiteX165" fmla="*/ 907183 w 2051041"/>
              <a:gd name="connsiteY165" fmla="*/ 1579741 h 2084191"/>
              <a:gd name="connsiteX166" fmla="*/ 923508 w 2051041"/>
              <a:gd name="connsiteY166" fmla="*/ 1594978 h 2084191"/>
              <a:gd name="connsiteX167" fmla="*/ 908815 w 2051041"/>
              <a:gd name="connsiteY167" fmla="*/ 1610759 h 2084191"/>
              <a:gd name="connsiteX168" fmla="*/ 892490 w 2051041"/>
              <a:gd name="connsiteY168" fmla="*/ 1595522 h 2084191"/>
              <a:gd name="connsiteX169" fmla="*/ 907183 w 2051041"/>
              <a:gd name="connsiteY169" fmla="*/ 1579741 h 2084191"/>
              <a:gd name="connsiteX170" fmla="*/ 1071524 w 2051041"/>
              <a:gd name="connsiteY170" fmla="*/ 1574843 h 2084191"/>
              <a:gd name="connsiteX171" fmla="*/ 1091114 w 2051041"/>
              <a:gd name="connsiteY171" fmla="*/ 1595522 h 2084191"/>
              <a:gd name="connsiteX172" fmla="*/ 1070980 w 2051041"/>
              <a:gd name="connsiteY172" fmla="*/ 1615656 h 2084191"/>
              <a:gd name="connsiteX173" fmla="*/ 1050301 w 2051041"/>
              <a:gd name="connsiteY173" fmla="*/ 1595522 h 2084191"/>
              <a:gd name="connsiteX174" fmla="*/ 1071524 w 2051041"/>
              <a:gd name="connsiteY174" fmla="*/ 1574843 h 2084191"/>
              <a:gd name="connsiteX175" fmla="*/ 1233688 w 2051041"/>
              <a:gd name="connsiteY175" fmla="*/ 1573210 h 2084191"/>
              <a:gd name="connsiteX176" fmla="*/ 1256544 w 2051041"/>
              <a:gd name="connsiteY176" fmla="*/ 1595522 h 2084191"/>
              <a:gd name="connsiteX177" fmla="*/ 1233688 w 2051041"/>
              <a:gd name="connsiteY177" fmla="*/ 1618377 h 2084191"/>
              <a:gd name="connsiteX178" fmla="*/ 1211377 w 2051041"/>
              <a:gd name="connsiteY178" fmla="*/ 1596610 h 2084191"/>
              <a:gd name="connsiteX179" fmla="*/ 1233688 w 2051041"/>
              <a:gd name="connsiteY179" fmla="*/ 1573210 h 2084191"/>
              <a:gd name="connsiteX180" fmla="*/ 1398030 w 2051041"/>
              <a:gd name="connsiteY180" fmla="*/ 1569402 h 2084191"/>
              <a:gd name="connsiteX181" fmla="*/ 1423062 w 2051041"/>
              <a:gd name="connsiteY181" fmla="*/ 1595522 h 2084191"/>
              <a:gd name="connsiteX182" fmla="*/ 1397485 w 2051041"/>
              <a:gd name="connsiteY182" fmla="*/ 1621099 h 2084191"/>
              <a:gd name="connsiteX183" fmla="*/ 1371365 w 2051041"/>
              <a:gd name="connsiteY183" fmla="*/ 1595522 h 2084191"/>
              <a:gd name="connsiteX184" fmla="*/ 1398030 w 2051041"/>
              <a:gd name="connsiteY184" fmla="*/ 1569402 h 2084191"/>
              <a:gd name="connsiteX185" fmla="*/ 1560194 w 2051041"/>
              <a:gd name="connsiteY185" fmla="*/ 1568313 h 2084191"/>
              <a:gd name="connsiteX186" fmla="*/ 1587947 w 2051041"/>
              <a:gd name="connsiteY186" fmla="*/ 1594433 h 2084191"/>
              <a:gd name="connsiteX187" fmla="*/ 1560194 w 2051041"/>
              <a:gd name="connsiteY187" fmla="*/ 1622730 h 2084191"/>
              <a:gd name="connsiteX188" fmla="*/ 1532985 w 2051041"/>
              <a:gd name="connsiteY188" fmla="*/ 1594977 h 2084191"/>
              <a:gd name="connsiteX189" fmla="*/ 1560194 w 2051041"/>
              <a:gd name="connsiteY189" fmla="*/ 1568313 h 2084191"/>
              <a:gd name="connsiteX190" fmla="*/ 1887244 w 2051041"/>
              <a:gd name="connsiteY190" fmla="*/ 1567225 h 2084191"/>
              <a:gd name="connsiteX191" fmla="*/ 1915541 w 2051041"/>
              <a:gd name="connsiteY191" fmla="*/ 1594978 h 2084191"/>
              <a:gd name="connsiteX192" fmla="*/ 1886699 w 2051041"/>
              <a:gd name="connsiteY192" fmla="*/ 1623819 h 2084191"/>
              <a:gd name="connsiteX193" fmla="*/ 1858947 w 2051041"/>
              <a:gd name="connsiteY193" fmla="*/ 1594978 h 2084191"/>
              <a:gd name="connsiteX194" fmla="*/ 1887244 w 2051041"/>
              <a:gd name="connsiteY194" fmla="*/ 1567225 h 2084191"/>
              <a:gd name="connsiteX195" fmla="*/ 1724535 w 2051041"/>
              <a:gd name="connsiteY195" fmla="*/ 1567225 h 2084191"/>
              <a:gd name="connsiteX196" fmla="*/ 1752288 w 2051041"/>
              <a:gd name="connsiteY196" fmla="*/ 1594978 h 2084191"/>
              <a:gd name="connsiteX197" fmla="*/ 1724535 w 2051041"/>
              <a:gd name="connsiteY197" fmla="*/ 1623275 h 2084191"/>
              <a:gd name="connsiteX198" fmla="*/ 1696238 w 2051041"/>
              <a:gd name="connsiteY198" fmla="*/ 1594978 h 2084191"/>
              <a:gd name="connsiteX199" fmla="*/ 1724535 w 2051041"/>
              <a:gd name="connsiteY199" fmla="*/ 1567225 h 2084191"/>
              <a:gd name="connsiteX200" fmla="*/ 2050496 w 2051041"/>
              <a:gd name="connsiteY200" fmla="*/ 1566680 h 2084191"/>
              <a:gd name="connsiteX201" fmla="*/ 2051041 w 2051041"/>
              <a:gd name="connsiteY201" fmla="*/ 1566888 h 2084191"/>
              <a:gd name="connsiteX202" fmla="*/ 2051041 w 2051041"/>
              <a:gd name="connsiteY202" fmla="*/ 1623794 h 2084191"/>
              <a:gd name="connsiteX203" fmla="*/ 2049408 w 2051041"/>
              <a:gd name="connsiteY203" fmla="*/ 1624363 h 2084191"/>
              <a:gd name="connsiteX204" fmla="*/ 2021655 w 2051041"/>
              <a:gd name="connsiteY204" fmla="*/ 1594977 h 2084191"/>
              <a:gd name="connsiteX205" fmla="*/ 2050496 w 2051041"/>
              <a:gd name="connsiteY205" fmla="*/ 1566680 h 2084191"/>
              <a:gd name="connsiteX206" fmla="*/ 663392 w 2051041"/>
              <a:gd name="connsiteY206" fmla="*/ 1505188 h 2084191"/>
              <a:gd name="connsiteX207" fmla="*/ 674819 w 2051041"/>
              <a:gd name="connsiteY207" fmla="*/ 1513895 h 2084191"/>
              <a:gd name="connsiteX208" fmla="*/ 662848 w 2051041"/>
              <a:gd name="connsiteY208" fmla="*/ 1522058 h 2084191"/>
              <a:gd name="connsiteX209" fmla="*/ 654685 w 2051041"/>
              <a:gd name="connsiteY209" fmla="*/ 1513351 h 2084191"/>
              <a:gd name="connsiteX210" fmla="*/ 663392 w 2051041"/>
              <a:gd name="connsiteY210" fmla="*/ 1505188 h 2084191"/>
              <a:gd name="connsiteX211" fmla="*/ 826101 w 2051041"/>
              <a:gd name="connsiteY211" fmla="*/ 1497570 h 2084191"/>
              <a:gd name="connsiteX212" fmla="*/ 842970 w 2051041"/>
              <a:gd name="connsiteY212" fmla="*/ 1513351 h 2084191"/>
              <a:gd name="connsiteX213" fmla="*/ 826645 w 2051041"/>
              <a:gd name="connsiteY213" fmla="*/ 1529676 h 2084191"/>
              <a:gd name="connsiteX214" fmla="*/ 810319 w 2051041"/>
              <a:gd name="connsiteY214" fmla="*/ 1514983 h 2084191"/>
              <a:gd name="connsiteX215" fmla="*/ 826101 w 2051041"/>
              <a:gd name="connsiteY215" fmla="*/ 1497570 h 2084191"/>
              <a:gd name="connsiteX216" fmla="*/ 988265 w 2051041"/>
              <a:gd name="connsiteY216" fmla="*/ 1492128 h 2084191"/>
              <a:gd name="connsiteX217" fmla="*/ 1010577 w 2051041"/>
              <a:gd name="connsiteY217" fmla="*/ 1513351 h 2084191"/>
              <a:gd name="connsiteX218" fmla="*/ 989354 w 2051041"/>
              <a:gd name="connsiteY218" fmla="*/ 1534574 h 2084191"/>
              <a:gd name="connsiteX219" fmla="*/ 968131 w 2051041"/>
              <a:gd name="connsiteY219" fmla="*/ 1513895 h 2084191"/>
              <a:gd name="connsiteX220" fmla="*/ 988265 w 2051041"/>
              <a:gd name="connsiteY220" fmla="*/ 1492128 h 2084191"/>
              <a:gd name="connsiteX221" fmla="*/ 1152606 w 2051041"/>
              <a:gd name="connsiteY221" fmla="*/ 1490496 h 2084191"/>
              <a:gd name="connsiteX222" fmla="*/ 1176006 w 2051041"/>
              <a:gd name="connsiteY222" fmla="*/ 1513351 h 2084191"/>
              <a:gd name="connsiteX223" fmla="*/ 1152606 w 2051041"/>
              <a:gd name="connsiteY223" fmla="*/ 1537839 h 2084191"/>
              <a:gd name="connsiteX224" fmla="*/ 1129207 w 2051041"/>
              <a:gd name="connsiteY224" fmla="*/ 1514984 h 2084191"/>
              <a:gd name="connsiteX225" fmla="*/ 1152606 w 2051041"/>
              <a:gd name="connsiteY225" fmla="*/ 1490496 h 2084191"/>
              <a:gd name="connsiteX226" fmla="*/ 1316403 w 2051041"/>
              <a:gd name="connsiteY226" fmla="*/ 1487231 h 2084191"/>
              <a:gd name="connsiteX227" fmla="*/ 1342523 w 2051041"/>
              <a:gd name="connsiteY227" fmla="*/ 1513896 h 2084191"/>
              <a:gd name="connsiteX228" fmla="*/ 1315314 w 2051041"/>
              <a:gd name="connsiteY228" fmla="*/ 1540560 h 2084191"/>
              <a:gd name="connsiteX229" fmla="*/ 1288650 w 2051041"/>
              <a:gd name="connsiteY229" fmla="*/ 1513896 h 2084191"/>
              <a:gd name="connsiteX230" fmla="*/ 1316403 w 2051041"/>
              <a:gd name="connsiteY230" fmla="*/ 1487231 h 2084191"/>
              <a:gd name="connsiteX231" fmla="*/ 1479656 w 2051041"/>
              <a:gd name="connsiteY231" fmla="*/ 1485054 h 2084191"/>
              <a:gd name="connsiteX232" fmla="*/ 1507409 w 2051041"/>
              <a:gd name="connsiteY232" fmla="*/ 1513895 h 2084191"/>
              <a:gd name="connsiteX233" fmla="*/ 1479112 w 2051041"/>
              <a:gd name="connsiteY233" fmla="*/ 1541648 h 2084191"/>
              <a:gd name="connsiteX234" fmla="*/ 1451359 w 2051041"/>
              <a:gd name="connsiteY234" fmla="*/ 1513351 h 2084191"/>
              <a:gd name="connsiteX235" fmla="*/ 1479656 w 2051041"/>
              <a:gd name="connsiteY235" fmla="*/ 1485054 h 2084191"/>
              <a:gd name="connsiteX236" fmla="*/ 1641820 w 2051041"/>
              <a:gd name="connsiteY236" fmla="*/ 1482334 h 2084191"/>
              <a:gd name="connsiteX237" fmla="*/ 1673382 w 2051041"/>
              <a:gd name="connsiteY237" fmla="*/ 1512807 h 2084191"/>
              <a:gd name="connsiteX238" fmla="*/ 1642909 w 2051041"/>
              <a:gd name="connsiteY238" fmla="*/ 1544370 h 2084191"/>
              <a:gd name="connsiteX239" fmla="*/ 1612435 w 2051041"/>
              <a:gd name="connsiteY239" fmla="*/ 1513351 h 2084191"/>
              <a:gd name="connsiteX240" fmla="*/ 1641820 w 2051041"/>
              <a:gd name="connsiteY240" fmla="*/ 1482334 h 2084191"/>
              <a:gd name="connsiteX241" fmla="*/ 1804529 w 2051041"/>
              <a:gd name="connsiteY241" fmla="*/ 1481788 h 2084191"/>
              <a:gd name="connsiteX242" fmla="*/ 1837180 w 2051041"/>
              <a:gd name="connsiteY242" fmla="*/ 1513351 h 2084191"/>
              <a:gd name="connsiteX243" fmla="*/ 1805617 w 2051041"/>
              <a:gd name="connsiteY243" fmla="*/ 1545457 h 2084191"/>
              <a:gd name="connsiteX244" fmla="*/ 1773511 w 2051041"/>
              <a:gd name="connsiteY244" fmla="*/ 1514983 h 2084191"/>
              <a:gd name="connsiteX245" fmla="*/ 1804529 w 2051041"/>
              <a:gd name="connsiteY245" fmla="*/ 1481788 h 2084191"/>
              <a:gd name="connsiteX246" fmla="*/ 1968870 w 2051041"/>
              <a:gd name="connsiteY246" fmla="*/ 1480700 h 2084191"/>
              <a:gd name="connsiteX247" fmla="*/ 2000977 w 2051041"/>
              <a:gd name="connsiteY247" fmla="*/ 1513351 h 2084191"/>
              <a:gd name="connsiteX248" fmla="*/ 1968870 w 2051041"/>
              <a:gd name="connsiteY248" fmla="*/ 1545457 h 2084191"/>
              <a:gd name="connsiteX249" fmla="*/ 1936764 w 2051041"/>
              <a:gd name="connsiteY249" fmla="*/ 1513351 h 2084191"/>
              <a:gd name="connsiteX250" fmla="*/ 1968870 w 2051041"/>
              <a:gd name="connsiteY250" fmla="*/ 1480700 h 2084191"/>
              <a:gd name="connsiteX251" fmla="*/ 581221 w 2051041"/>
              <a:gd name="connsiteY251" fmla="*/ 1423562 h 2084191"/>
              <a:gd name="connsiteX252" fmla="*/ 588840 w 2051041"/>
              <a:gd name="connsiteY252" fmla="*/ 1431725 h 2084191"/>
              <a:gd name="connsiteX253" fmla="*/ 581765 w 2051041"/>
              <a:gd name="connsiteY253" fmla="*/ 1443153 h 2084191"/>
              <a:gd name="connsiteX254" fmla="*/ 573059 w 2051041"/>
              <a:gd name="connsiteY254" fmla="*/ 1432813 h 2084191"/>
              <a:gd name="connsiteX255" fmla="*/ 581221 w 2051041"/>
              <a:gd name="connsiteY255" fmla="*/ 1423562 h 2084191"/>
              <a:gd name="connsiteX256" fmla="*/ 745562 w 2051041"/>
              <a:gd name="connsiteY256" fmla="*/ 1414855 h 2084191"/>
              <a:gd name="connsiteX257" fmla="*/ 761344 w 2051041"/>
              <a:gd name="connsiteY257" fmla="*/ 1432269 h 2084191"/>
              <a:gd name="connsiteX258" fmla="*/ 745018 w 2051041"/>
              <a:gd name="connsiteY258" fmla="*/ 1448050 h 2084191"/>
              <a:gd name="connsiteX259" fmla="*/ 728693 w 2051041"/>
              <a:gd name="connsiteY259" fmla="*/ 1431725 h 2084191"/>
              <a:gd name="connsiteX260" fmla="*/ 745562 w 2051041"/>
              <a:gd name="connsiteY260" fmla="*/ 1414855 h 2084191"/>
              <a:gd name="connsiteX261" fmla="*/ 908815 w 2051041"/>
              <a:gd name="connsiteY261" fmla="*/ 1409958 h 2084191"/>
              <a:gd name="connsiteX262" fmla="*/ 930038 w 2051041"/>
              <a:gd name="connsiteY262" fmla="*/ 1431725 h 2084191"/>
              <a:gd name="connsiteX263" fmla="*/ 907183 w 2051041"/>
              <a:gd name="connsiteY263" fmla="*/ 1453492 h 2084191"/>
              <a:gd name="connsiteX264" fmla="*/ 885960 w 2051041"/>
              <a:gd name="connsiteY264" fmla="*/ 1431725 h 2084191"/>
              <a:gd name="connsiteX265" fmla="*/ 908815 w 2051041"/>
              <a:gd name="connsiteY265" fmla="*/ 1409958 h 2084191"/>
              <a:gd name="connsiteX266" fmla="*/ 1070436 w 2051041"/>
              <a:gd name="connsiteY266" fmla="*/ 1406693 h 2084191"/>
              <a:gd name="connsiteX267" fmla="*/ 1096012 w 2051041"/>
              <a:gd name="connsiteY267" fmla="*/ 1432269 h 2084191"/>
              <a:gd name="connsiteX268" fmla="*/ 1070436 w 2051041"/>
              <a:gd name="connsiteY268" fmla="*/ 1457846 h 2084191"/>
              <a:gd name="connsiteX269" fmla="*/ 1045404 w 2051041"/>
              <a:gd name="connsiteY269" fmla="*/ 1431181 h 2084191"/>
              <a:gd name="connsiteX270" fmla="*/ 1070436 w 2051041"/>
              <a:gd name="connsiteY270" fmla="*/ 1406693 h 2084191"/>
              <a:gd name="connsiteX271" fmla="*/ 1235865 w 2051041"/>
              <a:gd name="connsiteY271" fmla="*/ 1404516 h 2084191"/>
              <a:gd name="connsiteX272" fmla="*/ 1261986 w 2051041"/>
              <a:gd name="connsiteY272" fmla="*/ 1433358 h 2084191"/>
              <a:gd name="connsiteX273" fmla="*/ 1233689 w 2051041"/>
              <a:gd name="connsiteY273" fmla="*/ 1459478 h 2084191"/>
              <a:gd name="connsiteX274" fmla="*/ 1206480 w 2051041"/>
              <a:gd name="connsiteY274" fmla="*/ 1432269 h 2084191"/>
              <a:gd name="connsiteX275" fmla="*/ 1235865 w 2051041"/>
              <a:gd name="connsiteY275" fmla="*/ 1404516 h 2084191"/>
              <a:gd name="connsiteX276" fmla="*/ 1397485 w 2051041"/>
              <a:gd name="connsiteY276" fmla="*/ 1400162 h 2084191"/>
              <a:gd name="connsiteX277" fmla="*/ 1427959 w 2051041"/>
              <a:gd name="connsiteY277" fmla="*/ 1431724 h 2084191"/>
              <a:gd name="connsiteX278" fmla="*/ 1398029 w 2051041"/>
              <a:gd name="connsiteY278" fmla="*/ 1463287 h 2084191"/>
              <a:gd name="connsiteX279" fmla="*/ 1366467 w 2051041"/>
              <a:gd name="connsiteY279" fmla="*/ 1432813 h 2084191"/>
              <a:gd name="connsiteX280" fmla="*/ 1397485 w 2051041"/>
              <a:gd name="connsiteY280" fmla="*/ 1400162 h 2084191"/>
              <a:gd name="connsiteX281" fmla="*/ 1561282 w 2051041"/>
              <a:gd name="connsiteY281" fmla="*/ 1399618 h 2084191"/>
              <a:gd name="connsiteX282" fmla="*/ 1593388 w 2051041"/>
              <a:gd name="connsiteY282" fmla="*/ 1432269 h 2084191"/>
              <a:gd name="connsiteX283" fmla="*/ 1560738 w 2051041"/>
              <a:gd name="connsiteY283" fmla="*/ 1464375 h 2084191"/>
              <a:gd name="connsiteX284" fmla="*/ 1528631 w 2051041"/>
              <a:gd name="connsiteY284" fmla="*/ 1432813 h 2084191"/>
              <a:gd name="connsiteX285" fmla="*/ 1561282 w 2051041"/>
              <a:gd name="connsiteY285" fmla="*/ 1399618 h 2084191"/>
              <a:gd name="connsiteX286" fmla="*/ 1723446 w 2051041"/>
              <a:gd name="connsiteY286" fmla="*/ 1399074 h 2084191"/>
              <a:gd name="connsiteX287" fmla="*/ 1757185 w 2051041"/>
              <a:gd name="connsiteY287" fmla="*/ 1432269 h 2084191"/>
              <a:gd name="connsiteX288" fmla="*/ 1723991 w 2051041"/>
              <a:gd name="connsiteY288" fmla="*/ 1465464 h 2084191"/>
              <a:gd name="connsiteX289" fmla="*/ 1691340 w 2051041"/>
              <a:gd name="connsiteY289" fmla="*/ 1433357 h 2084191"/>
              <a:gd name="connsiteX290" fmla="*/ 1723446 w 2051041"/>
              <a:gd name="connsiteY290" fmla="*/ 1399074 h 2084191"/>
              <a:gd name="connsiteX291" fmla="*/ 1886700 w 2051041"/>
              <a:gd name="connsiteY291" fmla="*/ 1398530 h 2084191"/>
              <a:gd name="connsiteX292" fmla="*/ 1920439 w 2051041"/>
              <a:gd name="connsiteY292" fmla="*/ 1432269 h 2084191"/>
              <a:gd name="connsiteX293" fmla="*/ 1887788 w 2051041"/>
              <a:gd name="connsiteY293" fmla="*/ 1464920 h 2084191"/>
              <a:gd name="connsiteX294" fmla="*/ 1854049 w 2051041"/>
              <a:gd name="connsiteY294" fmla="*/ 1433358 h 2084191"/>
              <a:gd name="connsiteX295" fmla="*/ 1886700 w 2051041"/>
              <a:gd name="connsiteY295" fmla="*/ 1398530 h 2084191"/>
              <a:gd name="connsiteX296" fmla="*/ 2051041 w 2051041"/>
              <a:gd name="connsiteY296" fmla="*/ 1398217 h 2084191"/>
              <a:gd name="connsiteX297" fmla="*/ 2051041 w 2051041"/>
              <a:gd name="connsiteY297" fmla="*/ 1464535 h 2084191"/>
              <a:gd name="connsiteX298" fmla="*/ 2049953 w 2051041"/>
              <a:gd name="connsiteY298" fmla="*/ 1464920 h 2084191"/>
              <a:gd name="connsiteX299" fmla="*/ 2017302 w 2051041"/>
              <a:gd name="connsiteY299" fmla="*/ 1431725 h 2084191"/>
              <a:gd name="connsiteX300" fmla="*/ 2027709 w 2051041"/>
              <a:gd name="connsiteY300" fmla="*/ 1408121 h 2084191"/>
              <a:gd name="connsiteX301" fmla="*/ 500139 w 2051041"/>
              <a:gd name="connsiteY301" fmla="*/ 1341936 h 2084191"/>
              <a:gd name="connsiteX302" fmla="*/ 511023 w 2051041"/>
              <a:gd name="connsiteY302" fmla="*/ 1350643 h 2084191"/>
              <a:gd name="connsiteX303" fmla="*/ 499595 w 2051041"/>
              <a:gd name="connsiteY303" fmla="*/ 1358261 h 2084191"/>
              <a:gd name="connsiteX304" fmla="*/ 491432 w 2051041"/>
              <a:gd name="connsiteY304" fmla="*/ 1349010 h 2084191"/>
              <a:gd name="connsiteX305" fmla="*/ 500139 w 2051041"/>
              <a:gd name="connsiteY305" fmla="*/ 1341936 h 2084191"/>
              <a:gd name="connsiteX306" fmla="*/ 662848 w 2051041"/>
              <a:gd name="connsiteY306" fmla="*/ 1333773 h 2084191"/>
              <a:gd name="connsiteX307" fmla="*/ 679173 w 2051041"/>
              <a:gd name="connsiteY307" fmla="*/ 1350643 h 2084191"/>
              <a:gd name="connsiteX308" fmla="*/ 662848 w 2051041"/>
              <a:gd name="connsiteY308" fmla="*/ 1366424 h 2084191"/>
              <a:gd name="connsiteX309" fmla="*/ 647067 w 2051041"/>
              <a:gd name="connsiteY309" fmla="*/ 1350098 h 2084191"/>
              <a:gd name="connsiteX310" fmla="*/ 662848 w 2051041"/>
              <a:gd name="connsiteY310" fmla="*/ 1333773 h 2084191"/>
              <a:gd name="connsiteX311" fmla="*/ 826645 w 2051041"/>
              <a:gd name="connsiteY311" fmla="*/ 1328331 h 2084191"/>
              <a:gd name="connsiteX312" fmla="*/ 847868 w 2051041"/>
              <a:gd name="connsiteY312" fmla="*/ 1350642 h 2084191"/>
              <a:gd name="connsiteX313" fmla="*/ 825556 w 2051041"/>
              <a:gd name="connsiteY313" fmla="*/ 1372409 h 2084191"/>
              <a:gd name="connsiteX314" fmla="*/ 804334 w 2051041"/>
              <a:gd name="connsiteY314" fmla="*/ 1349554 h 2084191"/>
              <a:gd name="connsiteX315" fmla="*/ 826645 w 2051041"/>
              <a:gd name="connsiteY315" fmla="*/ 1328331 h 2084191"/>
              <a:gd name="connsiteX316" fmla="*/ 989353 w 2051041"/>
              <a:gd name="connsiteY316" fmla="*/ 1323978 h 2084191"/>
              <a:gd name="connsiteX317" fmla="*/ 1015473 w 2051041"/>
              <a:gd name="connsiteY317" fmla="*/ 1350098 h 2084191"/>
              <a:gd name="connsiteX318" fmla="*/ 989353 w 2051041"/>
              <a:gd name="connsiteY318" fmla="*/ 1376763 h 2084191"/>
              <a:gd name="connsiteX319" fmla="*/ 963777 w 2051041"/>
              <a:gd name="connsiteY319" fmla="*/ 1350642 h 2084191"/>
              <a:gd name="connsiteX320" fmla="*/ 989353 w 2051041"/>
              <a:gd name="connsiteY320" fmla="*/ 1323978 h 2084191"/>
              <a:gd name="connsiteX321" fmla="*/ 1152606 w 2051041"/>
              <a:gd name="connsiteY321" fmla="*/ 1322889 h 2084191"/>
              <a:gd name="connsiteX322" fmla="*/ 1181447 w 2051041"/>
              <a:gd name="connsiteY322" fmla="*/ 1350098 h 2084191"/>
              <a:gd name="connsiteX323" fmla="*/ 1152606 w 2051041"/>
              <a:gd name="connsiteY323" fmla="*/ 1379483 h 2084191"/>
              <a:gd name="connsiteX324" fmla="*/ 1124853 w 2051041"/>
              <a:gd name="connsiteY324" fmla="*/ 1350642 h 2084191"/>
              <a:gd name="connsiteX325" fmla="*/ 1152606 w 2051041"/>
              <a:gd name="connsiteY325" fmla="*/ 1322889 h 2084191"/>
              <a:gd name="connsiteX326" fmla="*/ 1315315 w 2051041"/>
              <a:gd name="connsiteY326" fmla="*/ 1318536 h 2084191"/>
              <a:gd name="connsiteX327" fmla="*/ 1347966 w 2051041"/>
              <a:gd name="connsiteY327" fmla="*/ 1350098 h 2084191"/>
              <a:gd name="connsiteX328" fmla="*/ 1315315 w 2051041"/>
              <a:gd name="connsiteY328" fmla="*/ 1381661 h 2084191"/>
              <a:gd name="connsiteX329" fmla="*/ 1284297 w 2051041"/>
              <a:gd name="connsiteY329" fmla="*/ 1350098 h 2084191"/>
              <a:gd name="connsiteX330" fmla="*/ 1315315 w 2051041"/>
              <a:gd name="connsiteY330" fmla="*/ 1318536 h 2084191"/>
              <a:gd name="connsiteX331" fmla="*/ 1480744 w 2051041"/>
              <a:gd name="connsiteY331" fmla="*/ 1317448 h 2084191"/>
              <a:gd name="connsiteX332" fmla="*/ 1512306 w 2051041"/>
              <a:gd name="connsiteY332" fmla="*/ 1351731 h 2084191"/>
              <a:gd name="connsiteX333" fmla="*/ 1477479 w 2051041"/>
              <a:gd name="connsiteY333" fmla="*/ 1383293 h 2084191"/>
              <a:gd name="connsiteX334" fmla="*/ 1446461 w 2051041"/>
              <a:gd name="connsiteY334" fmla="*/ 1349554 h 2084191"/>
              <a:gd name="connsiteX335" fmla="*/ 1480744 w 2051041"/>
              <a:gd name="connsiteY335" fmla="*/ 1317448 h 2084191"/>
              <a:gd name="connsiteX336" fmla="*/ 1642908 w 2051041"/>
              <a:gd name="connsiteY336" fmla="*/ 1315815 h 2084191"/>
              <a:gd name="connsiteX337" fmla="*/ 1676647 w 2051041"/>
              <a:gd name="connsiteY337" fmla="*/ 1351731 h 2084191"/>
              <a:gd name="connsiteX338" fmla="*/ 1640732 w 2051041"/>
              <a:gd name="connsiteY338" fmla="*/ 1383837 h 2084191"/>
              <a:gd name="connsiteX339" fmla="*/ 1608081 w 2051041"/>
              <a:gd name="connsiteY339" fmla="*/ 1349554 h 2084191"/>
              <a:gd name="connsiteX340" fmla="*/ 1642908 w 2051041"/>
              <a:gd name="connsiteY340" fmla="*/ 1315815 h 2084191"/>
              <a:gd name="connsiteX341" fmla="*/ 1968870 w 2051041"/>
              <a:gd name="connsiteY341" fmla="*/ 1314183 h 2084191"/>
              <a:gd name="connsiteX342" fmla="*/ 2005329 w 2051041"/>
              <a:gd name="connsiteY342" fmla="*/ 1351187 h 2084191"/>
              <a:gd name="connsiteX343" fmla="*/ 1967781 w 2051041"/>
              <a:gd name="connsiteY343" fmla="*/ 1388191 h 2084191"/>
              <a:gd name="connsiteX344" fmla="*/ 1931866 w 2051041"/>
              <a:gd name="connsiteY344" fmla="*/ 1350098 h 2084191"/>
              <a:gd name="connsiteX345" fmla="*/ 1968870 w 2051041"/>
              <a:gd name="connsiteY345" fmla="*/ 1314183 h 2084191"/>
              <a:gd name="connsiteX346" fmla="*/ 1806161 w 2051041"/>
              <a:gd name="connsiteY346" fmla="*/ 1313639 h 2084191"/>
              <a:gd name="connsiteX347" fmla="*/ 1841533 w 2051041"/>
              <a:gd name="connsiteY347" fmla="*/ 1351187 h 2084191"/>
              <a:gd name="connsiteX348" fmla="*/ 1830105 w 2051041"/>
              <a:gd name="connsiteY348" fmla="*/ 1376763 h 2084191"/>
              <a:gd name="connsiteX349" fmla="*/ 1803984 w 2051041"/>
              <a:gd name="connsiteY349" fmla="*/ 1387102 h 2084191"/>
              <a:gd name="connsiteX350" fmla="*/ 1768613 w 2051041"/>
              <a:gd name="connsiteY350" fmla="*/ 1350098 h 2084191"/>
              <a:gd name="connsiteX351" fmla="*/ 1806161 w 2051041"/>
              <a:gd name="connsiteY351" fmla="*/ 1313639 h 2084191"/>
              <a:gd name="connsiteX352" fmla="*/ 419057 w 2051041"/>
              <a:gd name="connsiteY352" fmla="*/ 1262486 h 2084191"/>
              <a:gd name="connsiteX353" fmla="*/ 424499 w 2051041"/>
              <a:gd name="connsiteY353" fmla="*/ 1269016 h 2084191"/>
              <a:gd name="connsiteX354" fmla="*/ 417969 w 2051041"/>
              <a:gd name="connsiteY354" fmla="*/ 1278811 h 2084191"/>
              <a:gd name="connsiteX355" fmla="*/ 411983 w 2051041"/>
              <a:gd name="connsiteY355" fmla="*/ 1269016 h 2084191"/>
              <a:gd name="connsiteX356" fmla="*/ 419057 w 2051041"/>
              <a:gd name="connsiteY356" fmla="*/ 1262486 h 2084191"/>
              <a:gd name="connsiteX357" fmla="*/ 581221 w 2051041"/>
              <a:gd name="connsiteY357" fmla="*/ 1252147 h 2084191"/>
              <a:gd name="connsiteX358" fmla="*/ 597547 w 2051041"/>
              <a:gd name="connsiteY358" fmla="*/ 1269017 h 2084191"/>
              <a:gd name="connsiteX359" fmla="*/ 580133 w 2051041"/>
              <a:gd name="connsiteY359" fmla="*/ 1284254 h 2084191"/>
              <a:gd name="connsiteX360" fmla="*/ 564896 w 2051041"/>
              <a:gd name="connsiteY360" fmla="*/ 1268472 h 2084191"/>
              <a:gd name="connsiteX361" fmla="*/ 581221 w 2051041"/>
              <a:gd name="connsiteY361" fmla="*/ 1252147 h 2084191"/>
              <a:gd name="connsiteX362" fmla="*/ 745018 w 2051041"/>
              <a:gd name="connsiteY362" fmla="*/ 1246705 h 2084191"/>
              <a:gd name="connsiteX363" fmla="*/ 766241 w 2051041"/>
              <a:gd name="connsiteY363" fmla="*/ 1269560 h 2084191"/>
              <a:gd name="connsiteX364" fmla="*/ 744474 w 2051041"/>
              <a:gd name="connsiteY364" fmla="*/ 1290783 h 2084191"/>
              <a:gd name="connsiteX365" fmla="*/ 722707 w 2051041"/>
              <a:gd name="connsiteY365" fmla="*/ 1267928 h 2084191"/>
              <a:gd name="connsiteX366" fmla="*/ 745018 w 2051041"/>
              <a:gd name="connsiteY366" fmla="*/ 1246705 h 2084191"/>
              <a:gd name="connsiteX367" fmla="*/ 907727 w 2051041"/>
              <a:gd name="connsiteY367" fmla="*/ 1241807 h 2084191"/>
              <a:gd name="connsiteX368" fmla="*/ 933847 w 2051041"/>
              <a:gd name="connsiteY368" fmla="*/ 1269016 h 2084191"/>
              <a:gd name="connsiteX369" fmla="*/ 907183 w 2051041"/>
              <a:gd name="connsiteY369" fmla="*/ 1295136 h 2084191"/>
              <a:gd name="connsiteX370" fmla="*/ 880518 w 2051041"/>
              <a:gd name="connsiteY370" fmla="*/ 1267927 h 2084191"/>
              <a:gd name="connsiteX371" fmla="*/ 907727 w 2051041"/>
              <a:gd name="connsiteY371" fmla="*/ 1241807 h 2084191"/>
              <a:gd name="connsiteX372" fmla="*/ 1070979 w 2051041"/>
              <a:gd name="connsiteY372" fmla="*/ 1240719 h 2084191"/>
              <a:gd name="connsiteX373" fmla="*/ 1099821 w 2051041"/>
              <a:gd name="connsiteY373" fmla="*/ 1268472 h 2084191"/>
              <a:gd name="connsiteX374" fmla="*/ 1070435 w 2051041"/>
              <a:gd name="connsiteY374" fmla="*/ 1297858 h 2084191"/>
              <a:gd name="connsiteX375" fmla="*/ 1042138 w 2051041"/>
              <a:gd name="connsiteY375" fmla="*/ 1269560 h 2084191"/>
              <a:gd name="connsiteX376" fmla="*/ 1070979 w 2051041"/>
              <a:gd name="connsiteY376" fmla="*/ 1240719 h 2084191"/>
              <a:gd name="connsiteX377" fmla="*/ 1234233 w 2051041"/>
              <a:gd name="connsiteY377" fmla="*/ 1235821 h 2084191"/>
              <a:gd name="connsiteX378" fmla="*/ 1266883 w 2051041"/>
              <a:gd name="connsiteY378" fmla="*/ 1269016 h 2084191"/>
              <a:gd name="connsiteX379" fmla="*/ 1234233 w 2051041"/>
              <a:gd name="connsiteY379" fmla="*/ 1300578 h 2084191"/>
              <a:gd name="connsiteX380" fmla="*/ 1201582 w 2051041"/>
              <a:gd name="connsiteY380" fmla="*/ 1267383 h 2084191"/>
              <a:gd name="connsiteX381" fmla="*/ 1234233 w 2051041"/>
              <a:gd name="connsiteY381" fmla="*/ 1235821 h 2084191"/>
              <a:gd name="connsiteX382" fmla="*/ 1396397 w 2051041"/>
              <a:gd name="connsiteY382" fmla="*/ 1234733 h 2084191"/>
              <a:gd name="connsiteX383" fmla="*/ 1431224 w 2051041"/>
              <a:gd name="connsiteY383" fmla="*/ 1268472 h 2084191"/>
              <a:gd name="connsiteX384" fmla="*/ 1396941 w 2051041"/>
              <a:gd name="connsiteY384" fmla="*/ 1302755 h 2084191"/>
              <a:gd name="connsiteX385" fmla="*/ 1363746 w 2051041"/>
              <a:gd name="connsiteY385" fmla="*/ 1269016 h 2084191"/>
              <a:gd name="connsiteX386" fmla="*/ 1396397 w 2051041"/>
              <a:gd name="connsiteY386" fmla="*/ 1234733 h 2084191"/>
              <a:gd name="connsiteX387" fmla="*/ 1559649 w 2051041"/>
              <a:gd name="connsiteY387" fmla="*/ 1232557 h 2084191"/>
              <a:gd name="connsiteX388" fmla="*/ 1597742 w 2051041"/>
              <a:gd name="connsiteY388" fmla="*/ 1268472 h 2084191"/>
              <a:gd name="connsiteX389" fmla="*/ 1561826 w 2051041"/>
              <a:gd name="connsiteY389" fmla="*/ 1305476 h 2084191"/>
              <a:gd name="connsiteX390" fmla="*/ 1523734 w 2051041"/>
              <a:gd name="connsiteY390" fmla="*/ 1269561 h 2084191"/>
              <a:gd name="connsiteX391" fmla="*/ 1559649 w 2051041"/>
              <a:gd name="connsiteY391" fmla="*/ 1232557 h 2084191"/>
              <a:gd name="connsiteX392" fmla="*/ 1723990 w 2051041"/>
              <a:gd name="connsiteY392" fmla="*/ 1231468 h 2084191"/>
              <a:gd name="connsiteX393" fmla="*/ 1762083 w 2051041"/>
              <a:gd name="connsiteY393" fmla="*/ 1268472 h 2084191"/>
              <a:gd name="connsiteX394" fmla="*/ 1724535 w 2051041"/>
              <a:gd name="connsiteY394" fmla="*/ 1307109 h 2084191"/>
              <a:gd name="connsiteX395" fmla="*/ 1686442 w 2051041"/>
              <a:gd name="connsiteY395" fmla="*/ 1270105 h 2084191"/>
              <a:gd name="connsiteX396" fmla="*/ 1723990 w 2051041"/>
              <a:gd name="connsiteY396" fmla="*/ 1231468 h 2084191"/>
              <a:gd name="connsiteX397" fmla="*/ 1888332 w 2051041"/>
              <a:gd name="connsiteY397" fmla="*/ 1230924 h 2084191"/>
              <a:gd name="connsiteX398" fmla="*/ 1925336 w 2051041"/>
              <a:gd name="connsiteY398" fmla="*/ 1269561 h 2084191"/>
              <a:gd name="connsiteX399" fmla="*/ 1887243 w 2051041"/>
              <a:gd name="connsiteY399" fmla="*/ 1307653 h 2084191"/>
              <a:gd name="connsiteX400" fmla="*/ 1849151 w 2051041"/>
              <a:gd name="connsiteY400" fmla="*/ 1267928 h 2084191"/>
              <a:gd name="connsiteX401" fmla="*/ 1888332 w 2051041"/>
              <a:gd name="connsiteY401" fmla="*/ 1230924 h 2084191"/>
              <a:gd name="connsiteX402" fmla="*/ 2049952 w 2051041"/>
              <a:gd name="connsiteY402" fmla="*/ 1230380 h 2084191"/>
              <a:gd name="connsiteX403" fmla="*/ 2051041 w 2051041"/>
              <a:gd name="connsiteY403" fmla="*/ 1230805 h 2084191"/>
              <a:gd name="connsiteX404" fmla="*/ 2051041 w 2051041"/>
              <a:gd name="connsiteY404" fmla="*/ 1307109 h 2084191"/>
              <a:gd name="connsiteX405" fmla="*/ 2012404 w 2051041"/>
              <a:gd name="connsiteY405" fmla="*/ 1268472 h 2084191"/>
              <a:gd name="connsiteX406" fmla="*/ 2049952 w 2051041"/>
              <a:gd name="connsiteY406" fmla="*/ 1230380 h 2084191"/>
              <a:gd name="connsiteX407" fmla="*/ 337431 w 2051041"/>
              <a:gd name="connsiteY407" fmla="*/ 1181404 h 2084191"/>
              <a:gd name="connsiteX408" fmla="*/ 345050 w 2051041"/>
              <a:gd name="connsiteY408" fmla="*/ 1187934 h 2084191"/>
              <a:gd name="connsiteX409" fmla="*/ 336343 w 2051041"/>
              <a:gd name="connsiteY409" fmla="*/ 1192288 h 2084191"/>
              <a:gd name="connsiteX410" fmla="*/ 330901 w 2051041"/>
              <a:gd name="connsiteY410" fmla="*/ 1185758 h 2084191"/>
              <a:gd name="connsiteX411" fmla="*/ 337431 w 2051041"/>
              <a:gd name="connsiteY411" fmla="*/ 1181404 h 2084191"/>
              <a:gd name="connsiteX412" fmla="*/ 499051 w 2051041"/>
              <a:gd name="connsiteY412" fmla="*/ 1171065 h 2084191"/>
              <a:gd name="connsiteX413" fmla="*/ 516465 w 2051041"/>
              <a:gd name="connsiteY413" fmla="*/ 1187390 h 2084191"/>
              <a:gd name="connsiteX414" fmla="*/ 500140 w 2051041"/>
              <a:gd name="connsiteY414" fmla="*/ 1202627 h 2084191"/>
              <a:gd name="connsiteX415" fmla="*/ 483814 w 2051041"/>
              <a:gd name="connsiteY415" fmla="*/ 1187390 h 2084191"/>
              <a:gd name="connsiteX416" fmla="*/ 499051 w 2051041"/>
              <a:gd name="connsiteY416" fmla="*/ 1171065 h 2084191"/>
              <a:gd name="connsiteX417" fmla="*/ 662848 w 2051041"/>
              <a:gd name="connsiteY417" fmla="*/ 1165623 h 2084191"/>
              <a:gd name="connsiteX418" fmla="*/ 684615 w 2051041"/>
              <a:gd name="connsiteY418" fmla="*/ 1187390 h 2084191"/>
              <a:gd name="connsiteX419" fmla="*/ 662848 w 2051041"/>
              <a:gd name="connsiteY419" fmla="*/ 1209157 h 2084191"/>
              <a:gd name="connsiteX420" fmla="*/ 641081 w 2051041"/>
              <a:gd name="connsiteY420" fmla="*/ 1186846 h 2084191"/>
              <a:gd name="connsiteX421" fmla="*/ 662848 w 2051041"/>
              <a:gd name="connsiteY421" fmla="*/ 1165623 h 2084191"/>
              <a:gd name="connsiteX422" fmla="*/ 825556 w 2051041"/>
              <a:gd name="connsiteY422" fmla="*/ 1160725 h 2084191"/>
              <a:gd name="connsiteX423" fmla="*/ 852765 w 2051041"/>
              <a:gd name="connsiteY423" fmla="*/ 1186846 h 2084191"/>
              <a:gd name="connsiteX424" fmla="*/ 826645 w 2051041"/>
              <a:gd name="connsiteY424" fmla="*/ 1213511 h 2084191"/>
              <a:gd name="connsiteX425" fmla="*/ 798892 w 2051041"/>
              <a:gd name="connsiteY425" fmla="*/ 1188479 h 2084191"/>
              <a:gd name="connsiteX426" fmla="*/ 825556 w 2051041"/>
              <a:gd name="connsiteY426" fmla="*/ 1160725 h 2084191"/>
              <a:gd name="connsiteX427" fmla="*/ 989353 w 2051041"/>
              <a:gd name="connsiteY427" fmla="*/ 1158004 h 2084191"/>
              <a:gd name="connsiteX428" fmla="*/ 1018195 w 2051041"/>
              <a:gd name="connsiteY428" fmla="*/ 1187934 h 2084191"/>
              <a:gd name="connsiteX429" fmla="*/ 988809 w 2051041"/>
              <a:gd name="connsiteY429" fmla="*/ 1216775 h 2084191"/>
              <a:gd name="connsiteX430" fmla="*/ 959968 w 2051041"/>
              <a:gd name="connsiteY430" fmla="*/ 1187934 h 2084191"/>
              <a:gd name="connsiteX431" fmla="*/ 989353 w 2051041"/>
              <a:gd name="connsiteY431" fmla="*/ 1158004 h 2084191"/>
              <a:gd name="connsiteX432" fmla="*/ 1152062 w 2051041"/>
              <a:gd name="connsiteY432" fmla="*/ 1153651 h 2084191"/>
              <a:gd name="connsiteX433" fmla="*/ 1185801 w 2051041"/>
              <a:gd name="connsiteY433" fmla="*/ 1186301 h 2084191"/>
              <a:gd name="connsiteX434" fmla="*/ 1153150 w 2051041"/>
              <a:gd name="connsiteY434" fmla="*/ 1219496 h 2084191"/>
              <a:gd name="connsiteX435" fmla="*/ 1119956 w 2051041"/>
              <a:gd name="connsiteY435" fmla="*/ 1187390 h 2084191"/>
              <a:gd name="connsiteX436" fmla="*/ 1152062 w 2051041"/>
              <a:gd name="connsiteY436" fmla="*/ 1153651 h 2084191"/>
              <a:gd name="connsiteX437" fmla="*/ 1315315 w 2051041"/>
              <a:gd name="connsiteY437" fmla="*/ 1152018 h 2084191"/>
              <a:gd name="connsiteX438" fmla="*/ 1351230 w 2051041"/>
              <a:gd name="connsiteY438" fmla="*/ 1186845 h 2084191"/>
              <a:gd name="connsiteX439" fmla="*/ 1315859 w 2051041"/>
              <a:gd name="connsiteY439" fmla="*/ 1221673 h 2084191"/>
              <a:gd name="connsiteX440" fmla="*/ 1281576 w 2051041"/>
              <a:gd name="connsiteY440" fmla="*/ 1187390 h 2084191"/>
              <a:gd name="connsiteX441" fmla="*/ 1315315 w 2051041"/>
              <a:gd name="connsiteY441" fmla="*/ 1152018 h 2084191"/>
              <a:gd name="connsiteX442" fmla="*/ 1479656 w 2051041"/>
              <a:gd name="connsiteY442" fmla="*/ 1149298 h 2084191"/>
              <a:gd name="connsiteX443" fmla="*/ 1516660 w 2051041"/>
              <a:gd name="connsiteY443" fmla="*/ 1188479 h 2084191"/>
              <a:gd name="connsiteX444" fmla="*/ 1478023 w 2051041"/>
              <a:gd name="connsiteY444" fmla="*/ 1224394 h 2084191"/>
              <a:gd name="connsiteX445" fmla="*/ 1441563 w 2051041"/>
              <a:gd name="connsiteY445" fmla="*/ 1185758 h 2084191"/>
              <a:gd name="connsiteX446" fmla="*/ 1479656 w 2051041"/>
              <a:gd name="connsiteY446" fmla="*/ 1149298 h 2084191"/>
              <a:gd name="connsiteX447" fmla="*/ 1642365 w 2051041"/>
              <a:gd name="connsiteY447" fmla="*/ 1148209 h 2084191"/>
              <a:gd name="connsiteX448" fmla="*/ 1681001 w 2051041"/>
              <a:gd name="connsiteY448" fmla="*/ 1187390 h 2084191"/>
              <a:gd name="connsiteX449" fmla="*/ 1641821 w 2051041"/>
              <a:gd name="connsiteY449" fmla="*/ 1226026 h 2084191"/>
              <a:gd name="connsiteX450" fmla="*/ 1603728 w 2051041"/>
              <a:gd name="connsiteY450" fmla="*/ 1186846 h 2084191"/>
              <a:gd name="connsiteX451" fmla="*/ 1642365 w 2051041"/>
              <a:gd name="connsiteY451" fmla="*/ 1148209 h 2084191"/>
              <a:gd name="connsiteX452" fmla="*/ 1969414 w 2051041"/>
              <a:gd name="connsiteY452" fmla="*/ 1147665 h 2084191"/>
              <a:gd name="connsiteX453" fmla="*/ 2009139 w 2051041"/>
              <a:gd name="connsiteY453" fmla="*/ 1187934 h 2084191"/>
              <a:gd name="connsiteX454" fmla="*/ 1968870 w 2051041"/>
              <a:gd name="connsiteY454" fmla="*/ 1227114 h 2084191"/>
              <a:gd name="connsiteX455" fmla="*/ 1929145 w 2051041"/>
              <a:gd name="connsiteY455" fmla="*/ 1186301 h 2084191"/>
              <a:gd name="connsiteX456" fmla="*/ 1969414 w 2051041"/>
              <a:gd name="connsiteY456" fmla="*/ 1147665 h 2084191"/>
              <a:gd name="connsiteX457" fmla="*/ 1805617 w 2051041"/>
              <a:gd name="connsiteY457" fmla="*/ 1147665 h 2084191"/>
              <a:gd name="connsiteX458" fmla="*/ 1844798 w 2051041"/>
              <a:gd name="connsiteY458" fmla="*/ 1187934 h 2084191"/>
              <a:gd name="connsiteX459" fmla="*/ 1805073 w 2051041"/>
              <a:gd name="connsiteY459" fmla="*/ 1226571 h 2084191"/>
              <a:gd name="connsiteX460" fmla="*/ 1766981 w 2051041"/>
              <a:gd name="connsiteY460" fmla="*/ 1186845 h 2084191"/>
              <a:gd name="connsiteX461" fmla="*/ 1805617 w 2051041"/>
              <a:gd name="connsiteY461" fmla="*/ 1147665 h 2084191"/>
              <a:gd name="connsiteX462" fmla="*/ 417425 w 2051041"/>
              <a:gd name="connsiteY462" fmla="*/ 1090527 h 2084191"/>
              <a:gd name="connsiteX463" fmla="*/ 432662 w 2051041"/>
              <a:gd name="connsiteY463" fmla="*/ 1105764 h 2084191"/>
              <a:gd name="connsiteX464" fmla="*/ 417969 w 2051041"/>
              <a:gd name="connsiteY464" fmla="*/ 1120457 h 2084191"/>
              <a:gd name="connsiteX465" fmla="*/ 402732 w 2051041"/>
              <a:gd name="connsiteY465" fmla="*/ 1105219 h 2084191"/>
              <a:gd name="connsiteX466" fmla="*/ 417425 w 2051041"/>
              <a:gd name="connsiteY466" fmla="*/ 1090527 h 2084191"/>
              <a:gd name="connsiteX467" fmla="*/ 580677 w 2051041"/>
              <a:gd name="connsiteY467" fmla="*/ 1083996 h 2084191"/>
              <a:gd name="connsiteX468" fmla="*/ 602444 w 2051041"/>
              <a:gd name="connsiteY468" fmla="*/ 1105219 h 2084191"/>
              <a:gd name="connsiteX469" fmla="*/ 581221 w 2051041"/>
              <a:gd name="connsiteY469" fmla="*/ 1127530 h 2084191"/>
              <a:gd name="connsiteX470" fmla="*/ 558910 w 2051041"/>
              <a:gd name="connsiteY470" fmla="*/ 1105219 h 2084191"/>
              <a:gd name="connsiteX471" fmla="*/ 580677 w 2051041"/>
              <a:gd name="connsiteY471" fmla="*/ 1083996 h 2084191"/>
              <a:gd name="connsiteX472" fmla="*/ 743386 w 2051041"/>
              <a:gd name="connsiteY472" fmla="*/ 1079099 h 2084191"/>
              <a:gd name="connsiteX473" fmla="*/ 770595 w 2051041"/>
              <a:gd name="connsiteY473" fmla="*/ 1105219 h 2084191"/>
              <a:gd name="connsiteX474" fmla="*/ 745019 w 2051041"/>
              <a:gd name="connsiteY474" fmla="*/ 1132428 h 2084191"/>
              <a:gd name="connsiteX475" fmla="*/ 717810 w 2051041"/>
              <a:gd name="connsiteY475" fmla="*/ 1106308 h 2084191"/>
              <a:gd name="connsiteX476" fmla="*/ 743386 w 2051041"/>
              <a:gd name="connsiteY476" fmla="*/ 1079099 h 2084191"/>
              <a:gd name="connsiteX477" fmla="*/ 907727 w 2051041"/>
              <a:gd name="connsiteY477" fmla="*/ 1076378 h 2084191"/>
              <a:gd name="connsiteX478" fmla="*/ 937112 w 2051041"/>
              <a:gd name="connsiteY478" fmla="*/ 1105219 h 2084191"/>
              <a:gd name="connsiteX479" fmla="*/ 908271 w 2051041"/>
              <a:gd name="connsiteY479" fmla="*/ 1134061 h 2084191"/>
              <a:gd name="connsiteX480" fmla="*/ 878885 w 2051041"/>
              <a:gd name="connsiteY480" fmla="*/ 1105764 h 2084191"/>
              <a:gd name="connsiteX481" fmla="*/ 907727 w 2051041"/>
              <a:gd name="connsiteY481" fmla="*/ 1076378 h 2084191"/>
              <a:gd name="connsiteX482" fmla="*/ 1071524 w 2051041"/>
              <a:gd name="connsiteY482" fmla="*/ 1072569 h 2084191"/>
              <a:gd name="connsiteX483" fmla="*/ 1104174 w 2051041"/>
              <a:gd name="connsiteY483" fmla="*/ 1105220 h 2084191"/>
              <a:gd name="connsiteX484" fmla="*/ 1070435 w 2051041"/>
              <a:gd name="connsiteY484" fmla="*/ 1137870 h 2084191"/>
              <a:gd name="connsiteX485" fmla="*/ 1038329 w 2051041"/>
              <a:gd name="connsiteY485" fmla="*/ 1105764 h 2084191"/>
              <a:gd name="connsiteX486" fmla="*/ 1071524 w 2051041"/>
              <a:gd name="connsiteY486" fmla="*/ 1072569 h 2084191"/>
              <a:gd name="connsiteX487" fmla="*/ 1235865 w 2051041"/>
              <a:gd name="connsiteY487" fmla="*/ 1068760 h 2084191"/>
              <a:gd name="connsiteX488" fmla="*/ 1271237 w 2051041"/>
              <a:gd name="connsiteY488" fmla="*/ 1106852 h 2084191"/>
              <a:gd name="connsiteX489" fmla="*/ 1234777 w 2051041"/>
              <a:gd name="connsiteY489" fmla="*/ 1142223 h 2084191"/>
              <a:gd name="connsiteX490" fmla="*/ 1198861 w 2051041"/>
              <a:gd name="connsiteY490" fmla="*/ 1105219 h 2084191"/>
              <a:gd name="connsiteX491" fmla="*/ 1235865 w 2051041"/>
              <a:gd name="connsiteY491" fmla="*/ 1068760 h 2084191"/>
              <a:gd name="connsiteX492" fmla="*/ 1396397 w 2051041"/>
              <a:gd name="connsiteY492" fmla="*/ 1067127 h 2084191"/>
              <a:gd name="connsiteX493" fmla="*/ 1435578 w 2051041"/>
              <a:gd name="connsiteY493" fmla="*/ 1105219 h 2084191"/>
              <a:gd name="connsiteX494" fmla="*/ 1396941 w 2051041"/>
              <a:gd name="connsiteY494" fmla="*/ 1143856 h 2084191"/>
              <a:gd name="connsiteX495" fmla="*/ 1358849 w 2051041"/>
              <a:gd name="connsiteY495" fmla="*/ 1105763 h 2084191"/>
              <a:gd name="connsiteX496" fmla="*/ 1396397 w 2051041"/>
              <a:gd name="connsiteY496" fmla="*/ 1067127 h 2084191"/>
              <a:gd name="connsiteX497" fmla="*/ 1560738 w 2051041"/>
              <a:gd name="connsiteY497" fmla="*/ 1066582 h 2084191"/>
              <a:gd name="connsiteX498" fmla="*/ 1599919 w 2051041"/>
              <a:gd name="connsiteY498" fmla="*/ 1105763 h 2084191"/>
              <a:gd name="connsiteX499" fmla="*/ 1560738 w 2051041"/>
              <a:gd name="connsiteY499" fmla="*/ 1144400 h 2084191"/>
              <a:gd name="connsiteX500" fmla="*/ 1521013 w 2051041"/>
              <a:gd name="connsiteY500" fmla="*/ 1105763 h 2084191"/>
              <a:gd name="connsiteX501" fmla="*/ 1560738 w 2051041"/>
              <a:gd name="connsiteY501" fmla="*/ 1066582 h 2084191"/>
              <a:gd name="connsiteX502" fmla="*/ 1723447 w 2051041"/>
              <a:gd name="connsiteY502" fmla="*/ 1064406 h 2084191"/>
              <a:gd name="connsiteX503" fmla="*/ 1764260 w 2051041"/>
              <a:gd name="connsiteY503" fmla="*/ 1104675 h 2084191"/>
              <a:gd name="connsiteX504" fmla="*/ 1724535 w 2051041"/>
              <a:gd name="connsiteY504" fmla="*/ 1146032 h 2084191"/>
              <a:gd name="connsiteX505" fmla="*/ 1683178 w 2051041"/>
              <a:gd name="connsiteY505" fmla="*/ 1105764 h 2084191"/>
              <a:gd name="connsiteX506" fmla="*/ 1723447 w 2051041"/>
              <a:gd name="connsiteY506" fmla="*/ 1064406 h 2084191"/>
              <a:gd name="connsiteX507" fmla="*/ 2051041 w 2051041"/>
              <a:gd name="connsiteY507" fmla="*/ 1063318 h 2084191"/>
              <a:gd name="connsiteX508" fmla="*/ 2051041 w 2051041"/>
              <a:gd name="connsiteY508" fmla="*/ 1147740 h 2084191"/>
              <a:gd name="connsiteX509" fmla="*/ 2049952 w 2051041"/>
              <a:gd name="connsiteY509" fmla="*/ 1148210 h 2084191"/>
              <a:gd name="connsiteX510" fmla="*/ 2008051 w 2051041"/>
              <a:gd name="connsiteY510" fmla="*/ 1105764 h 2084191"/>
              <a:gd name="connsiteX511" fmla="*/ 2051041 w 2051041"/>
              <a:gd name="connsiteY511" fmla="*/ 1063318 h 2084191"/>
              <a:gd name="connsiteX512" fmla="*/ 1887787 w 2051041"/>
              <a:gd name="connsiteY512" fmla="*/ 1062773 h 2084191"/>
              <a:gd name="connsiteX513" fmla="*/ 1929145 w 2051041"/>
              <a:gd name="connsiteY513" fmla="*/ 1105763 h 2084191"/>
              <a:gd name="connsiteX514" fmla="*/ 1886699 w 2051041"/>
              <a:gd name="connsiteY514" fmla="*/ 1147665 h 2084191"/>
              <a:gd name="connsiteX515" fmla="*/ 1844798 w 2051041"/>
              <a:gd name="connsiteY515" fmla="*/ 1105219 h 2084191"/>
              <a:gd name="connsiteX516" fmla="*/ 1887787 w 2051041"/>
              <a:gd name="connsiteY516" fmla="*/ 1062773 h 2084191"/>
              <a:gd name="connsiteX517" fmla="*/ 335798 w 2051041"/>
              <a:gd name="connsiteY517" fmla="*/ 1011621 h 2084191"/>
              <a:gd name="connsiteX518" fmla="*/ 348314 w 2051041"/>
              <a:gd name="connsiteY518" fmla="*/ 1023049 h 2084191"/>
              <a:gd name="connsiteX519" fmla="*/ 336886 w 2051041"/>
              <a:gd name="connsiteY519" fmla="*/ 1036109 h 2084191"/>
              <a:gd name="connsiteX520" fmla="*/ 324370 w 2051041"/>
              <a:gd name="connsiteY520" fmla="*/ 1024681 h 2084191"/>
              <a:gd name="connsiteX521" fmla="*/ 335798 w 2051041"/>
              <a:gd name="connsiteY521" fmla="*/ 1011621 h 2084191"/>
              <a:gd name="connsiteX522" fmla="*/ 499051 w 2051041"/>
              <a:gd name="connsiteY522" fmla="*/ 1002914 h 2084191"/>
              <a:gd name="connsiteX523" fmla="*/ 520818 w 2051041"/>
              <a:gd name="connsiteY523" fmla="*/ 1024137 h 2084191"/>
              <a:gd name="connsiteX524" fmla="*/ 499595 w 2051041"/>
              <a:gd name="connsiteY524" fmla="*/ 1045360 h 2084191"/>
              <a:gd name="connsiteX525" fmla="*/ 478372 w 2051041"/>
              <a:gd name="connsiteY525" fmla="*/ 1024137 h 2084191"/>
              <a:gd name="connsiteX526" fmla="*/ 499051 w 2051041"/>
              <a:gd name="connsiteY526" fmla="*/ 1002914 h 2084191"/>
              <a:gd name="connsiteX527" fmla="*/ 663392 w 2051041"/>
              <a:gd name="connsiteY527" fmla="*/ 997473 h 2084191"/>
              <a:gd name="connsiteX528" fmla="*/ 688424 w 2051041"/>
              <a:gd name="connsiteY528" fmla="*/ 1024138 h 2084191"/>
              <a:gd name="connsiteX529" fmla="*/ 661759 w 2051041"/>
              <a:gd name="connsiteY529" fmla="*/ 1050258 h 2084191"/>
              <a:gd name="connsiteX530" fmla="*/ 636727 w 2051041"/>
              <a:gd name="connsiteY530" fmla="*/ 1023593 h 2084191"/>
              <a:gd name="connsiteX531" fmla="*/ 663392 w 2051041"/>
              <a:gd name="connsiteY531" fmla="*/ 997473 h 2084191"/>
              <a:gd name="connsiteX532" fmla="*/ 826645 w 2051041"/>
              <a:gd name="connsiteY532" fmla="*/ 995840 h 2084191"/>
              <a:gd name="connsiteX533" fmla="*/ 854942 w 2051041"/>
              <a:gd name="connsiteY533" fmla="*/ 1024137 h 2084191"/>
              <a:gd name="connsiteX534" fmla="*/ 825557 w 2051041"/>
              <a:gd name="connsiteY534" fmla="*/ 1052978 h 2084191"/>
              <a:gd name="connsiteX535" fmla="*/ 797260 w 2051041"/>
              <a:gd name="connsiteY535" fmla="*/ 1023593 h 2084191"/>
              <a:gd name="connsiteX536" fmla="*/ 826645 w 2051041"/>
              <a:gd name="connsiteY536" fmla="*/ 995840 h 2084191"/>
              <a:gd name="connsiteX537" fmla="*/ 990441 w 2051041"/>
              <a:gd name="connsiteY537" fmla="*/ 990942 h 2084191"/>
              <a:gd name="connsiteX538" fmla="*/ 1022548 w 2051041"/>
              <a:gd name="connsiteY538" fmla="*/ 1025225 h 2084191"/>
              <a:gd name="connsiteX539" fmla="*/ 988809 w 2051041"/>
              <a:gd name="connsiteY539" fmla="*/ 1056787 h 2084191"/>
              <a:gd name="connsiteX540" fmla="*/ 956702 w 2051041"/>
              <a:gd name="connsiteY540" fmla="*/ 1023593 h 2084191"/>
              <a:gd name="connsiteX541" fmla="*/ 990441 w 2051041"/>
              <a:gd name="connsiteY541" fmla="*/ 990942 h 2084191"/>
              <a:gd name="connsiteX542" fmla="*/ 1150974 w 2051041"/>
              <a:gd name="connsiteY542" fmla="*/ 987678 h 2084191"/>
              <a:gd name="connsiteX543" fmla="*/ 1189610 w 2051041"/>
              <a:gd name="connsiteY543" fmla="*/ 1023593 h 2084191"/>
              <a:gd name="connsiteX544" fmla="*/ 1152062 w 2051041"/>
              <a:gd name="connsiteY544" fmla="*/ 1061685 h 2084191"/>
              <a:gd name="connsiteX545" fmla="*/ 1115058 w 2051041"/>
              <a:gd name="connsiteY545" fmla="*/ 1024682 h 2084191"/>
              <a:gd name="connsiteX546" fmla="*/ 1150974 w 2051041"/>
              <a:gd name="connsiteY546" fmla="*/ 987678 h 2084191"/>
              <a:gd name="connsiteX547" fmla="*/ 1315314 w 2051041"/>
              <a:gd name="connsiteY547" fmla="*/ 985501 h 2084191"/>
              <a:gd name="connsiteX548" fmla="*/ 1354495 w 2051041"/>
              <a:gd name="connsiteY548" fmla="*/ 1023593 h 2084191"/>
              <a:gd name="connsiteX549" fmla="*/ 1315858 w 2051041"/>
              <a:gd name="connsiteY549" fmla="*/ 1062230 h 2084191"/>
              <a:gd name="connsiteX550" fmla="*/ 1277222 w 2051041"/>
              <a:gd name="connsiteY550" fmla="*/ 1024137 h 2084191"/>
              <a:gd name="connsiteX551" fmla="*/ 1315314 w 2051041"/>
              <a:gd name="connsiteY551" fmla="*/ 985501 h 2084191"/>
              <a:gd name="connsiteX552" fmla="*/ 1479656 w 2051041"/>
              <a:gd name="connsiteY552" fmla="*/ 984412 h 2084191"/>
              <a:gd name="connsiteX553" fmla="*/ 1519380 w 2051041"/>
              <a:gd name="connsiteY553" fmla="*/ 1025225 h 2084191"/>
              <a:gd name="connsiteX554" fmla="*/ 1478567 w 2051041"/>
              <a:gd name="connsiteY554" fmla="*/ 1063318 h 2084191"/>
              <a:gd name="connsiteX555" fmla="*/ 1439387 w 2051041"/>
              <a:gd name="connsiteY555" fmla="*/ 1023593 h 2084191"/>
              <a:gd name="connsiteX556" fmla="*/ 1479656 w 2051041"/>
              <a:gd name="connsiteY556" fmla="*/ 984412 h 2084191"/>
              <a:gd name="connsiteX557" fmla="*/ 1641820 w 2051041"/>
              <a:gd name="connsiteY557" fmla="*/ 981691 h 2084191"/>
              <a:gd name="connsiteX558" fmla="*/ 1684810 w 2051041"/>
              <a:gd name="connsiteY558" fmla="*/ 1023592 h 2084191"/>
              <a:gd name="connsiteX559" fmla="*/ 1642909 w 2051041"/>
              <a:gd name="connsiteY559" fmla="*/ 1066038 h 2084191"/>
              <a:gd name="connsiteX560" fmla="*/ 1599919 w 2051041"/>
              <a:gd name="connsiteY560" fmla="*/ 1023592 h 2084191"/>
              <a:gd name="connsiteX561" fmla="*/ 1641820 w 2051041"/>
              <a:gd name="connsiteY561" fmla="*/ 981691 h 2084191"/>
              <a:gd name="connsiteX562" fmla="*/ 1806161 w 2051041"/>
              <a:gd name="connsiteY562" fmla="*/ 980603 h 2084191"/>
              <a:gd name="connsiteX563" fmla="*/ 1849151 w 2051041"/>
              <a:gd name="connsiteY563" fmla="*/ 1023592 h 2084191"/>
              <a:gd name="connsiteX564" fmla="*/ 1805617 w 2051041"/>
              <a:gd name="connsiteY564" fmla="*/ 1067127 h 2084191"/>
              <a:gd name="connsiteX565" fmla="*/ 1762083 w 2051041"/>
              <a:gd name="connsiteY565" fmla="*/ 1023592 h 2084191"/>
              <a:gd name="connsiteX566" fmla="*/ 1806161 w 2051041"/>
              <a:gd name="connsiteY566" fmla="*/ 980603 h 2084191"/>
              <a:gd name="connsiteX567" fmla="*/ 1969414 w 2051041"/>
              <a:gd name="connsiteY567" fmla="*/ 980059 h 2084191"/>
              <a:gd name="connsiteX568" fmla="*/ 2012404 w 2051041"/>
              <a:gd name="connsiteY568" fmla="*/ 1024137 h 2084191"/>
              <a:gd name="connsiteX569" fmla="*/ 1968870 w 2051041"/>
              <a:gd name="connsiteY569" fmla="*/ 1067127 h 2084191"/>
              <a:gd name="connsiteX570" fmla="*/ 1924792 w 2051041"/>
              <a:gd name="connsiteY570" fmla="*/ 1024137 h 2084191"/>
              <a:gd name="connsiteX571" fmla="*/ 1969414 w 2051041"/>
              <a:gd name="connsiteY571" fmla="*/ 980059 h 2084191"/>
              <a:gd name="connsiteX572" fmla="*/ 254171 w 2051041"/>
              <a:gd name="connsiteY572" fmla="*/ 931083 h 2084191"/>
              <a:gd name="connsiteX573" fmla="*/ 265599 w 2051041"/>
              <a:gd name="connsiteY573" fmla="*/ 941967 h 2084191"/>
              <a:gd name="connsiteX574" fmla="*/ 254171 w 2051041"/>
              <a:gd name="connsiteY574" fmla="*/ 952850 h 2084191"/>
              <a:gd name="connsiteX575" fmla="*/ 243832 w 2051041"/>
              <a:gd name="connsiteY575" fmla="*/ 941967 h 2084191"/>
              <a:gd name="connsiteX576" fmla="*/ 254171 w 2051041"/>
              <a:gd name="connsiteY576" fmla="*/ 931083 h 2084191"/>
              <a:gd name="connsiteX577" fmla="*/ 417968 w 2051041"/>
              <a:gd name="connsiteY577" fmla="*/ 922377 h 2084191"/>
              <a:gd name="connsiteX578" fmla="*/ 437559 w 2051041"/>
              <a:gd name="connsiteY578" fmla="*/ 942511 h 2084191"/>
              <a:gd name="connsiteX579" fmla="*/ 417968 w 2051041"/>
              <a:gd name="connsiteY579" fmla="*/ 961557 h 2084191"/>
              <a:gd name="connsiteX580" fmla="*/ 397834 w 2051041"/>
              <a:gd name="connsiteY580" fmla="*/ 941423 h 2084191"/>
              <a:gd name="connsiteX581" fmla="*/ 417968 w 2051041"/>
              <a:gd name="connsiteY581" fmla="*/ 922377 h 2084191"/>
              <a:gd name="connsiteX582" fmla="*/ 581222 w 2051041"/>
              <a:gd name="connsiteY582" fmla="*/ 916934 h 2084191"/>
              <a:gd name="connsiteX583" fmla="*/ 606798 w 2051041"/>
              <a:gd name="connsiteY583" fmla="*/ 943054 h 2084191"/>
              <a:gd name="connsiteX584" fmla="*/ 581222 w 2051041"/>
              <a:gd name="connsiteY584" fmla="*/ 967542 h 2084191"/>
              <a:gd name="connsiteX585" fmla="*/ 556190 w 2051041"/>
              <a:gd name="connsiteY585" fmla="*/ 943054 h 2084191"/>
              <a:gd name="connsiteX586" fmla="*/ 581222 w 2051041"/>
              <a:gd name="connsiteY586" fmla="*/ 916934 h 2084191"/>
              <a:gd name="connsiteX587" fmla="*/ 744474 w 2051041"/>
              <a:gd name="connsiteY587" fmla="*/ 913669 h 2084191"/>
              <a:gd name="connsiteX588" fmla="*/ 773315 w 2051041"/>
              <a:gd name="connsiteY588" fmla="*/ 942510 h 2084191"/>
              <a:gd name="connsiteX589" fmla="*/ 743930 w 2051041"/>
              <a:gd name="connsiteY589" fmla="*/ 970807 h 2084191"/>
              <a:gd name="connsiteX590" fmla="*/ 716177 w 2051041"/>
              <a:gd name="connsiteY590" fmla="*/ 941966 h 2084191"/>
              <a:gd name="connsiteX591" fmla="*/ 744474 w 2051041"/>
              <a:gd name="connsiteY591" fmla="*/ 913669 h 2084191"/>
              <a:gd name="connsiteX592" fmla="*/ 908271 w 2051041"/>
              <a:gd name="connsiteY592" fmla="*/ 908772 h 2084191"/>
              <a:gd name="connsiteX593" fmla="*/ 940377 w 2051041"/>
              <a:gd name="connsiteY593" fmla="*/ 944144 h 2084191"/>
              <a:gd name="connsiteX594" fmla="*/ 906094 w 2051041"/>
              <a:gd name="connsiteY594" fmla="*/ 975162 h 2084191"/>
              <a:gd name="connsiteX595" fmla="*/ 874532 w 2051041"/>
              <a:gd name="connsiteY595" fmla="*/ 940879 h 2084191"/>
              <a:gd name="connsiteX596" fmla="*/ 908271 w 2051041"/>
              <a:gd name="connsiteY596" fmla="*/ 908772 h 2084191"/>
              <a:gd name="connsiteX597" fmla="*/ 1072068 w 2051041"/>
              <a:gd name="connsiteY597" fmla="*/ 906051 h 2084191"/>
              <a:gd name="connsiteX598" fmla="*/ 1107984 w 2051041"/>
              <a:gd name="connsiteY598" fmla="*/ 942511 h 2084191"/>
              <a:gd name="connsiteX599" fmla="*/ 1070980 w 2051041"/>
              <a:gd name="connsiteY599" fmla="*/ 979515 h 2084191"/>
              <a:gd name="connsiteX600" fmla="*/ 1034520 w 2051041"/>
              <a:gd name="connsiteY600" fmla="*/ 942511 h 2084191"/>
              <a:gd name="connsiteX601" fmla="*/ 1072068 w 2051041"/>
              <a:gd name="connsiteY601" fmla="*/ 906051 h 2084191"/>
              <a:gd name="connsiteX602" fmla="*/ 1235321 w 2051041"/>
              <a:gd name="connsiteY602" fmla="*/ 903874 h 2084191"/>
              <a:gd name="connsiteX603" fmla="*/ 1272325 w 2051041"/>
              <a:gd name="connsiteY603" fmla="*/ 943054 h 2084191"/>
              <a:gd name="connsiteX604" fmla="*/ 1233688 w 2051041"/>
              <a:gd name="connsiteY604" fmla="*/ 981147 h 2084191"/>
              <a:gd name="connsiteX605" fmla="*/ 1195596 w 2051041"/>
              <a:gd name="connsiteY605" fmla="*/ 940878 h 2084191"/>
              <a:gd name="connsiteX606" fmla="*/ 1235321 w 2051041"/>
              <a:gd name="connsiteY606" fmla="*/ 903874 h 2084191"/>
              <a:gd name="connsiteX607" fmla="*/ 1397486 w 2051041"/>
              <a:gd name="connsiteY607" fmla="*/ 901153 h 2084191"/>
              <a:gd name="connsiteX608" fmla="*/ 1438299 w 2051041"/>
              <a:gd name="connsiteY608" fmla="*/ 942511 h 2084191"/>
              <a:gd name="connsiteX609" fmla="*/ 1396941 w 2051041"/>
              <a:gd name="connsiteY609" fmla="*/ 983324 h 2084191"/>
              <a:gd name="connsiteX610" fmla="*/ 1356128 w 2051041"/>
              <a:gd name="connsiteY610" fmla="*/ 941967 h 2084191"/>
              <a:gd name="connsiteX611" fmla="*/ 1397486 w 2051041"/>
              <a:gd name="connsiteY611" fmla="*/ 901153 h 2084191"/>
              <a:gd name="connsiteX612" fmla="*/ 1560738 w 2051041"/>
              <a:gd name="connsiteY612" fmla="*/ 898977 h 2084191"/>
              <a:gd name="connsiteX613" fmla="*/ 1603728 w 2051041"/>
              <a:gd name="connsiteY613" fmla="*/ 942511 h 2084191"/>
              <a:gd name="connsiteX614" fmla="*/ 1560738 w 2051041"/>
              <a:gd name="connsiteY614" fmla="*/ 985501 h 2084191"/>
              <a:gd name="connsiteX615" fmla="*/ 1517204 w 2051041"/>
              <a:gd name="connsiteY615" fmla="*/ 941423 h 2084191"/>
              <a:gd name="connsiteX616" fmla="*/ 1560738 w 2051041"/>
              <a:gd name="connsiteY616" fmla="*/ 898977 h 2084191"/>
              <a:gd name="connsiteX617" fmla="*/ 1723990 w 2051041"/>
              <a:gd name="connsiteY617" fmla="*/ 897888 h 2084191"/>
              <a:gd name="connsiteX618" fmla="*/ 1768069 w 2051041"/>
              <a:gd name="connsiteY618" fmla="*/ 942510 h 2084191"/>
              <a:gd name="connsiteX619" fmla="*/ 1723990 w 2051041"/>
              <a:gd name="connsiteY619" fmla="*/ 986589 h 2084191"/>
              <a:gd name="connsiteX620" fmla="*/ 1679912 w 2051041"/>
              <a:gd name="connsiteY620" fmla="*/ 941422 h 2084191"/>
              <a:gd name="connsiteX621" fmla="*/ 1723990 w 2051041"/>
              <a:gd name="connsiteY621" fmla="*/ 897888 h 2084191"/>
              <a:gd name="connsiteX622" fmla="*/ 2050497 w 2051041"/>
              <a:gd name="connsiteY622" fmla="*/ 897344 h 2084191"/>
              <a:gd name="connsiteX623" fmla="*/ 2051041 w 2051041"/>
              <a:gd name="connsiteY623" fmla="*/ 897453 h 2084191"/>
              <a:gd name="connsiteX624" fmla="*/ 2051041 w 2051041"/>
              <a:gd name="connsiteY624" fmla="*/ 986917 h 2084191"/>
              <a:gd name="connsiteX625" fmla="*/ 2049952 w 2051041"/>
              <a:gd name="connsiteY625" fmla="*/ 987133 h 2084191"/>
              <a:gd name="connsiteX626" fmla="*/ 2005330 w 2051041"/>
              <a:gd name="connsiteY626" fmla="*/ 941422 h 2084191"/>
              <a:gd name="connsiteX627" fmla="*/ 2050497 w 2051041"/>
              <a:gd name="connsiteY627" fmla="*/ 897344 h 2084191"/>
              <a:gd name="connsiteX628" fmla="*/ 1887243 w 2051041"/>
              <a:gd name="connsiteY628" fmla="*/ 897344 h 2084191"/>
              <a:gd name="connsiteX629" fmla="*/ 1931866 w 2051041"/>
              <a:gd name="connsiteY629" fmla="*/ 942511 h 2084191"/>
              <a:gd name="connsiteX630" fmla="*/ 1887243 w 2051041"/>
              <a:gd name="connsiteY630" fmla="*/ 986589 h 2084191"/>
              <a:gd name="connsiteX631" fmla="*/ 1843165 w 2051041"/>
              <a:gd name="connsiteY631" fmla="*/ 941422 h 2084191"/>
              <a:gd name="connsiteX632" fmla="*/ 1887243 w 2051041"/>
              <a:gd name="connsiteY632" fmla="*/ 897344 h 2084191"/>
              <a:gd name="connsiteX633" fmla="*/ 172545 w 2051041"/>
              <a:gd name="connsiteY633" fmla="*/ 854354 h 2084191"/>
              <a:gd name="connsiteX634" fmla="*/ 179619 w 2051041"/>
              <a:gd name="connsiteY634" fmla="*/ 860884 h 2084191"/>
              <a:gd name="connsiteX635" fmla="*/ 173634 w 2051041"/>
              <a:gd name="connsiteY635" fmla="*/ 866870 h 2084191"/>
              <a:gd name="connsiteX636" fmla="*/ 166015 w 2051041"/>
              <a:gd name="connsiteY636" fmla="*/ 861973 h 2084191"/>
              <a:gd name="connsiteX637" fmla="*/ 172545 w 2051041"/>
              <a:gd name="connsiteY637" fmla="*/ 854354 h 2084191"/>
              <a:gd name="connsiteX638" fmla="*/ 336342 w 2051041"/>
              <a:gd name="connsiteY638" fmla="*/ 843471 h 2084191"/>
              <a:gd name="connsiteX639" fmla="*/ 353211 w 2051041"/>
              <a:gd name="connsiteY639" fmla="*/ 860340 h 2084191"/>
              <a:gd name="connsiteX640" fmla="*/ 336886 w 2051041"/>
              <a:gd name="connsiteY640" fmla="*/ 877210 h 2084191"/>
              <a:gd name="connsiteX641" fmla="*/ 320017 w 2051041"/>
              <a:gd name="connsiteY641" fmla="*/ 860884 h 2084191"/>
              <a:gd name="connsiteX642" fmla="*/ 336342 w 2051041"/>
              <a:gd name="connsiteY642" fmla="*/ 843471 h 2084191"/>
              <a:gd name="connsiteX643" fmla="*/ 500139 w 2051041"/>
              <a:gd name="connsiteY643" fmla="*/ 837485 h 2084191"/>
              <a:gd name="connsiteX644" fmla="*/ 522994 w 2051041"/>
              <a:gd name="connsiteY644" fmla="*/ 861428 h 2084191"/>
              <a:gd name="connsiteX645" fmla="*/ 499595 w 2051041"/>
              <a:gd name="connsiteY645" fmla="*/ 884284 h 2084191"/>
              <a:gd name="connsiteX646" fmla="*/ 476739 w 2051041"/>
              <a:gd name="connsiteY646" fmla="*/ 860340 h 2084191"/>
              <a:gd name="connsiteX647" fmla="*/ 500139 w 2051041"/>
              <a:gd name="connsiteY647" fmla="*/ 837485 h 2084191"/>
              <a:gd name="connsiteX648" fmla="*/ 662848 w 2051041"/>
              <a:gd name="connsiteY648" fmla="*/ 832587 h 2084191"/>
              <a:gd name="connsiteX649" fmla="*/ 690057 w 2051041"/>
              <a:gd name="connsiteY649" fmla="*/ 860340 h 2084191"/>
              <a:gd name="connsiteX650" fmla="*/ 662848 w 2051041"/>
              <a:gd name="connsiteY650" fmla="*/ 888637 h 2084191"/>
              <a:gd name="connsiteX651" fmla="*/ 634551 w 2051041"/>
              <a:gd name="connsiteY651" fmla="*/ 861428 h 2084191"/>
              <a:gd name="connsiteX652" fmla="*/ 662848 w 2051041"/>
              <a:gd name="connsiteY652" fmla="*/ 832587 h 2084191"/>
              <a:gd name="connsiteX653" fmla="*/ 826101 w 2051041"/>
              <a:gd name="connsiteY653" fmla="*/ 827146 h 2084191"/>
              <a:gd name="connsiteX654" fmla="*/ 859295 w 2051041"/>
              <a:gd name="connsiteY654" fmla="*/ 860885 h 2084191"/>
              <a:gd name="connsiteX655" fmla="*/ 825556 w 2051041"/>
              <a:gd name="connsiteY655" fmla="*/ 892991 h 2084191"/>
              <a:gd name="connsiteX656" fmla="*/ 793450 w 2051041"/>
              <a:gd name="connsiteY656" fmla="*/ 860885 h 2084191"/>
              <a:gd name="connsiteX657" fmla="*/ 826101 w 2051041"/>
              <a:gd name="connsiteY657" fmla="*/ 827146 h 2084191"/>
              <a:gd name="connsiteX658" fmla="*/ 988809 w 2051041"/>
              <a:gd name="connsiteY658" fmla="*/ 824424 h 2084191"/>
              <a:gd name="connsiteX659" fmla="*/ 1025813 w 2051041"/>
              <a:gd name="connsiteY659" fmla="*/ 860339 h 2084191"/>
              <a:gd name="connsiteX660" fmla="*/ 989897 w 2051041"/>
              <a:gd name="connsiteY660" fmla="*/ 897344 h 2084191"/>
              <a:gd name="connsiteX661" fmla="*/ 953437 w 2051041"/>
              <a:gd name="connsiteY661" fmla="*/ 861972 h 2084191"/>
              <a:gd name="connsiteX662" fmla="*/ 988809 w 2051041"/>
              <a:gd name="connsiteY662" fmla="*/ 824424 h 2084191"/>
              <a:gd name="connsiteX663" fmla="*/ 1153695 w 2051041"/>
              <a:gd name="connsiteY663" fmla="*/ 821704 h 2084191"/>
              <a:gd name="connsiteX664" fmla="*/ 1191243 w 2051041"/>
              <a:gd name="connsiteY664" fmla="*/ 861429 h 2084191"/>
              <a:gd name="connsiteX665" fmla="*/ 1152606 w 2051041"/>
              <a:gd name="connsiteY665" fmla="*/ 899521 h 2084191"/>
              <a:gd name="connsiteX666" fmla="*/ 1114514 w 2051041"/>
              <a:gd name="connsiteY666" fmla="*/ 859252 h 2084191"/>
              <a:gd name="connsiteX667" fmla="*/ 1153695 w 2051041"/>
              <a:gd name="connsiteY667" fmla="*/ 821704 h 2084191"/>
              <a:gd name="connsiteX668" fmla="*/ 1316403 w 2051041"/>
              <a:gd name="connsiteY668" fmla="*/ 818982 h 2084191"/>
              <a:gd name="connsiteX669" fmla="*/ 1357216 w 2051041"/>
              <a:gd name="connsiteY669" fmla="*/ 860884 h 2084191"/>
              <a:gd name="connsiteX670" fmla="*/ 1315315 w 2051041"/>
              <a:gd name="connsiteY670" fmla="*/ 901697 h 2084191"/>
              <a:gd name="connsiteX671" fmla="*/ 1274501 w 2051041"/>
              <a:gd name="connsiteY671" fmla="*/ 860340 h 2084191"/>
              <a:gd name="connsiteX672" fmla="*/ 1316403 w 2051041"/>
              <a:gd name="connsiteY672" fmla="*/ 818982 h 2084191"/>
              <a:gd name="connsiteX673" fmla="*/ 1479112 w 2051041"/>
              <a:gd name="connsiteY673" fmla="*/ 816806 h 2084191"/>
              <a:gd name="connsiteX674" fmla="*/ 1522646 w 2051041"/>
              <a:gd name="connsiteY674" fmla="*/ 860340 h 2084191"/>
              <a:gd name="connsiteX675" fmla="*/ 1479656 w 2051041"/>
              <a:gd name="connsiteY675" fmla="*/ 904419 h 2084191"/>
              <a:gd name="connsiteX676" fmla="*/ 1435578 w 2051041"/>
              <a:gd name="connsiteY676" fmla="*/ 860884 h 2084191"/>
              <a:gd name="connsiteX677" fmla="*/ 1479112 w 2051041"/>
              <a:gd name="connsiteY677" fmla="*/ 816806 h 2084191"/>
              <a:gd name="connsiteX678" fmla="*/ 1642909 w 2051041"/>
              <a:gd name="connsiteY678" fmla="*/ 815718 h 2084191"/>
              <a:gd name="connsiteX679" fmla="*/ 1686987 w 2051041"/>
              <a:gd name="connsiteY679" fmla="*/ 860885 h 2084191"/>
              <a:gd name="connsiteX680" fmla="*/ 1641276 w 2051041"/>
              <a:gd name="connsiteY680" fmla="*/ 905507 h 2084191"/>
              <a:gd name="connsiteX681" fmla="*/ 1597742 w 2051041"/>
              <a:gd name="connsiteY681" fmla="*/ 860340 h 2084191"/>
              <a:gd name="connsiteX682" fmla="*/ 1642909 w 2051041"/>
              <a:gd name="connsiteY682" fmla="*/ 815718 h 2084191"/>
              <a:gd name="connsiteX683" fmla="*/ 1806161 w 2051041"/>
              <a:gd name="connsiteY683" fmla="*/ 815173 h 2084191"/>
              <a:gd name="connsiteX684" fmla="*/ 1852416 w 2051041"/>
              <a:gd name="connsiteY684" fmla="*/ 860884 h 2084191"/>
              <a:gd name="connsiteX685" fmla="*/ 1805617 w 2051041"/>
              <a:gd name="connsiteY685" fmla="*/ 906594 h 2084191"/>
              <a:gd name="connsiteX686" fmla="*/ 1759906 w 2051041"/>
              <a:gd name="connsiteY686" fmla="*/ 860884 h 2084191"/>
              <a:gd name="connsiteX687" fmla="*/ 1806161 w 2051041"/>
              <a:gd name="connsiteY687" fmla="*/ 815173 h 2084191"/>
              <a:gd name="connsiteX688" fmla="*/ 1968326 w 2051041"/>
              <a:gd name="connsiteY688" fmla="*/ 812453 h 2084191"/>
              <a:gd name="connsiteX689" fmla="*/ 2000977 w 2051041"/>
              <a:gd name="connsiteY689" fmla="*/ 826057 h 2084191"/>
              <a:gd name="connsiteX690" fmla="*/ 2015670 w 2051041"/>
              <a:gd name="connsiteY690" fmla="*/ 859796 h 2084191"/>
              <a:gd name="connsiteX691" fmla="*/ 1969415 w 2051041"/>
              <a:gd name="connsiteY691" fmla="*/ 907684 h 2084191"/>
              <a:gd name="connsiteX692" fmla="*/ 1922071 w 2051041"/>
              <a:gd name="connsiteY692" fmla="*/ 860885 h 2084191"/>
              <a:gd name="connsiteX693" fmla="*/ 1968326 w 2051041"/>
              <a:gd name="connsiteY693" fmla="*/ 812453 h 2084191"/>
              <a:gd name="connsiteX694" fmla="*/ 255260 w 2051041"/>
              <a:gd name="connsiteY694" fmla="*/ 762932 h 2084191"/>
              <a:gd name="connsiteX695" fmla="*/ 270497 w 2051041"/>
              <a:gd name="connsiteY695" fmla="*/ 779802 h 2084191"/>
              <a:gd name="connsiteX696" fmla="*/ 254172 w 2051041"/>
              <a:gd name="connsiteY696" fmla="*/ 795038 h 2084191"/>
              <a:gd name="connsiteX697" fmla="*/ 238935 w 2051041"/>
              <a:gd name="connsiteY697" fmla="*/ 778713 h 2084191"/>
              <a:gd name="connsiteX698" fmla="*/ 255260 w 2051041"/>
              <a:gd name="connsiteY698" fmla="*/ 762932 h 2084191"/>
              <a:gd name="connsiteX699" fmla="*/ 416881 w 2051041"/>
              <a:gd name="connsiteY699" fmla="*/ 756402 h 2084191"/>
              <a:gd name="connsiteX700" fmla="*/ 440280 w 2051041"/>
              <a:gd name="connsiteY700" fmla="*/ 778713 h 2084191"/>
              <a:gd name="connsiteX701" fmla="*/ 419057 w 2051041"/>
              <a:gd name="connsiteY701" fmla="*/ 801024 h 2084191"/>
              <a:gd name="connsiteX702" fmla="*/ 396202 w 2051041"/>
              <a:gd name="connsiteY702" fmla="*/ 779257 h 2084191"/>
              <a:gd name="connsiteX703" fmla="*/ 416881 w 2051041"/>
              <a:gd name="connsiteY703" fmla="*/ 756402 h 2084191"/>
              <a:gd name="connsiteX704" fmla="*/ 581766 w 2051041"/>
              <a:gd name="connsiteY704" fmla="*/ 751505 h 2084191"/>
              <a:gd name="connsiteX705" fmla="*/ 608975 w 2051041"/>
              <a:gd name="connsiteY705" fmla="*/ 779802 h 2084191"/>
              <a:gd name="connsiteX706" fmla="*/ 580678 w 2051041"/>
              <a:gd name="connsiteY706" fmla="*/ 806467 h 2084191"/>
              <a:gd name="connsiteX707" fmla="*/ 553469 w 2051041"/>
              <a:gd name="connsiteY707" fmla="*/ 778714 h 2084191"/>
              <a:gd name="connsiteX708" fmla="*/ 581766 w 2051041"/>
              <a:gd name="connsiteY708" fmla="*/ 751505 h 2084191"/>
              <a:gd name="connsiteX709" fmla="*/ 746107 w 2051041"/>
              <a:gd name="connsiteY709" fmla="*/ 746607 h 2084191"/>
              <a:gd name="connsiteX710" fmla="*/ 777125 w 2051041"/>
              <a:gd name="connsiteY710" fmla="*/ 780346 h 2084191"/>
              <a:gd name="connsiteX711" fmla="*/ 742842 w 2051041"/>
              <a:gd name="connsiteY711" fmla="*/ 811364 h 2084191"/>
              <a:gd name="connsiteX712" fmla="*/ 712368 w 2051041"/>
              <a:gd name="connsiteY712" fmla="*/ 778713 h 2084191"/>
              <a:gd name="connsiteX713" fmla="*/ 746107 w 2051041"/>
              <a:gd name="connsiteY713" fmla="*/ 746607 h 2084191"/>
              <a:gd name="connsiteX714" fmla="*/ 907727 w 2051041"/>
              <a:gd name="connsiteY714" fmla="*/ 741710 h 2084191"/>
              <a:gd name="connsiteX715" fmla="*/ 944187 w 2051041"/>
              <a:gd name="connsiteY715" fmla="*/ 778714 h 2084191"/>
              <a:gd name="connsiteX716" fmla="*/ 907727 w 2051041"/>
              <a:gd name="connsiteY716" fmla="*/ 815174 h 2084191"/>
              <a:gd name="connsiteX717" fmla="*/ 872355 w 2051041"/>
              <a:gd name="connsiteY717" fmla="*/ 779258 h 2084191"/>
              <a:gd name="connsiteX718" fmla="*/ 907727 w 2051041"/>
              <a:gd name="connsiteY718" fmla="*/ 741710 h 2084191"/>
              <a:gd name="connsiteX719" fmla="*/ 1070979 w 2051041"/>
              <a:gd name="connsiteY719" fmla="*/ 740621 h 2084191"/>
              <a:gd name="connsiteX720" fmla="*/ 1110160 w 2051041"/>
              <a:gd name="connsiteY720" fmla="*/ 779258 h 2084191"/>
              <a:gd name="connsiteX721" fmla="*/ 1070979 w 2051041"/>
              <a:gd name="connsiteY721" fmla="*/ 817894 h 2084191"/>
              <a:gd name="connsiteX722" fmla="*/ 1031799 w 2051041"/>
              <a:gd name="connsiteY722" fmla="*/ 778714 h 2084191"/>
              <a:gd name="connsiteX723" fmla="*/ 1070979 w 2051041"/>
              <a:gd name="connsiteY723" fmla="*/ 740621 h 2084191"/>
              <a:gd name="connsiteX724" fmla="*/ 1233688 w 2051041"/>
              <a:gd name="connsiteY724" fmla="*/ 736268 h 2084191"/>
              <a:gd name="connsiteX725" fmla="*/ 1276134 w 2051041"/>
              <a:gd name="connsiteY725" fmla="*/ 777625 h 2084191"/>
              <a:gd name="connsiteX726" fmla="*/ 1235320 w 2051041"/>
              <a:gd name="connsiteY726" fmla="*/ 820615 h 2084191"/>
              <a:gd name="connsiteX727" fmla="*/ 1192331 w 2051041"/>
              <a:gd name="connsiteY727" fmla="*/ 779258 h 2084191"/>
              <a:gd name="connsiteX728" fmla="*/ 1233688 w 2051041"/>
              <a:gd name="connsiteY728" fmla="*/ 736268 h 2084191"/>
              <a:gd name="connsiteX729" fmla="*/ 1397485 w 2051041"/>
              <a:gd name="connsiteY729" fmla="*/ 735724 h 2084191"/>
              <a:gd name="connsiteX730" fmla="*/ 1441019 w 2051041"/>
              <a:gd name="connsiteY730" fmla="*/ 779802 h 2084191"/>
              <a:gd name="connsiteX731" fmla="*/ 1396397 w 2051041"/>
              <a:gd name="connsiteY731" fmla="*/ 823336 h 2084191"/>
              <a:gd name="connsiteX732" fmla="*/ 1352863 w 2051041"/>
              <a:gd name="connsiteY732" fmla="*/ 779258 h 2084191"/>
              <a:gd name="connsiteX733" fmla="*/ 1397485 w 2051041"/>
              <a:gd name="connsiteY733" fmla="*/ 735724 h 2084191"/>
              <a:gd name="connsiteX734" fmla="*/ 1562371 w 2051041"/>
              <a:gd name="connsiteY734" fmla="*/ 734636 h 2084191"/>
              <a:gd name="connsiteX735" fmla="*/ 1605905 w 2051041"/>
              <a:gd name="connsiteY735" fmla="*/ 779802 h 2084191"/>
              <a:gd name="connsiteX736" fmla="*/ 1560194 w 2051041"/>
              <a:gd name="connsiteY736" fmla="*/ 823881 h 2084191"/>
              <a:gd name="connsiteX737" fmla="*/ 1515572 w 2051041"/>
              <a:gd name="connsiteY737" fmla="*/ 777626 h 2084191"/>
              <a:gd name="connsiteX738" fmla="*/ 1562371 w 2051041"/>
              <a:gd name="connsiteY738" fmla="*/ 734636 h 2084191"/>
              <a:gd name="connsiteX739" fmla="*/ 1724535 w 2051041"/>
              <a:gd name="connsiteY739" fmla="*/ 730827 h 2084191"/>
              <a:gd name="connsiteX740" fmla="*/ 1772422 w 2051041"/>
              <a:gd name="connsiteY740" fmla="*/ 779258 h 2084191"/>
              <a:gd name="connsiteX741" fmla="*/ 1723446 w 2051041"/>
              <a:gd name="connsiteY741" fmla="*/ 826602 h 2084191"/>
              <a:gd name="connsiteX742" fmla="*/ 1676647 w 2051041"/>
              <a:gd name="connsiteY742" fmla="*/ 778714 h 2084191"/>
              <a:gd name="connsiteX743" fmla="*/ 1724535 w 2051041"/>
              <a:gd name="connsiteY743" fmla="*/ 730827 h 2084191"/>
              <a:gd name="connsiteX744" fmla="*/ 1886699 w 2051041"/>
              <a:gd name="connsiteY744" fmla="*/ 730826 h 2084191"/>
              <a:gd name="connsiteX745" fmla="*/ 1935131 w 2051041"/>
              <a:gd name="connsiteY745" fmla="*/ 778713 h 2084191"/>
              <a:gd name="connsiteX746" fmla="*/ 1887244 w 2051041"/>
              <a:gd name="connsiteY746" fmla="*/ 827145 h 2084191"/>
              <a:gd name="connsiteX747" fmla="*/ 1838812 w 2051041"/>
              <a:gd name="connsiteY747" fmla="*/ 778713 h 2084191"/>
              <a:gd name="connsiteX748" fmla="*/ 1886699 w 2051041"/>
              <a:gd name="connsiteY748" fmla="*/ 730826 h 2084191"/>
              <a:gd name="connsiteX749" fmla="*/ 2050496 w 2051041"/>
              <a:gd name="connsiteY749" fmla="*/ 730282 h 2084191"/>
              <a:gd name="connsiteX750" fmla="*/ 2051041 w 2051041"/>
              <a:gd name="connsiteY750" fmla="*/ 730396 h 2084191"/>
              <a:gd name="connsiteX751" fmla="*/ 2051041 w 2051041"/>
              <a:gd name="connsiteY751" fmla="*/ 826942 h 2084191"/>
              <a:gd name="connsiteX752" fmla="*/ 2049952 w 2051041"/>
              <a:gd name="connsiteY752" fmla="*/ 827145 h 2084191"/>
              <a:gd name="connsiteX753" fmla="*/ 2002065 w 2051041"/>
              <a:gd name="connsiteY753" fmla="*/ 778169 h 2084191"/>
              <a:gd name="connsiteX754" fmla="*/ 2050496 w 2051041"/>
              <a:gd name="connsiteY754" fmla="*/ 730282 h 2084191"/>
              <a:gd name="connsiteX755" fmla="*/ 173634 w 2051041"/>
              <a:gd name="connsiteY755" fmla="*/ 685660 h 2084191"/>
              <a:gd name="connsiteX756" fmla="*/ 184518 w 2051041"/>
              <a:gd name="connsiteY756" fmla="*/ 698176 h 2084191"/>
              <a:gd name="connsiteX757" fmla="*/ 172546 w 2051041"/>
              <a:gd name="connsiteY757" fmla="*/ 709059 h 2084191"/>
              <a:gd name="connsiteX758" fmla="*/ 161118 w 2051041"/>
              <a:gd name="connsiteY758" fmla="*/ 697088 h 2084191"/>
              <a:gd name="connsiteX759" fmla="*/ 173634 w 2051041"/>
              <a:gd name="connsiteY759" fmla="*/ 685660 h 2084191"/>
              <a:gd name="connsiteX760" fmla="*/ 335798 w 2051041"/>
              <a:gd name="connsiteY760" fmla="*/ 675320 h 2084191"/>
              <a:gd name="connsiteX761" fmla="*/ 357565 w 2051041"/>
              <a:gd name="connsiteY761" fmla="*/ 696543 h 2084191"/>
              <a:gd name="connsiteX762" fmla="*/ 336342 w 2051041"/>
              <a:gd name="connsiteY762" fmla="*/ 718854 h 2084191"/>
              <a:gd name="connsiteX763" fmla="*/ 315120 w 2051041"/>
              <a:gd name="connsiteY763" fmla="*/ 697631 h 2084191"/>
              <a:gd name="connsiteX764" fmla="*/ 335798 w 2051041"/>
              <a:gd name="connsiteY764" fmla="*/ 675320 h 2084191"/>
              <a:gd name="connsiteX765" fmla="*/ 499051 w 2051041"/>
              <a:gd name="connsiteY765" fmla="*/ 670423 h 2084191"/>
              <a:gd name="connsiteX766" fmla="*/ 526804 w 2051041"/>
              <a:gd name="connsiteY766" fmla="*/ 697088 h 2084191"/>
              <a:gd name="connsiteX767" fmla="*/ 499595 w 2051041"/>
              <a:gd name="connsiteY767" fmla="*/ 724296 h 2084191"/>
              <a:gd name="connsiteX768" fmla="*/ 472930 w 2051041"/>
              <a:gd name="connsiteY768" fmla="*/ 697632 h 2084191"/>
              <a:gd name="connsiteX769" fmla="*/ 499051 w 2051041"/>
              <a:gd name="connsiteY769" fmla="*/ 670423 h 2084191"/>
              <a:gd name="connsiteX770" fmla="*/ 662848 w 2051041"/>
              <a:gd name="connsiteY770" fmla="*/ 665525 h 2084191"/>
              <a:gd name="connsiteX771" fmla="*/ 694954 w 2051041"/>
              <a:gd name="connsiteY771" fmla="*/ 697087 h 2084191"/>
              <a:gd name="connsiteX772" fmla="*/ 663392 w 2051041"/>
              <a:gd name="connsiteY772" fmla="*/ 729194 h 2084191"/>
              <a:gd name="connsiteX773" fmla="*/ 632374 w 2051041"/>
              <a:gd name="connsiteY773" fmla="*/ 698176 h 2084191"/>
              <a:gd name="connsiteX774" fmla="*/ 662848 w 2051041"/>
              <a:gd name="connsiteY774" fmla="*/ 665525 h 2084191"/>
              <a:gd name="connsiteX775" fmla="*/ 825013 w 2051041"/>
              <a:gd name="connsiteY775" fmla="*/ 663349 h 2084191"/>
              <a:gd name="connsiteX776" fmla="*/ 860384 w 2051041"/>
              <a:gd name="connsiteY776" fmla="*/ 697632 h 2084191"/>
              <a:gd name="connsiteX777" fmla="*/ 826101 w 2051041"/>
              <a:gd name="connsiteY777" fmla="*/ 731915 h 2084191"/>
              <a:gd name="connsiteX778" fmla="*/ 791818 w 2051041"/>
              <a:gd name="connsiteY778" fmla="*/ 698176 h 2084191"/>
              <a:gd name="connsiteX779" fmla="*/ 825013 w 2051041"/>
              <a:gd name="connsiteY779" fmla="*/ 663349 h 2084191"/>
              <a:gd name="connsiteX780" fmla="*/ 988809 w 2051041"/>
              <a:gd name="connsiteY780" fmla="*/ 658995 h 2084191"/>
              <a:gd name="connsiteX781" fmla="*/ 1027446 w 2051041"/>
              <a:gd name="connsiteY781" fmla="*/ 697087 h 2084191"/>
              <a:gd name="connsiteX782" fmla="*/ 989353 w 2051041"/>
              <a:gd name="connsiteY782" fmla="*/ 735723 h 2084191"/>
              <a:gd name="connsiteX783" fmla="*/ 950717 w 2051041"/>
              <a:gd name="connsiteY783" fmla="*/ 697631 h 2084191"/>
              <a:gd name="connsiteX784" fmla="*/ 988809 w 2051041"/>
              <a:gd name="connsiteY784" fmla="*/ 658995 h 2084191"/>
              <a:gd name="connsiteX785" fmla="*/ 1152607 w 2051041"/>
              <a:gd name="connsiteY785" fmla="*/ 655729 h 2084191"/>
              <a:gd name="connsiteX786" fmla="*/ 1195052 w 2051041"/>
              <a:gd name="connsiteY786" fmla="*/ 697087 h 2084191"/>
              <a:gd name="connsiteX787" fmla="*/ 1153151 w 2051041"/>
              <a:gd name="connsiteY787" fmla="*/ 739533 h 2084191"/>
              <a:gd name="connsiteX788" fmla="*/ 1110705 w 2051041"/>
              <a:gd name="connsiteY788" fmla="*/ 697631 h 2084191"/>
              <a:gd name="connsiteX789" fmla="*/ 1152607 w 2051041"/>
              <a:gd name="connsiteY789" fmla="*/ 655729 h 2084191"/>
              <a:gd name="connsiteX790" fmla="*/ 1316948 w 2051041"/>
              <a:gd name="connsiteY790" fmla="*/ 653554 h 2084191"/>
              <a:gd name="connsiteX791" fmla="*/ 1359937 w 2051041"/>
              <a:gd name="connsiteY791" fmla="*/ 697632 h 2084191"/>
              <a:gd name="connsiteX792" fmla="*/ 1315315 w 2051041"/>
              <a:gd name="connsiteY792" fmla="*/ 740622 h 2084191"/>
              <a:gd name="connsiteX793" fmla="*/ 1271781 w 2051041"/>
              <a:gd name="connsiteY793" fmla="*/ 696544 h 2084191"/>
              <a:gd name="connsiteX794" fmla="*/ 1316948 w 2051041"/>
              <a:gd name="connsiteY794" fmla="*/ 653554 h 2084191"/>
              <a:gd name="connsiteX795" fmla="*/ 1479112 w 2051041"/>
              <a:gd name="connsiteY795" fmla="*/ 651921 h 2084191"/>
              <a:gd name="connsiteX796" fmla="*/ 1524823 w 2051041"/>
              <a:gd name="connsiteY796" fmla="*/ 697088 h 2084191"/>
              <a:gd name="connsiteX797" fmla="*/ 1479112 w 2051041"/>
              <a:gd name="connsiteY797" fmla="*/ 742254 h 2084191"/>
              <a:gd name="connsiteX798" fmla="*/ 1433945 w 2051041"/>
              <a:gd name="connsiteY798" fmla="*/ 697088 h 2084191"/>
              <a:gd name="connsiteX799" fmla="*/ 1479112 w 2051041"/>
              <a:gd name="connsiteY799" fmla="*/ 651921 h 2084191"/>
              <a:gd name="connsiteX800" fmla="*/ 1642909 w 2051041"/>
              <a:gd name="connsiteY800" fmla="*/ 649744 h 2084191"/>
              <a:gd name="connsiteX801" fmla="*/ 1690796 w 2051041"/>
              <a:gd name="connsiteY801" fmla="*/ 697087 h 2084191"/>
              <a:gd name="connsiteX802" fmla="*/ 1642909 w 2051041"/>
              <a:gd name="connsiteY802" fmla="*/ 745519 h 2084191"/>
              <a:gd name="connsiteX803" fmla="*/ 1594477 w 2051041"/>
              <a:gd name="connsiteY803" fmla="*/ 697632 h 2084191"/>
              <a:gd name="connsiteX804" fmla="*/ 1642909 w 2051041"/>
              <a:gd name="connsiteY804" fmla="*/ 649744 h 2084191"/>
              <a:gd name="connsiteX805" fmla="*/ 1805617 w 2051041"/>
              <a:gd name="connsiteY805" fmla="*/ 648112 h 2084191"/>
              <a:gd name="connsiteX806" fmla="*/ 1854593 w 2051041"/>
              <a:gd name="connsiteY806" fmla="*/ 698176 h 2084191"/>
              <a:gd name="connsiteX807" fmla="*/ 1805073 w 2051041"/>
              <a:gd name="connsiteY807" fmla="*/ 746607 h 2084191"/>
              <a:gd name="connsiteX808" fmla="*/ 1756097 w 2051041"/>
              <a:gd name="connsiteY808" fmla="*/ 697087 h 2084191"/>
              <a:gd name="connsiteX809" fmla="*/ 1805617 w 2051041"/>
              <a:gd name="connsiteY809" fmla="*/ 648112 h 2084191"/>
              <a:gd name="connsiteX810" fmla="*/ 1969414 w 2051041"/>
              <a:gd name="connsiteY810" fmla="*/ 647023 h 2084191"/>
              <a:gd name="connsiteX811" fmla="*/ 2018934 w 2051041"/>
              <a:gd name="connsiteY811" fmla="*/ 698176 h 2084191"/>
              <a:gd name="connsiteX812" fmla="*/ 1968326 w 2051041"/>
              <a:gd name="connsiteY812" fmla="*/ 746063 h 2084191"/>
              <a:gd name="connsiteX813" fmla="*/ 1918806 w 2051041"/>
              <a:gd name="connsiteY813" fmla="*/ 697087 h 2084191"/>
              <a:gd name="connsiteX814" fmla="*/ 1969414 w 2051041"/>
              <a:gd name="connsiteY814" fmla="*/ 647023 h 2084191"/>
              <a:gd name="connsiteX815" fmla="*/ 90919 w 2051041"/>
              <a:gd name="connsiteY815" fmla="*/ 606754 h 2084191"/>
              <a:gd name="connsiteX816" fmla="*/ 99626 w 2051041"/>
              <a:gd name="connsiteY816" fmla="*/ 615460 h 2084191"/>
              <a:gd name="connsiteX817" fmla="*/ 92007 w 2051041"/>
              <a:gd name="connsiteY817" fmla="*/ 627976 h 2084191"/>
              <a:gd name="connsiteX818" fmla="*/ 82756 w 2051041"/>
              <a:gd name="connsiteY818" fmla="*/ 616005 h 2084191"/>
              <a:gd name="connsiteX819" fmla="*/ 90919 w 2051041"/>
              <a:gd name="connsiteY819" fmla="*/ 606754 h 2084191"/>
              <a:gd name="connsiteX820" fmla="*/ 254172 w 2051041"/>
              <a:gd name="connsiteY820" fmla="*/ 598047 h 2084191"/>
              <a:gd name="connsiteX821" fmla="*/ 272674 w 2051041"/>
              <a:gd name="connsiteY821" fmla="*/ 614917 h 2084191"/>
              <a:gd name="connsiteX822" fmla="*/ 255260 w 2051041"/>
              <a:gd name="connsiteY822" fmla="*/ 633419 h 2084191"/>
              <a:gd name="connsiteX823" fmla="*/ 236758 w 2051041"/>
              <a:gd name="connsiteY823" fmla="*/ 616005 h 2084191"/>
              <a:gd name="connsiteX824" fmla="*/ 254172 w 2051041"/>
              <a:gd name="connsiteY824" fmla="*/ 598047 h 2084191"/>
              <a:gd name="connsiteX825" fmla="*/ 418513 w 2051041"/>
              <a:gd name="connsiteY825" fmla="*/ 590429 h 2084191"/>
              <a:gd name="connsiteX826" fmla="*/ 443001 w 2051041"/>
              <a:gd name="connsiteY826" fmla="*/ 614917 h 2084191"/>
              <a:gd name="connsiteX827" fmla="*/ 419058 w 2051041"/>
              <a:gd name="connsiteY827" fmla="*/ 640493 h 2084191"/>
              <a:gd name="connsiteX828" fmla="*/ 392937 w 2051041"/>
              <a:gd name="connsiteY828" fmla="*/ 616005 h 2084191"/>
              <a:gd name="connsiteX829" fmla="*/ 418513 w 2051041"/>
              <a:gd name="connsiteY829" fmla="*/ 590429 h 2084191"/>
              <a:gd name="connsiteX830" fmla="*/ 581222 w 2051041"/>
              <a:gd name="connsiteY830" fmla="*/ 587163 h 2084191"/>
              <a:gd name="connsiteX831" fmla="*/ 610063 w 2051041"/>
              <a:gd name="connsiteY831" fmla="*/ 616549 h 2084191"/>
              <a:gd name="connsiteX832" fmla="*/ 580677 w 2051041"/>
              <a:gd name="connsiteY832" fmla="*/ 645390 h 2084191"/>
              <a:gd name="connsiteX833" fmla="*/ 551836 w 2051041"/>
              <a:gd name="connsiteY833" fmla="*/ 615461 h 2084191"/>
              <a:gd name="connsiteX834" fmla="*/ 581222 w 2051041"/>
              <a:gd name="connsiteY834" fmla="*/ 587163 h 2084191"/>
              <a:gd name="connsiteX835" fmla="*/ 743930 w 2051041"/>
              <a:gd name="connsiteY835" fmla="*/ 582266 h 2084191"/>
              <a:gd name="connsiteX836" fmla="*/ 779301 w 2051041"/>
              <a:gd name="connsiteY836" fmla="*/ 616005 h 2084191"/>
              <a:gd name="connsiteX837" fmla="*/ 745563 w 2051041"/>
              <a:gd name="connsiteY837" fmla="*/ 649744 h 2084191"/>
              <a:gd name="connsiteX838" fmla="*/ 711824 w 2051041"/>
              <a:gd name="connsiteY838" fmla="*/ 616549 h 2084191"/>
              <a:gd name="connsiteX839" fmla="*/ 743930 w 2051041"/>
              <a:gd name="connsiteY839" fmla="*/ 582266 h 2084191"/>
              <a:gd name="connsiteX840" fmla="*/ 907183 w 2051041"/>
              <a:gd name="connsiteY840" fmla="*/ 577913 h 2084191"/>
              <a:gd name="connsiteX841" fmla="*/ 945276 w 2051041"/>
              <a:gd name="connsiteY841" fmla="*/ 615461 h 2084191"/>
              <a:gd name="connsiteX842" fmla="*/ 907727 w 2051041"/>
              <a:gd name="connsiteY842" fmla="*/ 654098 h 2084191"/>
              <a:gd name="connsiteX843" fmla="*/ 869091 w 2051041"/>
              <a:gd name="connsiteY843" fmla="*/ 616006 h 2084191"/>
              <a:gd name="connsiteX844" fmla="*/ 907183 w 2051041"/>
              <a:gd name="connsiteY844" fmla="*/ 577913 h 2084191"/>
              <a:gd name="connsiteX845" fmla="*/ 1069891 w 2051041"/>
              <a:gd name="connsiteY845" fmla="*/ 574648 h 2084191"/>
              <a:gd name="connsiteX846" fmla="*/ 1111248 w 2051041"/>
              <a:gd name="connsiteY846" fmla="*/ 615461 h 2084191"/>
              <a:gd name="connsiteX847" fmla="*/ 1070435 w 2051041"/>
              <a:gd name="connsiteY847" fmla="*/ 656274 h 2084191"/>
              <a:gd name="connsiteX848" fmla="*/ 1029622 w 2051041"/>
              <a:gd name="connsiteY848" fmla="*/ 614917 h 2084191"/>
              <a:gd name="connsiteX849" fmla="*/ 1069891 w 2051041"/>
              <a:gd name="connsiteY849" fmla="*/ 574648 h 2084191"/>
              <a:gd name="connsiteX850" fmla="*/ 1235321 w 2051041"/>
              <a:gd name="connsiteY850" fmla="*/ 572472 h 2084191"/>
              <a:gd name="connsiteX851" fmla="*/ 1277222 w 2051041"/>
              <a:gd name="connsiteY851" fmla="*/ 616550 h 2084191"/>
              <a:gd name="connsiteX852" fmla="*/ 1233688 w 2051041"/>
              <a:gd name="connsiteY852" fmla="*/ 660084 h 2084191"/>
              <a:gd name="connsiteX853" fmla="*/ 1190154 w 2051041"/>
              <a:gd name="connsiteY853" fmla="*/ 614917 h 2084191"/>
              <a:gd name="connsiteX854" fmla="*/ 1235321 w 2051041"/>
              <a:gd name="connsiteY854" fmla="*/ 572472 h 2084191"/>
              <a:gd name="connsiteX855" fmla="*/ 1397485 w 2051041"/>
              <a:gd name="connsiteY855" fmla="*/ 569206 h 2084191"/>
              <a:gd name="connsiteX856" fmla="*/ 1443196 w 2051041"/>
              <a:gd name="connsiteY856" fmla="*/ 616005 h 2084191"/>
              <a:gd name="connsiteX857" fmla="*/ 1396941 w 2051041"/>
              <a:gd name="connsiteY857" fmla="*/ 661172 h 2084191"/>
              <a:gd name="connsiteX858" fmla="*/ 1351775 w 2051041"/>
              <a:gd name="connsiteY858" fmla="*/ 614373 h 2084191"/>
              <a:gd name="connsiteX859" fmla="*/ 1397485 w 2051041"/>
              <a:gd name="connsiteY859" fmla="*/ 569206 h 2084191"/>
              <a:gd name="connsiteX860" fmla="*/ 1560738 w 2051041"/>
              <a:gd name="connsiteY860" fmla="*/ 567029 h 2084191"/>
              <a:gd name="connsiteX861" fmla="*/ 1609714 w 2051041"/>
              <a:gd name="connsiteY861" fmla="*/ 615461 h 2084191"/>
              <a:gd name="connsiteX862" fmla="*/ 1561283 w 2051041"/>
              <a:gd name="connsiteY862" fmla="*/ 663892 h 2084191"/>
              <a:gd name="connsiteX863" fmla="*/ 1512851 w 2051041"/>
              <a:gd name="connsiteY863" fmla="*/ 616005 h 2084191"/>
              <a:gd name="connsiteX864" fmla="*/ 1560738 w 2051041"/>
              <a:gd name="connsiteY864" fmla="*/ 567029 h 2084191"/>
              <a:gd name="connsiteX865" fmla="*/ 1725624 w 2051041"/>
              <a:gd name="connsiteY865" fmla="*/ 565397 h 2084191"/>
              <a:gd name="connsiteX866" fmla="*/ 1774599 w 2051041"/>
              <a:gd name="connsiteY866" fmla="*/ 616005 h 2084191"/>
              <a:gd name="connsiteX867" fmla="*/ 1723447 w 2051041"/>
              <a:gd name="connsiteY867" fmla="*/ 664981 h 2084191"/>
              <a:gd name="connsiteX868" fmla="*/ 1674471 w 2051041"/>
              <a:gd name="connsiteY868" fmla="*/ 615461 h 2084191"/>
              <a:gd name="connsiteX869" fmla="*/ 1725624 w 2051041"/>
              <a:gd name="connsiteY869" fmla="*/ 565397 h 2084191"/>
              <a:gd name="connsiteX870" fmla="*/ 1886699 w 2051041"/>
              <a:gd name="connsiteY870" fmla="*/ 564853 h 2084191"/>
              <a:gd name="connsiteX871" fmla="*/ 1938396 w 2051041"/>
              <a:gd name="connsiteY871" fmla="*/ 614917 h 2084191"/>
              <a:gd name="connsiteX872" fmla="*/ 1887787 w 2051041"/>
              <a:gd name="connsiteY872" fmla="*/ 665525 h 2084191"/>
              <a:gd name="connsiteX873" fmla="*/ 1837179 w 2051041"/>
              <a:gd name="connsiteY873" fmla="*/ 615461 h 2084191"/>
              <a:gd name="connsiteX874" fmla="*/ 1886699 w 2051041"/>
              <a:gd name="connsiteY874" fmla="*/ 564853 h 2084191"/>
              <a:gd name="connsiteX875" fmla="*/ 2050496 w 2051041"/>
              <a:gd name="connsiteY875" fmla="*/ 564852 h 2084191"/>
              <a:gd name="connsiteX876" fmla="*/ 2051041 w 2051041"/>
              <a:gd name="connsiteY876" fmla="*/ 564962 h 2084191"/>
              <a:gd name="connsiteX877" fmla="*/ 2051041 w 2051041"/>
              <a:gd name="connsiteY877" fmla="*/ 665899 h 2084191"/>
              <a:gd name="connsiteX878" fmla="*/ 2049952 w 2051041"/>
              <a:gd name="connsiteY878" fmla="*/ 666069 h 2084191"/>
              <a:gd name="connsiteX879" fmla="*/ 1999344 w 2051041"/>
              <a:gd name="connsiteY879" fmla="*/ 615460 h 2084191"/>
              <a:gd name="connsiteX880" fmla="*/ 2050496 w 2051041"/>
              <a:gd name="connsiteY880" fmla="*/ 564852 h 2084191"/>
              <a:gd name="connsiteX881" fmla="*/ 173090 w 2051041"/>
              <a:gd name="connsiteY881" fmla="*/ 517509 h 2084191"/>
              <a:gd name="connsiteX882" fmla="*/ 189959 w 2051041"/>
              <a:gd name="connsiteY882" fmla="*/ 533834 h 2084191"/>
              <a:gd name="connsiteX883" fmla="*/ 173634 w 2051041"/>
              <a:gd name="connsiteY883" fmla="*/ 550160 h 2084191"/>
              <a:gd name="connsiteX884" fmla="*/ 157308 w 2051041"/>
              <a:gd name="connsiteY884" fmla="*/ 534923 h 2084191"/>
              <a:gd name="connsiteX885" fmla="*/ 173090 w 2051041"/>
              <a:gd name="connsiteY885" fmla="*/ 517509 h 2084191"/>
              <a:gd name="connsiteX886" fmla="*/ 335798 w 2051041"/>
              <a:gd name="connsiteY886" fmla="*/ 511523 h 2084191"/>
              <a:gd name="connsiteX887" fmla="*/ 358654 w 2051041"/>
              <a:gd name="connsiteY887" fmla="*/ 533834 h 2084191"/>
              <a:gd name="connsiteX888" fmla="*/ 336343 w 2051041"/>
              <a:gd name="connsiteY888" fmla="*/ 556689 h 2084191"/>
              <a:gd name="connsiteX889" fmla="*/ 312943 w 2051041"/>
              <a:gd name="connsiteY889" fmla="*/ 534378 h 2084191"/>
              <a:gd name="connsiteX890" fmla="*/ 335798 w 2051041"/>
              <a:gd name="connsiteY890" fmla="*/ 511523 h 2084191"/>
              <a:gd name="connsiteX891" fmla="*/ 500139 w 2051041"/>
              <a:gd name="connsiteY891" fmla="*/ 506626 h 2084191"/>
              <a:gd name="connsiteX892" fmla="*/ 527348 w 2051041"/>
              <a:gd name="connsiteY892" fmla="*/ 535467 h 2084191"/>
              <a:gd name="connsiteX893" fmla="*/ 497963 w 2051041"/>
              <a:gd name="connsiteY893" fmla="*/ 561587 h 2084191"/>
              <a:gd name="connsiteX894" fmla="*/ 471842 w 2051041"/>
              <a:gd name="connsiteY894" fmla="*/ 533290 h 2084191"/>
              <a:gd name="connsiteX895" fmla="*/ 500139 w 2051041"/>
              <a:gd name="connsiteY895" fmla="*/ 506626 h 2084191"/>
              <a:gd name="connsiteX896" fmla="*/ 662304 w 2051041"/>
              <a:gd name="connsiteY896" fmla="*/ 500639 h 2084191"/>
              <a:gd name="connsiteX897" fmla="*/ 696042 w 2051041"/>
              <a:gd name="connsiteY897" fmla="*/ 533290 h 2084191"/>
              <a:gd name="connsiteX898" fmla="*/ 663392 w 2051041"/>
              <a:gd name="connsiteY898" fmla="*/ 566485 h 2084191"/>
              <a:gd name="connsiteX899" fmla="*/ 630197 w 2051041"/>
              <a:gd name="connsiteY899" fmla="*/ 534378 h 2084191"/>
              <a:gd name="connsiteX900" fmla="*/ 662304 w 2051041"/>
              <a:gd name="connsiteY900" fmla="*/ 500639 h 2084191"/>
              <a:gd name="connsiteX901" fmla="*/ 825557 w 2051041"/>
              <a:gd name="connsiteY901" fmla="*/ 496830 h 2084191"/>
              <a:gd name="connsiteX902" fmla="*/ 863649 w 2051041"/>
              <a:gd name="connsiteY902" fmla="*/ 534923 h 2084191"/>
              <a:gd name="connsiteX903" fmla="*/ 825557 w 2051041"/>
              <a:gd name="connsiteY903" fmla="*/ 571383 h 2084191"/>
              <a:gd name="connsiteX904" fmla="*/ 788553 w 2051041"/>
              <a:gd name="connsiteY904" fmla="*/ 534379 h 2084191"/>
              <a:gd name="connsiteX905" fmla="*/ 825557 w 2051041"/>
              <a:gd name="connsiteY905" fmla="*/ 496830 h 2084191"/>
              <a:gd name="connsiteX906" fmla="*/ 989898 w 2051041"/>
              <a:gd name="connsiteY906" fmla="*/ 494110 h 2084191"/>
              <a:gd name="connsiteX907" fmla="*/ 1029078 w 2051041"/>
              <a:gd name="connsiteY907" fmla="*/ 534923 h 2084191"/>
              <a:gd name="connsiteX908" fmla="*/ 989353 w 2051041"/>
              <a:gd name="connsiteY908" fmla="*/ 574104 h 2084191"/>
              <a:gd name="connsiteX909" fmla="*/ 949629 w 2051041"/>
              <a:gd name="connsiteY909" fmla="*/ 533835 h 2084191"/>
              <a:gd name="connsiteX910" fmla="*/ 989898 w 2051041"/>
              <a:gd name="connsiteY910" fmla="*/ 494110 h 2084191"/>
              <a:gd name="connsiteX911" fmla="*/ 1152062 w 2051041"/>
              <a:gd name="connsiteY911" fmla="*/ 490301 h 2084191"/>
              <a:gd name="connsiteX912" fmla="*/ 1196140 w 2051041"/>
              <a:gd name="connsiteY912" fmla="*/ 533835 h 2084191"/>
              <a:gd name="connsiteX913" fmla="*/ 1152606 w 2051041"/>
              <a:gd name="connsiteY913" fmla="*/ 577369 h 2084191"/>
              <a:gd name="connsiteX914" fmla="*/ 1109072 w 2051041"/>
              <a:gd name="connsiteY914" fmla="*/ 534379 h 2084191"/>
              <a:gd name="connsiteX915" fmla="*/ 1152062 w 2051041"/>
              <a:gd name="connsiteY915" fmla="*/ 490301 h 2084191"/>
              <a:gd name="connsiteX916" fmla="*/ 1316947 w 2051041"/>
              <a:gd name="connsiteY916" fmla="*/ 489212 h 2084191"/>
              <a:gd name="connsiteX917" fmla="*/ 1361570 w 2051041"/>
              <a:gd name="connsiteY917" fmla="*/ 534923 h 2084191"/>
              <a:gd name="connsiteX918" fmla="*/ 1315859 w 2051041"/>
              <a:gd name="connsiteY918" fmla="*/ 580090 h 2084191"/>
              <a:gd name="connsiteX919" fmla="*/ 1270693 w 2051041"/>
              <a:gd name="connsiteY919" fmla="*/ 533835 h 2084191"/>
              <a:gd name="connsiteX920" fmla="*/ 1316947 w 2051041"/>
              <a:gd name="connsiteY920" fmla="*/ 489212 h 2084191"/>
              <a:gd name="connsiteX921" fmla="*/ 1479112 w 2051041"/>
              <a:gd name="connsiteY921" fmla="*/ 484315 h 2084191"/>
              <a:gd name="connsiteX922" fmla="*/ 1528087 w 2051041"/>
              <a:gd name="connsiteY922" fmla="*/ 533835 h 2084191"/>
              <a:gd name="connsiteX923" fmla="*/ 1479656 w 2051041"/>
              <a:gd name="connsiteY923" fmla="*/ 582267 h 2084191"/>
              <a:gd name="connsiteX924" fmla="*/ 1431224 w 2051041"/>
              <a:gd name="connsiteY924" fmla="*/ 533835 h 2084191"/>
              <a:gd name="connsiteX925" fmla="*/ 1479112 w 2051041"/>
              <a:gd name="connsiteY925" fmla="*/ 484315 h 2084191"/>
              <a:gd name="connsiteX926" fmla="*/ 1643452 w 2051041"/>
              <a:gd name="connsiteY926" fmla="*/ 484314 h 2084191"/>
              <a:gd name="connsiteX927" fmla="*/ 1692973 w 2051041"/>
              <a:gd name="connsiteY927" fmla="*/ 534923 h 2084191"/>
              <a:gd name="connsiteX928" fmla="*/ 1641276 w 2051041"/>
              <a:gd name="connsiteY928" fmla="*/ 583898 h 2084191"/>
              <a:gd name="connsiteX929" fmla="*/ 1592300 w 2051041"/>
              <a:gd name="connsiteY929" fmla="*/ 532202 h 2084191"/>
              <a:gd name="connsiteX930" fmla="*/ 1643452 w 2051041"/>
              <a:gd name="connsiteY930" fmla="*/ 484314 h 2084191"/>
              <a:gd name="connsiteX931" fmla="*/ 1806162 w 2051041"/>
              <a:gd name="connsiteY931" fmla="*/ 481594 h 2084191"/>
              <a:gd name="connsiteX932" fmla="*/ 1857858 w 2051041"/>
              <a:gd name="connsiteY932" fmla="*/ 536011 h 2084191"/>
              <a:gd name="connsiteX933" fmla="*/ 1803441 w 2051041"/>
              <a:gd name="connsiteY933" fmla="*/ 586075 h 2084191"/>
              <a:gd name="connsiteX934" fmla="*/ 1753377 w 2051041"/>
              <a:gd name="connsiteY934" fmla="*/ 533290 h 2084191"/>
              <a:gd name="connsiteX935" fmla="*/ 1806162 w 2051041"/>
              <a:gd name="connsiteY935" fmla="*/ 481594 h 2084191"/>
              <a:gd name="connsiteX936" fmla="*/ 1968326 w 2051041"/>
              <a:gd name="connsiteY936" fmla="*/ 480505 h 2084191"/>
              <a:gd name="connsiteX937" fmla="*/ 2022200 w 2051041"/>
              <a:gd name="connsiteY937" fmla="*/ 534379 h 2084191"/>
              <a:gd name="connsiteX938" fmla="*/ 1969415 w 2051041"/>
              <a:gd name="connsiteY938" fmla="*/ 588252 h 2084191"/>
              <a:gd name="connsiteX939" fmla="*/ 1915541 w 2051041"/>
              <a:gd name="connsiteY939" fmla="*/ 534923 h 2084191"/>
              <a:gd name="connsiteX940" fmla="*/ 1968326 w 2051041"/>
              <a:gd name="connsiteY940" fmla="*/ 480505 h 2084191"/>
              <a:gd name="connsiteX941" fmla="*/ 91464 w 2051041"/>
              <a:gd name="connsiteY941" fmla="*/ 440780 h 2084191"/>
              <a:gd name="connsiteX942" fmla="*/ 102891 w 2051041"/>
              <a:gd name="connsiteY942" fmla="*/ 451664 h 2084191"/>
              <a:gd name="connsiteX943" fmla="*/ 92008 w 2051041"/>
              <a:gd name="connsiteY943" fmla="*/ 464179 h 2084191"/>
              <a:gd name="connsiteX944" fmla="*/ 80036 w 2051041"/>
              <a:gd name="connsiteY944" fmla="*/ 452752 h 2084191"/>
              <a:gd name="connsiteX945" fmla="*/ 91464 w 2051041"/>
              <a:gd name="connsiteY945" fmla="*/ 440780 h 2084191"/>
              <a:gd name="connsiteX946" fmla="*/ 254172 w 2051041"/>
              <a:gd name="connsiteY946" fmla="*/ 430441 h 2084191"/>
              <a:gd name="connsiteX947" fmla="*/ 275939 w 2051041"/>
              <a:gd name="connsiteY947" fmla="*/ 452208 h 2084191"/>
              <a:gd name="connsiteX948" fmla="*/ 254716 w 2051041"/>
              <a:gd name="connsiteY948" fmla="*/ 473975 h 2084191"/>
              <a:gd name="connsiteX949" fmla="*/ 232405 w 2051041"/>
              <a:gd name="connsiteY949" fmla="*/ 452752 h 2084191"/>
              <a:gd name="connsiteX950" fmla="*/ 254172 w 2051041"/>
              <a:gd name="connsiteY950" fmla="*/ 430441 h 2084191"/>
              <a:gd name="connsiteX951" fmla="*/ 417969 w 2051041"/>
              <a:gd name="connsiteY951" fmla="*/ 424999 h 2084191"/>
              <a:gd name="connsiteX952" fmla="*/ 444634 w 2051041"/>
              <a:gd name="connsiteY952" fmla="*/ 452752 h 2084191"/>
              <a:gd name="connsiteX953" fmla="*/ 417425 w 2051041"/>
              <a:gd name="connsiteY953" fmla="*/ 479417 h 2084191"/>
              <a:gd name="connsiteX954" fmla="*/ 390760 w 2051041"/>
              <a:gd name="connsiteY954" fmla="*/ 452208 h 2084191"/>
              <a:gd name="connsiteX955" fmla="*/ 417969 w 2051041"/>
              <a:gd name="connsiteY955" fmla="*/ 424999 h 2084191"/>
              <a:gd name="connsiteX956" fmla="*/ 580677 w 2051041"/>
              <a:gd name="connsiteY956" fmla="*/ 419558 h 2084191"/>
              <a:gd name="connsiteX957" fmla="*/ 612783 w 2051041"/>
              <a:gd name="connsiteY957" fmla="*/ 452208 h 2084191"/>
              <a:gd name="connsiteX958" fmla="*/ 581221 w 2051041"/>
              <a:gd name="connsiteY958" fmla="*/ 484315 h 2084191"/>
              <a:gd name="connsiteX959" fmla="*/ 549115 w 2051041"/>
              <a:gd name="connsiteY959" fmla="*/ 452208 h 2084191"/>
              <a:gd name="connsiteX960" fmla="*/ 580677 w 2051041"/>
              <a:gd name="connsiteY960" fmla="*/ 419558 h 2084191"/>
              <a:gd name="connsiteX961" fmla="*/ 743931 w 2051041"/>
              <a:gd name="connsiteY961" fmla="*/ 415748 h 2084191"/>
              <a:gd name="connsiteX962" fmla="*/ 780390 w 2051041"/>
              <a:gd name="connsiteY962" fmla="*/ 452208 h 2084191"/>
              <a:gd name="connsiteX963" fmla="*/ 744475 w 2051041"/>
              <a:gd name="connsiteY963" fmla="*/ 489212 h 2084191"/>
              <a:gd name="connsiteX964" fmla="*/ 708559 w 2051041"/>
              <a:gd name="connsiteY964" fmla="*/ 453840 h 2084191"/>
              <a:gd name="connsiteX965" fmla="*/ 743931 w 2051041"/>
              <a:gd name="connsiteY965" fmla="*/ 415748 h 2084191"/>
              <a:gd name="connsiteX966" fmla="*/ 908271 w 2051041"/>
              <a:gd name="connsiteY966" fmla="*/ 414116 h 2084191"/>
              <a:gd name="connsiteX967" fmla="*/ 946363 w 2051041"/>
              <a:gd name="connsiteY967" fmla="*/ 453296 h 2084191"/>
              <a:gd name="connsiteX968" fmla="*/ 906638 w 2051041"/>
              <a:gd name="connsiteY968" fmla="*/ 491933 h 2084191"/>
              <a:gd name="connsiteX969" fmla="*/ 868546 w 2051041"/>
              <a:gd name="connsiteY969" fmla="*/ 452208 h 2084191"/>
              <a:gd name="connsiteX970" fmla="*/ 908271 w 2051041"/>
              <a:gd name="connsiteY970" fmla="*/ 414116 h 2084191"/>
              <a:gd name="connsiteX971" fmla="*/ 1072068 w 2051041"/>
              <a:gd name="connsiteY971" fmla="*/ 409218 h 2084191"/>
              <a:gd name="connsiteX972" fmla="*/ 1113970 w 2051041"/>
              <a:gd name="connsiteY972" fmla="*/ 452752 h 2084191"/>
              <a:gd name="connsiteX973" fmla="*/ 1070436 w 2051041"/>
              <a:gd name="connsiteY973" fmla="*/ 495198 h 2084191"/>
              <a:gd name="connsiteX974" fmla="*/ 1028534 w 2051041"/>
              <a:gd name="connsiteY974" fmla="*/ 451120 h 2084191"/>
              <a:gd name="connsiteX975" fmla="*/ 1072068 w 2051041"/>
              <a:gd name="connsiteY975" fmla="*/ 409218 h 2084191"/>
              <a:gd name="connsiteX976" fmla="*/ 1235865 w 2051041"/>
              <a:gd name="connsiteY976" fmla="*/ 408130 h 2084191"/>
              <a:gd name="connsiteX977" fmla="*/ 1279400 w 2051041"/>
              <a:gd name="connsiteY977" fmla="*/ 453296 h 2084191"/>
              <a:gd name="connsiteX978" fmla="*/ 1233689 w 2051041"/>
              <a:gd name="connsiteY978" fmla="*/ 497374 h 2084191"/>
              <a:gd name="connsiteX979" fmla="*/ 1189611 w 2051041"/>
              <a:gd name="connsiteY979" fmla="*/ 451664 h 2084191"/>
              <a:gd name="connsiteX980" fmla="*/ 1235865 w 2051041"/>
              <a:gd name="connsiteY980" fmla="*/ 408130 h 2084191"/>
              <a:gd name="connsiteX981" fmla="*/ 1396941 w 2051041"/>
              <a:gd name="connsiteY981" fmla="*/ 403776 h 2084191"/>
              <a:gd name="connsiteX982" fmla="*/ 1446461 w 2051041"/>
              <a:gd name="connsiteY982" fmla="*/ 450575 h 2084191"/>
              <a:gd name="connsiteX983" fmla="*/ 1399118 w 2051041"/>
              <a:gd name="connsiteY983" fmla="*/ 500640 h 2084191"/>
              <a:gd name="connsiteX984" fmla="*/ 1349598 w 2051041"/>
              <a:gd name="connsiteY984" fmla="*/ 453296 h 2084191"/>
              <a:gd name="connsiteX985" fmla="*/ 1396941 w 2051041"/>
              <a:gd name="connsiteY985" fmla="*/ 403776 h 2084191"/>
              <a:gd name="connsiteX986" fmla="*/ 1560738 w 2051041"/>
              <a:gd name="connsiteY986" fmla="*/ 402144 h 2084191"/>
              <a:gd name="connsiteX987" fmla="*/ 1611347 w 2051041"/>
              <a:gd name="connsiteY987" fmla="*/ 453297 h 2084191"/>
              <a:gd name="connsiteX988" fmla="*/ 1560194 w 2051041"/>
              <a:gd name="connsiteY988" fmla="*/ 502272 h 2084191"/>
              <a:gd name="connsiteX989" fmla="*/ 1511218 w 2051041"/>
              <a:gd name="connsiteY989" fmla="*/ 451664 h 2084191"/>
              <a:gd name="connsiteX990" fmla="*/ 1560738 w 2051041"/>
              <a:gd name="connsiteY990" fmla="*/ 402144 h 2084191"/>
              <a:gd name="connsiteX991" fmla="*/ 1723991 w 2051041"/>
              <a:gd name="connsiteY991" fmla="*/ 399423 h 2084191"/>
              <a:gd name="connsiteX992" fmla="*/ 1776776 w 2051041"/>
              <a:gd name="connsiteY992" fmla="*/ 452752 h 2084191"/>
              <a:gd name="connsiteX993" fmla="*/ 1725079 w 2051041"/>
              <a:gd name="connsiteY993" fmla="*/ 504993 h 2084191"/>
              <a:gd name="connsiteX994" fmla="*/ 1671750 w 2051041"/>
              <a:gd name="connsiteY994" fmla="*/ 452752 h 2084191"/>
              <a:gd name="connsiteX995" fmla="*/ 1723991 w 2051041"/>
              <a:gd name="connsiteY995" fmla="*/ 399423 h 2084191"/>
              <a:gd name="connsiteX996" fmla="*/ 2051040 w 2051041"/>
              <a:gd name="connsiteY996" fmla="*/ 398335 h 2084191"/>
              <a:gd name="connsiteX997" fmla="*/ 2051041 w 2051041"/>
              <a:gd name="connsiteY997" fmla="*/ 398335 h 2084191"/>
              <a:gd name="connsiteX998" fmla="*/ 2051041 w 2051041"/>
              <a:gd name="connsiteY998" fmla="*/ 506936 h 2084191"/>
              <a:gd name="connsiteX999" fmla="*/ 2049952 w 2051041"/>
              <a:gd name="connsiteY999" fmla="*/ 507170 h 2084191"/>
              <a:gd name="connsiteX1000" fmla="*/ 1995534 w 2051041"/>
              <a:gd name="connsiteY1000" fmla="*/ 452208 h 2084191"/>
              <a:gd name="connsiteX1001" fmla="*/ 2051040 w 2051041"/>
              <a:gd name="connsiteY1001" fmla="*/ 398335 h 2084191"/>
              <a:gd name="connsiteX1002" fmla="*/ 1888332 w 2051041"/>
              <a:gd name="connsiteY1002" fmla="*/ 398335 h 2084191"/>
              <a:gd name="connsiteX1003" fmla="*/ 1941661 w 2051041"/>
              <a:gd name="connsiteY1003" fmla="*/ 452208 h 2084191"/>
              <a:gd name="connsiteX1004" fmla="*/ 1886699 w 2051041"/>
              <a:gd name="connsiteY1004" fmla="*/ 506082 h 2084191"/>
              <a:gd name="connsiteX1005" fmla="*/ 1833370 w 2051041"/>
              <a:gd name="connsiteY1005" fmla="*/ 452208 h 2084191"/>
              <a:gd name="connsiteX1006" fmla="*/ 1888332 w 2051041"/>
              <a:gd name="connsiteY1006" fmla="*/ 398335 h 2084191"/>
              <a:gd name="connsiteX1007" fmla="*/ 12014 w 2051041"/>
              <a:gd name="connsiteY1007" fmla="*/ 364052 h 2084191"/>
              <a:gd name="connsiteX1008" fmla="*/ 15823 w 2051041"/>
              <a:gd name="connsiteY1008" fmla="*/ 370038 h 2084191"/>
              <a:gd name="connsiteX1009" fmla="*/ 9293 w 2051041"/>
              <a:gd name="connsiteY1009" fmla="*/ 377656 h 2084191"/>
              <a:gd name="connsiteX1010" fmla="*/ 3307 w 2051041"/>
              <a:gd name="connsiteY1010" fmla="*/ 371126 h 2084191"/>
              <a:gd name="connsiteX1011" fmla="*/ 12014 w 2051041"/>
              <a:gd name="connsiteY1011" fmla="*/ 364052 h 2084191"/>
              <a:gd name="connsiteX1012" fmla="*/ 172545 w 2051041"/>
              <a:gd name="connsiteY1012" fmla="*/ 353713 h 2084191"/>
              <a:gd name="connsiteX1013" fmla="*/ 190503 w 2051041"/>
              <a:gd name="connsiteY1013" fmla="*/ 370582 h 2084191"/>
              <a:gd name="connsiteX1014" fmla="*/ 173090 w 2051041"/>
              <a:gd name="connsiteY1014" fmla="*/ 387996 h 2084191"/>
              <a:gd name="connsiteX1015" fmla="*/ 155676 w 2051041"/>
              <a:gd name="connsiteY1015" fmla="*/ 371126 h 2084191"/>
              <a:gd name="connsiteX1016" fmla="*/ 172545 w 2051041"/>
              <a:gd name="connsiteY1016" fmla="*/ 353713 h 2084191"/>
              <a:gd name="connsiteX1017" fmla="*/ 336886 w 2051041"/>
              <a:gd name="connsiteY1017" fmla="*/ 345550 h 2084191"/>
              <a:gd name="connsiteX1018" fmla="*/ 361374 w 2051041"/>
              <a:gd name="connsiteY1018" fmla="*/ 371670 h 2084191"/>
              <a:gd name="connsiteX1019" fmla="*/ 335798 w 2051041"/>
              <a:gd name="connsiteY1019" fmla="*/ 395070 h 2084191"/>
              <a:gd name="connsiteX1020" fmla="*/ 311854 w 2051041"/>
              <a:gd name="connsiteY1020" fmla="*/ 370038 h 2084191"/>
              <a:gd name="connsiteX1021" fmla="*/ 336886 w 2051041"/>
              <a:gd name="connsiteY1021" fmla="*/ 345550 h 2084191"/>
              <a:gd name="connsiteX1022" fmla="*/ 499596 w 2051041"/>
              <a:gd name="connsiteY1022" fmla="*/ 342284 h 2084191"/>
              <a:gd name="connsiteX1023" fmla="*/ 528437 w 2051041"/>
              <a:gd name="connsiteY1023" fmla="*/ 370582 h 2084191"/>
              <a:gd name="connsiteX1024" fmla="*/ 499051 w 2051041"/>
              <a:gd name="connsiteY1024" fmla="*/ 399423 h 2084191"/>
              <a:gd name="connsiteX1025" fmla="*/ 470210 w 2051041"/>
              <a:gd name="connsiteY1025" fmla="*/ 370037 h 2084191"/>
              <a:gd name="connsiteX1026" fmla="*/ 499596 w 2051041"/>
              <a:gd name="connsiteY1026" fmla="*/ 342284 h 2084191"/>
              <a:gd name="connsiteX1027" fmla="*/ 663392 w 2051041"/>
              <a:gd name="connsiteY1027" fmla="*/ 337387 h 2084191"/>
              <a:gd name="connsiteX1028" fmla="*/ 697131 w 2051041"/>
              <a:gd name="connsiteY1028" fmla="*/ 371126 h 2084191"/>
              <a:gd name="connsiteX1029" fmla="*/ 662304 w 2051041"/>
              <a:gd name="connsiteY1029" fmla="*/ 404321 h 2084191"/>
              <a:gd name="connsiteX1030" fmla="*/ 629109 w 2051041"/>
              <a:gd name="connsiteY1030" fmla="*/ 371126 h 2084191"/>
              <a:gd name="connsiteX1031" fmla="*/ 663392 w 2051041"/>
              <a:gd name="connsiteY1031" fmla="*/ 337387 h 2084191"/>
              <a:gd name="connsiteX1032" fmla="*/ 825556 w 2051041"/>
              <a:gd name="connsiteY1032" fmla="*/ 332489 h 2084191"/>
              <a:gd name="connsiteX1033" fmla="*/ 864737 w 2051041"/>
              <a:gd name="connsiteY1033" fmla="*/ 370037 h 2084191"/>
              <a:gd name="connsiteX1034" fmla="*/ 826645 w 2051041"/>
              <a:gd name="connsiteY1034" fmla="*/ 409218 h 2084191"/>
              <a:gd name="connsiteX1035" fmla="*/ 787464 w 2051041"/>
              <a:gd name="connsiteY1035" fmla="*/ 371126 h 2084191"/>
              <a:gd name="connsiteX1036" fmla="*/ 825556 w 2051041"/>
              <a:gd name="connsiteY1036" fmla="*/ 332489 h 2084191"/>
              <a:gd name="connsiteX1037" fmla="*/ 989898 w 2051041"/>
              <a:gd name="connsiteY1037" fmla="*/ 328680 h 2084191"/>
              <a:gd name="connsiteX1038" fmla="*/ 1031255 w 2051041"/>
              <a:gd name="connsiteY1038" fmla="*/ 371126 h 2084191"/>
              <a:gd name="connsiteX1039" fmla="*/ 989354 w 2051041"/>
              <a:gd name="connsiteY1039" fmla="*/ 413027 h 2084191"/>
              <a:gd name="connsiteX1040" fmla="*/ 947452 w 2051041"/>
              <a:gd name="connsiteY1040" fmla="*/ 370037 h 2084191"/>
              <a:gd name="connsiteX1041" fmla="*/ 989898 w 2051041"/>
              <a:gd name="connsiteY1041" fmla="*/ 328680 h 2084191"/>
              <a:gd name="connsiteX1042" fmla="*/ 1153150 w 2051041"/>
              <a:gd name="connsiteY1042" fmla="*/ 326504 h 2084191"/>
              <a:gd name="connsiteX1043" fmla="*/ 1197228 w 2051041"/>
              <a:gd name="connsiteY1043" fmla="*/ 370582 h 2084191"/>
              <a:gd name="connsiteX1044" fmla="*/ 1152606 w 2051041"/>
              <a:gd name="connsiteY1044" fmla="*/ 414661 h 2084191"/>
              <a:gd name="connsiteX1045" fmla="*/ 1108528 w 2051041"/>
              <a:gd name="connsiteY1045" fmla="*/ 370038 h 2084191"/>
              <a:gd name="connsiteX1046" fmla="*/ 1153150 w 2051041"/>
              <a:gd name="connsiteY1046" fmla="*/ 326504 h 2084191"/>
              <a:gd name="connsiteX1047" fmla="*/ 1317492 w 2051041"/>
              <a:gd name="connsiteY1047" fmla="*/ 323239 h 2084191"/>
              <a:gd name="connsiteX1048" fmla="*/ 1364835 w 2051041"/>
              <a:gd name="connsiteY1048" fmla="*/ 372215 h 2084191"/>
              <a:gd name="connsiteX1049" fmla="*/ 1314771 w 2051041"/>
              <a:gd name="connsiteY1049" fmla="*/ 419014 h 2084191"/>
              <a:gd name="connsiteX1050" fmla="*/ 1268516 w 2051041"/>
              <a:gd name="connsiteY1050" fmla="*/ 370582 h 2084191"/>
              <a:gd name="connsiteX1051" fmla="*/ 1317492 w 2051041"/>
              <a:gd name="connsiteY1051" fmla="*/ 323239 h 2084191"/>
              <a:gd name="connsiteX1052" fmla="*/ 1479112 w 2051041"/>
              <a:gd name="connsiteY1052" fmla="*/ 320517 h 2084191"/>
              <a:gd name="connsiteX1053" fmla="*/ 1529720 w 2051041"/>
              <a:gd name="connsiteY1053" fmla="*/ 371670 h 2084191"/>
              <a:gd name="connsiteX1054" fmla="*/ 1478568 w 2051041"/>
              <a:gd name="connsiteY1054" fmla="*/ 420101 h 2084191"/>
              <a:gd name="connsiteX1055" fmla="*/ 1429592 w 2051041"/>
              <a:gd name="connsiteY1055" fmla="*/ 370037 h 2084191"/>
              <a:gd name="connsiteX1056" fmla="*/ 1479112 w 2051041"/>
              <a:gd name="connsiteY1056" fmla="*/ 320517 h 2084191"/>
              <a:gd name="connsiteX1057" fmla="*/ 1642364 w 2051041"/>
              <a:gd name="connsiteY1057" fmla="*/ 318341 h 2084191"/>
              <a:gd name="connsiteX1058" fmla="*/ 1695694 w 2051041"/>
              <a:gd name="connsiteY1058" fmla="*/ 370582 h 2084191"/>
              <a:gd name="connsiteX1059" fmla="*/ 1643453 w 2051041"/>
              <a:gd name="connsiteY1059" fmla="*/ 424455 h 2084191"/>
              <a:gd name="connsiteX1060" fmla="*/ 1589035 w 2051041"/>
              <a:gd name="connsiteY1060" fmla="*/ 371670 h 2084191"/>
              <a:gd name="connsiteX1061" fmla="*/ 1642364 w 2051041"/>
              <a:gd name="connsiteY1061" fmla="*/ 318341 h 2084191"/>
              <a:gd name="connsiteX1062" fmla="*/ 90919 w 2051041"/>
              <a:gd name="connsiteY1062" fmla="*/ 273718 h 2084191"/>
              <a:gd name="connsiteX1063" fmla="*/ 106700 w 2051041"/>
              <a:gd name="connsiteY1063" fmla="*/ 288411 h 2084191"/>
              <a:gd name="connsiteX1064" fmla="*/ 91463 w 2051041"/>
              <a:gd name="connsiteY1064" fmla="*/ 303648 h 2084191"/>
              <a:gd name="connsiteX1065" fmla="*/ 76770 w 2051041"/>
              <a:gd name="connsiteY1065" fmla="*/ 288411 h 2084191"/>
              <a:gd name="connsiteX1066" fmla="*/ 90919 w 2051041"/>
              <a:gd name="connsiteY1066" fmla="*/ 273718 h 2084191"/>
              <a:gd name="connsiteX1067" fmla="*/ 254716 w 2051041"/>
              <a:gd name="connsiteY1067" fmla="*/ 267733 h 2084191"/>
              <a:gd name="connsiteX1068" fmla="*/ 276483 w 2051041"/>
              <a:gd name="connsiteY1068" fmla="*/ 288956 h 2084191"/>
              <a:gd name="connsiteX1069" fmla="*/ 254172 w 2051041"/>
              <a:gd name="connsiteY1069" fmla="*/ 311811 h 2084191"/>
              <a:gd name="connsiteX1070" fmla="*/ 232405 w 2051041"/>
              <a:gd name="connsiteY1070" fmla="*/ 289500 h 2084191"/>
              <a:gd name="connsiteX1071" fmla="*/ 254716 w 2051041"/>
              <a:gd name="connsiteY1071" fmla="*/ 267733 h 2084191"/>
              <a:gd name="connsiteX1072" fmla="*/ 1941117 w 2051041"/>
              <a:gd name="connsiteY1072" fmla="*/ 263202 h 2084191"/>
              <a:gd name="connsiteX1073" fmla="*/ 1936219 w 2051041"/>
              <a:gd name="connsiteY1073" fmla="*/ 266467 h 2084191"/>
              <a:gd name="connsiteX1074" fmla="*/ 1938396 w 2051041"/>
              <a:gd name="connsiteY1074" fmla="*/ 272453 h 2084191"/>
              <a:gd name="connsiteX1075" fmla="*/ 1932954 w 2051041"/>
              <a:gd name="connsiteY1075" fmla="*/ 325782 h 2084191"/>
              <a:gd name="connsiteX1076" fmla="*/ 1930777 w 2051041"/>
              <a:gd name="connsiteY1076" fmla="*/ 331224 h 2084191"/>
              <a:gd name="connsiteX1077" fmla="*/ 1936219 w 2051041"/>
              <a:gd name="connsiteY1077" fmla="*/ 330136 h 2084191"/>
              <a:gd name="connsiteX1078" fmla="*/ 1966693 w 2051041"/>
              <a:gd name="connsiteY1078" fmla="*/ 320340 h 2084191"/>
              <a:gd name="connsiteX1079" fmla="*/ 1998799 w 2051041"/>
              <a:gd name="connsiteY1079" fmla="*/ 328503 h 2084191"/>
              <a:gd name="connsiteX1080" fmla="*/ 2003153 w 2051041"/>
              <a:gd name="connsiteY1080" fmla="*/ 330136 h 2084191"/>
              <a:gd name="connsiteX1081" fmla="*/ 2001520 w 2051041"/>
              <a:gd name="connsiteY1081" fmla="*/ 324694 h 2084191"/>
              <a:gd name="connsiteX1082" fmla="*/ 1994446 w 2051041"/>
              <a:gd name="connsiteY1082" fmla="*/ 309457 h 2084191"/>
              <a:gd name="connsiteX1083" fmla="*/ 1998255 w 2051041"/>
              <a:gd name="connsiteY1083" fmla="*/ 267555 h 2084191"/>
              <a:gd name="connsiteX1084" fmla="*/ 2000976 w 2051041"/>
              <a:gd name="connsiteY1084" fmla="*/ 263746 h 2084191"/>
              <a:gd name="connsiteX1085" fmla="*/ 1995534 w 2051041"/>
              <a:gd name="connsiteY1085" fmla="*/ 263746 h 2084191"/>
              <a:gd name="connsiteX1086" fmla="*/ 1941117 w 2051041"/>
              <a:gd name="connsiteY1086" fmla="*/ 263202 h 2084191"/>
              <a:gd name="connsiteX1087" fmla="*/ 417425 w 2051041"/>
              <a:gd name="connsiteY1087" fmla="*/ 262291 h 2084191"/>
              <a:gd name="connsiteX1088" fmla="*/ 445178 w 2051041"/>
              <a:gd name="connsiteY1088" fmla="*/ 288956 h 2084191"/>
              <a:gd name="connsiteX1089" fmla="*/ 417969 w 2051041"/>
              <a:gd name="connsiteY1089" fmla="*/ 317253 h 2084191"/>
              <a:gd name="connsiteX1090" fmla="*/ 390216 w 2051041"/>
              <a:gd name="connsiteY1090" fmla="*/ 290044 h 2084191"/>
              <a:gd name="connsiteX1091" fmla="*/ 417425 w 2051041"/>
              <a:gd name="connsiteY1091" fmla="*/ 262291 h 2084191"/>
              <a:gd name="connsiteX1092" fmla="*/ 580678 w 2051041"/>
              <a:gd name="connsiteY1092" fmla="*/ 256304 h 2084191"/>
              <a:gd name="connsiteX1093" fmla="*/ 613872 w 2051041"/>
              <a:gd name="connsiteY1093" fmla="*/ 288955 h 2084191"/>
              <a:gd name="connsiteX1094" fmla="*/ 581222 w 2051041"/>
              <a:gd name="connsiteY1094" fmla="*/ 322150 h 2084191"/>
              <a:gd name="connsiteX1095" fmla="*/ 548027 w 2051041"/>
              <a:gd name="connsiteY1095" fmla="*/ 289499 h 2084191"/>
              <a:gd name="connsiteX1096" fmla="*/ 580678 w 2051041"/>
              <a:gd name="connsiteY1096" fmla="*/ 256304 h 2084191"/>
              <a:gd name="connsiteX1097" fmla="*/ 743930 w 2051041"/>
              <a:gd name="connsiteY1097" fmla="*/ 251951 h 2084191"/>
              <a:gd name="connsiteX1098" fmla="*/ 782022 w 2051041"/>
              <a:gd name="connsiteY1098" fmla="*/ 289499 h 2084191"/>
              <a:gd name="connsiteX1099" fmla="*/ 744474 w 2051041"/>
              <a:gd name="connsiteY1099" fmla="*/ 326503 h 2084191"/>
              <a:gd name="connsiteX1100" fmla="*/ 707470 w 2051041"/>
              <a:gd name="connsiteY1100" fmla="*/ 289499 h 2084191"/>
              <a:gd name="connsiteX1101" fmla="*/ 743930 w 2051041"/>
              <a:gd name="connsiteY1101" fmla="*/ 251951 h 2084191"/>
              <a:gd name="connsiteX1102" fmla="*/ 907183 w 2051041"/>
              <a:gd name="connsiteY1102" fmla="*/ 249775 h 2084191"/>
              <a:gd name="connsiteX1103" fmla="*/ 947452 w 2051041"/>
              <a:gd name="connsiteY1103" fmla="*/ 289500 h 2084191"/>
              <a:gd name="connsiteX1104" fmla="*/ 908271 w 2051041"/>
              <a:gd name="connsiteY1104" fmla="*/ 329225 h 2084191"/>
              <a:gd name="connsiteX1105" fmla="*/ 867458 w 2051041"/>
              <a:gd name="connsiteY1105" fmla="*/ 290044 h 2084191"/>
              <a:gd name="connsiteX1106" fmla="*/ 907183 w 2051041"/>
              <a:gd name="connsiteY1106" fmla="*/ 249775 h 2084191"/>
              <a:gd name="connsiteX1107" fmla="*/ 1070435 w 2051041"/>
              <a:gd name="connsiteY1107" fmla="*/ 245965 h 2084191"/>
              <a:gd name="connsiteX1108" fmla="*/ 1114513 w 2051041"/>
              <a:gd name="connsiteY1108" fmla="*/ 290043 h 2084191"/>
              <a:gd name="connsiteX1109" fmla="*/ 1069347 w 2051041"/>
              <a:gd name="connsiteY1109" fmla="*/ 333578 h 2084191"/>
              <a:gd name="connsiteX1110" fmla="*/ 1026357 w 2051041"/>
              <a:gd name="connsiteY1110" fmla="*/ 288955 h 2084191"/>
              <a:gd name="connsiteX1111" fmla="*/ 1070435 w 2051041"/>
              <a:gd name="connsiteY1111" fmla="*/ 245965 h 2084191"/>
              <a:gd name="connsiteX1112" fmla="*/ 1233689 w 2051041"/>
              <a:gd name="connsiteY1112" fmla="*/ 241613 h 2084191"/>
              <a:gd name="connsiteX1113" fmla="*/ 1282120 w 2051041"/>
              <a:gd name="connsiteY1113" fmla="*/ 288412 h 2084191"/>
              <a:gd name="connsiteX1114" fmla="*/ 1235321 w 2051041"/>
              <a:gd name="connsiteY1114" fmla="*/ 335755 h 2084191"/>
              <a:gd name="connsiteX1115" fmla="*/ 1187434 w 2051041"/>
              <a:gd name="connsiteY1115" fmla="*/ 289500 h 2084191"/>
              <a:gd name="connsiteX1116" fmla="*/ 1233689 w 2051041"/>
              <a:gd name="connsiteY1116" fmla="*/ 241613 h 2084191"/>
              <a:gd name="connsiteX1117" fmla="*/ 1397485 w 2051041"/>
              <a:gd name="connsiteY1117" fmla="*/ 238891 h 2084191"/>
              <a:gd name="connsiteX1118" fmla="*/ 1448094 w 2051041"/>
              <a:gd name="connsiteY1118" fmla="*/ 288955 h 2084191"/>
              <a:gd name="connsiteX1119" fmla="*/ 1398029 w 2051041"/>
              <a:gd name="connsiteY1119" fmla="*/ 338475 h 2084191"/>
              <a:gd name="connsiteX1120" fmla="*/ 1348509 w 2051041"/>
              <a:gd name="connsiteY1120" fmla="*/ 289499 h 2084191"/>
              <a:gd name="connsiteX1121" fmla="*/ 1397485 w 2051041"/>
              <a:gd name="connsiteY1121" fmla="*/ 238891 h 2084191"/>
              <a:gd name="connsiteX1122" fmla="*/ 1559650 w 2051041"/>
              <a:gd name="connsiteY1122" fmla="*/ 237258 h 2084191"/>
              <a:gd name="connsiteX1123" fmla="*/ 1613523 w 2051041"/>
              <a:gd name="connsiteY1123" fmla="*/ 288955 h 2084191"/>
              <a:gd name="connsiteX1124" fmla="*/ 1560738 w 2051041"/>
              <a:gd name="connsiteY1124" fmla="*/ 342829 h 2084191"/>
              <a:gd name="connsiteX1125" fmla="*/ 1507953 w 2051041"/>
              <a:gd name="connsiteY1125" fmla="*/ 289499 h 2084191"/>
              <a:gd name="connsiteX1126" fmla="*/ 1559650 w 2051041"/>
              <a:gd name="connsiteY1126" fmla="*/ 237258 h 2084191"/>
              <a:gd name="connsiteX1127" fmla="*/ 9837 w 2051041"/>
              <a:gd name="connsiteY1127" fmla="*/ 198078 h 2084191"/>
              <a:gd name="connsiteX1128" fmla="*/ 19632 w 2051041"/>
              <a:gd name="connsiteY1128" fmla="*/ 207873 h 2084191"/>
              <a:gd name="connsiteX1129" fmla="*/ 10381 w 2051041"/>
              <a:gd name="connsiteY1129" fmla="*/ 218213 h 2084191"/>
              <a:gd name="connsiteX1130" fmla="*/ 42 w 2051041"/>
              <a:gd name="connsiteY1130" fmla="*/ 207873 h 2084191"/>
              <a:gd name="connsiteX1131" fmla="*/ 9837 w 2051041"/>
              <a:gd name="connsiteY1131" fmla="*/ 198078 h 2084191"/>
              <a:gd name="connsiteX1132" fmla="*/ 173090 w 2051041"/>
              <a:gd name="connsiteY1132" fmla="*/ 187739 h 2084191"/>
              <a:gd name="connsiteX1133" fmla="*/ 192136 w 2051041"/>
              <a:gd name="connsiteY1133" fmla="*/ 207329 h 2084191"/>
              <a:gd name="connsiteX1134" fmla="*/ 172546 w 2051041"/>
              <a:gd name="connsiteY1134" fmla="*/ 227464 h 2084191"/>
              <a:gd name="connsiteX1135" fmla="*/ 154044 w 2051041"/>
              <a:gd name="connsiteY1135" fmla="*/ 208418 h 2084191"/>
              <a:gd name="connsiteX1136" fmla="*/ 173090 w 2051041"/>
              <a:gd name="connsiteY1136" fmla="*/ 187739 h 2084191"/>
              <a:gd name="connsiteX1137" fmla="*/ 336887 w 2051041"/>
              <a:gd name="connsiteY1137" fmla="*/ 182297 h 2084191"/>
              <a:gd name="connsiteX1138" fmla="*/ 363007 w 2051041"/>
              <a:gd name="connsiteY1138" fmla="*/ 207329 h 2084191"/>
              <a:gd name="connsiteX1139" fmla="*/ 336887 w 2051041"/>
              <a:gd name="connsiteY1139" fmla="*/ 233994 h 2084191"/>
              <a:gd name="connsiteX1140" fmla="*/ 310766 w 2051041"/>
              <a:gd name="connsiteY1140" fmla="*/ 208961 h 2084191"/>
              <a:gd name="connsiteX1141" fmla="*/ 336887 w 2051041"/>
              <a:gd name="connsiteY1141" fmla="*/ 182297 h 2084191"/>
              <a:gd name="connsiteX1142" fmla="*/ 1856225 w 2051041"/>
              <a:gd name="connsiteY1142" fmla="*/ 180487 h 2084191"/>
              <a:gd name="connsiteX1143" fmla="*/ 1855681 w 2051041"/>
              <a:gd name="connsiteY1143" fmla="*/ 185929 h 2084191"/>
              <a:gd name="connsiteX1144" fmla="*/ 1851872 w 2051041"/>
              <a:gd name="connsiteY1144" fmla="*/ 244700 h 2084191"/>
              <a:gd name="connsiteX1145" fmla="*/ 1851328 w 2051041"/>
              <a:gd name="connsiteY1145" fmla="*/ 247965 h 2084191"/>
              <a:gd name="connsiteX1146" fmla="*/ 1854593 w 2051041"/>
              <a:gd name="connsiteY1146" fmla="*/ 247421 h 2084191"/>
              <a:gd name="connsiteX1147" fmla="*/ 1899215 w 2051041"/>
              <a:gd name="connsiteY1147" fmla="*/ 238714 h 2084191"/>
              <a:gd name="connsiteX1148" fmla="*/ 1913908 w 2051041"/>
              <a:gd name="connsiteY1148" fmla="*/ 243067 h 2084191"/>
              <a:gd name="connsiteX1149" fmla="*/ 1918806 w 2051041"/>
              <a:gd name="connsiteY1149" fmla="*/ 242523 h 2084191"/>
              <a:gd name="connsiteX1150" fmla="*/ 1918261 w 2051041"/>
              <a:gd name="connsiteY1150" fmla="*/ 238170 h 2084191"/>
              <a:gd name="connsiteX1151" fmla="*/ 1917173 w 2051041"/>
              <a:gd name="connsiteY1151" fmla="*/ 185929 h 2084191"/>
              <a:gd name="connsiteX1152" fmla="*/ 1918261 w 2051041"/>
              <a:gd name="connsiteY1152" fmla="*/ 181576 h 2084191"/>
              <a:gd name="connsiteX1153" fmla="*/ 1913908 w 2051041"/>
              <a:gd name="connsiteY1153" fmla="*/ 182664 h 2084191"/>
              <a:gd name="connsiteX1154" fmla="*/ 1860579 w 2051041"/>
              <a:gd name="connsiteY1154" fmla="*/ 180487 h 2084191"/>
              <a:gd name="connsiteX1155" fmla="*/ 1856225 w 2051041"/>
              <a:gd name="connsiteY1155" fmla="*/ 180487 h 2084191"/>
              <a:gd name="connsiteX1156" fmla="*/ 499595 w 2051041"/>
              <a:gd name="connsiteY1156" fmla="*/ 175767 h 2084191"/>
              <a:gd name="connsiteX1157" fmla="*/ 531158 w 2051041"/>
              <a:gd name="connsiteY1157" fmla="*/ 207874 h 2084191"/>
              <a:gd name="connsiteX1158" fmla="*/ 498507 w 2051041"/>
              <a:gd name="connsiteY1158" fmla="*/ 238347 h 2084191"/>
              <a:gd name="connsiteX1159" fmla="*/ 468033 w 2051041"/>
              <a:gd name="connsiteY1159" fmla="*/ 207329 h 2084191"/>
              <a:gd name="connsiteX1160" fmla="*/ 499595 w 2051041"/>
              <a:gd name="connsiteY1160" fmla="*/ 175767 h 2084191"/>
              <a:gd name="connsiteX1161" fmla="*/ 662304 w 2051041"/>
              <a:gd name="connsiteY1161" fmla="*/ 173046 h 2084191"/>
              <a:gd name="connsiteX1162" fmla="*/ 697676 w 2051041"/>
              <a:gd name="connsiteY1162" fmla="*/ 207873 h 2084191"/>
              <a:gd name="connsiteX1163" fmla="*/ 662304 w 2051041"/>
              <a:gd name="connsiteY1163" fmla="*/ 242156 h 2084191"/>
              <a:gd name="connsiteX1164" fmla="*/ 628021 w 2051041"/>
              <a:gd name="connsiteY1164" fmla="*/ 207873 h 2084191"/>
              <a:gd name="connsiteX1165" fmla="*/ 662304 w 2051041"/>
              <a:gd name="connsiteY1165" fmla="*/ 173046 h 2084191"/>
              <a:gd name="connsiteX1166" fmla="*/ 826645 w 2051041"/>
              <a:gd name="connsiteY1166" fmla="*/ 168148 h 2084191"/>
              <a:gd name="connsiteX1167" fmla="*/ 864737 w 2051041"/>
              <a:gd name="connsiteY1167" fmla="*/ 207329 h 2084191"/>
              <a:gd name="connsiteX1168" fmla="*/ 826100 w 2051041"/>
              <a:gd name="connsiteY1168" fmla="*/ 247054 h 2084191"/>
              <a:gd name="connsiteX1169" fmla="*/ 787464 w 2051041"/>
              <a:gd name="connsiteY1169" fmla="*/ 207873 h 2084191"/>
              <a:gd name="connsiteX1170" fmla="*/ 826645 w 2051041"/>
              <a:gd name="connsiteY1170" fmla="*/ 168148 h 2084191"/>
              <a:gd name="connsiteX1171" fmla="*/ 987721 w 2051041"/>
              <a:gd name="connsiteY1171" fmla="*/ 164883 h 2084191"/>
              <a:gd name="connsiteX1172" fmla="*/ 1031799 w 2051041"/>
              <a:gd name="connsiteY1172" fmla="*/ 207329 h 2084191"/>
              <a:gd name="connsiteX1173" fmla="*/ 988809 w 2051041"/>
              <a:gd name="connsiteY1173" fmla="*/ 250319 h 2084191"/>
              <a:gd name="connsiteX1174" fmla="*/ 945819 w 2051041"/>
              <a:gd name="connsiteY1174" fmla="*/ 208417 h 2084191"/>
              <a:gd name="connsiteX1175" fmla="*/ 987721 w 2051041"/>
              <a:gd name="connsiteY1175" fmla="*/ 164883 h 2084191"/>
              <a:gd name="connsiteX1176" fmla="*/ 1153150 w 2051041"/>
              <a:gd name="connsiteY1176" fmla="*/ 162707 h 2084191"/>
              <a:gd name="connsiteX1177" fmla="*/ 1197772 w 2051041"/>
              <a:gd name="connsiteY1177" fmla="*/ 207874 h 2084191"/>
              <a:gd name="connsiteX1178" fmla="*/ 1151517 w 2051041"/>
              <a:gd name="connsiteY1178" fmla="*/ 253584 h 2084191"/>
              <a:gd name="connsiteX1179" fmla="*/ 1107439 w 2051041"/>
              <a:gd name="connsiteY1179" fmla="*/ 207329 h 2084191"/>
              <a:gd name="connsiteX1180" fmla="*/ 1153150 w 2051041"/>
              <a:gd name="connsiteY1180" fmla="*/ 162707 h 2084191"/>
              <a:gd name="connsiteX1181" fmla="*/ 1315315 w 2051041"/>
              <a:gd name="connsiteY1181" fmla="*/ 158353 h 2084191"/>
              <a:gd name="connsiteX1182" fmla="*/ 1365379 w 2051041"/>
              <a:gd name="connsiteY1182" fmla="*/ 206785 h 2084191"/>
              <a:gd name="connsiteX1183" fmla="*/ 1315859 w 2051041"/>
              <a:gd name="connsiteY1183" fmla="*/ 256305 h 2084191"/>
              <a:gd name="connsiteX1184" fmla="*/ 1266883 w 2051041"/>
              <a:gd name="connsiteY1184" fmla="*/ 207873 h 2084191"/>
              <a:gd name="connsiteX1185" fmla="*/ 1315315 w 2051041"/>
              <a:gd name="connsiteY1185" fmla="*/ 158353 h 2084191"/>
              <a:gd name="connsiteX1186" fmla="*/ 1478567 w 2051041"/>
              <a:gd name="connsiteY1186" fmla="*/ 156721 h 2084191"/>
              <a:gd name="connsiteX1187" fmla="*/ 1529720 w 2051041"/>
              <a:gd name="connsiteY1187" fmla="*/ 207329 h 2084191"/>
              <a:gd name="connsiteX1188" fmla="*/ 1478567 w 2051041"/>
              <a:gd name="connsiteY1188" fmla="*/ 258482 h 2084191"/>
              <a:gd name="connsiteX1189" fmla="*/ 1427959 w 2051041"/>
              <a:gd name="connsiteY1189" fmla="*/ 207874 h 2084191"/>
              <a:gd name="connsiteX1190" fmla="*/ 1478567 w 2051041"/>
              <a:gd name="connsiteY1190" fmla="*/ 156721 h 2084191"/>
              <a:gd name="connsiteX1191" fmla="*/ 1644541 w 2051041"/>
              <a:gd name="connsiteY1191" fmla="*/ 153456 h 2084191"/>
              <a:gd name="connsiteX1192" fmla="*/ 1697326 w 2051041"/>
              <a:gd name="connsiteY1192" fmla="*/ 209506 h 2084191"/>
              <a:gd name="connsiteX1193" fmla="*/ 1641276 w 2051041"/>
              <a:gd name="connsiteY1193" fmla="*/ 262835 h 2084191"/>
              <a:gd name="connsiteX1194" fmla="*/ 1587947 w 2051041"/>
              <a:gd name="connsiteY1194" fmla="*/ 206785 h 2084191"/>
              <a:gd name="connsiteX1195" fmla="*/ 1644541 w 2051041"/>
              <a:gd name="connsiteY1195" fmla="*/ 153456 h 2084191"/>
              <a:gd name="connsiteX1196" fmla="*/ 91463 w 2051041"/>
              <a:gd name="connsiteY1196" fmla="*/ 109922 h 2084191"/>
              <a:gd name="connsiteX1197" fmla="*/ 107244 w 2051041"/>
              <a:gd name="connsiteY1197" fmla="*/ 126247 h 2084191"/>
              <a:gd name="connsiteX1198" fmla="*/ 91463 w 2051041"/>
              <a:gd name="connsiteY1198" fmla="*/ 142028 h 2084191"/>
              <a:gd name="connsiteX1199" fmla="*/ 75682 w 2051041"/>
              <a:gd name="connsiteY1199" fmla="*/ 126247 h 2084191"/>
              <a:gd name="connsiteX1200" fmla="*/ 91463 w 2051041"/>
              <a:gd name="connsiteY1200" fmla="*/ 109922 h 2084191"/>
              <a:gd name="connsiteX1201" fmla="*/ 1942341 w 2051041"/>
              <a:gd name="connsiteY1201" fmla="*/ 104915 h 2084191"/>
              <a:gd name="connsiteX1202" fmla="*/ 1942205 w 2051041"/>
              <a:gd name="connsiteY1202" fmla="*/ 111377 h 2084191"/>
              <a:gd name="connsiteX1203" fmla="*/ 1946559 w 2051041"/>
              <a:gd name="connsiteY1203" fmla="*/ 131511 h 2084191"/>
              <a:gd name="connsiteX1204" fmla="*/ 1939484 w 2051041"/>
              <a:gd name="connsiteY1204" fmla="*/ 157088 h 2084191"/>
              <a:gd name="connsiteX1205" fmla="*/ 1941117 w 2051041"/>
              <a:gd name="connsiteY1205" fmla="*/ 160353 h 2084191"/>
              <a:gd name="connsiteX1206" fmla="*/ 1986828 w 2051041"/>
              <a:gd name="connsiteY1206" fmla="*/ 157088 h 2084191"/>
              <a:gd name="connsiteX1207" fmla="*/ 1987916 w 2051041"/>
              <a:gd name="connsiteY1207" fmla="*/ 157088 h 2084191"/>
              <a:gd name="connsiteX1208" fmla="*/ 1993902 w 2051041"/>
              <a:gd name="connsiteY1208" fmla="*/ 150013 h 2084191"/>
              <a:gd name="connsiteX1209" fmla="*/ 1993902 w 2051041"/>
              <a:gd name="connsiteY1209" fmla="*/ 109744 h 2084191"/>
              <a:gd name="connsiteX1210" fmla="*/ 1989004 w 2051041"/>
              <a:gd name="connsiteY1210" fmla="*/ 105391 h 2084191"/>
              <a:gd name="connsiteX1211" fmla="*/ 1948191 w 2051041"/>
              <a:gd name="connsiteY1211" fmla="*/ 105391 h 2084191"/>
              <a:gd name="connsiteX1212" fmla="*/ 1942341 w 2051041"/>
              <a:gd name="connsiteY1212" fmla="*/ 104915 h 2084191"/>
              <a:gd name="connsiteX1213" fmla="*/ 255804 w 2051041"/>
              <a:gd name="connsiteY1213" fmla="*/ 103392 h 2084191"/>
              <a:gd name="connsiteX1214" fmla="*/ 277571 w 2051041"/>
              <a:gd name="connsiteY1214" fmla="*/ 126791 h 2084191"/>
              <a:gd name="connsiteX1215" fmla="*/ 254172 w 2051041"/>
              <a:gd name="connsiteY1215" fmla="*/ 148014 h 2084191"/>
              <a:gd name="connsiteX1216" fmla="*/ 232405 w 2051041"/>
              <a:gd name="connsiteY1216" fmla="*/ 125159 h 2084191"/>
              <a:gd name="connsiteX1217" fmla="*/ 255804 w 2051041"/>
              <a:gd name="connsiteY1217" fmla="*/ 103392 h 2084191"/>
              <a:gd name="connsiteX1218" fmla="*/ 1773511 w 2051041"/>
              <a:gd name="connsiteY1218" fmla="*/ 99405 h 2084191"/>
              <a:gd name="connsiteX1219" fmla="*/ 1773511 w 2051041"/>
              <a:gd name="connsiteY1219" fmla="*/ 107023 h 2084191"/>
              <a:gd name="connsiteX1220" fmla="*/ 1780585 w 2051041"/>
              <a:gd name="connsiteY1220" fmla="*/ 130423 h 2084191"/>
              <a:gd name="connsiteX1221" fmla="*/ 1773511 w 2051041"/>
              <a:gd name="connsiteY1221" fmla="*/ 155999 h 2084191"/>
              <a:gd name="connsiteX1222" fmla="*/ 1774055 w 2051041"/>
              <a:gd name="connsiteY1222" fmla="*/ 161985 h 2084191"/>
              <a:gd name="connsiteX1223" fmla="*/ 1780041 w 2051041"/>
              <a:gd name="connsiteY1223" fmla="*/ 162529 h 2084191"/>
              <a:gd name="connsiteX1224" fmla="*/ 1811059 w 2051041"/>
              <a:gd name="connsiteY1224" fmla="*/ 157632 h 2084191"/>
              <a:gd name="connsiteX1225" fmla="*/ 1829561 w 2051041"/>
              <a:gd name="connsiteY1225" fmla="*/ 161985 h 2084191"/>
              <a:gd name="connsiteX1226" fmla="*/ 1836635 w 2051041"/>
              <a:gd name="connsiteY1226" fmla="*/ 161985 h 2084191"/>
              <a:gd name="connsiteX1227" fmla="*/ 1833914 w 2051041"/>
              <a:gd name="connsiteY1227" fmla="*/ 157088 h 2084191"/>
              <a:gd name="connsiteX1228" fmla="*/ 1834458 w 2051041"/>
              <a:gd name="connsiteY1228" fmla="*/ 104303 h 2084191"/>
              <a:gd name="connsiteX1229" fmla="*/ 1835547 w 2051041"/>
              <a:gd name="connsiteY1229" fmla="*/ 99405 h 2084191"/>
              <a:gd name="connsiteX1230" fmla="*/ 1831193 w 2051041"/>
              <a:gd name="connsiteY1230" fmla="*/ 101038 h 2084191"/>
              <a:gd name="connsiteX1231" fmla="*/ 1780041 w 2051041"/>
              <a:gd name="connsiteY1231" fmla="*/ 101582 h 2084191"/>
              <a:gd name="connsiteX1232" fmla="*/ 1773511 w 2051041"/>
              <a:gd name="connsiteY1232" fmla="*/ 99405 h 2084191"/>
              <a:gd name="connsiteX1233" fmla="*/ 417424 w 2051041"/>
              <a:gd name="connsiteY1233" fmla="*/ 97950 h 2084191"/>
              <a:gd name="connsiteX1234" fmla="*/ 445721 w 2051041"/>
              <a:gd name="connsiteY1234" fmla="*/ 126247 h 2084191"/>
              <a:gd name="connsiteX1235" fmla="*/ 417424 w 2051041"/>
              <a:gd name="connsiteY1235" fmla="*/ 153456 h 2084191"/>
              <a:gd name="connsiteX1236" fmla="*/ 390215 w 2051041"/>
              <a:gd name="connsiteY1236" fmla="*/ 125159 h 2084191"/>
              <a:gd name="connsiteX1237" fmla="*/ 417424 w 2051041"/>
              <a:gd name="connsiteY1237" fmla="*/ 97950 h 2084191"/>
              <a:gd name="connsiteX1238" fmla="*/ 580677 w 2051041"/>
              <a:gd name="connsiteY1238" fmla="*/ 92508 h 2084191"/>
              <a:gd name="connsiteX1239" fmla="*/ 614960 w 2051041"/>
              <a:gd name="connsiteY1239" fmla="*/ 125159 h 2084191"/>
              <a:gd name="connsiteX1240" fmla="*/ 581766 w 2051041"/>
              <a:gd name="connsiteY1240" fmla="*/ 158353 h 2084191"/>
              <a:gd name="connsiteX1241" fmla="*/ 548571 w 2051041"/>
              <a:gd name="connsiteY1241" fmla="*/ 125703 h 2084191"/>
              <a:gd name="connsiteX1242" fmla="*/ 580677 w 2051041"/>
              <a:gd name="connsiteY1242" fmla="*/ 92508 h 2084191"/>
              <a:gd name="connsiteX1243" fmla="*/ 745019 w 2051041"/>
              <a:gd name="connsiteY1243" fmla="*/ 88154 h 2084191"/>
              <a:gd name="connsiteX1244" fmla="*/ 782567 w 2051041"/>
              <a:gd name="connsiteY1244" fmla="*/ 126791 h 2084191"/>
              <a:gd name="connsiteX1245" fmla="*/ 743930 w 2051041"/>
              <a:gd name="connsiteY1245" fmla="*/ 164339 h 2084191"/>
              <a:gd name="connsiteX1246" fmla="*/ 706382 w 2051041"/>
              <a:gd name="connsiteY1246" fmla="*/ 125702 h 2084191"/>
              <a:gd name="connsiteX1247" fmla="*/ 745019 w 2051041"/>
              <a:gd name="connsiteY1247" fmla="*/ 88154 h 2084191"/>
              <a:gd name="connsiteX1248" fmla="*/ 1685898 w 2051041"/>
              <a:gd name="connsiteY1248" fmla="*/ 84712 h 2084191"/>
              <a:gd name="connsiteX1249" fmla="*/ 1685681 w 2051041"/>
              <a:gd name="connsiteY1249" fmla="*/ 85147 h 2084191"/>
              <a:gd name="connsiteX1250" fmla="*/ 1685354 w 2051041"/>
              <a:gd name="connsiteY1250" fmla="*/ 85256 h 2084191"/>
              <a:gd name="connsiteX1251" fmla="*/ 1685898 w 2051041"/>
              <a:gd name="connsiteY1251" fmla="*/ 84712 h 2084191"/>
              <a:gd name="connsiteX1252" fmla="*/ 907183 w 2051041"/>
              <a:gd name="connsiteY1252" fmla="*/ 84345 h 2084191"/>
              <a:gd name="connsiteX1253" fmla="*/ 934935 w 2051041"/>
              <a:gd name="connsiteY1253" fmla="*/ 95228 h 2084191"/>
              <a:gd name="connsiteX1254" fmla="*/ 949628 w 2051041"/>
              <a:gd name="connsiteY1254" fmla="*/ 125158 h 2084191"/>
              <a:gd name="connsiteX1255" fmla="*/ 908271 w 2051041"/>
              <a:gd name="connsiteY1255" fmla="*/ 167060 h 2084191"/>
              <a:gd name="connsiteX1256" fmla="*/ 866369 w 2051041"/>
              <a:gd name="connsiteY1256" fmla="*/ 125702 h 2084191"/>
              <a:gd name="connsiteX1257" fmla="*/ 907183 w 2051041"/>
              <a:gd name="connsiteY1257" fmla="*/ 84345 h 2084191"/>
              <a:gd name="connsiteX1258" fmla="*/ 1070979 w 2051041"/>
              <a:gd name="connsiteY1258" fmla="*/ 82169 h 2084191"/>
              <a:gd name="connsiteX1259" fmla="*/ 1115602 w 2051041"/>
              <a:gd name="connsiteY1259" fmla="*/ 126247 h 2084191"/>
              <a:gd name="connsiteX1260" fmla="*/ 1071524 w 2051041"/>
              <a:gd name="connsiteY1260" fmla="*/ 170325 h 2084191"/>
              <a:gd name="connsiteX1261" fmla="*/ 1026357 w 2051041"/>
              <a:gd name="connsiteY1261" fmla="*/ 125703 h 2084191"/>
              <a:gd name="connsiteX1262" fmla="*/ 1070979 w 2051041"/>
              <a:gd name="connsiteY1262" fmla="*/ 82169 h 2084191"/>
              <a:gd name="connsiteX1263" fmla="*/ 1684811 w 2051041"/>
              <a:gd name="connsiteY1263" fmla="*/ 82168 h 2084191"/>
              <a:gd name="connsiteX1264" fmla="*/ 1684266 w 2051041"/>
              <a:gd name="connsiteY1264" fmla="*/ 82713 h 2084191"/>
              <a:gd name="connsiteX1265" fmla="*/ 1684469 w 2051041"/>
              <a:gd name="connsiteY1265" fmla="*/ 82365 h 2084191"/>
              <a:gd name="connsiteX1266" fmla="*/ 1234777 w 2051041"/>
              <a:gd name="connsiteY1266" fmla="*/ 78360 h 2084191"/>
              <a:gd name="connsiteX1267" fmla="*/ 1282664 w 2051041"/>
              <a:gd name="connsiteY1267" fmla="*/ 126791 h 2084191"/>
              <a:gd name="connsiteX1268" fmla="*/ 1234232 w 2051041"/>
              <a:gd name="connsiteY1268" fmla="*/ 174135 h 2084191"/>
              <a:gd name="connsiteX1269" fmla="*/ 1186889 w 2051041"/>
              <a:gd name="connsiteY1269" fmla="*/ 126791 h 2084191"/>
              <a:gd name="connsiteX1270" fmla="*/ 1234777 w 2051041"/>
              <a:gd name="connsiteY1270" fmla="*/ 78360 h 2084191"/>
              <a:gd name="connsiteX1271" fmla="*/ 1398574 w 2051041"/>
              <a:gd name="connsiteY1271" fmla="*/ 76182 h 2084191"/>
              <a:gd name="connsiteX1272" fmla="*/ 1448094 w 2051041"/>
              <a:gd name="connsiteY1272" fmla="*/ 127335 h 2084191"/>
              <a:gd name="connsiteX1273" fmla="*/ 1396941 w 2051041"/>
              <a:gd name="connsiteY1273" fmla="*/ 175766 h 2084191"/>
              <a:gd name="connsiteX1274" fmla="*/ 1347421 w 2051041"/>
              <a:gd name="connsiteY1274" fmla="*/ 125702 h 2084191"/>
              <a:gd name="connsiteX1275" fmla="*/ 1398574 w 2051041"/>
              <a:gd name="connsiteY1275" fmla="*/ 76182 h 2084191"/>
              <a:gd name="connsiteX1276" fmla="*/ 1561282 w 2051041"/>
              <a:gd name="connsiteY1276" fmla="*/ 72373 h 2084191"/>
              <a:gd name="connsiteX1277" fmla="*/ 1614611 w 2051041"/>
              <a:gd name="connsiteY1277" fmla="*/ 126247 h 2084191"/>
              <a:gd name="connsiteX1278" fmla="*/ 1560738 w 2051041"/>
              <a:gd name="connsiteY1278" fmla="*/ 179576 h 2084191"/>
              <a:gd name="connsiteX1279" fmla="*/ 1507409 w 2051041"/>
              <a:gd name="connsiteY1279" fmla="*/ 126247 h 2084191"/>
              <a:gd name="connsiteX1280" fmla="*/ 1561282 w 2051041"/>
              <a:gd name="connsiteY1280" fmla="*/ 72373 h 2084191"/>
              <a:gd name="connsiteX1281" fmla="*/ 10381 w 2051041"/>
              <a:gd name="connsiteY1281" fmla="*/ 33737 h 2084191"/>
              <a:gd name="connsiteX1282" fmla="*/ 20720 w 2051041"/>
              <a:gd name="connsiteY1282" fmla="*/ 45165 h 2084191"/>
              <a:gd name="connsiteX1283" fmla="*/ 9292 w 2051041"/>
              <a:gd name="connsiteY1283" fmla="*/ 54960 h 2084191"/>
              <a:gd name="connsiteX1284" fmla="*/ 41 w 2051041"/>
              <a:gd name="connsiteY1284" fmla="*/ 44621 h 2084191"/>
              <a:gd name="connsiteX1285" fmla="*/ 10381 w 2051041"/>
              <a:gd name="connsiteY1285" fmla="*/ 33737 h 2084191"/>
              <a:gd name="connsiteX1286" fmla="*/ 172546 w 2051041"/>
              <a:gd name="connsiteY1286" fmla="*/ 23942 h 2084191"/>
              <a:gd name="connsiteX1287" fmla="*/ 193224 w 2051041"/>
              <a:gd name="connsiteY1287" fmla="*/ 44621 h 2084191"/>
              <a:gd name="connsiteX1288" fmla="*/ 173090 w 2051041"/>
              <a:gd name="connsiteY1288" fmla="*/ 64755 h 2084191"/>
              <a:gd name="connsiteX1289" fmla="*/ 152411 w 2051041"/>
              <a:gd name="connsiteY1289" fmla="*/ 44621 h 2084191"/>
              <a:gd name="connsiteX1290" fmla="*/ 172546 w 2051041"/>
              <a:gd name="connsiteY1290" fmla="*/ 23942 h 2084191"/>
              <a:gd name="connsiteX1291" fmla="*/ 1861123 w 2051041"/>
              <a:gd name="connsiteY1291" fmla="*/ 22132 h 2084191"/>
              <a:gd name="connsiteX1292" fmla="*/ 1861123 w 2051041"/>
              <a:gd name="connsiteY1292" fmla="*/ 35737 h 2084191"/>
              <a:gd name="connsiteX1293" fmla="*/ 1861123 w 2051041"/>
              <a:gd name="connsiteY1293" fmla="*/ 61313 h 2084191"/>
              <a:gd name="connsiteX1294" fmla="*/ 1858946 w 2051041"/>
              <a:gd name="connsiteY1294" fmla="*/ 72740 h 2084191"/>
              <a:gd name="connsiteX1295" fmla="*/ 1866021 w 2051041"/>
              <a:gd name="connsiteY1295" fmla="*/ 76550 h 2084191"/>
              <a:gd name="connsiteX1296" fmla="*/ 1873639 w 2051041"/>
              <a:gd name="connsiteY1296" fmla="*/ 74917 h 2084191"/>
              <a:gd name="connsiteX1297" fmla="*/ 1900304 w 2051041"/>
              <a:gd name="connsiteY1297" fmla="*/ 74373 h 2084191"/>
              <a:gd name="connsiteX1298" fmla="*/ 1907922 w 2051041"/>
              <a:gd name="connsiteY1298" fmla="*/ 76006 h 2084191"/>
              <a:gd name="connsiteX1299" fmla="*/ 1912820 w 2051041"/>
              <a:gd name="connsiteY1299" fmla="*/ 70020 h 2084191"/>
              <a:gd name="connsiteX1300" fmla="*/ 1912820 w 2051041"/>
              <a:gd name="connsiteY1300" fmla="*/ 27030 h 2084191"/>
              <a:gd name="connsiteX1301" fmla="*/ 1908466 w 2051041"/>
              <a:gd name="connsiteY1301" fmla="*/ 22132 h 2084191"/>
              <a:gd name="connsiteX1302" fmla="*/ 1902480 w 2051041"/>
              <a:gd name="connsiteY1302" fmla="*/ 24309 h 2084191"/>
              <a:gd name="connsiteX1303" fmla="*/ 1873095 w 2051041"/>
              <a:gd name="connsiteY1303" fmla="*/ 24309 h 2084191"/>
              <a:gd name="connsiteX1304" fmla="*/ 1861123 w 2051041"/>
              <a:gd name="connsiteY1304" fmla="*/ 22132 h 2084191"/>
              <a:gd name="connsiteX1305" fmla="*/ 336886 w 2051041"/>
              <a:gd name="connsiteY1305" fmla="*/ 17412 h 2084191"/>
              <a:gd name="connsiteX1306" fmla="*/ 363007 w 2051041"/>
              <a:gd name="connsiteY1306" fmla="*/ 44077 h 2084191"/>
              <a:gd name="connsiteX1307" fmla="*/ 337431 w 2051041"/>
              <a:gd name="connsiteY1307" fmla="*/ 71285 h 2084191"/>
              <a:gd name="connsiteX1308" fmla="*/ 310222 w 2051041"/>
              <a:gd name="connsiteY1308" fmla="*/ 45165 h 2084191"/>
              <a:gd name="connsiteX1309" fmla="*/ 336886 w 2051041"/>
              <a:gd name="connsiteY1309" fmla="*/ 17412 h 2084191"/>
              <a:gd name="connsiteX1310" fmla="*/ 498507 w 2051041"/>
              <a:gd name="connsiteY1310" fmla="*/ 13059 h 2084191"/>
              <a:gd name="connsiteX1311" fmla="*/ 531702 w 2051041"/>
              <a:gd name="connsiteY1311" fmla="*/ 44621 h 2084191"/>
              <a:gd name="connsiteX1312" fmla="*/ 499595 w 2051041"/>
              <a:gd name="connsiteY1312" fmla="*/ 76727 h 2084191"/>
              <a:gd name="connsiteX1313" fmla="*/ 467489 w 2051041"/>
              <a:gd name="connsiteY1313" fmla="*/ 45165 h 2084191"/>
              <a:gd name="connsiteX1314" fmla="*/ 498507 w 2051041"/>
              <a:gd name="connsiteY1314" fmla="*/ 13059 h 2084191"/>
              <a:gd name="connsiteX1315" fmla="*/ 662303 w 2051041"/>
              <a:gd name="connsiteY1315" fmla="*/ 7616 h 2084191"/>
              <a:gd name="connsiteX1316" fmla="*/ 698763 w 2051041"/>
              <a:gd name="connsiteY1316" fmla="*/ 44076 h 2084191"/>
              <a:gd name="connsiteX1317" fmla="*/ 662303 w 2051041"/>
              <a:gd name="connsiteY1317" fmla="*/ 81080 h 2084191"/>
              <a:gd name="connsiteX1318" fmla="*/ 626932 w 2051041"/>
              <a:gd name="connsiteY1318" fmla="*/ 44076 h 2084191"/>
              <a:gd name="connsiteX1319" fmla="*/ 662303 w 2051041"/>
              <a:gd name="connsiteY1319" fmla="*/ 7616 h 2084191"/>
              <a:gd name="connsiteX1320" fmla="*/ 825557 w 2051041"/>
              <a:gd name="connsiteY1320" fmla="*/ 5440 h 2084191"/>
              <a:gd name="connsiteX1321" fmla="*/ 865281 w 2051041"/>
              <a:gd name="connsiteY1321" fmla="*/ 44621 h 2084191"/>
              <a:gd name="connsiteX1322" fmla="*/ 826101 w 2051041"/>
              <a:gd name="connsiteY1322" fmla="*/ 83257 h 2084191"/>
              <a:gd name="connsiteX1323" fmla="*/ 786920 w 2051041"/>
              <a:gd name="connsiteY1323" fmla="*/ 44621 h 2084191"/>
              <a:gd name="connsiteX1324" fmla="*/ 825557 w 2051041"/>
              <a:gd name="connsiteY1324" fmla="*/ 5440 h 2084191"/>
              <a:gd name="connsiteX1325" fmla="*/ 989353 w 2051041"/>
              <a:gd name="connsiteY1325" fmla="*/ 1086 h 2084191"/>
              <a:gd name="connsiteX1326" fmla="*/ 1032343 w 2051041"/>
              <a:gd name="connsiteY1326" fmla="*/ 43532 h 2084191"/>
              <a:gd name="connsiteX1327" fmla="*/ 989897 w 2051041"/>
              <a:gd name="connsiteY1327" fmla="*/ 87610 h 2084191"/>
              <a:gd name="connsiteX1328" fmla="*/ 945819 w 2051041"/>
              <a:gd name="connsiteY1328" fmla="*/ 44620 h 2084191"/>
              <a:gd name="connsiteX1329" fmla="*/ 989353 w 2051041"/>
              <a:gd name="connsiteY1329" fmla="*/ 1086 h 2084191"/>
              <a:gd name="connsiteX1330" fmla="*/ 1614056 w 2051041"/>
              <a:gd name="connsiteY1330" fmla="*/ 0 h 2084191"/>
              <a:gd name="connsiteX1331" fmla="*/ 1675529 w 2051041"/>
              <a:gd name="connsiteY1331" fmla="*/ 0 h 2084191"/>
              <a:gd name="connsiteX1332" fmla="*/ 1682905 w 2051041"/>
              <a:gd name="connsiteY1332" fmla="*/ 4720 h 2084191"/>
              <a:gd name="connsiteX1333" fmla="*/ 1933639 w 2051041"/>
              <a:gd name="connsiteY1333" fmla="*/ 4720 h 2084191"/>
              <a:gd name="connsiteX1334" fmla="*/ 2016655 w 2051041"/>
              <a:gd name="connsiteY1334" fmla="*/ 39107 h 2084191"/>
              <a:gd name="connsiteX1335" fmla="*/ 2028934 w 2051041"/>
              <a:gd name="connsiteY1335" fmla="*/ 57318 h 2084191"/>
              <a:gd name="connsiteX1336" fmla="*/ 2026008 w 2051041"/>
              <a:gd name="connsiteY1336" fmla="*/ 71108 h 2084191"/>
              <a:gd name="connsiteX1337" fmla="*/ 2030906 w 2051041"/>
              <a:gd name="connsiteY1337" fmla="*/ 75461 h 2084191"/>
              <a:gd name="connsiteX1338" fmla="*/ 2039929 w 2051041"/>
              <a:gd name="connsiteY1338" fmla="*/ 73627 h 2084191"/>
              <a:gd name="connsiteX1339" fmla="*/ 2041815 w 2051041"/>
              <a:gd name="connsiteY1339" fmla="*/ 76424 h 2084191"/>
              <a:gd name="connsiteX1340" fmla="*/ 2051041 w 2051041"/>
              <a:gd name="connsiteY1340" fmla="*/ 122122 h 2084191"/>
              <a:gd name="connsiteX1341" fmla="*/ 2051041 w 2051041"/>
              <a:gd name="connsiteY1341" fmla="*/ 186473 h 2084191"/>
              <a:gd name="connsiteX1342" fmla="*/ 2029818 w 2051041"/>
              <a:gd name="connsiteY1342" fmla="*/ 186473 h 2084191"/>
              <a:gd name="connsiteX1343" fmla="*/ 2023287 w 2051041"/>
              <a:gd name="connsiteY1343" fmla="*/ 192459 h 2084191"/>
              <a:gd name="connsiteX1344" fmla="*/ 2023832 w 2051041"/>
              <a:gd name="connsiteY1344" fmla="*/ 196268 h 2084191"/>
              <a:gd name="connsiteX1345" fmla="*/ 2019478 w 2051041"/>
              <a:gd name="connsiteY1345" fmla="*/ 239258 h 2084191"/>
              <a:gd name="connsiteX1346" fmla="*/ 2020022 w 2051041"/>
              <a:gd name="connsiteY1346" fmla="*/ 242523 h 2084191"/>
              <a:gd name="connsiteX1347" fmla="*/ 2023287 w 2051041"/>
              <a:gd name="connsiteY1347" fmla="*/ 243067 h 2084191"/>
              <a:gd name="connsiteX1348" fmla="*/ 2050224 w 2051041"/>
              <a:gd name="connsiteY1348" fmla="*/ 237150 h 2084191"/>
              <a:gd name="connsiteX1349" fmla="*/ 2051041 w 2051041"/>
              <a:gd name="connsiteY1349" fmla="*/ 237329 h 2084191"/>
              <a:gd name="connsiteX1350" fmla="*/ 2051041 w 2051041"/>
              <a:gd name="connsiteY1350" fmla="*/ 348996 h 2084191"/>
              <a:gd name="connsiteX1351" fmla="*/ 2036552 w 2051041"/>
              <a:gd name="connsiteY1351" fmla="*/ 347754 h 2084191"/>
              <a:gd name="connsiteX1352" fmla="*/ 2021111 w 2051041"/>
              <a:gd name="connsiteY1352" fmla="*/ 341019 h 2084191"/>
              <a:gd name="connsiteX1353" fmla="*/ 2016757 w 2051041"/>
              <a:gd name="connsiteY1353" fmla="*/ 338842 h 2084191"/>
              <a:gd name="connsiteX1354" fmla="*/ 2017301 w 2051041"/>
              <a:gd name="connsiteY1354" fmla="*/ 344284 h 2084191"/>
              <a:gd name="connsiteX1355" fmla="*/ 2025464 w 2051041"/>
              <a:gd name="connsiteY1355" fmla="*/ 376391 h 2084191"/>
              <a:gd name="connsiteX1356" fmla="*/ 1994446 w 2051041"/>
              <a:gd name="connsiteY1356" fmla="*/ 424278 h 2084191"/>
              <a:gd name="connsiteX1357" fmla="*/ 1933498 w 2051041"/>
              <a:gd name="connsiteY1357" fmla="*/ 416115 h 2084191"/>
              <a:gd name="connsiteX1358" fmla="*/ 1920438 w 2051041"/>
              <a:gd name="connsiteY1358" fmla="*/ 352447 h 2084191"/>
              <a:gd name="connsiteX1359" fmla="*/ 1925336 w 2051041"/>
              <a:gd name="connsiteY1359" fmla="*/ 338298 h 2084191"/>
              <a:gd name="connsiteX1360" fmla="*/ 1911731 w 2051041"/>
              <a:gd name="connsiteY1360" fmla="*/ 343196 h 2084191"/>
              <a:gd name="connsiteX1361" fmla="*/ 1898671 w 2051041"/>
              <a:gd name="connsiteY1361" fmla="*/ 347005 h 2084191"/>
              <a:gd name="connsiteX1362" fmla="*/ 1854593 w 2051041"/>
              <a:gd name="connsiteY1362" fmla="*/ 336666 h 2084191"/>
              <a:gd name="connsiteX1363" fmla="*/ 1847690 w 2051041"/>
              <a:gd name="connsiteY1363" fmla="*/ 333480 h 2084191"/>
              <a:gd name="connsiteX1364" fmla="*/ 1852961 w 2051041"/>
              <a:gd name="connsiteY1364" fmla="*/ 344461 h 2084191"/>
              <a:gd name="connsiteX1365" fmla="*/ 1826840 w 2051041"/>
              <a:gd name="connsiteY1365" fmla="*/ 420646 h 2084191"/>
              <a:gd name="connsiteX1366" fmla="*/ 1765893 w 2051041"/>
              <a:gd name="connsiteY1366" fmla="*/ 408130 h 2084191"/>
              <a:gd name="connsiteX1367" fmla="*/ 1759362 w 2051041"/>
              <a:gd name="connsiteY1367" fmla="*/ 342829 h 2084191"/>
              <a:gd name="connsiteX1368" fmla="*/ 1815991 w 2051041"/>
              <a:gd name="connsiteY1368" fmla="*/ 317193 h 2084191"/>
              <a:gd name="connsiteX1369" fmla="*/ 1834459 w 2051041"/>
              <a:gd name="connsiteY1369" fmla="*/ 325415 h 2084191"/>
              <a:gd name="connsiteX1370" fmla="*/ 1845023 w 2051041"/>
              <a:gd name="connsiteY1370" fmla="*/ 330169 h 2084191"/>
              <a:gd name="connsiteX1371" fmla="*/ 1840444 w 2051041"/>
              <a:gd name="connsiteY1371" fmla="*/ 321429 h 2084191"/>
              <a:gd name="connsiteX1372" fmla="*/ 1834458 w 2051041"/>
              <a:gd name="connsiteY1372" fmla="*/ 275174 h 2084191"/>
              <a:gd name="connsiteX1373" fmla="*/ 1840988 w 2051041"/>
              <a:gd name="connsiteY1373" fmla="*/ 259937 h 2084191"/>
              <a:gd name="connsiteX1374" fmla="*/ 1842077 w 2051041"/>
              <a:gd name="connsiteY1374" fmla="*/ 255584 h 2084191"/>
              <a:gd name="connsiteX1375" fmla="*/ 1837723 w 2051041"/>
              <a:gd name="connsiteY1375" fmla="*/ 257216 h 2084191"/>
              <a:gd name="connsiteX1376" fmla="*/ 1817589 w 2051041"/>
              <a:gd name="connsiteY1376" fmla="*/ 264834 h 2084191"/>
              <a:gd name="connsiteX1377" fmla="*/ 1768069 w 2051041"/>
              <a:gd name="connsiteY1377" fmla="*/ 251774 h 2084191"/>
              <a:gd name="connsiteX1378" fmla="*/ 1764740 w 2051041"/>
              <a:gd name="connsiteY1378" fmla="*/ 250110 h 2084191"/>
              <a:gd name="connsiteX1379" fmla="*/ 1773510 w 2051041"/>
              <a:gd name="connsiteY1379" fmla="*/ 267189 h 2084191"/>
              <a:gd name="connsiteX1380" fmla="*/ 1750655 w 2051041"/>
              <a:gd name="connsiteY1380" fmla="*/ 336843 h 2084191"/>
              <a:gd name="connsiteX1381" fmla="*/ 1673926 w 2051041"/>
              <a:gd name="connsiteY1381" fmla="*/ 310723 h 2084191"/>
              <a:gd name="connsiteX1382" fmla="*/ 1681545 w 2051041"/>
              <a:gd name="connsiteY1382" fmla="*/ 254673 h 2084191"/>
              <a:gd name="connsiteX1383" fmla="*/ 1733786 w 2051041"/>
              <a:gd name="connsiteY1383" fmla="*/ 235083 h 2084191"/>
              <a:gd name="connsiteX1384" fmla="*/ 1751743 w 2051041"/>
              <a:gd name="connsiteY1384" fmla="*/ 242157 h 2084191"/>
              <a:gd name="connsiteX1385" fmla="*/ 1762506 w 2051041"/>
              <a:gd name="connsiteY1385" fmla="*/ 246769 h 2084191"/>
              <a:gd name="connsiteX1386" fmla="*/ 1757185 w 2051041"/>
              <a:gd name="connsiteY1386" fmla="*/ 236537 h 2084191"/>
              <a:gd name="connsiteX1387" fmla="*/ 1756097 w 2051041"/>
              <a:gd name="connsiteY1387" fmla="*/ 185929 h 2084191"/>
              <a:gd name="connsiteX1388" fmla="*/ 1757185 w 2051041"/>
              <a:gd name="connsiteY1388" fmla="*/ 177766 h 2084191"/>
              <a:gd name="connsiteX1389" fmla="*/ 1749023 w 2051041"/>
              <a:gd name="connsiteY1389" fmla="*/ 178311 h 2084191"/>
              <a:gd name="connsiteX1390" fmla="*/ 1676103 w 2051041"/>
              <a:gd name="connsiteY1390" fmla="*/ 154911 h 2084191"/>
              <a:gd name="connsiteX1391" fmla="*/ 1681001 w 2051041"/>
              <a:gd name="connsiteY1391" fmla="*/ 94507 h 2084191"/>
              <a:gd name="connsiteX1392" fmla="*/ 1685681 w 2051041"/>
              <a:gd name="connsiteY1392" fmla="*/ 85147 h 2084191"/>
              <a:gd name="connsiteX1393" fmla="*/ 1693517 w 2051041"/>
              <a:gd name="connsiteY1393" fmla="*/ 82536 h 2084191"/>
              <a:gd name="connsiteX1394" fmla="*/ 1747934 w 2051041"/>
              <a:gd name="connsiteY1394" fmla="*/ 77638 h 2084191"/>
              <a:gd name="connsiteX1395" fmla="*/ 1756641 w 2051041"/>
              <a:gd name="connsiteY1395" fmla="*/ 79271 h 2084191"/>
              <a:gd name="connsiteX1396" fmla="*/ 1754464 w 2051041"/>
              <a:gd name="connsiteY1396" fmla="*/ 71652 h 2084191"/>
              <a:gd name="connsiteX1397" fmla="*/ 1752832 w 2051041"/>
              <a:gd name="connsiteY1397" fmla="*/ 68387 h 2084191"/>
              <a:gd name="connsiteX1398" fmla="*/ 1756097 w 2051041"/>
              <a:gd name="connsiteY1398" fmla="*/ 20500 h 2084191"/>
              <a:gd name="connsiteX1399" fmla="*/ 1756641 w 2051041"/>
              <a:gd name="connsiteY1399" fmla="*/ 16146 h 2084191"/>
              <a:gd name="connsiteX1400" fmla="*/ 1751744 w 2051041"/>
              <a:gd name="connsiteY1400" fmla="*/ 15058 h 2084191"/>
              <a:gd name="connsiteX1401" fmla="*/ 1741404 w 2051041"/>
              <a:gd name="connsiteY1401" fmla="*/ 19955 h 2084191"/>
              <a:gd name="connsiteX1402" fmla="*/ 1691884 w 2051041"/>
              <a:gd name="connsiteY1402" fmla="*/ 11249 h 2084191"/>
              <a:gd name="connsiteX1403" fmla="*/ 1685645 w 2051041"/>
              <a:gd name="connsiteY1403" fmla="*/ 8369 h 2084191"/>
              <a:gd name="connsiteX1404" fmla="*/ 1688620 w 2051041"/>
              <a:gd name="connsiteY1404" fmla="*/ 14691 h 2084191"/>
              <a:gd name="connsiteX1405" fmla="*/ 1691885 w 2051041"/>
              <a:gd name="connsiteY1405" fmla="*/ 69652 h 2084191"/>
              <a:gd name="connsiteX1406" fmla="*/ 1684469 w 2051041"/>
              <a:gd name="connsiteY1406" fmla="*/ 82365 h 2084191"/>
              <a:gd name="connsiteX1407" fmla="*/ 1663044 w 2051041"/>
              <a:gd name="connsiteY1407" fmla="*/ 94684 h 2084191"/>
              <a:gd name="connsiteX1408" fmla="*/ 1626584 w 2051041"/>
              <a:gd name="connsiteY1408" fmla="*/ 96861 h 2084191"/>
              <a:gd name="connsiteX1409" fmla="*/ 1590124 w 2051041"/>
              <a:gd name="connsiteY1409" fmla="*/ 60401 h 2084191"/>
              <a:gd name="connsiteX1410" fmla="*/ 1591757 w 2051041"/>
              <a:gd name="connsiteY1410" fmla="*/ 25030 h 2084191"/>
              <a:gd name="connsiteX1411" fmla="*/ 1460066 w 2051041"/>
              <a:gd name="connsiteY1411" fmla="*/ 0 h 2084191"/>
              <a:gd name="connsiteX1412" fmla="*/ 1498513 w 2051041"/>
              <a:gd name="connsiteY1412" fmla="*/ 0 h 2084191"/>
              <a:gd name="connsiteX1413" fmla="*/ 1517204 w 2051041"/>
              <a:gd name="connsiteY1413" fmla="*/ 8092 h 2084191"/>
              <a:gd name="connsiteX1414" fmla="*/ 1531896 w 2051041"/>
              <a:gd name="connsiteY1414" fmla="*/ 45164 h 2084191"/>
              <a:gd name="connsiteX1415" fmla="*/ 1479111 w 2051041"/>
              <a:gd name="connsiteY1415" fmla="*/ 97949 h 2084191"/>
              <a:gd name="connsiteX1416" fmla="*/ 1426870 w 2051041"/>
              <a:gd name="connsiteY1416" fmla="*/ 45164 h 2084191"/>
              <a:gd name="connsiteX1417" fmla="*/ 1441631 w 2051041"/>
              <a:gd name="connsiteY1417" fmla="*/ 7684 h 2084191"/>
              <a:gd name="connsiteX1418" fmla="*/ 1296749 w 2051041"/>
              <a:gd name="connsiteY1418" fmla="*/ 0 h 2084191"/>
              <a:gd name="connsiteX1419" fmla="*/ 1335755 w 2051041"/>
              <a:gd name="connsiteY1419" fmla="*/ 0 h 2084191"/>
              <a:gd name="connsiteX1420" fmla="*/ 1350278 w 2051041"/>
              <a:gd name="connsiteY1420" fmla="*/ 10270 h 2084191"/>
              <a:gd name="connsiteX1421" fmla="*/ 1365923 w 2051041"/>
              <a:gd name="connsiteY1421" fmla="*/ 45165 h 2084191"/>
              <a:gd name="connsiteX1422" fmla="*/ 1315315 w 2051041"/>
              <a:gd name="connsiteY1422" fmla="*/ 93052 h 2084191"/>
              <a:gd name="connsiteX1423" fmla="*/ 1266339 w 2051041"/>
              <a:gd name="connsiteY1423" fmla="*/ 44076 h 2084191"/>
              <a:gd name="connsiteX1424" fmla="*/ 1282732 w 2051041"/>
              <a:gd name="connsiteY1424" fmla="*/ 9317 h 2084191"/>
              <a:gd name="connsiteX1425" fmla="*/ 1148085 w 2051041"/>
              <a:gd name="connsiteY1425" fmla="*/ 0 h 2084191"/>
              <a:gd name="connsiteX1426" fmla="*/ 1161802 w 2051041"/>
              <a:gd name="connsiteY1426" fmla="*/ 0 h 2084191"/>
              <a:gd name="connsiteX1427" fmla="*/ 1169637 w 2051041"/>
              <a:gd name="connsiteY1427" fmla="*/ 1315 h 2084191"/>
              <a:gd name="connsiteX1428" fmla="*/ 1199405 w 2051041"/>
              <a:gd name="connsiteY1428" fmla="*/ 45164 h 2084191"/>
              <a:gd name="connsiteX1429" fmla="*/ 1151518 w 2051041"/>
              <a:gd name="connsiteY1429" fmla="*/ 91419 h 2084191"/>
              <a:gd name="connsiteX1430" fmla="*/ 1105807 w 2051041"/>
              <a:gd name="connsiteY1430" fmla="*/ 44620 h 2084191"/>
              <a:gd name="connsiteX1431" fmla="*/ 1119139 w 2051041"/>
              <a:gd name="connsiteY1431" fmla="*/ 11902 h 20841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Lst>
            <a:rect l="l" t="t" r="r" b="b"/>
            <a:pathLst>
              <a:path w="2051041" h="2084191">
                <a:moveTo>
                  <a:pt x="2051041" y="2080382"/>
                </a:moveTo>
                <a:lnTo>
                  <a:pt x="2051041" y="2083967"/>
                </a:lnTo>
                <a:lnTo>
                  <a:pt x="2047231" y="2084191"/>
                </a:lnTo>
                <a:cubicBezTo>
                  <a:pt x="2046687" y="2084191"/>
                  <a:pt x="2046143" y="2082559"/>
                  <a:pt x="2045599" y="2081470"/>
                </a:cubicBezTo>
                <a:close/>
                <a:moveTo>
                  <a:pt x="1478568" y="1997668"/>
                </a:moveTo>
                <a:cubicBezTo>
                  <a:pt x="1484010" y="1997668"/>
                  <a:pt x="1485642" y="2000933"/>
                  <a:pt x="1484554" y="2004743"/>
                </a:cubicBezTo>
                <a:cubicBezTo>
                  <a:pt x="1484010" y="2006919"/>
                  <a:pt x="1480745" y="2008551"/>
                  <a:pt x="1478568" y="2009096"/>
                </a:cubicBezTo>
                <a:cubicBezTo>
                  <a:pt x="1474759" y="2009640"/>
                  <a:pt x="1473126" y="2007463"/>
                  <a:pt x="1473126" y="2003654"/>
                </a:cubicBezTo>
                <a:cubicBezTo>
                  <a:pt x="1473126" y="1998756"/>
                  <a:pt x="1475303" y="1997124"/>
                  <a:pt x="1478568" y="1997668"/>
                </a:cubicBezTo>
                <a:close/>
                <a:moveTo>
                  <a:pt x="1641820" y="1993859"/>
                </a:moveTo>
                <a:cubicBezTo>
                  <a:pt x="1646718" y="1993314"/>
                  <a:pt x="1652160" y="1999300"/>
                  <a:pt x="1652160" y="2003654"/>
                </a:cubicBezTo>
                <a:cubicBezTo>
                  <a:pt x="1652160" y="2008551"/>
                  <a:pt x="1646718" y="2013449"/>
                  <a:pt x="1641820" y="2013449"/>
                </a:cubicBezTo>
                <a:cubicBezTo>
                  <a:pt x="1636923" y="2013449"/>
                  <a:pt x="1632025" y="2008007"/>
                  <a:pt x="1632025" y="2003654"/>
                </a:cubicBezTo>
                <a:cubicBezTo>
                  <a:pt x="1632025" y="1999300"/>
                  <a:pt x="1638011" y="1993859"/>
                  <a:pt x="1641820" y="1993859"/>
                </a:cubicBezTo>
                <a:close/>
                <a:moveTo>
                  <a:pt x="1969414" y="1992226"/>
                </a:moveTo>
                <a:cubicBezTo>
                  <a:pt x="1976488" y="1992226"/>
                  <a:pt x="1979753" y="1996035"/>
                  <a:pt x="1979753" y="2003654"/>
                </a:cubicBezTo>
                <a:cubicBezTo>
                  <a:pt x="1979753" y="2011272"/>
                  <a:pt x="1975944" y="2014537"/>
                  <a:pt x="1968325" y="2014537"/>
                </a:cubicBezTo>
                <a:cubicBezTo>
                  <a:pt x="1960707" y="2014537"/>
                  <a:pt x="1957442" y="2010728"/>
                  <a:pt x="1957986" y="2003110"/>
                </a:cubicBezTo>
                <a:cubicBezTo>
                  <a:pt x="1957986" y="1994947"/>
                  <a:pt x="1961251" y="1992226"/>
                  <a:pt x="1969414" y="1992226"/>
                </a:cubicBezTo>
                <a:close/>
                <a:moveTo>
                  <a:pt x="1805073" y="1992226"/>
                </a:moveTo>
                <a:cubicBezTo>
                  <a:pt x="1811058" y="1992226"/>
                  <a:pt x="1815956" y="1996035"/>
                  <a:pt x="1815956" y="2002565"/>
                </a:cubicBezTo>
                <a:cubicBezTo>
                  <a:pt x="1816500" y="2009096"/>
                  <a:pt x="1812147" y="2014537"/>
                  <a:pt x="1805073" y="2014537"/>
                </a:cubicBezTo>
                <a:cubicBezTo>
                  <a:pt x="1799087" y="2014537"/>
                  <a:pt x="1794189" y="2010184"/>
                  <a:pt x="1794189" y="2004198"/>
                </a:cubicBezTo>
                <a:cubicBezTo>
                  <a:pt x="1794189" y="1997668"/>
                  <a:pt x="1799087" y="1992770"/>
                  <a:pt x="1805073" y="1992226"/>
                </a:cubicBezTo>
                <a:close/>
                <a:moveTo>
                  <a:pt x="1234233" y="1916042"/>
                </a:moveTo>
                <a:cubicBezTo>
                  <a:pt x="1238586" y="1915497"/>
                  <a:pt x="1240763" y="1917674"/>
                  <a:pt x="1240219" y="1923660"/>
                </a:cubicBezTo>
                <a:cubicBezTo>
                  <a:pt x="1239674" y="1924204"/>
                  <a:pt x="1237498" y="1926381"/>
                  <a:pt x="1236953" y="1926381"/>
                </a:cubicBezTo>
                <a:cubicBezTo>
                  <a:pt x="1234233" y="1924204"/>
                  <a:pt x="1231512" y="1921483"/>
                  <a:pt x="1229335" y="1918762"/>
                </a:cubicBezTo>
                <a:cubicBezTo>
                  <a:pt x="1230968" y="1917674"/>
                  <a:pt x="1232600" y="1916586"/>
                  <a:pt x="1234233" y="1916042"/>
                </a:cubicBezTo>
                <a:close/>
                <a:moveTo>
                  <a:pt x="1397486" y="1911144"/>
                </a:moveTo>
                <a:cubicBezTo>
                  <a:pt x="1402927" y="1911144"/>
                  <a:pt x="1408369" y="1916041"/>
                  <a:pt x="1408369" y="1921483"/>
                </a:cubicBezTo>
                <a:cubicBezTo>
                  <a:pt x="1408369" y="1926925"/>
                  <a:pt x="1404016" y="1931279"/>
                  <a:pt x="1399118" y="1931823"/>
                </a:cubicBezTo>
                <a:cubicBezTo>
                  <a:pt x="1392588" y="1932367"/>
                  <a:pt x="1387146" y="1928013"/>
                  <a:pt x="1387146" y="1922028"/>
                </a:cubicBezTo>
                <a:cubicBezTo>
                  <a:pt x="1386602" y="1916586"/>
                  <a:pt x="1391500" y="1911144"/>
                  <a:pt x="1397486" y="1911144"/>
                </a:cubicBezTo>
                <a:close/>
                <a:moveTo>
                  <a:pt x="1560194" y="1906790"/>
                </a:moveTo>
                <a:cubicBezTo>
                  <a:pt x="1566180" y="1906790"/>
                  <a:pt x="1574342" y="1914953"/>
                  <a:pt x="1574342" y="1921482"/>
                </a:cubicBezTo>
                <a:cubicBezTo>
                  <a:pt x="1574342" y="1928013"/>
                  <a:pt x="1566724" y="1936175"/>
                  <a:pt x="1560738" y="1935631"/>
                </a:cubicBezTo>
                <a:cubicBezTo>
                  <a:pt x="1554752" y="1935631"/>
                  <a:pt x="1547678" y="1928557"/>
                  <a:pt x="1547134" y="1922027"/>
                </a:cubicBezTo>
                <a:cubicBezTo>
                  <a:pt x="1546589" y="1915497"/>
                  <a:pt x="1554208" y="1907334"/>
                  <a:pt x="1560194" y="1906790"/>
                </a:cubicBezTo>
                <a:close/>
                <a:moveTo>
                  <a:pt x="2049952" y="1905702"/>
                </a:moveTo>
                <a:lnTo>
                  <a:pt x="2051041" y="1906027"/>
                </a:lnTo>
                <a:lnTo>
                  <a:pt x="2051041" y="1938133"/>
                </a:lnTo>
                <a:lnTo>
                  <a:pt x="2050496" y="1938353"/>
                </a:lnTo>
                <a:cubicBezTo>
                  <a:pt x="2039613" y="1937808"/>
                  <a:pt x="2034715" y="1933455"/>
                  <a:pt x="2034171" y="1922572"/>
                </a:cubicBezTo>
                <a:cubicBezTo>
                  <a:pt x="2034171" y="1911144"/>
                  <a:pt x="2039069" y="1905702"/>
                  <a:pt x="2049952" y="1905702"/>
                </a:cubicBezTo>
                <a:close/>
                <a:moveTo>
                  <a:pt x="1723447" y="1905702"/>
                </a:moveTo>
                <a:cubicBezTo>
                  <a:pt x="1730521" y="1905702"/>
                  <a:pt x="1739772" y="1914409"/>
                  <a:pt x="1739772" y="1920939"/>
                </a:cubicBezTo>
                <a:cubicBezTo>
                  <a:pt x="1740316" y="1929101"/>
                  <a:pt x="1732698" y="1936720"/>
                  <a:pt x="1724535" y="1937264"/>
                </a:cubicBezTo>
                <a:cubicBezTo>
                  <a:pt x="1716373" y="1937264"/>
                  <a:pt x="1708754" y="1930190"/>
                  <a:pt x="1708210" y="1922027"/>
                </a:cubicBezTo>
                <a:cubicBezTo>
                  <a:pt x="1708210" y="1914953"/>
                  <a:pt x="1716373" y="1905702"/>
                  <a:pt x="1723447" y="1905702"/>
                </a:cubicBezTo>
                <a:close/>
                <a:moveTo>
                  <a:pt x="1887787" y="1905158"/>
                </a:moveTo>
                <a:cubicBezTo>
                  <a:pt x="1898671" y="1905158"/>
                  <a:pt x="1904113" y="1911144"/>
                  <a:pt x="1904113" y="1922028"/>
                </a:cubicBezTo>
                <a:cubicBezTo>
                  <a:pt x="1904113" y="1932367"/>
                  <a:pt x="1898127" y="1937809"/>
                  <a:pt x="1886699" y="1937809"/>
                </a:cubicBezTo>
                <a:cubicBezTo>
                  <a:pt x="1876360" y="1937809"/>
                  <a:pt x="1870918" y="1931823"/>
                  <a:pt x="1870918" y="1921483"/>
                </a:cubicBezTo>
                <a:cubicBezTo>
                  <a:pt x="1870918" y="1910600"/>
                  <a:pt x="1876904" y="1904614"/>
                  <a:pt x="1887787" y="1905158"/>
                </a:cubicBezTo>
                <a:close/>
                <a:moveTo>
                  <a:pt x="1152606" y="1831693"/>
                </a:moveTo>
                <a:cubicBezTo>
                  <a:pt x="1155871" y="1832782"/>
                  <a:pt x="1160769" y="1836591"/>
                  <a:pt x="1161313" y="1839312"/>
                </a:cubicBezTo>
                <a:cubicBezTo>
                  <a:pt x="1160769" y="1843121"/>
                  <a:pt x="1156959" y="1846931"/>
                  <a:pt x="1153694" y="1852916"/>
                </a:cubicBezTo>
                <a:cubicBezTo>
                  <a:pt x="1149341" y="1847475"/>
                  <a:pt x="1146076" y="1844754"/>
                  <a:pt x="1144988" y="1841489"/>
                </a:cubicBezTo>
                <a:cubicBezTo>
                  <a:pt x="1143355" y="1837135"/>
                  <a:pt x="1148797" y="1830605"/>
                  <a:pt x="1152606" y="1831693"/>
                </a:cubicBezTo>
                <a:close/>
                <a:moveTo>
                  <a:pt x="1315315" y="1825708"/>
                </a:moveTo>
                <a:cubicBezTo>
                  <a:pt x="1321301" y="1825164"/>
                  <a:pt x="1331096" y="1834415"/>
                  <a:pt x="1330552" y="1840401"/>
                </a:cubicBezTo>
                <a:cubicBezTo>
                  <a:pt x="1330552" y="1845298"/>
                  <a:pt x="1321301" y="1854549"/>
                  <a:pt x="1316404" y="1854549"/>
                </a:cubicBezTo>
                <a:cubicBezTo>
                  <a:pt x="1310962" y="1855094"/>
                  <a:pt x="1302255" y="1846387"/>
                  <a:pt x="1301711" y="1840945"/>
                </a:cubicBezTo>
                <a:cubicBezTo>
                  <a:pt x="1301167" y="1834959"/>
                  <a:pt x="1309329" y="1826252"/>
                  <a:pt x="1315315" y="1825708"/>
                </a:cubicBezTo>
                <a:close/>
                <a:moveTo>
                  <a:pt x="1479656" y="1822987"/>
                </a:moveTo>
                <a:cubicBezTo>
                  <a:pt x="1489995" y="1823531"/>
                  <a:pt x="1495981" y="1830061"/>
                  <a:pt x="1495981" y="1840401"/>
                </a:cubicBezTo>
                <a:cubicBezTo>
                  <a:pt x="1495981" y="1851284"/>
                  <a:pt x="1490539" y="1856726"/>
                  <a:pt x="1478567" y="1856182"/>
                </a:cubicBezTo>
                <a:cubicBezTo>
                  <a:pt x="1467140" y="1856182"/>
                  <a:pt x="1462242" y="1850740"/>
                  <a:pt x="1462242" y="1839312"/>
                </a:cubicBezTo>
                <a:cubicBezTo>
                  <a:pt x="1462242" y="1828429"/>
                  <a:pt x="1468772" y="1822443"/>
                  <a:pt x="1479656" y="1822987"/>
                </a:cubicBezTo>
                <a:close/>
                <a:moveTo>
                  <a:pt x="1642365" y="1821355"/>
                </a:moveTo>
                <a:cubicBezTo>
                  <a:pt x="1653248" y="1821355"/>
                  <a:pt x="1661955" y="1829518"/>
                  <a:pt x="1660867" y="1840401"/>
                </a:cubicBezTo>
                <a:cubicBezTo>
                  <a:pt x="1659778" y="1853461"/>
                  <a:pt x="1653792" y="1857270"/>
                  <a:pt x="1642365" y="1857270"/>
                </a:cubicBezTo>
                <a:cubicBezTo>
                  <a:pt x="1630937" y="1857270"/>
                  <a:pt x="1624407" y="1850740"/>
                  <a:pt x="1624407" y="1839857"/>
                </a:cubicBezTo>
                <a:cubicBezTo>
                  <a:pt x="1624407" y="1828973"/>
                  <a:pt x="1632025" y="1821355"/>
                  <a:pt x="1642365" y="1821355"/>
                </a:cubicBezTo>
                <a:close/>
                <a:moveTo>
                  <a:pt x="1806162" y="1819723"/>
                </a:moveTo>
                <a:cubicBezTo>
                  <a:pt x="1816501" y="1819723"/>
                  <a:pt x="1827385" y="1831150"/>
                  <a:pt x="1826840" y="1840945"/>
                </a:cubicBezTo>
                <a:cubicBezTo>
                  <a:pt x="1826296" y="1850740"/>
                  <a:pt x="1813780" y="1862168"/>
                  <a:pt x="1804529" y="1861080"/>
                </a:cubicBezTo>
                <a:cubicBezTo>
                  <a:pt x="1795278" y="1860536"/>
                  <a:pt x="1783851" y="1847476"/>
                  <a:pt x="1784395" y="1839313"/>
                </a:cubicBezTo>
                <a:cubicBezTo>
                  <a:pt x="1784939" y="1828973"/>
                  <a:pt x="1796367" y="1819178"/>
                  <a:pt x="1806162" y="1819723"/>
                </a:cubicBezTo>
                <a:close/>
                <a:moveTo>
                  <a:pt x="1968870" y="1819178"/>
                </a:moveTo>
                <a:cubicBezTo>
                  <a:pt x="1980298" y="1819178"/>
                  <a:pt x="1990093" y="1828973"/>
                  <a:pt x="1990093" y="1840401"/>
                </a:cubicBezTo>
                <a:cubicBezTo>
                  <a:pt x="1990093" y="1851285"/>
                  <a:pt x="1980298" y="1861624"/>
                  <a:pt x="1968870" y="1861624"/>
                </a:cubicBezTo>
                <a:cubicBezTo>
                  <a:pt x="1957986" y="1861624"/>
                  <a:pt x="1947647" y="1851285"/>
                  <a:pt x="1947647" y="1840401"/>
                </a:cubicBezTo>
                <a:cubicBezTo>
                  <a:pt x="1947647" y="1828973"/>
                  <a:pt x="1957986" y="1819178"/>
                  <a:pt x="1968870" y="1819178"/>
                </a:cubicBezTo>
                <a:close/>
                <a:moveTo>
                  <a:pt x="1070436" y="1747347"/>
                </a:moveTo>
                <a:cubicBezTo>
                  <a:pt x="1078598" y="1747347"/>
                  <a:pt x="1081863" y="1750612"/>
                  <a:pt x="1081863" y="1758231"/>
                </a:cubicBezTo>
                <a:cubicBezTo>
                  <a:pt x="1081863" y="1766393"/>
                  <a:pt x="1078598" y="1769658"/>
                  <a:pt x="1070980" y="1769658"/>
                </a:cubicBezTo>
                <a:cubicBezTo>
                  <a:pt x="1063361" y="1769658"/>
                  <a:pt x="1060096" y="1766393"/>
                  <a:pt x="1059552" y="1758775"/>
                </a:cubicBezTo>
                <a:cubicBezTo>
                  <a:pt x="1059552" y="1751156"/>
                  <a:pt x="1062817" y="1747347"/>
                  <a:pt x="1070436" y="1747347"/>
                </a:cubicBezTo>
                <a:close/>
                <a:moveTo>
                  <a:pt x="1233688" y="1742449"/>
                </a:moveTo>
                <a:cubicBezTo>
                  <a:pt x="1242939" y="1741904"/>
                  <a:pt x="1250558" y="1750067"/>
                  <a:pt x="1250558" y="1758774"/>
                </a:cubicBezTo>
                <a:cubicBezTo>
                  <a:pt x="1250558" y="1767481"/>
                  <a:pt x="1242939" y="1775099"/>
                  <a:pt x="1233688" y="1775099"/>
                </a:cubicBezTo>
                <a:cubicBezTo>
                  <a:pt x="1224981" y="1775099"/>
                  <a:pt x="1218451" y="1768025"/>
                  <a:pt x="1217907" y="1759318"/>
                </a:cubicBezTo>
                <a:cubicBezTo>
                  <a:pt x="1217907" y="1750067"/>
                  <a:pt x="1224981" y="1742449"/>
                  <a:pt x="1233688" y="1742449"/>
                </a:cubicBezTo>
                <a:close/>
                <a:moveTo>
                  <a:pt x="1399662" y="1739728"/>
                </a:moveTo>
                <a:cubicBezTo>
                  <a:pt x="1410002" y="1740817"/>
                  <a:pt x="1418164" y="1750068"/>
                  <a:pt x="1417076" y="1760407"/>
                </a:cubicBezTo>
                <a:cubicBezTo>
                  <a:pt x="1415988" y="1769114"/>
                  <a:pt x="1404560" y="1779997"/>
                  <a:pt x="1396941" y="1779453"/>
                </a:cubicBezTo>
                <a:cubicBezTo>
                  <a:pt x="1388779" y="1778909"/>
                  <a:pt x="1376807" y="1765305"/>
                  <a:pt x="1377895" y="1757686"/>
                </a:cubicBezTo>
                <a:cubicBezTo>
                  <a:pt x="1379528" y="1746803"/>
                  <a:pt x="1389867" y="1738640"/>
                  <a:pt x="1399662" y="1739728"/>
                </a:cubicBezTo>
                <a:close/>
                <a:moveTo>
                  <a:pt x="1723991" y="1735919"/>
                </a:moveTo>
                <a:cubicBezTo>
                  <a:pt x="1738140" y="1735919"/>
                  <a:pt x="1746847" y="1744626"/>
                  <a:pt x="1746847" y="1758774"/>
                </a:cubicBezTo>
                <a:cubicBezTo>
                  <a:pt x="1746847" y="1772379"/>
                  <a:pt x="1738140" y="1781086"/>
                  <a:pt x="1723991" y="1781086"/>
                </a:cubicBezTo>
                <a:cubicBezTo>
                  <a:pt x="1709299" y="1781086"/>
                  <a:pt x="1701680" y="1773467"/>
                  <a:pt x="1701680" y="1758774"/>
                </a:cubicBezTo>
                <a:cubicBezTo>
                  <a:pt x="1701680" y="1744626"/>
                  <a:pt x="1709843" y="1735919"/>
                  <a:pt x="1723991" y="1735919"/>
                </a:cubicBezTo>
                <a:close/>
                <a:moveTo>
                  <a:pt x="1560194" y="1735919"/>
                </a:moveTo>
                <a:cubicBezTo>
                  <a:pt x="1572710" y="1736463"/>
                  <a:pt x="1582505" y="1746258"/>
                  <a:pt x="1582505" y="1758230"/>
                </a:cubicBezTo>
                <a:cubicBezTo>
                  <a:pt x="1582505" y="1770202"/>
                  <a:pt x="1572710" y="1779997"/>
                  <a:pt x="1560738" y="1779997"/>
                </a:cubicBezTo>
                <a:cubicBezTo>
                  <a:pt x="1549855" y="1779997"/>
                  <a:pt x="1538427" y="1769114"/>
                  <a:pt x="1538427" y="1758230"/>
                </a:cubicBezTo>
                <a:cubicBezTo>
                  <a:pt x="1538427" y="1746803"/>
                  <a:pt x="1548766" y="1735919"/>
                  <a:pt x="1560194" y="1735919"/>
                </a:cubicBezTo>
                <a:close/>
                <a:moveTo>
                  <a:pt x="2051041" y="1734831"/>
                </a:moveTo>
                <a:lnTo>
                  <a:pt x="2051041" y="1781438"/>
                </a:lnTo>
                <a:lnTo>
                  <a:pt x="2050496" y="1781630"/>
                </a:lnTo>
                <a:cubicBezTo>
                  <a:pt x="2033627" y="1782174"/>
                  <a:pt x="2027097" y="1772379"/>
                  <a:pt x="2027097" y="1758775"/>
                </a:cubicBezTo>
                <a:cubicBezTo>
                  <a:pt x="2027097" y="1744082"/>
                  <a:pt x="2033627" y="1734831"/>
                  <a:pt x="2051041" y="1734831"/>
                </a:cubicBezTo>
                <a:close/>
                <a:moveTo>
                  <a:pt x="1887788" y="1734831"/>
                </a:moveTo>
                <a:cubicBezTo>
                  <a:pt x="1902481" y="1735375"/>
                  <a:pt x="1910099" y="1742994"/>
                  <a:pt x="1910099" y="1758775"/>
                </a:cubicBezTo>
                <a:cubicBezTo>
                  <a:pt x="1910099" y="1771835"/>
                  <a:pt x="1903025" y="1782718"/>
                  <a:pt x="1886699" y="1781086"/>
                </a:cubicBezTo>
                <a:cubicBezTo>
                  <a:pt x="1872551" y="1782174"/>
                  <a:pt x="1863844" y="1770203"/>
                  <a:pt x="1863844" y="1757687"/>
                </a:cubicBezTo>
                <a:cubicBezTo>
                  <a:pt x="1863844" y="1742994"/>
                  <a:pt x="1874728" y="1734287"/>
                  <a:pt x="1887788" y="1734831"/>
                </a:cubicBezTo>
                <a:close/>
                <a:moveTo>
                  <a:pt x="826100" y="1671706"/>
                </a:moveTo>
                <a:cubicBezTo>
                  <a:pt x="830454" y="1670618"/>
                  <a:pt x="832086" y="1673338"/>
                  <a:pt x="832086" y="1677692"/>
                </a:cubicBezTo>
                <a:cubicBezTo>
                  <a:pt x="832086" y="1681501"/>
                  <a:pt x="829365" y="1683134"/>
                  <a:pt x="825556" y="1683134"/>
                </a:cubicBezTo>
                <a:cubicBezTo>
                  <a:pt x="821203" y="1683134"/>
                  <a:pt x="819570" y="1679869"/>
                  <a:pt x="820658" y="1676603"/>
                </a:cubicBezTo>
                <a:cubicBezTo>
                  <a:pt x="821203" y="1674427"/>
                  <a:pt x="823924" y="1672250"/>
                  <a:pt x="826100" y="1671706"/>
                </a:cubicBezTo>
                <a:close/>
                <a:moveTo>
                  <a:pt x="989354" y="1661912"/>
                </a:moveTo>
                <a:cubicBezTo>
                  <a:pt x="994251" y="1661912"/>
                  <a:pt x="1004046" y="1671707"/>
                  <a:pt x="1004046" y="1676604"/>
                </a:cubicBezTo>
                <a:cubicBezTo>
                  <a:pt x="1004046" y="1682590"/>
                  <a:pt x="996428" y="1690209"/>
                  <a:pt x="989354" y="1690209"/>
                </a:cubicBezTo>
                <a:cubicBezTo>
                  <a:pt x="982823" y="1690209"/>
                  <a:pt x="975749" y="1683679"/>
                  <a:pt x="975205" y="1677693"/>
                </a:cubicBezTo>
                <a:cubicBezTo>
                  <a:pt x="974661" y="1671707"/>
                  <a:pt x="983912" y="1661367"/>
                  <a:pt x="989354" y="1661912"/>
                </a:cubicBezTo>
                <a:close/>
                <a:moveTo>
                  <a:pt x="1153151" y="1659734"/>
                </a:moveTo>
                <a:cubicBezTo>
                  <a:pt x="1162946" y="1658646"/>
                  <a:pt x="1171108" y="1667353"/>
                  <a:pt x="1170564" y="1677692"/>
                </a:cubicBezTo>
                <a:cubicBezTo>
                  <a:pt x="1170020" y="1688575"/>
                  <a:pt x="1162946" y="1694562"/>
                  <a:pt x="1152062" y="1694562"/>
                </a:cubicBezTo>
                <a:cubicBezTo>
                  <a:pt x="1141179" y="1694017"/>
                  <a:pt x="1135737" y="1688031"/>
                  <a:pt x="1135737" y="1677148"/>
                </a:cubicBezTo>
                <a:cubicBezTo>
                  <a:pt x="1135737" y="1664632"/>
                  <a:pt x="1141179" y="1659190"/>
                  <a:pt x="1153151" y="1659734"/>
                </a:cubicBezTo>
                <a:close/>
                <a:moveTo>
                  <a:pt x="1315315" y="1655381"/>
                </a:moveTo>
                <a:cubicBezTo>
                  <a:pt x="1327287" y="1654836"/>
                  <a:pt x="1337082" y="1664088"/>
                  <a:pt x="1337082" y="1676603"/>
                </a:cubicBezTo>
                <a:cubicBezTo>
                  <a:pt x="1337082" y="1688575"/>
                  <a:pt x="1326743" y="1698915"/>
                  <a:pt x="1315315" y="1698915"/>
                </a:cubicBezTo>
                <a:cubicBezTo>
                  <a:pt x="1304976" y="1698915"/>
                  <a:pt x="1294092" y="1687487"/>
                  <a:pt x="1294092" y="1677148"/>
                </a:cubicBezTo>
                <a:cubicBezTo>
                  <a:pt x="1294092" y="1666264"/>
                  <a:pt x="1304431" y="1655925"/>
                  <a:pt x="1315315" y="1655381"/>
                </a:cubicBezTo>
                <a:close/>
                <a:moveTo>
                  <a:pt x="1479111" y="1654293"/>
                </a:moveTo>
                <a:cubicBezTo>
                  <a:pt x="1495437" y="1653204"/>
                  <a:pt x="1501967" y="1664632"/>
                  <a:pt x="1501967" y="1677692"/>
                </a:cubicBezTo>
                <a:cubicBezTo>
                  <a:pt x="1501967" y="1689664"/>
                  <a:pt x="1492716" y="1700548"/>
                  <a:pt x="1479111" y="1700548"/>
                </a:cubicBezTo>
                <a:cubicBezTo>
                  <a:pt x="1466596" y="1700548"/>
                  <a:pt x="1455712" y="1690208"/>
                  <a:pt x="1455712" y="1676604"/>
                </a:cubicBezTo>
                <a:cubicBezTo>
                  <a:pt x="1456256" y="1663544"/>
                  <a:pt x="1464963" y="1653204"/>
                  <a:pt x="1479111" y="1654293"/>
                </a:cubicBezTo>
                <a:close/>
                <a:moveTo>
                  <a:pt x="1643452" y="1650483"/>
                </a:moveTo>
                <a:cubicBezTo>
                  <a:pt x="1654880" y="1651027"/>
                  <a:pt x="1667940" y="1664087"/>
                  <a:pt x="1668484" y="1676603"/>
                </a:cubicBezTo>
                <a:cubicBezTo>
                  <a:pt x="1669029" y="1689120"/>
                  <a:pt x="1655968" y="1702724"/>
                  <a:pt x="1643452" y="1703268"/>
                </a:cubicBezTo>
                <a:cubicBezTo>
                  <a:pt x="1631480" y="1703812"/>
                  <a:pt x="1617332" y="1690208"/>
                  <a:pt x="1617332" y="1677692"/>
                </a:cubicBezTo>
                <a:cubicBezTo>
                  <a:pt x="1616788" y="1664632"/>
                  <a:pt x="1630392" y="1650483"/>
                  <a:pt x="1643452" y="1650483"/>
                </a:cubicBezTo>
                <a:close/>
                <a:moveTo>
                  <a:pt x="1968326" y="1649940"/>
                </a:moveTo>
                <a:cubicBezTo>
                  <a:pt x="1983019" y="1649395"/>
                  <a:pt x="1997167" y="1664088"/>
                  <a:pt x="1995535" y="1676604"/>
                </a:cubicBezTo>
                <a:cubicBezTo>
                  <a:pt x="1997167" y="1689664"/>
                  <a:pt x="1982474" y="1704901"/>
                  <a:pt x="1968870" y="1704357"/>
                </a:cubicBezTo>
                <a:cubicBezTo>
                  <a:pt x="1954177" y="1703813"/>
                  <a:pt x="1942205" y="1691841"/>
                  <a:pt x="1941661" y="1677148"/>
                </a:cubicBezTo>
                <a:cubicBezTo>
                  <a:pt x="1941117" y="1662456"/>
                  <a:pt x="1956354" y="1649940"/>
                  <a:pt x="1968326" y="1649940"/>
                </a:cubicBezTo>
                <a:close/>
                <a:moveTo>
                  <a:pt x="1805617" y="1649939"/>
                </a:moveTo>
                <a:cubicBezTo>
                  <a:pt x="1819222" y="1648851"/>
                  <a:pt x="1832826" y="1664088"/>
                  <a:pt x="1832826" y="1677148"/>
                </a:cubicBezTo>
                <a:cubicBezTo>
                  <a:pt x="1832282" y="1690752"/>
                  <a:pt x="1819222" y="1703812"/>
                  <a:pt x="1805073" y="1704357"/>
                </a:cubicBezTo>
                <a:cubicBezTo>
                  <a:pt x="1792557" y="1704901"/>
                  <a:pt x="1777864" y="1688031"/>
                  <a:pt x="1778409" y="1677148"/>
                </a:cubicBezTo>
                <a:cubicBezTo>
                  <a:pt x="1779497" y="1662999"/>
                  <a:pt x="1791469" y="1649939"/>
                  <a:pt x="1805617" y="1649939"/>
                </a:cubicBezTo>
                <a:close/>
                <a:moveTo>
                  <a:pt x="744474" y="1588992"/>
                </a:moveTo>
                <a:cubicBezTo>
                  <a:pt x="748827" y="1588992"/>
                  <a:pt x="751004" y="1590624"/>
                  <a:pt x="751004" y="1594978"/>
                </a:cubicBezTo>
                <a:cubicBezTo>
                  <a:pt x="751004" y="1598787"/>
                  <a:pt x="749916" y="1601508"/>
                  <a:pt x="745562" y="1602052"/>
                </a:cubicBezTo>
                <a:cubicBezTo>
                  <a:pt x="740665" y="1602052"/>
                  <a:pt x="738488" y="1600420"/>
                  <a:pt x="738488" y="1594978"/>
                </a:cubicBezTo>
                <a:cubicBezTo>
                  <a:pt x="737944" y="1590624"/>
                  <a:pt x="740121" y="1588992"/>
                  <a:pt x="744474" y="1588992"/>
                </a:cubicBezTo>
                <a:close/>
                <a:moveTo>
                  <a:pt x="907183" y="1579741"/>
                </a:moveTo>
                <a:cubicBezTo>
                  <a:pt x="913169" y="1579197"/>
                  <a:pt x="923508" y="1588992"/>
                  <a:pt x="923508" y="1594978"/>
                </a:cubicBezTo>
                <a:cubicBezTo>
                  <a:pt x="923508" y="1600964"/>
                  <a:pt x="915345" y="1610215"/>
                  <a:pt x="908815" y="1610759"/>
                </a:cubicBezTo>
                <a:cubicBezTo>
                  <a:pt x="901197" y="1611303"/>
                  <a:pt x="892490" y="1603685"/>
                  <a:pt x="892490" y="1595522"/>
                </a:cubicBezTo>
                <a:cubicBezTo>
                  <a:pt x="892490" y="1588448"/>
                  <a:pt x="900653" y="1579741"/>
                  <a:pt x="907183" y="1579741"/>
                </a:cubicBezTo>
                <a:close/>
                <a:moveTo>
                  <a:pt x="1071524" y="1574843"/>
                </a:moveTo>
                <a:cubicBezTo>
                  <a:pt x="1081319" y="1575387"/>
                  <a:pt x="1091114" y="1585726"/>
                  <a:pt x="1091114" y="1595522"/>
                </a:cubicBezTo>
                <a:cubicBezTo>
                  <a:pt x="1091114" y="1605317"/>
                  <a:pt x="1080231" y="1615656"/>
                  <a:pt x="1070980" y="1615656"/>
                </a:cubicBezTo>
                <a:cubicBezTo>
                  <a:pt x="1062273" y="1615656"/>
                  <a:pt x="1050845" y="1604228"/>
                  <a:pt x="1050301" y="1595522"/>
                </a:cubicBezTo>
                <a:cubicBezTo>
                  <a:pt x="1050301" y="1586270"/>
                  <a:pt x="1062273" y="1574299"/>
                  <a:pt x="1071524" y="1574843"/>
                </a:cubicBezTo>
                <a:close/>
                <a:moveTo>
                  <a:pt x="1233688" y="1573210"/>
                </a:moveTo>
                <a:cubicBezTo>
                  <a:pt x="1247837" y="1573210"/>
                  <a:pt x="1256544" y="1581373"/>
                  <a:pt x="1256544" y="1595522"/>
                </a:cubicBezTo>
                <a:cubicBezTo>
                  <a:pt x="1256544" y="1609670"/>
                  <a:pt x="1247837" y="1618377"/>
                  <a:pt x="1233688" y="1618377"/>
                </a:cubicBezTo>
                <a:cubicBezTo>
                  <a:pt x="1221172" y="1618377"/>
                  <a:pt x="1212465" y="1608582"/>
                  <a:pt x="1211377" y="1596610"/>
                </a:cubicBezTo>
                <a:cubicBezTo>
                  <a:pt x="1210289" y="1584638"/>
                  <a:pt x="1222261" y="1571034"/>
                  <a:pt x="1233688" y="1573210"/>
                </a:cubicBezTo>
                <a:close/>
                <a:moveTo>
                  <a:pt x="1398030" y="1569402"/>
                </a:moveTo>
                <a:cubicBezTo>
                  <a:pt x="1411634" y="1569946"/>
                  <a:pt x="1423606" y="1582462"/>
                  <a:pt x="1423062" y="1595522"/>
                </a:cubicBezTo>
                <a:cubicBezTo>
                  <a:pt x="1423062" y="1608582"/>
                  <a:pt x="1410546" y="1621099"/>
                  <a:pt x="1397485" y="1621099"/>
                </a:cubicBezTo>
                <a:cubicBezTo>
                  <a:pt x="1384969" y="1621099"/>
                  <a:pt x="1371365" y="1608038"/>
                  <a:pt x="1371365" y="1595522"/>
                </a:cubicBezTo>
                <a:cubicBezTo>
                  <a:pt x="1371365" y="1582462"/>
                  <a:pt x="1384969" y="1568857"/>
                  <a:pt x="1398030" y="1569402"/>
                </a:cubicBezTo>
                <a:close/>
                <a:moveTo>
                  <a:pt x="1560194" y="1568313"/>
                </a:moveTo>
                <a:cubicBezTo>
                  <a:pt x="1574342" y="1566680"/>
                  <a:pt x="1587403" y="1581373"/>
                  <a:pt x="1587947" y="1594433"/>
                </a:cubicBezTo>
                <a:cubicBezTo>
                  <a:pt x="1588491" y="1608582"/>
                  <a:pt x="1574887" y="1622730"/>
                  <a:pt x="1560194" y="1622730"/>
                </a:cubicBezTo>
                <a:cubicBezTo>
                  <a:pt x="1547134" y="1622730"/>
                  <a:pt x="1532985" y="1608582"/>
                  <a:pt x="1532985" y="1594977"/>
                </a:cubicBezTo>
                <a:cubicBezTo>
                  <a:pt x="1532985" y="1581917"/>
                  <a:pt x="1547134" y="1566680"/>
                  <a:pt x="1560194" y="1568313"/>
                </a:cubicBezTo>
                <a:close/>
                <a:moveTo>
                  <a:pt x="1887244" y="1567225"/>
                </a:moveTo>
                <a:cubicBezTo>
                  <a:pt x="1905202" y="1567225"/>
                  <a:pt x="1915541" y="1578109"/>
                  <a:pt x="1915541" y="1594978"/>
                </a:cubicBezTo>
                <a:cubicBezTo>
                  <a:pt x="1915541" y="1612392"/>
                  <a:pt x="1903569" y="1624363"/>
                  <a:pt x="1886699" y="1623819"/>
                </a:cubicBezTo>
                <a:cubicBezTo>
                  <a:pt x="1872551" y="1623819"/>
                  <a:pt x="1857314" y="1613480"/>
                  <a:pt x="1858947" y="1594978"/>
                </a:cubicBezTo>
                <a:cubicBezTo>
                  <a:pt x="1857858" y="1577564"/>
                  <a:pt x="1870918" y="1567225"/>
                  <a:pt x="1887244" y="1567225"/>
                </a:cubicBezTo>
                <a:close/>
                <a:moveTo>
                  <a:pt x="1724535" y="1567225"/>
                </a:moveTo>
                <a:cubicBezTo>
                  <a:pt x="1743037" y="1567225"/>
                  <a:pt x="1752288" y="1581373"/>
                  <a:pt x="1752288" y="1594978"/>
                </a:cubicBezTo>
                <a:cubicBezTo>
                  <a:pt x="1752288" y="1609127"/>
                  <a:pt x="1741949" y="1623275"/>
                  <a:pt x="1724535" y="1623275"/>
                </a:cubicBezTo>
                <a:cubicBezTo>
                  <a:pt x="1710930" y="1623819"/>
                  <a:pt x="1694605" y="1613480"/>
                  <a:pt x="1696238" y="1594978"/>
                </a:cubicBezTo>
                <a:cubicBezTo>
                  <a:pt x="1694605" y="1577564"/>
                  <a:pt x="1708754" y="1567225"/>
                  <a:pt x="1724535" y="1567225"/>
                </a:cubicBezTo>
                <a:close/>
                <a:moveTo>
                  <a:pt x="2050496" y="1566680"/>
                </a:moveTo>
                <a:lnTo>
                  <a:pt x="2051041" y="1566888"/>
                </a:lnTo>
                <a:lnTo>
                  <a:pt x="2051041" y="1623794"/>
                </a:lnTo>
                <a:lnTo>
                  <a:pt x="2049408" y="1624363"/>
                </a:lnTo>
                <a:cubicBezTo>
                  <a:pt x="2033083" y="1623818"/>
                  <a:pt x="2021111" y="1611302"/>
                  <a:pt x="2021655" y="1594977"/>
                </a:cubicBezTo>
                <a:cubicBezTo>
                  <a:pt x="2022199" y="1575931"/>
                  <a:pt x="2033627" y="1567224"/>
                  <a:pt x="2050496" y="1566680"/>
                </a:cubicBezTo>
                <a:close/>
                <a:moveTo>
                  <a:pt x="663392" y="1505188"/>
                </a:moveTo>
                <a:cubicBezTo>
                  <a:pt x="666113" y="1505188"/>
                  <a:pt x="669922" y="1510086"/>
                  <a:pt x="674819" y="1513895"/>
                </a:cubicBezTo>
                <a:cubicBezTo>
                  <a:pt x="669378" y="1517704"/>
                  <a:pt x="665569" y="1522602"/>
                  <a:pt x="662848" y="1522058"/>
                </a:cubicBezTo>
                <a:cubicBezTo>
                  <a:pt x="659583" y="1521513"/>
                  <a:pt x="654685" y="1516072"/>
                  <a:pt x="654685" y="1513351"/>
                </a:cubicBezTo>
                <a:cubicBezTo>
                  <a:pt x="654685" y="1510086"/>
                  <a:pt x="660127" y="1505188"/>
                  <a:pt x="663392" y="1505188"/>
                </a:cubicBezTo>
                <a:close/>
                <a:moveTo>
                  <a:pt x="826101" y="1497570"/>
                </a:moveTo>
                <a:cubicBezTo>
                  <a:pt x="834263" y="1497025"/>
                  <a:pt x="842426" y="1505188"/>
                  <a:pt x="842970" y="1513351"/>
                </a:cubicBezTo>
                <a:cubicBezTo>
                  <a:pt x="842970" y="1522058"/>
                  <a:pt x="835352" y="1529676"/>
                  <a:pt x="826645" y="1529676"/>
                </a:cubicBezTo>
                <a:cubicBezTo>
                  <a:pt x="818482" y="1529676"/>
                  <a:pt x="810864" y="1523146"/>
                  <a:pt x="810319" y="1514983"/>
                </a:cubicBezTo>
                <a:cubicBezTo>
                  <a:pt x="809775" y="1506276"/>
                  <a:pt x="817394" y="1498114"/>
                  <a:pt x="826101" y="1497570"/>
                </a:cubicBezTo>
                <a:close/>
                <a:moveTo>
                  <a:pt x="988265" y="1492128"/>
                </a:moveTo>
                <a:cubicBezTo>
                  <a:pt x="998605" y="1492128"/>
                  <a:pt x="1010577" y="1501379"/>
                  <a:pt x="1010577" y="1513351"/>
                </a:cubicBezTo>
                <a:cubicBezTo>
                  <a:pt x="1010577" y="1524234"/>
                  <a:pt x="1000237" y="1534574"/>
                  <a:pt x="989354" y="1534574"/>
                </a:cubicBezTo>
                <a:cubicBezTo>
                  <a:pt x="979559" y="1534574"/>
                  <a:pt x="968675" y="1523690"/>
                  <a:pt x="968131" y="1513895"/>
                </a:cubicBezTo>
                <a:cubicBezTo>
                  <a:pt x="968131" y="1503556"/>
                  <a:pt x="977926" y="1492672"/>
                  <a:pt x="988265" y="1492128"/>
                </a:cubicBezTo>
                <a:close/>
                <a:moveTo>
                  <a:pt x="1152606" y="1490496"/>
                </a:moveTo>
                <a:cubicBezTo>
                  <a:pt x="1167299" y="1489407"/>
                  <a:pt x="1176006" y="1498658"/>
                  <a:pt x="1176006" y="1513351"/>
                </a:cubicBezTo>
                <a:cubicBezTo>
                  <a:pt x="1176006" y="1530764"/>
                  <a:pt x="1166755" y="1537295"/>
                  <a:pt x="1152606" y="1537839"/>
                </a:cubicBezTo>
                <a:cubicBezTo>
                  <a:pt x="1139546" y="1537839"/>
                  <a:pt x="1129207" y="1530764"/>
                  <a:pt x="1129207" y="1514984"/>
                </a:cubicBezTo>
                <a:cubicBezTo>
                  <a:pt x="1129207" y="1498114"/>
                  <a:pt x="1138458" y="1491040"/>
                  <a:pt x="1152606" y="1490496"/>
                </a:cubicBezTo>
                <a:close/>
                <a:moveTo>
                  <a:pt x="1316403" y="1487231"/>
                </a:moveTo>
                <a:cubicBezTo>
                  <a:pt x="1331095" y="1487775"/>
                  <a:pt x="1342523" y="1499203"/>
                  <a:pt x="1342523" y="1513896"/>
                </a:cubicBezTo>
                <a:cubicBezTo>
                  <a:pt x="1342523" y="1528588"/>
                  <a:pt x="1330551" y="1540560"/>
                  <a:pt x="1315314" y="1540560"/>
                </a:cubicBezTo>
                <a:cubicBezTo>
                  <a:pt x="1303887" y="1542193"/>
                  <a:pt x="1288106" y="1527500"/>
                  <a:pt x="1288650" y="1513896"/>
                </a:cubicBezTo>
                <a:cubicBezTo>
                  <a:pt x="1289194" y="1498659"/>
                  <a:pt x="1301166" y="1486687"/>
                  <a:pt x="1316403" y="1487231"/>
                </a:cubicBezTo>
                <a:close/>
                <a:moveTo>
                  <a:pt x="1479656" y="1485054"/>
                </a:moveTo>
                <a:cubicBezTo>
                  <a:pt x="1495437" y="1485598"/>
                  <a:pt x="1508497" y="1496482"/>
                  <a:pt x="1507409" y="1513895"/>
                </a:cubicBezTo>
                <a:cubicBezTo>
                  <a:pt x="1508497" y="1527500"/>
                  <a:pt x="1498158" y="1542192"/>
                  <a:pt x="1479112" y="1541648"/>
                </a:cubicBezTo>
                <a:cubicBezTo>
                  <a:pt x="1462787" y="1541648"/>
                  <a:pt x="1451359" y="1529676"/>
                  <a:pt x="1451359" y="1513351"/>
                </a:cubicBezTo>
                <a:cubicBezTo>
                  <a:pt x="1451359" y="1493761"/>
                  <a:pt x="1466596" y="1485054"/>
                  <a:pt x="1479656" y="1485054"/>
                </a:cubicBezTo>
                <a:close/>
                <a:moveTo>
                  <a:pt x="1641820" y="1482334"/>
                </a:moveTo>
                <a:cubicBezTo>
                  <a:pt x="1657057" y="1481789"/>
                  <a:pt x="1672838" y="1496482"/>
                  <a:pt x="1673382" y="1512807"/>
                </a:cubicBezTo>
                <a:cubicBezTo>
                  <a:pt x="1673927" y="1528044"/>
                  <a:pt x="1658145" y="1544370"/>
                  <a:pt x="1642909" y="1544370"/>
                </a:cubicBezTo>
                <a:cubicBezTo>
                  <a:pt x="1626039" y="1542193"/>
                  <a:pt x="1612979" y="1532942"/>
                  <a:pt x="1612435" y="1513351"/>
                </a:cubicBezTo>
                <a:cubicBezTo>
                  <a:pt x="1611890" y="1497571"/>
                  <a:pt x="1626583" y="1483422"/>
                  <a:pt x="1641820" y="1482334"/>
                </a:cubicBezTo>
                <a:close/>
                <a:moveTo>
                  <a:pt x="1804529" y="1481788"/>
                </a:moveTo>
                <a:cubicBezTo>
                  <a:pt x="1820855" y="1481244"/>
                  <a:pt x="1836091" y="1494304"/>
                  <a:pt x="1837180" y="1513351"/>
                </a:cubicBezTo>
                <a:cubicBezTo>
                  <a:pt x="1838812" y="1528043"/>
                  <a:pt x="1825208" y="1544913"/>
                  <a:pt x="1805617" y="1545457"/>
                </a:cubicBezTo>
                <a:cubicBezTo>
                  <a:pt x="1787660" y="1544913"/>
                  <a:pt x="1774055" y="1532397"/>
                  <a:pt x="1773511" y="1514983"/>
                </a:cubicBezTo>
                <a:cubicBezTo>
                  <a:pt x="1772967" y="1494849"/>
                  <a:pt x="1788204" y="1482333"/>
                  <a:pt x="1804529" y="1481788"/>
                </a:cubicBezTo>
                <a:close/>
                <a:moveTo>
                  <a:pt x="1968870" y="1480700"/>
                </a:moveTo>
                <a:cubicBezTo>
                  <a:pt x="1984651" y="1480700"/>
                  <a:pt x="2000977" y="1495937"/>
                  <a:pt x="2000977" y="1513351"/>
                </a:cubicBezTo>
                <a:cubicBezTo>
                  <a:pt x="2001521" y="1529132"/>
                  <a:pt x="1987916" y="1546001"/>
                  <a:pt x="1968870" y="1545457"/>
                </a:cubicBezTo>
                <a:cubicBezTo>
                  <a:pt x="1949824" y="1545457"/>
                  <a:pt x="1936764" y="1530764"/>
                  <a:pt x="1936764" y="1513351"/>
                </a:cubicBezTo>
                <a:cubicBezTo>
                  <a:pt x="1936764" y="1493760"/>
                  <a:pt x="1953633" y="1480700"/>
                  <a:pt x="1968870" y="1480700"/>
                </a:cubicBezTo>
                <a:close/>
                <a:moveTo>
                  <a:pt x="581221" y="1423562"/>
                </a:moveTo>
                <a:cubicBezTo>
                  <a:pt x="586663" y="1423562"/>
                  <a:pt x="589384" y="1427371"/>
                  <a:pt x="588840" y="1431725"/>
                </a:cubicBezTo>
                <a:cubicBezTo>
                  <a:pt x="588840" y="1434990"/>
                  <a:pt x="585030" y="1438255"/>
                  <a:pt x="581765" y="1443153"/>
                </a:cubicBezTo>
                <a:cubicBezTo>
                  <a:pt x="577412" y="1438255"/>
                  <a:pt x="574147" y="1436078"/>
                  <a:pt x="573059" y="1432813"/>
                </a:cubicBezTo>
                <a:cubicBezTo>
                  <a:pt x="571426" y="1429004"/>
                  <a:pt x="576868" y="1423562"/>
                  <a:pt x="581221" y="1423562"/>
                </a:cubicBezTo>
                <a:close/>
                <a:moveTo>
                  <a:pt x="745562" y="1414855"/>
                </a:moveTo>
                <a:cubicBezTo>
                  <a:pt x="754269" y="1415399"/>
                  <a:pt x="761344" y="1423018"/>
                  <a:pt x="761344" y="1432269"/>
                </a:cubicBezTo>
                <a:cubicBezTo>
                  <a:pt x="761344" y="1442064"/>
                  <a:pt x="754813" y="1448050"/>
                  <a:pt x="745018" y="1448050"/>
                </a:cubicBezTo>
                <a:cubicBezTo>
                  <a:pt x="734679" y="1448050"/>
                  <a:pt x="728693" y="1442064"/>
                  <a:pt x="728693" y="1431725"/>
                </a:cubicBezTo>
                <a:cubicBezTo>
                  <a:pt x="728693" y="1421386"/>
                  <a:pt x="735223" y="1414311"/>
                  <a:pt x="745562" y="1414855"/>
                </a:cubicBezTo>
                <a:close/>
                <a:moveTo>
                  <a:pt x="908815" y="1409958"/>
                </a:moveTo>
                <a:cubicBezTo>
                  <a:pt x="920243" y="1410502"/>
                  <a:pt x="930038" y="1420297"/>
                  <a:pt x="930038" y="1431725"/>
                </a:cubicBezTo>
                <a:cubicBezTo>
                  <a:pt x="929494" y="1443697"/>
                  <a:pt x="919155" y="1454036"/>
                  <a:pt x="907183" y="1453492"/>
                </a:cubicBezTo>
                <a:cubicBezTo>
                  <a:pt x="896844" y="1453492"/>
                  <a:pt x="885960" y="1442064"/>
                  <a:pt x="885960" y="1431725"/>
                </a:cubicBezTo>
                <a:cubicBezTo>
                  <a:pt x="885960" y="1420297"/>
                  <a:pt x="897388" y="1409414"/>
                  <a:pt x="908815" y="1409958"/>
                </a:cubicBezTo>
                <a:close/>
                <a:moveTo>
                  <a:pt x="1070436" y="1406693"/>
                </a:moveTo>
                <a:cubicBezTo>
                  <a:pt x="1084584" y="1406693"/>
                  <a:pt x="1096012" y="1418121"/>
                  <a:pt x="1096012" y="1432269"/>
                </a:cubicBezTo>
                <a:cubicBezTo>
                  <a:pt x="1096012" y="1445329"/>
                  <a:pt x="1082952" y="1458390"/>
                  <a:pt x="1070436" y="1457846"/>
                </a:cubicBezTo>
                <a:cubicBezTo>
                  <a:pt x="1058464" y="1457301"/>
                  <a:pt x="1044860" y="1443153"/>
                  <a:pt x="1045404" y="1431181"/>
                </a:cubicBezTo>
                <a:cubicBezTo>
                  <a:pt x="1045948" y="1418665"/>
                  <a:pt x="1057920" y="1406693"/>
                  <a:pt x="1070436" y="1406693"/>
                </a:cubicBezTo>
                <a:close/>
                <a:moveTo>
                  <a:pt x="1235865" y="1404516"/>
                </a:moveTo>
                <a:cubicBezTo>
                  <a:pt x="1252191" y="1405605"/>
                  <a:pt x="1262530" y="1415944"/>
                  <a:pt x="1261986" y="1433358"/>
                </a:cubicBezTo>
                <a:cubicBezTo>
                  <a:pt x="1261442" y="1449683"/>
                  <a:pt x="1251102" y="1459478"/>
                  <a:pt x="1233689" y="1459478"/>
                </a:cubicBezTo>
                <a:cubicBezTo>
                  <a:pt x="1218452" y="1461655"/>
                  <a:pt x="1206480" y="1445329"/>
                  <a:pt x="1206480" y="1432269"/>
                </a:cubicBezTo>
                <a:cubicBezTo>
                  <a:pt x="1206480" y="1417032"/>
                  <a:pt x="1220084" y="1403428"/>
                  <a:pt x="1235865" y="1404516"/>
                </a:cubicBezTo>
                <a:close/>
                <a:moveTo>
                  <a:pt x="1397485" y="1400162"/>
                </a:moveTo>
                <a:cubicBezTo>
                  <a:pt x="1412178" y="1400162"/>
                  <a:pt x="1427959" y="1416487"/>
                  <a:pt x="1427959" y="1431724"/>
                </a:cubicBezTo>
                <a:cubicBezTo>
                  <a:pt x="1428503" y="1446961"/>
                  <a:pt x="1413810" y="1462198"/>
                  <a:pt x="1398029" y="1463287"/>
                </a:cubicBezTo>
                <a:cubicBezTo>
                  <a:pt x="1384425" y="1464375"/>
                  <a:pt x="1367555" y="1448049"/>
                  <a:pt x="1366467" y="1432813"/>
                </a:cubicBezTo>
                <a:cubicBezTo>
                  <a:pt x="1365923" y="1418120"/>
                  <a:pt x="1382792" y="1400162"/>
                  <a:pt x="1397485" y="1400162"/>
                </a:cubicBezTo>
                <a:close/>
                <a:moveTo>
                  <a:pt x="1561282" y="1399618"/>
                </a:moveTo>
                <a:cubicBezTo>
                  <a:pt x="1575975" y="1399618"/>
                  <a:pt x="1593388" y="1415943"/>
                  <a:pt x="1593388" y="1432269"/>
                </a:cubicBezTo>
                <a:cubicBezTo>
                  <a:pt x="1593388" y="1446961"/>
                  <a:pt x="1578696" y="1464919"/>
                  <a:pt x="1560738" y="1464375"/>
                </a:cubicBezTo>
                <a:cubicBezTo>
                  <a:pt x="1542236" y="1463831"/>
                  <a:pt x="1529176" y="1450226"/>
                  <a:pt x="1528631" y="1432813"/>
                </a:cubicBezTo>
                <a:cubicBezTo>
                  <a:pt x="1528087" y="1414311"/>
                  <a:pt x="1545501" y="1399618"/>
                  <a:pt x="1561282" y="1399618"/>
                </a:cubicBezTo>
                <a:close/>
                <a:moveTo>
                  <a:pt x="1723446" y="1399074"/>
                </a:moveTo>
                <a:cubicBezTo>
                  <a:pt x="1741948" y="1399074"/>
                  <a:pt x="1757185" y="1413767"/>
                  <a:pt x="1757185" y="1432269"/>
                </a:cubicBezTo>
                <a:cubicBezTo>
                  <a:pt x="1757185" y="1451315"/>
                  <a:pt x="1743037" y="1463831"/>
                  <a:pt x="1723991" y="1465464"/>
                </a:cubicBezTo>
                <a:cubicBezTo>
                  <a:pt x="1707121" y="1466552"/>
                  <a:pt x="1690252" y="1448594"/>
                  <a:pt x="1691340" y="1433357"/>
                </a:cubicBezTo>
                <a:cubicBezTo>
                  <a:pt x="1692428" y="1412678"/>
                  <a:pt x="1704400" y="1399074"/>
                  <a:pt x="1723446" y="1399074"/>
                </a:cubicBezTo>
                <a:close/>
                <a:moveTo>
                  <a:pt x="1886700" y="1398530"/>
                </a:moveTo>
                <a:cubicBezTo>
                  <a:pt x="1904113" y="1396898"/>
                  <a:pt x="1922071" y="1415944"/>
                  <a:pt x="1920439" y="1432269"/>
                </a:cubicBezTo>
                <a:cubicBezTo>
                  <a:pt x="1919350" y="1451315"/>
                  <a:pt x="1907378" y="1464920"/>
                  <a:pt x="1887788" y="1464920"/>
                </a:cubicBezTo>
                <a:cubicBezTo>
                  <a:pt x="1867109" y="1464920"/>
                  <a:pt x="1854049" y="1452948"/>
                  <a:pt x="1854049" y="1433358"/>
                </a:cubicBezTo>
                <a:cubicBezTo>
                  <a:pt x="1854049" y="1412679"/>
                  <a:pt x="1867109" y="1400163"/>
                  <a:pt x="1886700" y="1398530"/>
                </a:cubicBezTo>
                <a:close/>
                <a:moveTo>
                  <a:pt x="2051041" y="1398217"/>
                </a:moveTo>
                <a:lnTo>
                  <a:pt x="2051041" y="1464535"/>
                </a:lnTo>
                <a:lnTo>
                  <a:pt x="2049953" y="1464920"/>
                </a:lnTo>
                <a:cubicBezTo>
                  <a:pt x="2032539" y="1467096"/>
                  <a:pt x="2017302" y="1450771"/>
                  <a:pt x="2017302" y="1431725"/>
                </a:cubicBezTo>
                <a:cubicBezTo>
                  <a:pt x="2017302" y="1422746"/>
                  <a:pt x="2021383" y="1414311"/>
                  <a:pt x="2027709" y="1408121"/>
                </a:cubicBezTo>
                <a:close/>
                <a:moveTo>
                  <a:pt x="500139" y="1341936"/>
                </a:moveTo>
                <a:cubicBezTo>
                  <a:pt x="503404" y="1343568"/>
                  <a:pt x="506125" y="1346833"/>
                  <a:pt x="511023" y="1350643"/>
                </a:cubicBezTo>
                <a:cubicBezTo>
                  <a:pt x="506125" y="1354452"/>
                  <a:pt x="502860" y="1357717"/>
                  <a:pt x="499595" y="1358261"/>
                </a:cubicBezTo>
                <a:cubicBezTo>
                  <a:pt x="495241" y="1359349"/>
                  <a:pt x="490888" y="1353908"/>
                  <a:pt x="491432" y="1349010"/>
                </a:cubicBezTo>
                <a:cubicBezTo>
                  <a:pt x="491976" y="1344112"/>
                  <a:pt x="495241" y="1340848"/>
                  <a:pt x="500139" y="1341936"/>
                </a:cubicBezTo>
                <a:close/>
                <a:moveTo>
                  <a:pt x="662848" y="1333773"/>
                </a:moveTo>
                <a:cubicBezTo>
                  <a:pt x="673187" y="1333773"/>
                  <a:pt x="679173" y="1340303"/>
                  <a:pt x="679173" y="1350643"/>
                </a:cubicBezTo>
                <a:cubicBezTo>
                  <a:pt x="679173" y="1359894"/>
                  <a:pt x="672099" y="1366424"/>
                  <a:pt x="662848" y="1366424"/>
                </a:cubicBezTo>
                <a:cubicBezTo>
                  <a:pt x="653053" y="1366424"/>
                  <a:pt x="647067" y="1359894"/>
                  <a:pt x="647067" y="1350098"/>
                </a:cubicBezTo>
                <a:cubicBezTo>
                  <a:pt x="647067" y="1339759"/>
                  <a:pt x="653053" y="1333773"/>
                  <a:pt x="662848" y="1333773"/>
                </a:cubicBezTo>
                <a:close/>
                <a:moveTo>
                  <a:pt x="826645" y="1328331"/>
                </a:moveTo>
                <a:cubicBezTo>
                  <a:pt x="838617" y="1328331"/>
                  <a:pt x="848412" y="1338670"/>
                  <a:pt x="847868" y="1350642"/>
                </a:cubicBezTo>
                <a:cubicBezTo>
                  <a:pt x="847868" y="1362070"/>
                  <a:pt x="836984" y="1372409"/>
                  <a:pt x="825556" y="1372409"/>
                </a:cubicBezTo>
                <a:cubicBezTo>
                  <a:pt x="814673" y="1372409"/>
                  <a:pt x="803789" y="1360982"/>
                  <a:pt x="804334" y="1349554"/>
                </a:cubicBezTo>
                <a:cubicBezTo>
                  <a:pt x="804334" y="1337582"/>
                  <a:pt x="814673" y="1328331"/>
                  <a:pt x="826645" y="1328331"/>
                </a:cubicBezTo>
                <a:close/>
                <a:moveTo>
                  <a:pt x="989353" y="1323978"/>
                </a:moveTo>
                <a:cubicBezTo>
                  <a:pt x="1002957" y="1324522"/>
                  <a:pt x="1014385" y="1334861"/>
                  <a:pt x="1015473" y="1350098"/>
                </a:cubicBezTo>
                <a:cubicBezTo>
                  <a:pt x="1014929" y="1363702"/>
                  <a:pt x="1004046" y="1376219"/>
                  <a:pt x="989353" y="1376763"/>
                </a:cubicBezTo>
                <a:cubicBezTo>
                  <a:pt x="976293" y="1376763"/>
                  <a:pt x="963777" y="1364791"/>
                  <a:pt x="963777" y="1350642"/>
                </a:cubicBezTo>
                <a:cubicBezTo>
                  <a:pt x="963233" y="1334861"/>
                  <a:pt x="977925" y="1323434"/>
                  <a:pt x="989353" y="1323978"/>
                </a:cubicBezTo>
                <a:close/>
                <a:moveTo>
                  <a:pt x="1152606" y="1322889"/>
                </a:moveTo>
                <a:cubicBezTo>
                  <a:pt x="1170564" y="1320712"/>
                  <a:pt x="1180903" y="1335405"/>
                  <a:pt x="1181447" y="1350098"/>
                </a:cubicBezTo>
                <a:cubicBezTo>
                  <a:pt x="1181447" y="1364791"/>
                  <a:pt x="1171108" y="1379483"/>
                  <a:pt x="1152606" y="1379483"/>
                </a:cubicBezTo>
                <a:cubicBezTo>
                  <a:pt x="1137913" y="1379483"/>
                  <a:pt x="1124853" y="1367511"/>
                  <a:pt x="1124853" y="1350642"/>
                </a:cubicBezTo>
                <a:cubicBezTo>
                  <a:pt x="1124309" y="1333228"/>
                  <a:pt x="1137913" y="1320712"/>
                  <a:pt x="1152606" y="1322889"/>
                </a:cubicBezTo>
                <a:close/>
                <a:moveTo>
                  <a:pt x="1315315" y="1318536"/>
                </a:moveTo>
                <a:cubicBezTo>
                  <a:pt x="1334361" y="1318536"/>
                  <a:pt x="1345789" y="1331596"/>
                  <a:pt x="1347966" y="1350098"/>
                </a:cubicBezTo>
                <a:cubicBezTo>
                  <a:pt x="1345245" y="1369144"/>
                  <a:pt x="1334905" y="1382205"/>
                  <a:pt x="1315315" y="1381661"/>
                </a:cubicBezTo>
                <a:cubicBezTo>
                  <a:pt x="1296813" y="1381116"/>
                  <a:pt x="1284841" y="1369144"/>
                  <a:pt x="1284297" y="1350098"/>
                </a:cubicBezTo>
                <a:cubicBezTo>
                  <a:pt x="1284297" y="1331052"/>
                  <a:pt x="1297357" y="1319080"/>
                  <a:pt x="1315315" y="1318536"/>
                </a:cubicBezTo>
                <a:close/>
                <a:moveTo>
                  <a:pt x="1480744" y="1317448"/>
                </a:moveTo>
                <a:cubicBezTo>
                  <a:pt x="1499246" y="1317992"/>
                  <a:pt x="1512851" y="1332140"/>
                  <a:pt x="1512306" y="1351731"/>
                </a:cubicBezTo>
                <a:cubicBezTo>
                  <a:pt x="1511762" y="1370233"/>
                  <a:pt x="1497070" y="1383837"/>
                  <a:pt x="1477479" y="1383293"/>
                </a:cubicBezTo>
                <a:cubicBezTo>
                  <a:pt x="1458977" y="1382749"/>
                  <a:pt x="1447550" y="1368600"/>
                  <a:pt x="1446461" y="1349554"/>
                </a:cubicBezTo>
                <a:cubicBezTo>
                  <a:pt x="1445373" y="1333773"/>
                  <a:pt x="1463331" y="1314727"/>
                  <a:pt x="1480744" y="1317448"/>
                </a:cubicBezTo>
                <a:close/>
                <a:moveTo>
                  <a:pt x="1642908" y="1315815"/>
                </a:moveTo>
                <a:cubicBezTo>
                  <a:pt x="1663043" y="1315815"/>
                  <a:pt x="1677735" y="1333229"/>
                  <a:pt x="1676647" y="1351731"/>
                </a:cubicBezTo>
                <a:cubicBezTo>
                  <a:pt x="1675559" y="1371865"/>
                  <a:pt x="1661954" y="1384381"/>
                  <a:pt x="1640732" y="1383837"/>
                </a:cubicBezTo>
                <a:cubicBezTo>
                  <a:pt x="1620597" y="1384381"/>
                  <a:pt x="1608081" y="1368056"/>
                  <a:pt x="1608081" y="1349554"/>
                </a:cubicBezTo>
                <a:cubicBezTo>
                  <a:pt x="1608081" y="1329964"/>
                  <a:pt x="1623318" y="1315815"/>
                  <a:pt x="1642908" y="1315815"/>
                </a:cubicBezTo>
                <a:close/>
                <a:moveTo>
                  <a:pt x="1968870" y="1314183"/>
                </a:moveTo>
                <a:cubicBezTo>
                  <a:pt x="1989548" y="1314727"/>
                  <a:pt x="2004785" y="1329420"/>
                  <a:pt x="2005329" y="1351187"/>
                </a:cubicBezTo>
                <a:cubicBezTo>
                  <a:pt x="2004785" y="1370233"/>
                  <a:pt x="1985739" y="1388735"/>
                  <a:pt x="1967781" y="1388191"/>
                </a:cubicBezTo>
                <a:cubicBezTo>
                  <a:pt x="1949823" y="1387647"/>
                  <a:pt x="1931322" y="1367512"/>
                  <a:pt x="1931866" y="1350098"/>
                </a:cubicBezTo>
                <a:cubicBezTo>
                  <a:pt x="1932410" y="1331596"/>
                  <a:pt x="1950912" y="1313094"/>
                  <a:pt x="1968870" y="1314183"/>
                </a:cubicBezTo>
                <a:close/>
                <a:moveTo>
                  <a:pt x="1806161" y="1313639"/>
                </a:moveTo>
                <a:cubicBezTo>
                  <a:pt x="1825207" y="1314183"/>
                  <a:pt x="1843165" y="1332141"/>
                  <a:pt x="1841533" y="1351187"/>
                </a:cubicBezTo>
                <a:cubicBezTo>
                  <a:pt x="1840988" y="1360438"/>
                  <a:pt x="1838267" y="1370233"/>
                  <a:pt x="1830105" y="1376763"/>
                </a:cubicBezTo>
                <a:cubicBezTo>
                  <a:pt x="1822486" y="1383293"/>
                  <a:pt x="1813235" y="1387102"/>
                  <a:pt x="1803984" y="1387102"/>
                </a:cubicBezTo>
                <a:cubicBezTo>
                  <a:pt x="1786027" y="1387102"/>
                  <a:pt x="1768613" y="1367512"/>
                  <a:pt x="1768613" y="1350098"/>
                </a:cubicBezTo>
                <a:cubicBezTo>
                  <a:pt x="1769157" y="1331596"/>
                  <a:pt x="1788203" y="1313094"/>
                  <a:pt x="1806161" y="1313639"/>
                </a:cubicBezTo>
                <a:close/>
                <a:moveTo>
                  <a:pt x="419057" y="1262486"/>
                </a:moveTo>
                <a:cubicBezTo>
                  <a:pt x="423410" y="1262486"/>
                  <a:pt x="425587" y="1265207"/>
                  <a:pt x="424499" y="1269016"/>
                </a:cubicBezTo>
                <a:cubicBezTo>
                  <a:pt x="423410" y="1271737"/>
                  <a:pt x="421234" y="1273914"/>
                  <a:pt x="417969" y="1278811"/>
                </a:cubicBezTo>
                <a:cubicBezTo>
                  <a:pt x="414704" y="1273914"/>
                  <a:pt x="412527" y="1271737"/>
                  <a:pt x="411983" y="1269016"/>
                </a:cubicBezTo>
                <a:cubicBezTo>
                  <a:pt x="410894" y="1264118"/>
                  <a:pt x="414159" y="1262486"/>
                  <a:pt x="419057" y="1262486"/>
                </a:cubicBezTo>
                <a:close/>
                <a:moveTo>
                  <a:pt x="581221" y="1252147"/>
                </a:moveTo>
                <a:cubicBezTo>
                  <a:pt x="591016" y="1252691"/>
                  <a:pt x="598091" y="1260310"/>
                  <a:pt x="597547" y="1269017"/>
                </a:cubicBezTo>
                <a:cubicBezTo>
                  <a:pt x="597547" y="1278268"/>
                  <a:pt x="589928" y="1284798"/>
                  <a:pt x="580133" y="1284254"/>
                </a:cubicBezTo>
                <a:cubicBezTo>
                  <a:pt x="570882" y="1283709"/>
                  <a:pt x="564896" y="1277179"/>
                  <a:pt x="564896" y="1268472"/>
                </a:cubicBezTo>
                <a:cubicBezTo>
                  <a:pt x="564896" y="1259222"/>
                  <a:pt x="571970" y="1252147"/>
                  <a:pt x="581221" y="1252147"/>
                </a:cubicBezTo>
                <a:close/>
                <a:moveTo>
                  <a:pt x="745018" y="1246705"/>
                </a:moveTo>
                <a:cubicBezTo>
                  <a:pt x="757534" y="1246705"/>
                  <a:pt x="766785" y="1257044"/>
                  <a:pt x="766241" y="1269560"/>
                </a:cubicBezTo>
                <a:cubicBezTo>
                  <a:pt x="765697" y="1280988"/>
                  <a:pt x="755358" y="1290783"/>
                  <a:pt x="744474" y="1290783"/>
                </a:cubicBezTo>
                <a:cubicBezTo>
                  <a:pt x="733046" y="1290783"/>
                  <a:pt x="722707" y="1279900"/>
                  <a:pt x="722707" y="1267928"/>
                </a:cubicBezTo>
                <a:cubicBezTo>
                  <a:pt x="722707" y="1255956"/>
                  <a:pt x="733046" y="1246705"/>
                  <a:pt x="745018" y="1246705"/>
                </a:cubicBezTo>
                <a:close/>
                <a:moveTo>
                  <a:pt x="907727" y="1241807"/>
                </a:moveTo>
                <a:cubicBezTo>
                  <a:pt x="921331" y="1241807"/>
                  <a:pt x="934391" y="1257044"/>
                  <a:pt x="933847" y="1269016"/>
                </a:cubicBezTo>
                <a:cubicBezTo>
                  <a:pt x="933847" y="1282620"/>
                  <a:pt x="920787" y="1295680"/>
                  <a:pt x="907183" y="1295136"/>
                </a:cubicBezTo>
                <a:cubicBezTo>
                  <a:pt x="893578" y="1294592"/>
                  <a:pt x="880518" y="1280988"/>
                  <a:pt x="880518" y="1267927"/>
                </a:cubicBezTo>
                <a:cubicBezTo>
                  <a:pt x="881062" y="1254323"/>
                  <a:pt x="894122" y="1242351"/>
                  <a:pt x="907727" y="1241807"/>
                </a:cubicBezTo>
                <a:close/>
                <a:moveTo>
                  <a:pt x="1070979" y="1240719"/>
                </a:moveTo>
                <a:cubicBezTo>
                  <a:pt x="1091114" y="1240175"/>
                  <a:pt x="1099276" y="1252691"/>
                  <a:pt x="1099821" y="1268472"/>
                </a:cubicBezTo>
                <a:cubicBezTo>
                  <a:pt x="1099821" y="1285886"/>
                  <a:pt x="1088393" y="1297858"/>
                  <a:pt x="1070435" y="1297858"/>
                </a:cubicBezTo>
                <a:cubicBezTo>
                  <a:pt x="1053566" y="1297858"/>
                  <a:pt x="1042138" y="1286430"/>
                  <a:pt x="1042138" y="1269560"/>
                </a:cubicBezTo>
                <a:cubicBezTo>
                  <a:pt x="1042138" y="1250514"/>
                  <a:pt x="1053566" y="1240719"/>
                  <a:pt x="1070979" y="1240719"/>
                </a:cubicBezTo>
                <a:close/>
                <a:moveTo>
                  <a:pt x="1234233" y="1235821"/>
                </a:moveTo>
                <a:cubicBezTo>
                  <a:pt x="1250558" y="1235821"/>
                  <a:pt x="1267972" y="1252691"/>
                  <a:pt x="1266883" y="1269016"/>
                </a:cubicBezTo>
                <a:cubicBezTo>
                  <a:pt x="1266339" y="1285885"/>
                  <a:pt x="1251646" y="1301122"/>
                  <a:pt x="1234233" y="1300578"/>
                </a:cubicBezTo>
                <a:cubicBezTo>
                  <a:pt x="1216275" y="1300578"/>
                  <a:pt x="1201582" y="1286430"/>
                  <a:pt x="1201582" y="1267383"/>
                </a:cubicBezTo>
                <a:cubicBezTo>
                  <a:pt x="1201582" y="1249425"/>
                  <a:pt x="1217907" y="1235821"/>
                  <a:pt x="1234233" y="1235821"/>
                </a:cubicBezTo>
                <a:close/>
                <a:moveTo>
                  <a:pt x="1396397" y="1234733"/>
                </a:moveTo>
                <a:cubicBezTo>
                  <a:pt x="1413810" y="1233645"/>
                  <a:pt x="1433945" y="1250514"/>
                  <a:pt x="1431224" y="1268472"/>
                </a:cubicBezTo>
                <a:cubicBezTo>
                  <a:pt x="1433401" y="1286430"/>
                  <a:pt x="1415443" y="1303299"/>
                  <a:pt x="1396941" y="1302755"/>
                </a:cubicBezTo>
                <a:cubicBezTo>
                  <a:pt x="1381160" y="1302211"/>
                  <a:pt x="1363202" y="1290783"/>
                  <a:pt x="1363746" y="1269016"/>
                </a:cubicBezTo>
                <a:cubicBezTo>
                  <a:pt x="1364290" y="1248881"/>
                  <a:pt x="1376806" y="1235821"/>
                  <a:pt x="1396397" y="1234733"/>
                </a:cubicBezTo>
                <a:close/>
                <a:moveTo>
                  <a:pt x="1559649" y="1232557"/>
                </a:moveTo>
                <a:cubicBezTo>
                  <a:pt x="1580328" y="1232013"/>
                  <a:pt x="1595021" y="1246705"/>
                  <a:pt x="1597742" y="1268472"/>
                </a:cubicBezTo>
                <a:cubicBezTo>
                  <a:pt x="1598286" y="1286974"/>
                  <a:pt x="1580872" y="1304932"/>
                  <a:pt x="1561826" y="1305476"/>
                </a:cubicBezTo>
                <a:cubicBezTo>
                  <a:pt x="1543868" y="1306564"/>
                  <a:pt x="1524822" y="1288063"/>
                  <a:pt x="1523734" y="1269561"/>
                </a:cubicBezTo>
                <a:cubicBezTo>
                  <a:pt x="1522645" y="1252147"/>
                  <a:pt x="1541147" y="1232557"/>
                  <a:pt x="1559649" y="1232557"/>
                </a:cubicBezTo>
                <a:close/>
                <a:moveTo>
                  <a:pt x="1723990" y="1231468"/>
                </a:moveTo>
                <a:cubicBezTo>
                  <a:pt x="1743037" y="1231468"/>
                  <a:pt x="1761539" y="1249426"/>
                  <a:pt x="1762083" y="1268472"/>
                </a:cubicBezTo>
                <a:cubicBezTo>
                  <a:pt x="1762627" y="1290239"/>
                  <a:pt x="1741404" y="1306020"/>
                  <a:pt x="1724535" y="1307109"/>
                </a:cubicBezTo>
                <a:cubicBezTo>
                  <a:pt x="1706033" y="1306564"/>
                  <a:pt x="1687531" y="1290239"/>
                  <a:pt x="1686442" y="1270105"/>
                </a:cubicBezTo>
                <a:cubicBezTo>
                  <a:pt x="1685354" y="1254323"/>
                  <a:pt x="1701679" y="1231468"/>
                  <a:pt x="1723990" y="1231468"/>
                </a:cubicBezTo>
                <a:close/>
                <a:moveTo>
                  <a:pt x="1888332" y="1230924"/>
                </a:moveTo>
                <a:cubicBezTo>
                  <a:pt x="1905745" y="1229836"/>
                  <a:pt x="1928056" y="1250514"/>
                  <a:pt x="1925336" y="1269561"/>
                </a:cubicBezTo>
                <a:cubicBezTo>
                  <a:pt x="1925336" y="1289695"/>
                  <a:pt x="1907378" y="1306564"/>
                  <a:pt x="1887243" y="1307653"/>
                </a:cubicBezTo>
                <a:cubicBezTo>
                  <a:pt x="1870918" y="1308197"/>
                  <a:pt x="1847519" y="1288063"/>
                  <a:pt x="1849151" y="1267928"/>
                </a:cubicBezTo>
                <a:cubicBezTo>
                  <a:pt x="1850239" y="1247794"/>
                  <a:pt x="1867653" y="1231468"/>
                  <a:pt x="1888332" y="1230924"/>
                </a:cubicBezTo>
                <a:close/>
                <a:moveTo>
                  <a:pt x="2049952" y="1230380"/>
                </a:moveTo>
                <a:lnTo>
                  <a:pt x="2051041" y="1230805"/>
                </a:lnTo>
                <a:lnTo>
                  <a:pt x="2051041" y="1307109"/>
                </a:lnTo>
                <a:cubicBezTo>
                  <a:pt x="2033627" y="1309830"/>
                  <a:pt x="2011316" y="1286974"/>
                  <a:pt x="2012404" y="1268472"/>
                </a:cubicBezTo>
                <a:cubicBezTo>
                  <a:pt x="2013493" y="1247794"/>
                  <a:pt x="2029274" y="1230380"/>
                  <a:pt x="2049952" y="1230380"/>
                </a:cubicBezTo>
                <a:close/>
                <a:moveTo>
                  <a:pt x="337431" y="1181404"/>
                </a:moveTo>
                <a:cubicBezTo>
                  <a:pt x="339608" y="1182493"/>
                  <a:pt x="341240" y="1184669"/>
                  <a:pt x="345050" y="1187934"/>
                </a:cubicBezTo>
                <a:cubicBezTo>
                  <a:pt x="340696" y="1190111"/>
                  <a:pt x="338519" y="1192288"/>
                  <a:pt x="336343" y="1192288"/>
                </a:cubicBezTo>
                <a:cubicBezTo>
                  <a:pt x="331445" y="1192832"/>
                  <a:pt x="330901" y="1189567"/>
                  <a:pt x="330901" y="1185758"/>
                </a:cubicBezTo>
                <a:cubicBezTo>
                  <a:pt x="330901" y="1181404"/>
                  <a:pt x="334166" y="1180860"/>
                  <a:pt x="337431" y="1181404"/>
                </a:cubicBezTo>
                <a:close/>
                <a:moveTo>
                  <a:pt x="499051" y="1171065"/>
                </a:moveTo>
                <a:cubicBezTo>
                  <a:pt x="506125" y="1170521"/>
                  <a:pt x="516465" y="1179772"/>
                  <a:pt x="516465" y="1187390"/>
                </a:cubicBezTo>
                <a:cubicBezTo>
                  <a:pt x="515921" y="1193920"/>
                  <a:pt x="507214" y="1202627"/>
                  <a:pt x="500140" y="1202627"/>
                </a:cubicBezTo>
                <a:cubicBezTo>
                  <a:pt x="493065" y="1202627"/>
                  <a:pt x="484358" y="1195008"/>
                  <a:pt x="483814" y="1187390"/>
                </a:cubicBezTo>
                <a:cubicBezTo>
                  <a:pt x="483270" y="1180316"/>
                  <a:pt x="491977" y="1171065"/>
                  <a:pt x="499051" y="1171065"/>
                </a:cubicBezTo>
                <a:close/>
                <a:moveTo>
                  <a:pt x="662848" y="1165623"/>
                </a:moveTo>
                <a:cubicBezTo>
                  <a:pt x="675364" y="1165623"/>
                  <a:pt x="684615" y="1174874"/>
                  <a:pt x="684615" y="1187390"/>
                </a:cubicBezTo>
                <a:cubicBezTo>
                  <a:pt x="684615" y="1199362"/>
                  <a:pt x="674820" y="1209157"/>
                  <a:pt x="662848" y="1209157"/>
                </a:cubicBezTo>
                <a:cubicBezTo>
                  <a:pt x="651420" y="1209157"/>
                  <a:pt x="641081" y="1198274"/>
                  <a:pt x="641081" y="1186846"/>
                </a:cubicBezTo>
                <a:cubicBezTo>
                  <a:pt x="641081" y="1175418"/>
                  <a:pt x="651420" y="1165623"/>
                  <a:pt x="662848" y="1165623"/>
                </a:cubicBezTo>
                <a:close/>
                <a:moveTo>
                  <a:pt x="825556" y="1160725"/>
                </a:moveTo>
                <a:cubicBezTo>
                  <a:pt x="840249" y="1161270"/>
                  <a:pt x="851677" y="1171609"/>
                  <a:pt x="852765" y="1186846"/>
                </a:cubicBezTo>
                <a:cubicBezTo>
                  <a:pt x="853309" y="1199906"/>
                  <a:pt x="840249" y="1213511"/>
                  <a:pt x="826645" y="1213511"/>
                </a:cubicBezTo>
                <a:cubicBezTo>
                  <a:pt x="813585" y="1214055"/>
                  <a:pt x="799980" y="1200995"/>
                  <a:pt x="798892" y="1188479"/>
                </a:cubicBezTo>
                <a:cubicBezTo>
                  <a:pt x="797803" y="1173241"/>
                  <a:pt x="814129" y="1160181"/>
                  <a:pt x="825556" y="1160725"/>
                </a:cubicBezTo>
                <a:close/>
                <a:moveTo>
                  <a:pt x="989353" y="1158004"/>
                </a:moveTo>
                <a:cubicBezTo>
                  <a:pt x="1007855" y="1159092"/>
                  <a:pt x="1018739" y="1168888"/>
                  <a:pt x="1018195" y="1187934"/>
                </a:cubicBezTo>
                <a:cubicBezTo>
                  <a:pt x="1017651" y="1206436"/>
                  <a:pt x="1007311" y="1216231"/>
                  <a:pt x="988809" y="1216775"/>
                </a:cubicBezTo>
                <a:cubicBezTo>
                  <a:pt x="972484" y="1217319"/>
                  <a:pt x="960512" y="1203715"/>
                  <a:pt x="959968" y="1187934"/>
                </a:cubicBezTo>
                <a:cubicBezTo>
                  <a:pt x="959968" y="1170520"/>
                  <a:pt x="972484" y="1158004"/>
                  <a:pt x="989353" y="1158004"/>
                </a:cubicBezTo>
                <a:close/>
                <a:moveTo>
                  <a:pt x="1152062" y="1153651"/>
                </a:moveTo>
                <a:cubicBezTo>
                  <a:pt x="1166755" y="1152562"/>
                  <a:pt x="1186345" y="1171065"/>
                  <a:pt x="1185801" y="1186301"/>
                </a:cubicBezTo>
                <a:cubicBezTo>
                  <a:pt x="1184713" y="1205348"/>
                  <a:pt x="1171652" y="1218952"/>
                  <a:pt x="1153150" y="1219496"/>
                </a:cubicBezTo>
                <a:cubicBezTo>
                  <a:pt x="1135193" y="1221129"/>
                  <a:pt x="1119412" y="1204259"/>
                  <a:pt x="1119956" y="1187390"/>
                </a:cubicBezTo>
                <a:cubicBezTo>
                  <a:pt x="1120500" y="1168888"/>
                  <a:pt x="1134648" y="1154739"/>
                  <a:pt x="1152062" y="1153651"/>
                </a:cubicBezTo>
                <a:close/>
                <a:moveTo>
                  <a:pt x="1315315" y="1152018"/>
                </a:moveTo>
                <a:cubicBezTo>
                  <a:pt x="1336537" y="1151474"/>
                  <a:pt x="1351230" y="1169432"/>
                  <a:pt x="1351230" y="1186845"/>
                </a:cubicBezTo>
                <a:cubicBezTo>
                  <a:pt x="1350686" y="1205891"/>
                  <a:pt x="1338714" y="1222217"/>
                  <a:pt x="1315859" y="1221673"/>
                </a:cubicBezTo>
                <a:cubicBezTo>
                  <a:pt x="1294092" y="1221128"/>
                  <a:pt x="1282120" y="1209157"/>
                  <a:pt x="1281576" y="1187390"/>
                </a:cubicBezTo>
                <a:cubicBezTo>
                  <a:pt x="1281031" y="1167255"/>
                  <a:pt x="1295724" y="1152562"/>
                  <a:pt x="1315315" y="1152018"/>
                </a:cubicBezTo>
                <a:close/>
                <a:moveTo>
                  <a:pt x="1479656" y="1149298"/>
                </a:moveTo>
                <a:cubicBezTo>
                  <a:pt x="1500878" y="1149842"/>
                  <a:pt x="1517204" y="1168888"/>
                  <a:pt x="1516660" y="1188479"/>
                </a:cubicBezTo>
                <a:cubicBezTo>
                  <a:pt x="1515027" y="1210246"/>
                  <a:pt x="1495981" y="1224938"/>
                  <a:pt x="1478023" y="1224394"/>
                </a:cubicBezTo>
                <a:cubicBezTo>
                  <a:pt x="1457889" y="1223850"/>
                  <a:pt x="1439931" y="1205892"/>
                  <a:pt x="1441563" y="1185758"/>
                </a:cubicBezTo>
                <a:cubicBezTo>
                  <a:pt x="1442652" y="1166167"/>
                  <a:pt x="1458977" y="1149298"/>
                  <a:pt x="1479656" y="1149298"/>
                </a:cubicBezTo>
                <a:close/>
                <a:moveTo>
                  <a:pt x="1642365" y="1148209"/>
                </a:moveTo>
                <a:cubicBezTo>
                  <a:pt x="1659779" y="1147121"/>
                  <a:pt x="1681001" y="1166711"/>
                  <a:pt x="1681001" y="1187390"/>
                </a:cubicBezTo>
                <a:cubicBezTo>
                  <a:pt x="1681001" y="1208613"/>
                  <a:pt x="1658690" y="1226026"/>
                  <a:pt x="1641821" y="1226026"/>
                </a:cubicBezTo>
                <a:cubicBezTo>
                  <a:pt x="1624407" y="1226026"/>
                  <a:pt x="1601007" y="1205348"/>
                  <a:pt x="1603728" y="1186846"/>
                </a:cubicBezTo>
                <a:cubicBezTo>
                  <a:pt x="1603728" y="1165623"/>
                  <a:pt x="1621686" y="1149298"/>
                  <a:pt x="1642365" y="1148209"/>
                </a:cubicBezTo>
                <a:close/>
                <a:moveTo>
                  <a:pt x="1969414" y="1147665"/>
                </a:moveTo>
                <a:cubicBezTo>
                  <a:pt x="1991725" y="1146032"/>
                  <a:pt x="2009139" y="1165623"/>
                  <a:pt x="2009139" y="1187934"/>
                </a:cubicBezTo>
                <a:cubicBezTo>
                  <a:pt x="2008595" y="1209157"/>
                  <a:pt x="1990093" y="1227114"/>
                  <a:pt x="1968870" y="1227114"/>
                </a:cubicBezTo>
                <a:cubicBezTo>
                  <a:pt x="1949824" y="1227114"/>
                  <a:pt x="1928601" y="1209701"/>
                  <a:pt x="1929145" y="1186301"/>
                </a:cubicBezTo>
                <a:cubicBezTo>
                  <a:pt x="1929145" y="1165623"/>
                  <a:pt x="1948191" y="1145488"/>
                  <a:pt x="1969414" y="1147665"/>
                </a:cubicBezTo>
                <a:close/>
                <a:moveTo>
                  <a:pt x="1805617" y="1147665"/>
                </a:moveTo>
                <a:cubicBezTo>
                  <a:pt x="1825752" y="1147665"/>
                  <a:pt x="1845342" y="1165078"/>
                  <a:pt x="1844798" y="1187934"/>
                </a:cubicBezTo>
                <a:cubicBezTo>
                  <a:pt x="1844254" y="1208612"/>
                  <a:pt x="1824664" y="1227115"/>
                  <a:pt x="1805073" y="1226571"/>
                </a:cubicBezTo>
                <a:cubicBezTo>
                  <a:pt x="1787115" y="1226571"/>
                  <a:pt x="1764260" y="1209701"/>
                  <a:pt x="1766981" y="1186845"/>
                </a:cubicBezTo>
                <a:cubicBezTo>
                  <a:pt x="1764804" y="1165623"/>
                  <a:pt x="1786027" y="1147665"/>
                  <a:pt x="1805617" y="1147665"/>
                </a:cubicBezTo>
                <a:close/>
                <a:moveTo>
                  <a:pt x="417425" y="1090527"/>
                </a:moveTo>
                <a:cubicBezTo>
                  <a:pt x="423955" y="1090527"/>
                  <a:pt x="433206" y="1099234"/>
                  <a:pt x="432662" y="1105764"/>
                </a:cubicBezTo>
                <a:cubicBezTo>
                  <a:pt x="432662" y="1111206"/>
                  <a:pt x="423955" y="1119912"/>
                  <a:pt x="417969" y="1120457"/>
                </a:cubicBezTo>
                <a:cubicBezTo>
                  <a:pt x="411439" y="1121001"/>
                  <a:pt x="402188" y="1111750"/>
                  <a:pt x="402732" y="1105219"/>
                </a:cubicBezTo>
                <a:cubicBezTo>
                  <a:pt x="402732" y="1099234"/>
                  <a:pt x="411439" y="1090527"/>
                  <a:pt x="417425" y="1090527"/>
                </a:cubicBezTo>
                <a:close/>
                <a:moveTo>
                  <a:pt x="580677" y="1083996"/>
                </a:moveTo>
                <a:cubicBezTo>
                  <a:pt x="592105" y="1083996"/>
                  <a:pt x="601900" y="1093791"/>
                  <a:pt x="602444" y="1105219"/>
                </a:cubicBezTo>
                <a:cubicBezTo>
                  <a:pt x="602988" y="1116647"/>
                  <a:pt x="593193" y="1126986"/>
                  <a:pt x="581221" y="1127530"/>
                </a:cubicBezTo>
                <a:cubicBezTo>
                  <a:pt x="570338" y="1127530"/>
                  <a:pt x="558910" y="1116102"/>
                  <a:pt x="558910" y="1105219"/>
                </a:cubicBezTo>
                <a:cubicBezTo>
                  <a:pt x="558910" y="1094880"/>
                  <a:pt x="570338" y="1083996"/>
                  <a:pt x="580677" y="1083996"/>
                </a:cubicBezTo>
                <a:close/>
                <a:moveTo>
                  <a:pt x="743386" y="1079099"/>
                </a:moveTo>
                <a:cubicBezTo>
                  <a:pt x="756991" y="1079099"/>
                  <a:pt x="769507" y="1088894"/>
                  <a:pt x="770595" y="1105219"/>
                </a:cubicBezTo>
                <a:cubicBezTo>
                  <a:pt x="771683" y="1116103"/>
                  <a:pt x="760800" y="1131340"/>
                  <a:pt x="745019" y="1132428"/>
                </a:cubicBezTo>
                <a:cubicBezTo>
                  <a:pt x="734135" y="1134061"/>
                  <a:pt x="717810" y="1118280"/>
                  <a:pt x="717810" y="1106308"/>
                </a:cubicBezTo>
                <a:cubicBezTo>
                  <a:pt x="717810" y="1091071"/>
                  <a:pt x="731414" y="1079099"/>
                  <a:pt x="743386" y="1079099"/>
                </a:cubicBezTo>
                <a:close/>
                <a:moveTo>
                  <a:pt x="907727" y="1076378"/>
                </a:moveTo>
                <a:cubicBezTo>
                  <a:pt x="926773" y="1076378"/>
                  <a:pt x="937112" y="1087262"/>
                  <a:pt x="937112" y="1105219"/>
                </a:cubicBezTo>
                <a:cubicBezTo>
                  <a:pt x="937112" y="1121545"/>
                  <a:pt x="928950" y="1134061"/>
                  <a:pt x="908271" y="1134061"/>
                </a:cubicBezTo>
                <a:cubicBezTo>
                  <a:pt x="888681" y="1134605"/>
                  <a:pt x="878341" y="1122633"/>
                  <a:pt x="878885" y="1105764"/>
                </a:cubicBezTo>
                <a:cubicBezTo>
                  <a:pt x="878341" y="1086173"/>
                  <a:pt x="892490" y="1076378"/>
                  <a:pt x="907727" y="1076378"/>
                </a:cubicBezTo>
                <a:close/>
                <a:moveTo>
                  <a:pt x="1071524" y="1072569"/>
                </a:moveTo>
                <a:cubicBezTo>
                  <a:pt x="1089482" y="1072569"/>
                  <a:pt x="1104174" y="1087806"/>
                  <a:pt x="1104174" y="1105220"/>
                </a:cubicBezTo>
                <a:cubicBezTo>
                  <a:pt x="1104174" y="1123722"/>
                  <a:pt x="1090026" y="1137870"/>
                  <a:pt x="1070435" y="1137870"/>
                </a:cubicBezTo>
                <a:cubicBezTo>
                  <a:pt x="1054110" y="1140047"/>
                  <a:pt x="1037241" y="1121545"/>
                  <a:pt x="1038329" y="1105764"/>
                </a:cubicBezTo>
                <a:cubicBezTo>
                  <a:pt x="1039417" y="1086173"/>
                  <a:pt x="1052478" y="1072569"/>
                  <a:pt x="1071524" y="1072569"/>
                </a:cubicBezTo>
                <a:close/>
                <a:moveTo>
                  <a:pt x="1235865" y="1068760"/>
                </a:moveTo>
                <a:cubicBezTo>
                  <a:pt x="1254912" y="1070392"/>
                  <a:pt x="1272325" y="1088894"/>
                  <a:pt x="1271237" y="1106852"/>
                </a:cubicBezTo>
                <a:cubicBezTo>
                  <a:pt x="1270149" y="1124810"/>
                  <a:pt x="1252735" y="1142223"/>
                  <a:pt x="1234777" y="1142223"/>
                </a:cubicBezTo>
                <a:cubicBezTo>
                  <a:pt x="1215187" y="1142223"/>
                  <a:pt x="1197773" y="1124265"/>
                  <a:pt x="1198861" y="1105219"/>
                </a:cubicBezTo>
                <a:cubicBezTo>
                  <a:pt x="1199406" y="1085629"/>
                  <a:pt x="1217908" y="1067127"/>
                  <a:pt x="1235865" y="1068760"/>
                </a:cubicBezTo>
                <a:close/>
                <a:moveTo>
                  <a:pt x="1396397" y="1067127"/>
                </a:moveTo>
                <a:cubicBezTo>
                  <a:pt x="1416532" y="1065494"/>
                  <a:pt x="1437755" y="1087806"/>
                  <a:pt x="1435578" y="1105219"/>
                </a:cubicBezTo>
                <a:cubicBezTo>
                  <a:pt x="1437210" y="1125898"/>
                  <a:pt x="1413267" y="1144400"/>
                  <a:pt x="1396941" y="1143856"/>
                </a:cubicBezTo>
                <a:cubicBezTo>
                  <a:pt x="1377895" y="1143856"/>
                  <a:pt x="1358305" y="1122633"/>
                  <a:pt x="1358849" y="1105763"/>
                </a:cubicBezTo>
                <a:cubicBezTo>
                  <a:pt x="1359393" y="1085629"/>
                  <a:pt x="1376807" y="1068759"/>
                  <a:pt x="1396397" y="1067127"/>
                </a:cubicBezTo>
                <a:close/>
                <a:moveTo>
                  <a:pt x="1560738" y="1066582"/>
                </a:moveTo>
                <a:cubicBezTo>
                  <a:pt x="1581961" y="1063862"/>
                  <a:pt x="1599919" y="1083452"/>
                  <a:pt x="1599919" y="1105763"/>
                </a:cubicBezTo>
                <a:cubicBezTo>
                  <a:pt x="1599919" y="1127530"/>
                  <a:pt x="1581417" y="1144400"/>
                  <a:pt x="1560738" y="1144400"/>
                </a:cubicBezTo>
                <a:cubicBezTo>
                  <a:pt x="1538971" y="1144400"/>
                  <a:pt x="1521557" y="1125898"/>
                  <a:pt x="1521013" y="1105763"/>
                </a:cubicBezTo>
                <a:cubicBezTo>
                  <a:pt x="1521013" y="1085629"/>
                  <a:pt x="1538971" y="1063862"/>
                  <a:pt x="1560738" y="1066582"/>
                </a:cubicBezTo>
                <a:close/>
                <a:moveTo>
                  <a:pt x="1723447" y="1064406"/>
                </a:moveTo>
                <a:cubicBezTo>
                  <a:pt x="1744126" y="1063862"/>
                  <a:pt x="1763716" y="1076378"/>
                  <a:pt x="1764260" y="1104675"/>
                </a:cubicBezTo>
                <a:cubicBezTo>
                  <a:pt x="1764804" y="1130796"/>
                  <a:pt x="1745758" y="1145488"/>
                  <a:pt x="1724535" y="1146032"/>
                </a:cubicBezTo>
                <a:cubicBezTo>
                  <a:pt x="1703313" y="1147121"/>
                  <a:pt x="1683722" y="1130796"/>
                  <a:pt x="1683178" y="1105764"/>
                </a:cubicBezTo>
                <a:cubicBezTo>
                  <a:pt x="1684266" y="1082364"/>
                  <a:pt x="1698415" y="1064950"/>
                  <a:pt x="1723447" y="1064406"/>
                </a:cubicBezTo>
                <a:close/>
                <a:moveTo>
                  <a:pt x="2051041" y="1063318"/>
                </a:moveTo>
                <a:lnTo>
                  <a:pt x="2051041" y="1147740"/>
                </a:lnTo>
                <a:lnTo>
                  <a:pt x="2049952" y="1148210"/>
                </a:lnTo>
                <a:cubicBezTo>
                  <a:pt x="2028730" y="1147121"/>
                  <a:pt x="2008051" y="1128619"/>
                  <a:pt x="2008051" y="1105764"/>
                </a:cubicBezTo>
                <a:cubicBezTo>
                  <a:pt x="2008595" y="1081276"/>
                  <a:pt x="2027641" y="1063862"/>
                  <a:pt x="2051041" y="1063318"/>
                </a:cubicBezTo>
                <a:close/>
                <a:moveTo>
                  <a:pt x="1887787" y="1062773"/>
                </a:moveTo>
                <a:cubicBezTo>
                  <a:pt x="1909554" y="1063862"/>
                  <a:pt x="1930233" y="1084540"/>
                  <a:pt x="1929145" y="1105763"/>
                </a:cubicBezTo>
                <a:cubicBezTo>
                  <a:pt x="1928056" y="1130251"/>
                  <a:pt x="1908466" y="1147121"/>
                  <a:pt x="1886699" y="1147665"/>
                </a:cubicBezTo>
                <a:cubicBezTo>
                  <a:pt x="1862755" y="1145488"/>
                  <a:pt x="1845886" y="1127530"/>
                  <a:pt x="1844798" y="1105219"/>
                </a:cubicBezTo>
                <a:cubicBezTo>
                  <a:pt x="1844253" y="1083996"/>
                  <a:pt x="1867109" y="1061685"/>
                  <a:pt x="1887787" y="1062773"/>
                </a:cubicBezTo>
                <a:close/>
                <a:moveTo>
                  <a:pt x="335798" y="1011621"/>
                </a:moveTo>
                <a:cubicBezTo>
                  <a:pt x="343960" y="1011621"/>
                  <a:pt x="347770" y="1014886"/>
                  <a:pt x="348314" y="1023049"/>
                </a:cubicBezTo>
                <a:cubicBezTo>
                  <a:pt x="348314" y="1031755"/>
                  <a:pt x="344505" y="1036109"/>
                  <a:pt x="336886" y="1036109"/>
                </a:cubicBezTo>
                <a:cubicBezTo>
                  <a:pt x="329268" y="1036109"/>
                  <a:pt x="324914" y="1032300"/>
                  <a:pt x="324370" y="1024681"/>
                </a:cubicBezTo>
                <a:cubicBezTo>
                  <a:pt x="323826" y="1015974"/>
                  <a:pt x="327635" y="1011621"/>
                  <a:pt x="335798" y="1011621"/>
                </a:cubicBezTo>
                <a:close/>
                <a:moveTo>
                  <a:pt x="499051" y="1002914"/>
                </a:moveTo>
                <a:cubicBezTo>
                  <a:pt x="508846" y="1002370"/>
                  <a:pt x="520818" y="1014342"/>
                  <a:pt x="520818" y="1024137"/>
                </a:cubicBezTo>
                <a:cubicBezTo>
                  <a:pt x="520818" y="1032844"/>
                  <a:pt x="508846" y="1045360"/>
                  <a:pt x="499595" y="1045360"/>
                </a:cubicBezTo>
                <a:cubicBezTo>
                  <a:pt x="490888" y="1045360"/>
                  <a:pt x="478372" y="1032844"/>
                  <a:pt x="478372" y="1024137"/>
                </a:cubicBezTo>
                <a:cubicBezTo>
                  <a:pt x="478372" y="1014886"/>
                  <a:pt x="489800" y="1002914"/>
                  <a:pt x="499051" y="1002914"/>
                </a:cubicBezTo>
                <a:close/>
                <a:moveTo>
                  <a:pt x="663392" y="997473"/>
                </a:moveTo>
                <a:cubicBezTo>
                  <a:pt x="675908" y="998561"/>
                  <a:pt x="688968" y="1011622"/>
                  <a:pt x="688424" y="1024138"/>
                </a:cubicBezTo>
                <a:cubicBezTo>
                  <a:pt x="687880" y="1039374"/>
                  <a:pt x="676452" y="1050802"/>
                  <a:pt x="661759" y="1050258"/>
                </a:cubicBezTo>
                <a:cubicBezTo>
                  <a:pt x="647066" y="1049170"/>
                  <a:pt x="637271" y="1036109"/>
                  <a:pt x="636727" y="1023593"/>
                </a:cubicBezTo>
                <a:cubicBezTo>
                  <a:pt x="637271" y="1010533"/>
                  <a:pt x="651420" y="996929"/>
                  <a:pt x="663392" y="997473"/>
                </a:cubicBezTo>
                <a:close/>
                <a:moveTo>
                  <a:pt x="826645" y="995840"/>
                </a:moveTo>
                <a:cubicBezTo>
                  <a:pt x="845147" y="995296"/>
                  <a:pt x="855486" y="1007267"/>
                  <a:pt x="854942" y="1024137"/>
                </a:cubicBezTo>
                <a:cubicBezTo>
                  <a:pt x="855486" y="1039374"/>
                  <a:pt x="845147" y="1052978"/>
                  <a:pt x="825557" y="1052978"/>
                </a:cubicBezTo>
                <a:cubicBezTo>
                  <a:pt x="808143" y="1052434"/>
                  <a:pt x="796715" y="1041006"/>
                  <a:pt x="797260" y="1023593"/>
                </a:cubicBezTo>
                <a:cubicBezTo>
                  <a:pt x="797260" y="1005635"/>
                  <a:pt x="808687" y="995840"/>
                  <a:pt x="826645" y="995840"/>
                </a:cubicBezTo>
                <a:close/>
                <a:moveTo>
                  <a:pt x="990441" y="990942"/>
                </a:moveTo>
                <a:cubicBezTo>
                  <a:pt x="1008943" y="990942"/>
                  <a:pt x="1023092" y="1006179"/>
                  <a:pt x="1022548" y="1025225"/>
                </a:cubicBezTo>
                <a:cubicBezTo>
                  <a:pt x="1022004" y="1043183"/>
                  <a:pt x="1007311" y="1056243"/>
                  <a:pt x="988809" y="1056787"/>
                </a:cubicBezTo>
                <a:cubicBezTo>
                  <a:pt x="973028" y="1057332"/>
                  <a:pt x="956702" y="1041551"/>
                  <a:pt x="956702" y="1023593"/>
                </a:cubicBezTo>
                <a:cubicBezTo>
                  <a:pt x="956158" y="1006723"/>
                  <a:pt x="973572" y="988221"/>
                  <a:pt x="990441" y="990942"/>
                </a:cubicBezTo>
                <a:close/>
                <a:moveTo>
                  <a:pt x="1150974" y="987678"/>
                </a:moveTo>
                <a:cubicBezTo>
                  <a:pt x="1170020" y="986045"/>
                  <a:pt x="1189066" y="1004547"/>
                  <a:pt x="1189610" y="1023593"/>
                </a:cubicBezTo>
                <a:cubicBezTo>
                  <a:pt x="1190154" y="1042095"/>
                  <a:pt x="1170564" y="1061685"/>
                  <a:pt x="1152062" y="1061685"/>
                </a:cubicBezTo>
                <a:cubicBezTo>
                  <a:pt x="1134104" y="1061685"/>
                  <a:pt x="1115602" y="1042639"/>
                  <a:pt x="1115058" y="1024682"/>
                </a:cubicBezTo>
                <a:cubicBezTo>
                  <a:pt x="1115058" y="1006724"/>
                  <a:pt x="1133016" y="988222"/>
                  <a:pt x="1150974" y="987678"/>
                </a:cubicBezTo>
                <a:close/>
                <a:moveTo>
                  <a:pt x="1315314" y="985501"/>
                </a:moveTo>
                <a:cubicBezTo>
                  <a:pt x="1335993" y="983868"/>
                  <a:pt x="1354495" y="1005635"/>
                  <a:pt x="1354495" y="1023593"/>
                </a:cubicBezTo>
                <a:cubicBezTo>
                  <a:pt x="1355039" y="1042639"/>
                  <a:pt x="1333816" y="1065495"/>
                  <a:pt x="1315858" y="1062230"/>
                </a:cubicBezTo>
                <a:cubicBezTo>
                  <a:pt x="1294636" y="1062230"/>
                  <a:pt x="1277222" y="1045360"/>
                  <a:pt x="1277222" y="1024137"/>
                </a:cubicBezTo>
                <a:cubicBezTo>
                  <a:pt x="1277222" y="1002914"/>
                  <a:pt x="1294091" y="986589"/>
                  <a:pt x="1315314" y="985501"/>
                </a:cubicBezTo>
                <a:close/>
                <a:moveTo>
                  <a:pt x="1479656" y="984412"/>
                </a:moveTo>
                <a:cubicBezTo>
                  <a:pt x="1503055" y="984412"/>
                  <a:pt x="1519925" y="1000737"/>
                  <a:pt x="1519380" y="1025225"/>
                </a:cubicBezTo>
                <a:cubicBezTo>
                  <a:pt x="1518836" y="1045904"/>
                  <a:pt x="1502511" y="1065494"/>
                  <a:pt x="1478567" y="1063318"/>
                </a:cubicBezTo>
                <a:cubicBezTo>
                  <a:pt x="1454624" y="1064950"/>
                  <a:pt x="1438842" y="1044816"/>
                  <a:pt x="1439387" y="1023593"/>
                </a:cubicBezTo>
                <a:cubicBezTo>
                  <a:pt x="1439931" y="1000193"/>
                  <a:pt x="1455712" y="983868"/>
                  <a:pt x="1479656" y="984412"/>
                </a:cubicBezTo>
                <a:close/>
                <a:moveTo>
                  <a:pt x="1641820" y="981691"/>
                </a:moveTo>
                <a:cubicBezTo>
                  <a:pt x="1665220" y="981691"/>
                  <a:pt x="1683178" y="999649"/>
                  <a:pt x="1684810" y="1023592"/>
                </a:cubicBezTo>
                <a:cubicBezTo>
                  <a:pt x="1683722" y="1048625"/>
                  <a:pt x="1665220" y="1066038"/>
                  <a:pt x="1642909" y="1066038"/>
                </a:cubicBezTo>
                <a:cubicBezTo>
                  <a:pt x="1618421" y="1066038"/>
                  <a:pt x="1599919" y="1047536"/>
                  <a:pt x="1599919" y="1023592"/>
                </a:cubicBezTo>
                <a:cubicBezTo>
                  <a:pt x="1599919" y="1001281"/>
                  <a:pt x="1616788" y="982235"/>
                  <a:pt x="1641820" y="981691"/>
                </a:cubicBezTo>
                <a:close/>
                <a:moveTo>
                  <a:pt x="1806161" y="980603"/>
                </a:moveTo>
                <a:cubicBezTo>
                  <a:pt x="1829561" y="980603"/>
                  <a:pt x="1848607" y="1000737"/>
                  <a:pt x="1849151" y="1023592"/>
                </a:cubicBezTo>
                <a:cubicBezTo>
                  <a:pt x="1849151" y="1046992"/>
                  <a:pt x="1827928" y="1068215"/>
                  <a:pt x="1805617" y="1067127"/>
                </a:cubicBezTo>
                <a:cubicBezTo>
                  <a:pt x="1781673" y="1068215"/>
                  <a:pt x="1762083" y="1044815"/>
                  <a:pt x="1762083" y="1023592"/>
                </a:cubicBezTo>
                <a:cubicBezTo>
                  <a:pt x="1762083" y="1002370"/>
                  <a:pt x="1781673" y="980058"/>
                  <a:pt x="1806161" y="980603"/>
                </a:cubicBezTo>
                <a:close/>
                <a:moveTo>
                  <a:pt x="1969414" y="980059"/>
                </a:moveTo>
                <a:cubicBezTo>
                  <a:pt x="1993358" y="980603"/>
                  <a:pt x="2012404" y="1001282"/>
                  <a:pt x="2012404" y="1024137"/>
                </a:cubicBezTo>
                <a:cubicBezTo>
                  <a:pt x="2012404" y="1046449"/>
                  <a:pt x="1991726" y="1069304"/>
                  <a:pt x="1968870" y="1067127"/>
                </a:cubicBezTo>
                <a:cubicBezTo>
                  <a:pt x="1946015" y="1068760"/>
                  <a:pt x="1925336" y="1044272"/>
                  <a:pt x="1924792" y="1024137"/>
                </a:cubicBezTo>
                <a:cubicBezTo>
                  <a:pt x="1924792" y="1002914"/>
                  <a:pt x="1944382" y="980059"/>
                  <a:pt x="1969414" y="980059"/>
                </a:cubicBezTo>
                <a:close/>
                <a:moveTo>
                  <a:pt x="254171" y="931083"/>
                </a:moveTo>
                <a:cubicBezTo>
                  <a:pt x="260701" y="931083"/>
                  <a:pt x="265599" y="935437"/>
                  <a:pt x="265599" y="941967"/>
                </a:cubicBezTo>
                <a:cubicBezTo>
                  <a:pt x="265599" y="948497"/>
                  <a:pt x="260701" y="952850"/>
                  <a:pt x="254171" y="952850"/>
                </a:cubicBezTo>
                <a:cubicBezTo>
                  <a:pt x="247641" y="952850"/>
                  <a:pt x="243832" y="948497"/>
                  <a:pt x="243832" y="941967"/>
                </a:cubicBezTo>
                <a:cubicBezTo>
                  <a:pt x="243832" y="935437"/>
                  <a:pt x="247641" y="931627"/>
                  <a:pt x="254171" y="931083"/>
                </a:cubicBezTo>
                <a:close/>
                <a:moveTo>
                  <a:pt x="417968" y="922377"/>
                </a:moveTo>
                <a:cubicBezTo>
                  <a:pt x="427219" y="921833"/>
                  <a:pt x="437559" y="932716"/>
                  <a:pt x="437559" y="942511"/>
                </a:cubicBezTo>
                <a:cubicBezTo>
                  <a:pt x="437559" y="951762"/>
                  <a:pt x="427219" y="961557"/>
                  <a:pt x="417968" y="961557"/>
                </a:cubicBezTo>
                <a:cubicBezTo>
                  <a:pt x="409262" y="961557"/>
                  <a:pt x="397290" y="949585"/>
                  <a:pt x="397834" y="941423"/>
                </a:cubicBezTo>
                <a:cubicBezTo>
                  <a:pt x="398378" y="933260"/>
                  <a:pt x="409806" y="922377"/>
                  <a:pt x="417968" y="922377"/>
                </a:cubicBezTo>
                <a:close/>
                <a:moveTo>
                  <a:pt x="581222" y="916934"/>
                </a:moveTo>
                <a:cubicBezTo>
                  <a:pt x="593738" y="916934"/>
                  <a:pt x="607342" y="931082"/>
                  <a:pt x="606798" y="943054"/>
                </a:cubicBezTo>
                <a:cubicBezTo>
                  <a:pt x="606254" y="955570"/>
                  <a:pt x="593738" y="967542"/>
                  <a:pt x="581222" y="967542"/>
                </a:cubicBezTo>
                <a:cubicBezTo>
                  <a:pt x="567617" y="966454"/>
                  <a:pt x="557278" y="958291"/>
                  <a:pt x="556190" y="943054"/>
                </a:cubicBezTo>
                <a:cubicBezTo>
                  <a:pt x="555101" y="929994"/>
                  <a:pt x="568161" y="916934"/>
                  <a:pt x="581222" y="916934"/>
                </a:cubicBezTo>
                <a:close/>
                <a:moveTo>
                  <a:pt x="744474" y="913669"/>
                </a:moveTo>
                <a:cubicBezTo>
                  <a:pt x="765153" y="913669"/>
                  <a:pt x="773860" y="927273"/>
                  <a:pt x="773315" y="942510"/>
                </a:cubicBezTo>
                <a:cubicBezTo>
                  <a:pt x="772771" y="959924"/>
                  <a:pt x="761344" y="971352"/>
                  <a:pt x="743930" y="970807"/>
                </a:cubicBezTo>
                <a:cubicBezTo>
                  <a:pt x="727061" y="970807"/>
                  <a:pt x="716177" y="959380"/>
                  <a:pt x="716177" y="941966"/>
                </a:cubicBezTo>
                <a:cubicBezTo>
                  <a:pt x="716177" y="923464"/>
                  <a:pt x="727605" y="914213"/>
                  <a:pt x="744474" y="913669"/>
                </a:cubicBezTo>
                <a:close/>
                <a:moveTo>
                  <a:pt x="908271" y="908772"/>
                </a:moveTo>
                <a:cubicBezTo>
                  <a:pt x="927317" y="910405"/>
                  <a:pt x="940922" y="924553"/>
                  <a:pt x="940377" y="944144"/>
                </a:cubicBezTo>
                <a:cubicBezTo>
                  <a:pt x="939833" y="962101"/>
                  <a:pt x="925141" y="975162"/>
                  <a:pt x="906094" y="975162"/>
                </a:cubicBezTo>
                <a:cubicBezTo>
                  <a:pt x="890313" y="975162"/>
                  <a:pt x="873988" y="959925"/>
                  <a:pt x="874532" y="940879"/>
                </a:cubicBezTo>
                <a:cubicBezTo>
                  <a:pt x="874532" y="925641"/>
                  <a:pt x="891402" y="907684"/>
                  <a:pt x="908271" y="908772"/>
                </a:cubicBezTo>
                <a:close/>
                <a:moveTo>
                  <a:pt x="1072068" y="906051"/>
                </a:moveTo>
                <a:cubicBezTo>
                  <a:pt x="1093291" y="907683"/>
                  <a:pt x="1105807" y="921832"/>
                  <a:pt x="1107984" y="942511"/>
                </a:cubicBezTo>
                <a:cubicBezTo>
                  <a:pt x="1107984" y="961013"/>
                  <a:pt x="1088938" y="979515"/>
                  <a:pt x="1070980" y="979515"/>
                </a:cubicBezTo>
                <a:cubicBezTo>
                  <a:pt x="1053022" y="979515"/>
                  <a:pt x="1034520" y="960469"/>
                  <a:pt x="1034520" y="942511"/>
                </a:cubicBezTo>
                <a:cubicBezTo>
                  <a:pt x="1034520" y="923465"/>
                  <a:pt x="1053566" y="904419"/>
                  <a:pt x="1072068" y="906051"/>
                </a:cubicBezTo>
                <a:close/>
                <a:moveTo>
                  <a:pt x="1235321" y="903874"/>
                </a:moveTo>
                <a:cubicBezTo>
                  <a:pt x="1257088" y="903874"/>
                  <a:pt x="1272325" y="920199"/>
                  <a:pt x="1272325" y="943054"/>
                </a:cubicBezTo>
                <a:cubicBezTo>
                  <a:pt x="1275045" y="962645"/>
                  <a:pt x="1251646" y="982779"/>
                  <a:pt x="1233688" y="981147"/>
                </a:cubicBezTo>
                <a:cubicBezTo>
                  <a:pt x="1211921" y="979514"/>
                  <a:pt x="1195052" y="963189"/>
                  <a:pt x="1195596" y="940878"/>
                </a:cubicBezTo>
                <a:cubicBezTo>
                  <a:pt x="1196140" y="919111"/>
                  <a:pt x="1212465" y="903330"/>
                  <a:pt x="1235321" y="903874"/>
                </a:cubicBezTo>
                <a:close/>
                <a:moveTo>
                  <a:pt x="1397486" y="901153"/>
                </a:moveTo>
                <a:cubicBezTo>
                  <a:pt x="1420885" y="901698"/>
                  <a:pt x="1437755" y="917479"/>
                  <a:pt x="1438299" y="942511"/>
                </a:cubicBezTo>
                <a:cubicBezTo>
                  <a:pt x="1437210" y="966999"/>
                  <a:pt x="1420341" y="983324"/>
                  <a:pt x="1396941" y="983324"/>
                </a:cubicBezTo>
                <a:cubicBezTo>
                  <a:pt x="1371909" y="983324"/>
                  <a:pt x="1355584" y="963190"/>
                  <a:pt x="1356128" y="941967"/>
                </a:cubicBezTo>
                <a:cubicBezTo>
                  <a:pt x="1356128" y="919655"/>
                  <a:pt x="1373542" y="900609"/>
                  <a:pt x="1397486" y="901153"/>
                </a:cubicBezTo>
                <a:close/>
                <a:moveTo>
                  <a:pt x="1560738" y="898977"/>
                </a:moveTo>
                <a:cubicBezTo>
                  <a:pt x="1584138" y="899521"/>
                  <a:pt x="1603728" y="917479"/>
                  <a:pt x="1603728" y="942511"/>
                </a:cubicBezTo>
                <a:cubicBezTo>
                  <a:pt x="1603728" y="966999"/>
                  <a:pt x="1581961" y="985501"/>
                  <a:pt x="1560738" y="985501"/>
                </a:cubicBezTo>
                <a:cubicBezTo>
                  <a:pt x="1537883" y="985501"/>
                  <a:pt x="1516660" y="963734"/>
                  <a:pt x="1517204" y="941423"/>
                </a:cubicBezTo>
                <a:cubicBezTo>
                  <a:pt x="1517748" y="919656"/>
                  <a:pt x="1535706" y="898977"/>
                  <a:pt x="1560738" y="898977"/>
                </a:cubicBezTo>
                <a:close/>
                <a:moveTo>
                  <a:pt x="1723990" y="897888"/>
                </a:moveTo>
                <a:cubicBezTo>
                  <a:pt x="1747934" y="897888"/>
                  <a:pt x="1769701" y="919111"/>
                  <a:pt x="1768069" y="942510"/>
                </a:cubicBezTo>
                <a:cubicBezTo>
                  <a:pt x="1770245" y="965366"/>
                  <a:pt x="1746302" y="987133"/>
                  <a:pt x="1723990" y="986589"/>
                </a:cubicBezTo>
                <a:cubicBezTo>
                  <a:pt x="1701679" y="986589"/>
                  <a:pt x="1679912" y="964278"/>
                  <a:pt x="1679912" y="941422"/>
                </a:cubicBezTo>
                <a:cubicBezTo>
                  <a:pt x="1680456" y="919655"/>
                  <a:pt x="1700047" y="897888"/>
                  <a:pt x="1723990" y="897888"/>
                </a:cubicBezTo>
                <a:close/>
                <a:moveTo>
                  <a:pt x="2050497" y="897344"/>
                </a:moveTo>
                <a:lnTo>
                  <a:pt x="2051041" y="897453"/>
                </a:lnTo>
                <a:lnTo>
                  <a:pt x="2051041" y="986917"/>
                </a:lnTo>
                <a:lnTo>
                  <a:pt x="2049952" y="987133"/>
                </a:lnTo>
                <a:cubicBezTo>
                  <a:pt x="2026553" y="987133"/>
                  <a:pt x="2004786" y="965366"/>
                  <a:pt x="2005330" y="941422"/>
                </a:cubicBezTo>
                <a:cubicBezTo>
                  <a:pt x="2005874" y="918023"/>
                  <a:pt x="2026009" y="897344"/>
                  <a:pt x="2050497" y="897344"/>
                </a:cubicBezTo>
                <a:close/>
                <a:moveTo>
                  <a:pt x="1887243" y="897344"/>
                </a:moveTo>
                <a:cubicBezTo>
                  <a:pt x="1910099" y="897344"/>
                  <a:pt x="1931866" y="916390"/>
                  <a:pt x="1931866" y="942511"/>
                </a:cubicBezTo>
                <a:cubicBezTo>
                  <a:pt x="1931866" y="965910"/>
                  <a:pt x="1910099" y="986589"/>
                  <a:pt x="1887243" y="986589"/>
                </a:cubicBezTo>
                <a:cubicBezTo>
                  <a:pt x="1864932" y="987133"/>
                  <a:pt x="1839900" y="965910"/>
                  <a:pt x="1843165" y="941422"/>
                </a:cubicBezTo>
                <a:cubicBezTo>
                  <a:pt x="1840444" y="918567"/>
                  <a:pt x="1863299" y="897344"/>
                  <a:pt x="1887243" y="897344"/>
                </a:cubicBezTo>
                <a:close/>
                <a:moveTo>
                  <a:pt x="172545" y="854354"/>
                </a:moveTo>
                <a:cubicBezTo>
                  <a:pt x="176899" y="854354"/>
                  <a:pt x="179619" y="855442"/>
                  <a:pt x="179619" y="860884"/>
                </a:cubicBezTo>
                <a:cubicBezTo>
                  <a:pt x="180164" y="864693"/>
                  <a:pt x="177987" y="866870"/>
                  <a:pt x="173634" y="866870"/>
                </a:cubicBezTo>
                <a:cubicBezTo>
                  <a:pt x="169824" y="866870"/>
                  <a:pt x="166559" y="866870"/>
                  <a:pt x="166015" y="861973"/>
                </a:cubicBezTo>
                <a:cubicBezTo>
                  <a:pt x="165471" y="857075"/>
                  <a:pt x="167103" y="854354"/>
                  <a:pt x="172545" y="854354"/>
                </a:cubicBezTo>
                <a:close/>
                <a:moveTo>
                  <a:pt x="336342" y="843471"/>
                </a:moveTo>
                <a:cubicBezTo>
                  <a:pt x="346681" y="844015"/>
                  <a:pt x="353211" y="849457"/>
                  <a:pt x="353211" y="860340"/>
                </a:cubicBezTo>
                <a:cubicBezTo>
                  <a:pt x="353211" y="872312"/>
                  <a:pt x="348858" y="876665"/>
                  <a:pt x="336886" y="877210"/>
                </a:cubicBezTo>
                <a:cubicBezTo>
                  <a:pt x="324370" y="877210"/>
                  <a:pt x="320561" y="872856"/>
                  <a:pt x="320017" y="860884"/>
                </a:cubicBezTo>
                <a:cubicBezTo>
                  <a:pt x="319473" y="851089"/>
                  <a:pt x="327635" y="842927"/>
                  <a:pt x="336342" y="843471"/>
                </a:cubicBezTo>
                <a:close/>
                <a:moveTo>
                  <a:pt x="500139" y="837485"/>
                </a:moveTo>
                <a:cubicBezTo>
                  <a:pt x="514832" y="837485"/>
                  <a:pt x="522994" y="846735"/>
                  <a:pt x="522994" y="861428"/>
                </a:cubicBezTo>
                <a:cubicBezTo>
                  <a:pt x="522994" y="876121"/>
                  <a:pt x="513743" y="884284"/>
                  <a:pt x="499595" y="884284"/>
                </a:cubicBezTo>
                <a:cubicBezTo>
                  <a:pt x="485446" y="883740"/>
                  <a:pt x="475651" y="875033"/>
                  <a:pt x="476739" y="860340"/>
                </a:cubicBezTo>
                <a:cubicBezTo>
                  <a:pt x="476195" y="842926"/>
                  <a:pt x="489256" y="836940"/>
                  <a:pt x="500139" y="837485"/>
                </a:cubicBezTo>
                <a:close/>
                <a:moveTo>
                  <a:pt x="662848" y="832587"/>
                </a:moveTo>
                <a:cubicBezTo>
                  <a:pt x="677541" y="832587"/>
                  <a:pt x="691689" y="842926"/>
                  <a:pt x="690057" y="860340"/>
                </a:cubicBezTo>
                <a:cubicBezTo>
                  <a:pt x="691689" y="876121"/>
                  <a:pt x="679718" y="888637"/>
                  <a:pt x="662848" y="888637"/>
                </a:cubicBezTo>
                <a:cubicBezTo>
                  <a:pt x="644890" y="888637"/>
                  <a:pt x="634551" y="874489"/>
                  <a:pt x="634551" y="861428"/>
                </a:cubicBezTo>
                <a:cubicBezTo>
                  <a:pt x="634551" y="842926"/>
                  <a:pt x="647611" y="832587"/>
                  <a:pt x="662848" y="832587"/>
                </a:cubicBezTo>
                <a:close/>
                <a:moveTo>
                  <a:pt x="826101" y="827146"/>
                </a:moveTo>
                <a:cubicBezTo>
                  <a:pt x="840249" y="826602"/>
                  <a:pt x="859840" y="843471"/>
                  <a:pt x="859295" y="860885"/>
                </a:cubicBezTo>
                <a:cubicBezTo>
                  <a:pt x="858751" y="875033"/>
                  <a:pt x="844603" y="894624"/>
                  <a:pt x="825556" y="892991"/>
                </a:cubicBezTo>
                <a:cubicBezTo>
                  <a:pt x="808687" y="894079"/>
                  <a:pt x="793450" y="877754"/>
                  <a:pt x="793450" y="860885"/>
                </a:cubicBezTo>
                <a:cubicBezTo>
                  <a:pt x="793994" y="842927"/>
                  <a:pt x="808143" y="828234"/>
                  <a:pt x="826101" y="827146"/>
                </a:cubicBezTo>
                <a:close/>
                <a:moveTo>
                  <a:pt x="988809" y="824424"/>
                </a:moveTo>
                <a:cubicBezTo>
                  <a:pt x="1010576" y="825512"/>
                  <a:pt x="1024180" y="839661"/>
                  <a:pt x="1025813" y="860339"/>
                </a:cubicBezTo>
                <a:cubicBezTo>
                  <a:pt x="1026901" y="878842"/>
                  <a:pt x="1008399" y="896799"/>
                  <a:pt x="989897" y="897344"/>
                </a:cubicBezTo>
                <a:cubicBezTo>
                  <a:pt x="971939" y="897344"/>
                  <a:pt x="953982" y="880474"/>
                  <a:pt x="953437" y="861972"/>
                </a:cubicBezTo>
                <a:cubicBezTo>
                  <a:pt x="951805" y="842926"/>
                  <a:pt x="969763" y="824968"/>
                  <a:pt x="988809" y="824424"/>
                </a:cubicBezTo>
                <a:close/>
                <a:moveTo>
                  <a:pt x="1153695" y="821704"/>
                </a:moveTo>
                <a:cubicBezTo>
                  <a:pt x="1175462" y="822248"/>
                  <a:pt x="1191243" y="839118"/>
                  <a:pt x="1191243" y="861429"/>
                </a:cubicBezTo>
                <a:cubicBezTo>
                  <a:pt x="1193964" y="882107"/>
                  <a:pt x="1169476" y="900610"/>
                  <a:pt x="1152606" y="899521"/>
                </a:cubicBezTo>
                <a:cubicBezTo>
                  <a:pt x="1130839" y="898433"/>
                  <a:pt x="1114514" y="882107"/>
                  <a:pt x="1114514" y="859252"/>
                </a:cubicBezTo>
                <a:cubicBezTo>
                  <a:pt x="1115058" y="837485"/>
                  <a:pt x="1131928" y="821704"/>
                  <a:pt x="1153695" y="821704"/>
                </a:cubicBezTo>
                <a:close/>
                <a:moveTo>
                  <a:pt x="1316403" y="818982"/>
                </a:moveTo>
                <a:cubicBezTo>
                  <a:pt x="1341979" y="820071"/>
                  <a:pt x="1356128" y="838573"/>
                  <a:pt x="1357216" y="860884"/>
                </a:cubicBezTo>
                <a:cubicBezTo>
                  <a:pt x="1356128" y="884828"/>
                  <a:pt x="1337626" y="901697"/>
                  <a:pt x="1315315" y="901697"/>
                </a:cubicBezTo>
                <a:cubicBezTo>
                  <a:pt x="1293003" y="901697"/>
                  <a:pt x="1273957" y="884284"/>
                  <a:pt x="1274501" y="860340"/>
                </a:cubicBezTo>
                <a:cubicBezTo>
                  <a:pt x="1275046" y="835852"/>
                  <a:pt x="1291915" y="818438"/>
                  <a:pt x="1316403" y="818982"/>
                </a:cubicBezTo>
                <a:close/>
                <a:moveTo>
                  <a:pt x="1479112" y="816806"/>
                </a:moveTo>
                <a:cubicBezTo>
                  <a:pt x="1501423" y="816806"/>
                  <a:pt x="1523190" y="835852"/>
                  <a:pt x="1522646" y="860340"/>
                </a:cubicBezTo>
                <a:cubicBezTo>
                  <a:pt x="1523735" y="885372"/>
                  <a:pt x="1499791" y="904419"/>
                  <a:pt x="1479656" y="904419"/>
                </a:cubicBezTo>
                <a:cubicBezTo>
                  <a:pt x="1457889" y="904419"/>
                  <a:pt x="1436122" y="883740"/>
                  <a:pt x="1435578" y="860884"/>
                </a:cubicBezTo>
                <a:cubicBezTo>
                  <a:pt x="1435578" y="838573"/>
                  <a:pt x="1455713" y="816806"/>
                  <a:pt x="1479112" y="816806"/>
                </a:cubicBezTo>
                <a:close/>
                <a:moveTo>
                  <a:pt x="1642909" y="815718"/>
                </a:moveTo>
                <a:cubicBezTo>
                  <a:pt x="1665764" y="816262"/>
                  <a:pt x="1686987" y="835852"/>
                  <a:pt x="1686987" y="860885"/>
                </a:cubicBezTo>
                <a:cubicBezTo>
                  <a:pt x="1686987" y="884284"/>
                  <a:pt x="1666308" y="906051"/>
                  <a:pt x="1641276" y="905507"/>
                </a:cubicBezTo>
                <a:cubicBezTo>
                  <a:pt x="1619509" y="905507"/>
                  <a:pt x="1595021" y="884284"/>
                  <a:pt x="1597742" y="860340"/>
                </a:cubicBezTo>
                <a:cubicBezTo>
                  <a:pt x="1595021" y="836941"/>
                  <a:pt x="1619509" y="815174"/>
                  <a:pt x="1642909" y="815718"/>
                </a:cubicBezTo>
                <a:close/>
                <a:moveTo>
                  <a:pt x="1806161" y="815173"/>
                </a:moveTo>
                <a:cubicBezTo>
                  <a:pt x="1832282" y="815717"/>
                  <a:pt x="1854593" y="836396"/>
                  <a:pt x="1852416" y="860884"/>
                </a:cubicBezTo>
                <a:cubicBezTo>
                  <a:pt x="1850240" y="885372"/>
                  <a:pt x="1837179" y="906050"/>
                  <a:pt x="1805617" y="906594"/>
                </a:cubicBezTo>
                <a:cubicBezTo>
                  <a:pt x="1776776" y="906594"/>
                  <a:pt x="1759362" y="885916"/>
                  <a:pt x="1759906" y="860884"/>
                </a:cubicBezTo>
                <a:cubicBezTo>
                  <a:pt x="1759906" y="834219"/>
                  <a:pt x="1776776" y="815717"/>
                  <a:pt x="1806161" y="815173"/>
                </a:cubicBezTo>
                <a:close/>
                <a:moveTo>
                  <a:pt x="1968326" y="812453"/>
                </a:moveTo>
                <a:cubicBezTo>
                  <a:pt x="1979754" y="812453"/>
                  <a:pt x="1991726" y="817351"/>
                  <a:pt x="2000977" y="826057"/>
                </a:cubicBezTo>
                <a:cubicBezTo>
                  <a:pt x="2010772" y="835308"/>
                  <a:pt x="2016214" y="847280"/>
                  <a:pt x="2015670" y="859796"/>
                </a:cubicBezTo>
                <a:cubicBezTo>
                  <a:pt x="2014581" y="884828"/>
                  <a:pt x="2000977" y="904963"/>
                  <a:pt x="1969415" y="907684"/>
                </a:cubicBezTo>
                <a:cubicBezTo>
                  <a:pt x="1942206" y="906051"/>
                  <a:pt x="1923704" y="890270"/>
                  <a:pt x="1922071" y="860885"/>
                </a:cubicBezTo>
                <a:cubicBezTo>
                  <a:pt x="1920983" y="836397"/>
                  <a:pt x="1943294" y="812453"/>
                  <a:pt x="1968326" y="812453"/>
                </a:cubicBezTo>
                <a:close/>
                <a:moveTo>
                  <a:pt x="255260" y="762932"/>
                </a:moveTo>
                <a:cubicBezTo>
                  <a:pt x="261790" y="763476"/>
                  <a:pt x="271041" y="773271"/>
                  <a:pt x="270497" y="779802"/>
                </a:cubicBezTo>
                <a:cubicBezTo>
                  <a:pt x="270497" y="786332"/>
                  <a:pt x="261246" y="795038"/>
                  <a:pt x="254172" y="795038"/>
                </a:cubicBezTo>
                <a:cubicBezTo>
                  <a:pt x="246553" y="795038"/>
                  <a:pt x="238391" y="786332"/>
                  <a:pt x="238935" y="778713"/>
                </a:cubicBezTo>
                <a:cubicBezTo>
                  <a:pt x="239479" y="771095"/>
                  <a:pt x="248186" y="762388"/>
                  <a:pt x="255260" y="762932"/>
                </a:cubicBezTo>
                <a:close/>
                <a:moveTo>
                  <a:pt x="416881" y="756402"/>
                </a:moveTo>
                <a:cubicBezTo>
                  <a:pt x="430485" y="756402"/>
                  <a:pt x="439736" y="765109"/>
                  <a:pt x="440280" y="778713"/>
                </a:cubicBezTo>
                <a:cubicBezTo>
                  <a:pt x="440280" y="791229"/>
                  <a:pt x="431573" y="801024"/>
                  <a:pt x="419057" y="801024"/>
                </a:cubicBezTo>
                <a:cubicBezTo>
                  <a:pt x="405997" y="801569"/>
                  <a:pt x="396202" y="792317"/>
                  <a:pt x="396202" y="779257"/>
                </a:cubicBezTo>
                <a:cubicBezTo>
                  <a:pt x="396202" y="766741"/>
                  <a:pt x="404909" y="756946"/>
                  <a:pt x="416881" y="756402"/>
                </a:cubicBezTo>
                <a:close/>
                <a:moveTo>
                  <a:pt x="581766" y="751505"/>
                </a:moveTo>
                <a:cubicBezTo>
                  <a:pt x="598091" y="752594"/>
                  <a:pt x="607887" y="762933"/>
                  <a:pt x="608975" y="779802"/>
                </a:cubicBezTo>
                <a:cubicBezTo>
                  <a:pt x="608975" y="792318"/>
                  <a:pt x="596459" y="808644"/>
                  <a:pt x="580678" y="806467"/>
                </a:cubicBezTo>
                <a:cubicBezTo>
                  <a:pt x="565985" y="808100"/>
                  <a:pt x="553469" y="792318"/>
                  <a:pt x="553469" y="778714"/>
                </a:cubicBezTo>
                <a:cubicBezTo>
                  <a:pt x="553469" y="764021"/>
                  <a:pt x="567618" y="750417"/>
                  <a:pt x="581766" y="751505"/>
                </a:cubicBezTo>
                <a:close/>
                <a:moveTo>
                  <a:pt x="746107" y="746607"/>
                </a:moveTo>
                <a:cubicBezTo>
                  <a:pt x="762432" y="747695"/>
                  <a:pt x="778213" y="765653"/>
                  <a:pt x="777125" y="780346"/>
                </a:cubicBezTo>
                <a:cubicBezTo>
                  <a:pt x="776581" y="795038"/>
                  <a:pt x="762432" y="811908"/>
                  <a:pt x="742842" y="811364"/>
                </a:cubicBezTo>
                <a:cubicBezTo>
                  <a:pt x="725428" y="810276"/>
                  <a:pt x="712368" y="795583"/>
                  <a:pt x="712368" y="778713"/>
                </a:cubicBezTo>
                <a:cubicBezTo>
                  <a:pt x="712368" y="760755"/>
                  <a:pt x="730870" y="745519"/>
                  <a:pt x="746107" y="746607"/>
                </a:cubicBezTo>
                <a:close/>
                <a:moveTo>
                  <a:pt x="907727" y="741710"/>
                </a:moveTo>
                <a:cubicBezTo>
                  <a:pt x="925684" y="741710"/>
                  <a:pt x="944187" y="760756"/>
                  <a:pt x="944187" y="778714"/>
                </a:cubicBezTo>
                <a:cubicBezTo>
                  <a:pt x="944187" y="796672"/>
                  <a:pt x="926229" y="815174"/>
                  <a:pt x="907727" y="815174"/>
                </a:cubicBezTo>
                <a:cubicBezTo>
                  <a:pt x="889225" y="815174"/>
                  <a:pt x="872899" y="798848"/>
                  <a:pt x="872355" y="779258"/>
                </a:cubicBezTo>
                <a:cubicBezTo>
                  <a:pt x="871811" y="759668"/>
                  <a:pt x="888136" y="742254"/>
                  <a:pt x="907727" y="741710"/>
                </a:cubicBezTo>
                <a:close/>
                <a:moveTo>
                  <a:pt x="1070979" y="740621"/>
                </a:moveTo>
                <a:cubicBezTo>
                  <a:pt x="1091114" y="737357"/>
                  <a:pt x="1110704" y="761300"/>
                  <a:pt x="1110160" y="779258"/>
                </a:cubicBezTo>
                <a:cubicBezTo>
                  <a:pt x="1110160" y="798304"/>
                  <a:pt x="1089481" y="817894"/>
                  <a:pt x="1070979" y="817894"/>
                </a:cubicBezTo>
                <a:cubicBezTo>
                  <a:pt x="1049757" y="817894"/>
                  <a:pt x="1031255" y="797216"/>
                  <a:pt x="1031799" y="778714"/>
                </a:cubicBezTo>
                <a:cubicBezTo>
                  <a:pt x="1033431" y="756947"/>
                  <a:pt x="1049212" y="740621"/>
                  <a:pt x="1070979" y="740621"/>
                </a:cubicBezTo>
                <a:close/>
                <a:moveTo>
                  <a:pt x="1233688" y="736268"/>
                </a:moveTo>
                <a:cubicBezTo>
                  <a:pt x="1254367" y="735723"/>
                  <a:pt x="1276134" y="756402"/>
                  <a:pt x="1276134" y="777625"/>
                </a:cubicBezTo>
                <a:cubicBezTo>
                  <a:pt x="1276134" y="801025"/>
                  <a:pt x="1258720" y="819526"/>
                  <a:pt x="1235320" y="820615"/>
                </a:cubicBezTo>
                <a:cubicBezTo>
                  <a:pt x="1211377" y="821159"/>
                  <a:pt x="1193419" y="802657"/>
                  <a:pt x="1192331" y="779258"/>
                </a:cubicBezTo>
                <a:cubicBezTo>
                  <a:pt x="1190698" y="758579"/>
                  <a:pt x="1213009" y="736812"/>
                  <a:pt x="1233688" y="736268"/>
                </a:cubicBezTo>
                <a:close/>
                <a:moveTo>
                  <a:pt x="1397485" y="735724"/>
                </a:moveTo>
                <a:cubicBezTo>
                  <a:pt x="1421973" y="734091"/>
                  <a:pt x="1441564" y="757491"/>
                  <a:pt x="1441019" y="779802"/>
                </a:cubicBezTo>
                <a:cubicBezTo>
                  <a:pt x="1441019" y="803746"/>
                  <a:pt x="1418708" y="823336"/>
                  <a:pt x="1396397" y="823336"/>
                </a:cubicBezTo>
                <a:cubicBezTo>
                  <a:pt x="1374630" y="823336"/>
                  <a:pt x="1352863" y="802113"/>
                  <a:pt x="1352863" y="779258"/>
                </a:cubicBezTo>
                <a:cubicBezTo>
                  <a:pt x="1353407" y="758579"/>
                  <a:pt x="1372453" y="733547"/>
                  <a:pt x="1397485" y="735724"/>
                </a:cubicBezTo>
                <a:close/>
                <a:moveTo>
                  <a:pt x="1562371" y="734636"/>
                </a:moveTo>
                <a:cubicBezTo>
                  <a:pt x="1586314" y="732459"/>
                  <a:pt x="1605905" y="754226"/>
                  <a:pt x="1605905" y="779802"/>
                </a:cubicBezTo>
                <a:cubicBezTo>
                  <a:pt x="1605361" y="805923"/>
                  <a:pt x="1585226" y="823881"/>
                  <a:pt x="1560194" y="823881"/>
                </a:cubicBezTo>
                <a:cubicBezTo>
                  <a:pt x="1535706" y="823881"/>
                  <a:pt x="1515027" y="803202"/>
                  <a:pt x="1515572" y="777626"/>
                </a:cubicBezTo>
                <a:cubicBezTo>
                  <a:pt x="1516116" y="755859"/>
                  <a:pt x="1535162" y="731371"/>
                  <a:pt x="1562371" y="734636"/>
                </a:cubicBezTo>
                <a:close/>
                <a:moveTo>
                  <a:pt x="1724535" y="730827"/>
                </a:moveTo>
                <a:cubicBezTo>
                  <a:pt x="1748478" y="731371"/>
                  <a:pt x="1772422" y="755314"/>
                  <a:pt x="1772422" y="779258"/>
                </a:cubicBezTo>
                <a:cubicBezTo>
                  <a:pt x="1771878" y="804290"/>
                  <a:pt x="1748478" y="826602"/>
                  <a:pt x="1723446" y="826602"/>
                </a:cubicBezTo>
                <a:cubicBezTo>
                  <a:pt x="1696238" y="823881"/>
                  <a:pt x="1677736" y="807011"/>
                  <a:pt x="1676647" y="778714"/>
                </a:cubicBezTo>
                <a:cubicBezTo>
                  <a:pt x="1676103" y="753138"/>
                  <a:pt x="1699503" y="730282"/>
                  <a:pt x="1724535" y="730827"/>
                </a:cubicBezTo>
                <a:close/>
                <a:moveTo>
                  <a:pt x="1886699" y="730826"/>
                </a:moveTo>
                <a:cubicBezTo>
                  <a:pt x="1914452" y="730826"/>
                  <a:pt x="1934587" y="749872"/>
                  <a:pt x="1935131" y="778713"/>
                </a:cubicBezTo>
                <a:cubicBezTo>
                  <a:pt x="1936219" y="804834"/>
                  <a:pt x="1916085" y="826601"/>
                  <a:pt x="1887244" y="827145"/>
                </a:cubicBezTo>
                <a:cubicBezTo>
                  <a:pt x="1860579" y="826601"/>
                  <a:pt x="1838812" y="805922"/>
                  <a:pt x="1838812" y="778713"/>
                </a:cubicBezTo>
                <a:cubicBezTo>
                  <a:pt x="1839356" y="750416"/>
                  <a:pt x="1860035" y="730282"/>
                  <a:pt x="1886699" y="730826"/>
                </a:cubicBezTo>
                <a:close/>
                <a:moveTo>
                  <a:pt x="2050496" y="730282"/>
                </a:moveTo>
                <a:lnTo>
                  <a:pt x="2051041" y="730396"/>
                </a:lnTo>
                <a:lnTo>
                  <a:pt x="2051041" y="826942"/>
                </a:lnTo>
                <a:lnTo>
                  <a:pt x="2049952" y="827145"/>
                </a:lnTo>
                <a:cubicBezTo>
                  <a:pt x="2023832" y="827145"/>
                  <a:pt x="2001521" y="804290"/>
                  <a:pt x="2002065" y="778169"/>
                </a:cubicBezTo>
                <a:cubicBezTo>
                  <a:pt x="2002609" y="751505"/>
                  <a:pt x="2024376" y="730282"/>
                  <a:pt x="2050496" y="730282"/>
                </a:cubicBezTo>
                <a:close/>
                <a:moveTo>
                  <a:pt x="173634" y="685660"/>
                </a:moveTo>
                <a:cubicBezTo>
                  <a:pt x="181253" y="685660"/>
                  <a:pt x="185062" y="690013"/>
                  <a:pt x="184518" y="698176"/>
                </a:cubicBezTo>
                <a:cubicBezTo>
                  <a:pt x="183973" y="705250"/>
                  <a:pt x="180164" y="709059"/>
                  <a:pt x="172546" y="709059"/>
                </a:cubicBezTo>
                <a:cubicBezTo>
                  <a:pt x="164383" y="709059"/>
                  <a:pt x="160574" y="705250"/>
                  <a:pt x="161118" y="697088"/>
                </a:cubicBezTo>
                <a:cubicBezTo>
                  <a:pt x="161662" y="688925"/>
                  <a:pt x="164927" y="685660"/>
                  <a:pt x="173634" y="685660"/>
                </a:cubicBezTo>
                <a:close/>
                <a:moveTo>
                  <a:pt x="335798" y="675320"/>
                </a:moveTo>
                <a:cubicBezTo>
                  <a:pt x="345593" y="675320"/>
                  <a:pt x="357565" y="685115"/>
                  <a:pt x="357565" y="696543"/>
                </a:cubicBezTo>
                <a:cubicBezTo>
                  <a:pt x="357565" y="707426"/>
                  <a:pt x="346682" y="718854"/>
                  <a:pt x="336342" y="718854"/>
                </a:cubicBezTo>
                <a:cubicBezTo>
                  <a:pt x="327091" y="718854"/>
                  <a:pt x="315664" y="707426"/>
                  <a:pt x="315120" y="697631"/>
                </a:cubicBezTo>
                <a:cubicBezTo>
                  <a:pt x="314575" y="687292"/>
                  <a:pt x="325459" y="675864"/>
                  <a:pt x="335798" y="675320"/>
                </a:cubicBezTo>
                <a:close/>
                <a:moveTo>
                  <a:pt x="499051" y="670423"/>
                </a:moveTo>
                <a:cubicBezTo>
                  <a:pt x="512111" y="669335"/>
                  <a:pt x="526804" y="684027"/>
                  <a:pt x="526804" y="697088"/>
                </a:cubicBezTo>
                <a:cubicBezTo>
                  <a:pt x="526804" y="711236"/>
                  <a:pt x="513744" y="724296"/>
                  <a:pt x="499595" y="724296"/>
                </a:cubicBezTo>
                <a:cubicBezTo>
                  <a:pt x="486535" y="724296"/>
                  <a:pt x="472930" y="711236"/>
                  <a:pt x="472930" y="697632"/>
                </a:cubicBezTo>
                <a:cubicBezTo>
                  <a:pt x="472386" y="684027"/>
                  <a:pt x="485446" y="670423"/>
                  <a:pt x="499051" y="670423"/>
                </a:cubicBezTo>
                <a:close/>
                <a:moveTo>
                  <a:pt x="662848" y="665525"/>
                </a:moveTo>
                <a:cubicBezTo>
                  <a:pt x="678629" y="665525"/>
                  <a:pt x="694410" y="681306"/>
                  <a:pt x="694954" y="697087"/>
                </a:cubicBezTo>
                <a:cubicBezTo>
                  <a:pt x="695499" y="712868"/>
                  <a:pt x="679173" y="729194"/>
                  <a:pt x="663392" y="729194"/>
                </a:cubicBezTo>
                <a:cubicBezTo>
                  <a:pt x="647611" y="729194"/>
                  <a:pt x="632374" y="713957"/>
                  <a:pt x="632374" y="698176"/>
                </a:cubicBezTo>
                <a:cubicBezTo>
                  <a:pt x="631286" y="681850"/>
                  <a:pt x="647067" y="665525"/>
                  <a:pt x="662848" y="665525"/>
                </a:cubicBezTo>
                <a:close/>
                <a:moveTo>
                  <a:pt x="825013" y="663349"/>
                </a:moveTo>
                <a:cubicBezTo>
                  <a:pt x="844603" y="662260"/>
                  <a:pt x="861472" y="676953"/>
                  <a:pt x="860384" y="697632"/>
                </a:cubicBezTo>
                <a:cubicBezTo>
                  <a:pt x="861472" y="716134"/>
                  <a:pt x="846780" y="731915"/>
                  <a:pt x="826101" y="731915"/>
                </a:cubicBezTo>
                <a:cubicBezTo>
                  <a:pt x="806511" y="731915"/>
                  <a:pt x="791818" y="719399"/>
                  <a:pt x="791818" y="698176"/>
                </a:cubicBezTo>
                <a:cubicBezTo>
                  <a:pt x="791818" y="676409"/>
                  <a:pt x="805967" y="663893"/>
                  <a:pt x="825013" y="663349"/>
                </a:cubicBezTo>
                <a:close/>
                <a:moveTo>
                  <a:pt x="988809" y="658995"/>
                </a:moveTo>
                <a:cubicBezTo>
                  <a:pt x="1008400" y="657362"/>
                  <a:pt x="1028534" y="679129"/>
                  <a:pt x="1027446" y="697087"/>
                </a:cubicBezTo>
                <a:cubicBezTo>
                  <a:pt x="1026902" y="718310"/>
                  <a:pt x="1010576" y="735723"/>
                  <a:pt x="989353" y="735723"/>
                </a:cubicBezTo>
                <a:cubicBezTo>
                  <a:pt x="968675" y="735723"/>
                  <a:pt x="950717" y="718310"/>
                  <a:pt x="950717" y="697631"/>
                </a:cubicBezTo>
                <a:cubicBezTo>
                  <a:pt x="950717" y="676408"/>
                  <a:pt x="968131" y="660627"/>
                  <a:pt x="988809" y="658995"/>
                </a:cubicBezTo>
                <a:close/>
                <a:moveTo>
                  <a:pt x="1152607" y="655729"/>
                </a:moveTo>
                <a:cubicBezTo>
                  <a:pt x="1173829" y="654097"/>
                  <a:pt x="1194508" y="675864"/>
                  <a:pt x="1195052" y="697087"/>
                </a:cubicBezTo>
                <a:cubicBezTo>
                  <a:pt x="1195596" y="717766"/>
                  <a:pt x="1173829" y="739533"/>
                  <a:pt x="1153151" y="739533"/>
                </a:cubicBezTo>
                <a:cubicBezTo>
                  <a:pt x="1132472" y="740077"/>
                  <a:pt x="1110705" y="718310"/>
                  <a:pt x="1110705" y="697631"/>
                </a:cubicBezTo>
                <a:cubicBezTo>
                  <a:pt x="1112882" y="674231"/>
                  <a:pt x="1127574" y="657362"/>
                  <a:pt x="1152607" y="655729"/>
                </a:cubicBezTo>
                <a:close/>
                <a:moveTo>
                  <a:pt x="1316948" y="653554"/>
                </a:moveTo>
                <a:cubicBezTo>
                  <a:pt x="1340347" y="654098"/>
                  <a:pt x="1359937" y="674777"/>
                  <a:pt x="1359937" y="697632"/>
                </a:cubicBezTo>
                <a:cubicBezTo>
                  <a:pt x="1359937" y="718855"/>
                  <a:pt x="1339803" y="743343"/>
                  <a:pt x="1315315" y="740622"/>
                </a:cubicBezTo>
                <a:cubicBezTo>
                  <a:pt x="1293004" y="742799"/>
                  <a:pt x="1271237" y="718311"/>
                  <a:pt x="1271781" y="696544"/>
                </a:cubicBezTo>
                <a:cubicBezTo>
                  <a:pt x="1271781" y="675321"/>
                  <a:pt x="1292460" y="653010"/>
                  <a:pt x="1316948" y="653554"/>
                </a:cubicBezTo>
                <a:close/>
                <a:moveTo>
                  <a:pt x="1479112" y="651921"/>
                </a:moveTo>
                <a:cubicBezTo>
                  <a:pt x="1506321" y="651377"/>
                  <a:pt x="1524823" y="669335"/>
                  <a:pt x="1524823" y="697088"/>
                </a:cubicBezTo>
                <a:cubicBezTo>
                  <a:pt x="1524823" y="722664"/>
                  <a:pt x="1506865" y="743343"/>
                  <a:pt x="1479112" y="742254"/>
                </a:cubicBezTo>
                <a:cubicBezTo>
                  <a:pt x="1450815" y="743343"/>
                  <a:pt x="1433401" y="721031"/>
                  <a:pt x="1433945" y="697088"/>
                </a:cubicBezTo>
                <a:cubicBezTo>
                  <a:pt x="1434490" y="670423"/>
                  <a:pt x="1451903" y="652465"/>
                  <a:pt x="1479112" y="651921"/>
                </a:cubicBezTo>
                <a:close/>
                <a:moveTo>
                  <a:pt x="1642909" y="649744"/>
                </a:moveTo>
                <a:cubicBezTo>
                  <a:pt x="1671750" y="650288"/>
                  <a:pt x="1690252" y="668790"/>
                  <a:pt x="1690796" y="697087"/>
                </a:cubicBezTo>
                <a:cubicBezTo>
                  <a:pt x="1691340" y="723752"/>
                  <a:pt x="1672294" y="743342"/>
                  <a:pt x="1642909" y="745519"/>
                </a:cubicBezTo>
                <a:cubicBezTo>
                  <a:pt x="1614067" y="743887"/>
                  <a:pt x="1594477" y="725384"/>
                  <a:pt x="1594477" y="697632"/>
                </a:cubicBezTo>
                <a:cubicBezTo>
                  <a:pt x="1594477" y="668790"/>
                  <a:pt x="1614611" y="649200"/>
                  <a:pt x="1642909" y="649744"/>
                </a:cubicBezTo>
                <a:close/>
                <a:moveTo>
                  <a:pt x="1805617" y="648112"/>
                </a:moveTo>
                <a:cubicBezTo>
                  <a:pt x="1829561" y="648112"/>
                  <a:pt x="1857314" y="672055"/>
                  <a:pt x="1854593" y="698176"/>
                </a:cubicBezTo>
                <a:cubicBezTo>
                  <a:pt x="1856770" y="719399"/>
                  <a:pt x="1832826" y="747151"/>
                  <a:pt x="1805073" y="746607"/>
                </a:cubicBezTo>
                <a:cubicBezTo>
                  <a:pt x="1779497" y="746063"/>
                  <a:pt x="1756097" y="721575"/>
                  <a:pt x="1756097" y="697087"/>
                </a:cubicBezTo>
                <a:cubicBezTo>
                  <a:pt x="1756097" y="670423"/>
                  <a:pt x="1782218" y="647567"/>
                  <a:pt x="1805617" y="648112"/>
                </a:cubicBezTo>
                <a:close/>
                <a:moveTo>
                  <a:pt x="1969414" y="647023"/>
                </a:moveTo>
                <a:cubicBezTo>
                  <a:pt x="1992814" y="647023"/>
                  <a:pt x="2020567" y="672055"/>
                  <a:pt x="2018934" y="698176"/>
                </a:cubicBezTo>
                <a:cubicBezTo>
                  <a:pt x="2017302" y="725384"/>
                  <a:pt x="1996623" y="746063"/>
                  <a:pt x="1968326" y="746063"/>
                </a:cubicBezTo>
                <a:cubicBezTo>
                  <a:pt x="1941661" y="748784"/>
                  <a:pt x="1919350" y="721031"/>
                  <a:pt x="1918806" y="697087"/>
                </a:cubicBezTo>
                <a:cubicBezTo>
                  <a:pt x="1918806" y="669878"/>
                  <a:pt x="1945471" y="647023"/>
                  <a:pt x="1969414" y="647023"/>
                </a:cubicBezTo>
                <a:close/>
                <a:moveTo>
                  <a:pt x="90919" y="606754"/>
                </a:moveTo>
                <a:cubicBezTo>
                  <a:pt x="94728" y="608386"/>
                  <a:pt x="99626" y="612195"/>
                  <a:pt x="99626" y="615460"/>
                </a:cubicBezTo>
                <a:cubicBezTo>
                  <a:pt x="100170" y="618181"/>
                  <a:pt x="95816" y="621990"/>
                  <a:pt x="92007" y="627976"/>
                </a:cubicBezTo>
                <a:cubicBezTo>
                  <a:pt x="87654" y="623079"/>
                  <a:pt x="84389" y="619814"/>
                  <a:pt x="82756" y="616005"/>
                </a:cubicBezTo>
                <a:cubicBezTo>
                  <a:pt x="81668" y="613284"/>
                  <a:pt x="88198" y="605665"/>
                  <a:pt x="90919" y="606754"/>
                </a:cubicBezTo>
                <a:close/>
                <a:moveTo>
                  <a:pt x="254172" y="598047"/>
                </a:moveTo>
                <a:cubicBezTo>
                  <a:pt x="265599" y="597503"/>
                  <a:pt x="273218" y="606210"/>
                  <a:pt x="272674" y="614917"/>
                </a:cubicBezTo>
                <a:cubicBezTo>
                  <a:pt x="272674" y="625800"/>
                  <a:pt x="266688" y="632874"/>
                  <a:pt x="255260" y="633419"/>
                </a:cubicBezTo>
                <a:cubicBezTo>
                  <a:pt x="244376" y="633963"/>
                  <a:pt x="237302" y="626889"/>
                  <a:pt x="236758" y="616005"/>
                </a:cubicBezTo>
                <a:cubicBezTo>
                  <a:pt x="236758" y="605122"/>
                  <a:pt x="243832" y="598047"/>
                  <a:pt x="254172" y="598047"/>
                </a:cubicBezTo>
                <a:close/>
                <a:moveTo>
                  <a:pt x="418513" y="590429"/>
                </a:moveTo>
                <a:cubicBezTo>
                  <a:pt x="431029" y="590429"/>
                  <a:pt x="442457" y="601857"/>
                  <a:pt x="443001" y="614917"/>
                </a:cubicBezTo>
                <a:cubicBezTo>
                  <a:pt x="443545" y="627977"/>
                  <a:pt x="432118" y="640493"/>
                  <a:pt x="419058" y="640493"/>
                </a:cubicBezTo>
                <a:cubicBezTo>
                  <a:pt x="404365" y="640493"/>
                  <a:pt x="394570" y="630698"/>
                  <a:pt x="392937" y="616005"/>
                </a:cubicBezTo>
                <a:cubicBezTo>
                  <a:pt x="391849" y="604033"/>
                  <a:pt x="405997" y="590429"/>
                  <a:pt x="418513" y="590429"/>
                </a:cubicBezTo>
                <a:close/>
                <a:moveTo>
                  <a:pt x="581222" y="587163"/>
                </a:moveTo>
                <a:cubicBezTo>
                  <a:pt x="600812" y="588252"/>
                  <a:pt x="610063" y="598047"/>
                  <a:pt x="610063" y="616549"/>
                </a:cubicBezTo>
                <a:cubicBezTo>
                  <a:pt x="610063" y="634507"/>
                  <a:pt x="599179" y="644846"/>
                  <a:pt x="580677" y="645390"/>
                </a:cubicBezTo>
                <a:cubicBezTo>
                  <a:pt x="565440" y="644846"/>
                  <a:pt x="551836" y="634507"/>
                  <a:pt x="551836" y="615461"/>
                </a:cubicBezTo>
                <a:cubicBezTo>
                  <a:pt x="551836" y="594782"/>
                  <a:pt x="567073" y="586075"/>
                  <a:pt x="581222" y="587163"/>
                </a:cubicBezTo>
                <a:close/>
                <a:moveTo>
                  <a:pt x="743930" y="582266"/>
                </a:moveTo>
                <a:cubicBezTo>
                  <a:pt x="761344" y="581178"/>
                  <a:pt x="779301" y="599136"/>
                  <a:pt x="779301" y="616005"/>
                </a:cubicBezTo>
                <a:cubicBezTo>
                  <a:pt x="779301" y="632874"/>
                  <a:pt x="762976" y="649744"/>
                  <a:pt x="745563" y="649744"/>
                </a:cubicBezTo>
                <a:cubicBezTo>
                  <a:pt x="728149" y="649200"/>
                  <a:pt x="710191" y="635595"/>
                  <a:pt x="711824" y="616549"/>
                </a:cubicBezTo>
                <a:cubicBezTo>
                  <a:pt x="711824" y="596415"/>
                  <a:pt x="724340" y="583355"/>
                  <a:pt x="743930" y="582266"/>
                </a:cubicBezTo>
                <a:close/>
                <a:moveTo>
                  <a:pt x="907183" y="577913"/>
                </a:moveTo>
                <a:cubicBezTo>
                  <a:pt x="927318" y="576825"/>
                  <a:pt x="947452" y="598592"/>
                  <a:pt x="945276" y="615461"/>
                </a:cubicBezTo>
                <a:cubicBezTo>
                  <a:pt x="945276" y="635596"/>
                  <a:pt x="927318" y="653554"/>
                  <a:pt x="907727" y="654098"/>
                </a:cubicBezTo>
                <a:cubicBezTo>
                  <a:pt x="890314" y="654642"/>
                  <a:pt x="869091" y="635052"/>
                  <a:pt x="869091" y="616006"/>
                </a:cubicBezTo>
                <a:cubicBezTo>
                  <a:pt x="869635" y="595871"/>
                  <a:pt x="887049" y="578457"/>
                  <a:pt x="907183" y="577913"/>
                </a:cubicBezTo>
                <a:close/>
                <a:moveTo>
                  <a:pt x="1069891" y="574648"/>
                </a:moveTo>
                <a:cubicBezTo>
                  <a:pt x="1092202" y="574648"/>
                  <a:pt x="1111793" y="589885"/>
                  <a:pt x="1111248" y="615461"/>
                </a:cubicBezTo>
                <a:cubicBezTo>
                  <a:pt x="1111793" y="639405"/>
                  <a:pt x="1093835" y="656274"/>
                  <a:pt x="1070435" y="656274"/>
                </a:cubicBezTo>
                <a:cubicBezTo>
                  <a:pt x="1045403" y="656274"/>
                  <a:pt x="1029622" y="635052"/>
                  <a:pt x="1029622" y="614917"/>
                </a:cubicBezTo>
                <a:cubicBezTo>
                  <a:pt x="1030166" y="593150"/>
                  <a:pt x="1046491" y="574648"/>
                  <a:pt x="1069891" y="574648"/>
                </a:cubicBezTo>
                <a:close/>
                <a:moveTo>
                  <a:pt x="1235321" y="572472"/>
                </a:moveTo>
                <a:cubicBezTo>
                  <a:pt x="1256543" y="572472"/>
                  <a:pt x="1279399" y="590973"/>
                  <a:pt x="1277222" y="616550"/>
                </a:cubicBezTo>
                <a:cubicBezTo>
                  <a:pt x="1278855" y="639949"/>
                  <a:pt x="1255455" y="660084"/>
                  <a:pt x="1233688" y="660084"/>
                </a:cubicBezTo>
                <a:cubicBezTo>
                  <a:pt x="1211377" y="660084"/>
                  <a:pt x="1189610" y="637773"/>
                  <a:pt x="1190154" y="614917"/>
                </a:cubicBezTo>
                <a:cubicBezTo>
                  <a:pt x="1190698" y="594783"/>
                  <a:pt x="1209200" y="571927"/>
                  <a:pt x="1235321" y="572472"/>
                </a:cubicBezTo>
                <a:close/>
                <a:moveTo>
                  <a:pt x="1397485" y="569206"/>
                </a:moveTo>
                <a:cubicBezTo>
                  <a:pt x="1423606" y="569750"/>
                  <a:pt x="1443196" y="587708"/>
                  <a:pt x="1443196" y="616005"/>
                </a:cubicBezTo>
                <a:cubicBezTo>
                  <a:pt x="1443196" y="642670"/>
                  <a:pt x="1424150" y="661716"/>
                  <a:pt x="1396941" y="661172"/>
                </a:cubicBezTo>
                <a:cubicBezTo>
                  <a:pt x="1369188" y="661172"/>
                  <a:pt x="1350686" y="638860"/>
                  <a:pt x="1351775" y="614373"/>
                </a:cubicBezTo>
                <a:cubicBezTo>
                  <a:pt x="1352319" y="587164"/>
                  <a:pt x="1371365" y="569206"/>
                  <a:pt x="1397485" y="569206"/>
                </a:cubicBezTo>
                <a:close/>
                <a:moveTo>
                  <a:pt x="1560738" y="567029"/>
                </a:moveTo>
                <a:cubicBezTo>
                  <a:pt x="1586859" y="567029"/>
                  <a:pt x="1608082" y="587708"/>
                  <a:pt x="1609714" y="615461"/>
                </a:cubicBezTo>
                <a:cubicBezTo>
                  <a:pt x="1608082" y="641581"/>
                  <a:pt x="1589580" y="663892"/>
                  <a:pt x="1561283" y="663892"/>
                </a:cubicBezTo>
                <a:cubicBezTo>
                  <a:pt x="1534074" y="663892"/>
                  <a:pt x="1512851" y="642669"/>
                  <a:pt x="1512851" y="616005"/>
                </a:cubicBezTo>
                <a:cubicBezTo>
                  <a:pt x="1512851" y="587163"/>
                  <a:pt x="1535706" y="567029"/>
                  <a:pt x="1560738" y="567029"/>
                </a:cubicBezTo>
                <a:close/>
                <a:moveTo>
                  <a:pt x="1725624" y="565397"/>
                </a:moveTo>
                <a:cubicBezTo>
                  <a:pt x="1747935" y="565941"/>
                  <a:pt x="1775144" y="590429"/>
                  <a:pt x="1774599" y="616005"/>
                </a:cubicBezTo>
                <a:cubicBezTo>
                  <a:pt x="1774055" y="638317"/>
                  <a:pt x="1751744" y="668246"/>
                  <a:pt x="1723447" y="664981"/>
                </a:cubicBezTo>
                <a:cubicBezTo>
                  <a:pt x="1700592" y="667158"/>
                  <a:pt x="1674471" y="643758"/>
                  <a:pt x="1674471" y="615461"/>
                </a:cubicBezTo>
                <a:cubicBezTo>
                  <a:pt x="1674471" y="588797"/>
                  <a:pt x="1700592" y="565397"/>
                  <a:pt x="1725624" y="565397"/>
                </a:cubicBezTo>
                <a:close/>
                <a:moveTo>
                  <a:pt x="1886699" y="564853"/>
                </a:moveTo>
                <a:cubicBezTo>
                  <a:pt x="1914996" y="564309"/>
                  <a:pt x="1938396" y="589341"/>
                  <a:pt x="1938396" y="614917"/>
                </a:cubicBezTo>
                <a:cubicBezTo>
                  <a:pt x="1938396" y="640493"/>
                  <a:pt x="1917717" y="667702"/>
                  <a:pt x="1887787" y="665525"/>
                </a:cubicBezTo>
                <a:cubicBezTo>
                  <a:pt x="1860034" y="667702"/>
                  <a:pt x="1837723" y="644302"/>
                  <a:pt x="1837179" y="615461"/>
                </a:cubicBezTo>
                <a:cubicBezTo>
                  <a:pt x="1837179" y="586620"/>
                  <a:pt x="1861667" y="565397"/>
                  <a:pt x="1886699" y="564853"/>
                </a:cubicBezTo>
                <a:close/>
                <a:moveTo>
                  <a:pt x="2050496" y="564852"/>
                </a:moveTo>
                <a:lnTo>
                  <a:pt x="2051041" y="564962"/>
                </a:lnTo>
                <a:lnTo>
                  <a:pt x="2051041" y="665899"/>
                </a:lnTo>
                <a:lnTo>
                  <a:pt x="2049952" y="666069"/>
                </a:lnTo>
                <a:cubicBezTo>
                  <a:pt x="2018934" y="667157"/>
                  <a:pt x="1999344" y="642669"/>
                  <a:pt x="1999344" y="615460"/>
                </a:cubicBezTo>
                <a:cubicBezTo>
                  <a:pt x="1999344" y="587163"/>
                  <a:pt x="2021655" y="564852"/>
                  <a:pt x="2050496" y="564852"/>
                </a:cubicBezTo>
                <a:close/>
                <a:moveTo>
                  <a:pt x="173090" y="517509"/>
                </a:moveTo>
                <a:cubicBezTo>
                  <a:pt x="181252" y="517509"/>
                  <a:pt x="189415" y="525672"/>
                  <a:pt x="189959" y="533834"/>
                </a:cubicBezTo>
                <a:cubicBezTo>
                  <a:pt x="189959" y="542541"/>
                  <a:pt x="182341" y="550160"/>
                  <a:pt x="173634" y="550160"/>
                </a:cubicBezTo>
                <a:cubicBezTo>
                  <a:pt x="165471" y="550160"/>
                  <a:pt x="157853" y="543085"/>
                  <a:pt x="157308" y="534923"/>
                </a:cubicBezTo>
                <a:cubicBezTo>
                  <a:pt x="156764" y="526216"/>
                  <a:pt x="164383" y="518053"/>
                  <a:pt x="173090" y="517509"/>
                </a:cubicBezTo>
                <a:close/>
                <a:moveTo>
                  <a:pt x="335798" y="511523"/>
                </a:moveTo>
                <a:cubicBezTo>
                  <a:pt x="349947" y="512067"/>
                  <a:pt x="357565" y="519686"/>
                  <a:pt x="358654" y="533834"/>
                </a:cubicBezTo>
                <a:cubicBezTo>
                  <a:pt x="359742" y="547439"/>
                  <a:pt x="348314" y="557778"/>
                  <a:pt x="336343" y="556689"/>
                </a:cubicBezTo>
                <a:cubicBezTo>
                  <a:pt x="324371" y="558322"/>
                  <a:pt x="312943" y="545806"/>
                  <a:pt x="312943" y="534378"/>
                </a:cubicBezTo>
                <a:cubicBezTo>
                  <a:pt x="312943" y="522951"/>
                  <a:pt x="322738" y="510979"/>
                  <a:pt x="335798" y="511523"/>
                </a:cubicBezTo>
                <a:close/>
                <a:moveTo>
                  <a:pt x="500139" y="506626"/>
                </a:moveTo>
                <a:cubicBezTo>
                  <a:pt x="517553" y="507170"/>
                  <a:pt x="527892" y="517509"/>
                  <a:pt x="527348" y="535467"/>
                </a:cubicBezTo>
                <a:cubicBezTo>
                  <a:pt x="526804" y="552880"/>
                  <a:pt x="515920" y="562131"/>
                  <a:pt x="497963" y="561587"/>
                </a:cubicBezTo>
                <a:cubicBezTo>
                  <a:pt x="481093" y="561043"/>
                  <a:pt x="472386" y="550704"/>
                  <a:pt x="471842" y="533290"/>
                </a:cubicBezTo>
                <a:cubicBezTo>
                  <a:pt x="471298" y="516965"/>
                  <a:pt x="485447" y="506081"/>
                  <a:pt x="500139" y="506626"/>
                </a:cubicBezTo>
                <a:close/>
                <a:moveTo>
                  <a:pt x="662304" y="500639"/>
                </a:moveTo>
                <a:cubicBezTo>
                  <a:pt x="677540" y="497919"/>
                  <a:pt x="696587" y="518597"/>
                  <a:pt x="696042" y="533290"/>
                </a:cubicBezTo>
                <a:cubicBezTo>
                  <a:pt x="694954" y="551792"/>
                  <a:pt x="681894" y="565396"/>
                  <a:pt x="663392" y="566485"/>
                </a:cubicBezTo>
                <a:cubicBezTo>
                  <a:pt x="643802" y="567573"/>
                  <a:pt x="629653" y="549615"/>
                  <a:pt x="630197" y="534378"/>
                </a:cubicBezTo>
                <a:cubicBezTo>
                  <a:pt x="630741" y="515876"/>
                  <a:pt x="644346" y="501184"/>
                  <a:pt x="662304" y="500639"/>
                </a:cubicBezTo>
                <a:close/>
                <a:moveTo>
                  <a:pt x="825557" y="496830"/>
                </a:moveTo>
                <a:cubicBezTo>
                  <a:pt x="846780" y="496286"/>
                  <a:pt x="862561" y="513700"/>
                  <a:pt x="863649" y="534923"/>
                </a:cubicBezTo>
                <a:cubicBezTo>
                  <a:pt x="862017" y="556690"/>
                  <a:pt x="845147" y="571927"/>
                  <a:pt x="825557" y="571383"/>
                </a:cubicBezTo>
                <a:cubicBezTo>
                  <a:pt x="805422" y="570838"/>
                  <a:pt x="788553" y="555057"/>
                  <a:pt x="788553" y="534379"/>
                </a:cubicBezTo>
                <a:cubicBezTo>
                  <a:pt x="788553" y="514244"/>
                  <a:pt x="804334" y="497375"/>
                  <a:pt x="825557" y="496830"/>
                </a:cubicBezTo>
                <a:close/>
                <a:moveTo>
                  <a:pt x="989898" y="494110"/>
                </a:moveTo>
                <a:cubicBezTo>
                  <a:pt x="1012209" y="494654"/>
                  <a:pt x="1029622" y="513156"/>
                  <a:pt x="1029078" y="534923"/>
                </a:cubicBezTo>
                <a:cubicBezTo>
                  <a:pt x="1028534" y="556146"/>
                  <a:pt x="1010576" y="574104"/>
                  <a:pt x="989353" y="574104"/>
                </a:cubicBezTo>
                <a:cubicBezTo>
                  <a:pt x="969763" y="574648"/>
                  <a:pt x="947452" y="556690"/>
                  <a:pt x="949629" y="533835"/>
                </a:cubicBezTo>
                <a:cubicBezTo>
                  <a:pt x="947996" y="512068"/>
                  <a:pt x="968675" y="494110"/>
                  <a:pt x="989898" y="494110"/>
                </a:cubicBezTo>
                <a:close/>
                <a:moveTo>
                  <a:pt x="1152062" y="490301"/>
                </a:moveTo>
                <a:cubicBezTo>
                  <a:pt x="1174917" y="490301"/>
                  <a:pt x="1196140" y="509347"/>
                  <a:pt x="1196140" y="533835"/>
                </a:cubicBezTo>
                <a:cubicBezTo>
                  <a:pt x="1197228" y="558867"/>
                  <a:pt x="1173829" y="577913"/>
                  <a:pt x="1152606" y="577369"/>
                </a:cubicBezTo>
                <a:cubicBezTo>
                  <a:pt x="1130839" y="577369"/>
                  <a:pt x="1109616" y="556690"/>
                  <a:pt x="1109072" y="534379"/>
                </a:cubicBezTo>
                <a:cubicBezTo>
                  <a:pt x="1108528" y="510980"/>
                  <a:pt x="1128662" y="490301"/>
                  <a:pt x="1152062" y="490301"/>
                </a:cubicBezTo>
                <a:close/>
                <a:moveTo>
                  <a:pt x="1316947" y="489212"/>
                </a:moveTo>
                <a:cubicBezTo>
                  <a:pt x="1343612" y="489756"/>
                  <a:pt x="1361570" y="510435"/>
                  <a:pt x="1361570" y="534923"/>
                </a:cubicBezTo>
                <a:cubicBezTo>
                  <a:pt x="1361570" y="560499"/>
                  <a:pt x="1341980" y="580090"/>
                  <a:pt x="1315859" y="580090"/>
                </a:cubicBezTo>
                <a:cubicBezTo>
                  <a:pt x="1291915" y="580090"/>
                  <a:pt x="1269060" y="560499"/>
                  <a:pt x="1270693" y="533835"/>
                </a:cubicBezTo>
                <a:cubicBezTo>
                  <a:pt x="1269604" y="508258"/>
                  <a:pt x="1291371" y="488124"/>
                  <a:pt x="1316947" y="489212"/>
                </a:cubicBezTo>
                <a:close/>
                <a:moveTo>
                  <a:pt x="1479112" y="484315"/>
                </a:moveTo>
                <a:cubicBezTo>
                  <a:pt x="1503599" y="484315"/>
                  <a:pt x="1528087" y="508259"/>
                  <a:pt x="1528087" y="533835"/>
                </a:cubicBezTo>
                <a:cubicBezTo>
                  <a:pt x="1528087" y="558867"/>
                  <a:pt x="1506865" y="582267"/>
                  <a:pt x="1479656" y="582267"/>
                </a:cubicBezTo>
                <a:cubicBezTo>
                  <a:pt x="1453535" y="582267"/>
                  <a:pt x="1431224" y="560500"/>
                  <a:pt x="1431224" y="533835"/>
                </a:cubicBezTo>
                <a:cubicBezTo>
                  <a:pt x="1430680" y="506626"/>
                  <a:pt x="1454624" y="485403"/>
                  <a:pt x="1479112" y="484315"/>
                </a:cubicBezTo>
                <a:close/>
                <a:moveTo>
                  <a:pt x="1643452" y="484314"/>
                </a:moveTo>
                <a:cubicBezTo>
                  <a:pt x="1667396" y="481049"/>
                  <a:pt x="1693517" y="509891"/>
                  <a:pt x="1692973" y="534923"/>
                </a:cubicBezTo>
                <a:cubicBezTo>
                  <a:pt x="1692428" y="558867"/>
                  <a:pt x="1669573" y="584987"/>
                  <a:pt x="1641276" y="583898"/>
                </a:cubicBezTo>
                <a:cubicBezTo>
                  <a:pt x="1616788" y="583354"/>
                  <a:pt x="1592300" y="562676"/>
                  <a:pt x="1592300" y="532202"/>
                </a:cubicBezTo>
                <a:cubicBezTo>
                  <a:pt x="1592300" y="509891"/>
                  <a:pt x="1615155" y="481049"/>
                  <a:pt x="1643452" y="484314"/>
                </a:cubicBezTo>
                <a:close/>
                <a:moveTo>
                  <a:pt x="1806162" y="481594"/>
                </a:moveTo>
                <a:cubicBezTo>
                  <a:pt x="1839901" y="484859"/>
                  <a:pt x="1858947" y="504993"/>
                  <a:pt x="1857858" y="536011"/>
                </a:cubicBezTo>
                <a:cubicBezTo>
                  <a:pt x="1855682" y="568662"/>
                  <a:pt x="1834459" y="584987"/>
                  <a:pt x="1803441" y="586075"/>
                </a:cubicBezTo>
                <a:cubicBezTo>
                  <a:pt x="1775144" y="584443"/>
                  <a:pt x="1751744" y="559955"/>
                  <a:pt x="1753377" y="533290"/>
                </a:cubicBezTo>
                <a:cubicBezTo>
                  <a:pt x="1755009" y="504993"/>
                  <a:pt x="1780041" y="479417"/>
                  <a:pt x="1806162" y="481594"/>
                </a:cubicBezTo>
                <a:close/>
                <a:moveTo>
                  <a:pt x="1968326" y="480505"/>
                </a:moveTo>
                <a:cubicBezTo>
                  <a:pt x="1998256" y="483226"/>
                  <a:pt x="2020023" y="501728"/>
                  <a:pt x="2022200" y="534379"/>
                </a:cubicBezTo>
                <a:cubicBezTo>
                  <a:pt x="2023832" y="560499"/>
                  <a:pt x="1996079" y="588252"/>
                  <a:pt x="1969415" y="588252"/>
                </a:cubicBezTo>
                <a:cubicBezTo>
                  <a:pt x="1943294" y="588796"/>
                  <a:pt x="1916085" y="561587"/>
                  <a:pt x="1915541" y="534923"/>
                </a:cubicBezTo>
                <a:cubicBezTo>
                  <a:pt x="1914453" y="508258"/>
                  <a:pt x="1941117" y="480505"/>
                  <a:pt x="1968326" y="480505"/>
                </a:cubicBezTo>
                <a:close/>
                <a:moveTo>
                  <a:pt x="91464" y="440780"/>
                </a:moveTo>
                <a:cubicBezTo>
                  <a:pt x="99082" y="440780"/>
                  <a:pt x="102347" y="443501"/>
                  <a:pt x="102891" y="451664"/>
                </a:cubicBezTo>
                <a:cubicBezTo>
                  <a:pt x="102891" y="460915"/>
                  <a:pt x="100171" y="464179"/>
                  <a:pt x="92008" y="464179"/>
                </a:cubicBezTo>
                <a:cubicBezTo>
                  <a:pt x="83301" y="464179"/>
                  <a:pt x="80036" y="461459"/>
                  <a:pt x="80036" y="452752"/>
                </a:cubicBezTo>
                <a:cubicBezTo>
                  <a:pt x="80036" y="444045"/>
                  <a:pt x="83301" y="440780"/>
                  <a:pt x="91464" y="440780"/>
                </a:cubicBezTo>
                <a:close/>
                <a:moveTo>
                  <a:pt x="254172" y="430441"/>
                </a:moveTo>
                <a:cubicBezTo>
                  <a:pt x="263967" y="430441"/>
                  <a:pt x="276483" y="440236"/>
                  <a:pt x="275939" y="452208"/>
                </a:cubicBezTo>
                <a:cubicBezTo>
                  <a:pt x="275939" y="463092"/>
                  <a:pt x="265600" y="473975"/>
                  <a:pt x="254716" y="473975"/>
                </a:cubicBezTo>
                <a:cubicBezTo>
                  <a:pt x="244377" y="473975"/>
                  <a:pt x="232949" y="463092"/>
                  <a:pt x="232405" y="452752"/>
                </a:cubicBezTo>
                <a:cubicBezTo>
                  <a:pt x="232405" y="442413"/>
                  <a:pt x="243833" y="430985"/>
                  <a:pt x="254172" y="430441"/>
                </a:cubicBezTo>
                <a:close/>
                <a:moveTo>
                  <a:pt x="417969" y="424999"/>
                </a:moveTo>
                <a:cubicBezTo>
                  <a:pt x="432118" y="424999"/>
                  <a:pt x="444634" y="438059"/>
                  <a:pt x="444634" y="452752"/>
                </a:cubicBezTo>
                <a:cubicBezTo>
                  <a:pt x="445178" y="464180"/>
                  <a:pt x="432662" y="481049"/>
                  <a:pt x="417425" y="479417"/>
                </a:cubicBezTo>
                <a:cubicBezTo>
                  <a:pt x="405453" y="481049"/>
                  <a:pt x="389672" y="465268"/>
                  <a:pt x="390760" y="452208"/>
                </a:cubicBezTo>
                <a:cubicBezTo>
                  <a:pt x="391849" y="437515"/>
                  <a:pt x="403276" y="424999"/>
                  <a:pt x="417969" y="424999"/>
                </a:cubicBezTo>
                <a:close/>
                <a:moveTo>
                  <a:pt x="580677" y="419558"/>
                </a:moveTo>
                <a:cubicBezTo>
                  <a:pt x="596458" y="419013"/>
                  <a:pt x="612783" y="434795"/>
                  <a:pt x="612783" y="452208"/>
                </a:cubicBezTo>
                <a:cubicBezTo>
                  <a:pt x="612783" y="469622"/>
                  <a:pt x="599723" y="483226"/>
                  <a:pt x="581221" y="484315"/>
                </a:cubicBezTo>
                <a:cubicBezTo>
                  <a:pt x="561087" y="482138"/>
                  <a:pt x="549659" y="470710"/>
                  <a:pt x="549115" y="452208"/>
                </a:cubicBezTo>
                <a:cubicBezTo>
                  <a:pt x="548571" y="433162"/>
                  <a:pt x="564352" y="420102"/>
                  <a:pt x="580677" y="419558"/>
                </a:cubicBezTo>
                <a:close/>
                <a:moveTo>
                  <a:pt x="743931" y="415748"/>
                </a:moveTo>
                <a:cubicBezTo>
                  <a:pt x="761888" y="414660"/>
                  <a:pt x="779846" y="432618"/>
                  <a:pt x="780390" y="452208"/>
                </a:cubicBezTo>
                <a:cubicBezTo>
                  <a:pt x="780934" y="471254"/>
                  <a:pt x="764065" y="488668"/>
                  <a:pt x="744475" y="489212"/>
                </a:cubicBezTo>
                <a:cubicBezTo>
                  <a:pt x="727061" y="489212"/>
                  <a:pt x="709103" y="472342"/>
                  <a:pt x="708559" y="453840"/>
                </a:cubicBezTo>
                <a:cubicBezTo>
                  <a:pt x="707471" y="435883"/>
                  <a:pt x="725428" y="416836"/>
                  <a:pt x="743931" y="415748"/>
                </a:cubicBezTo>
                <a:close/>
                <a:moveTo>
                  <a:pt x="908271" y="414116"/>
                </a:moveTo>
                <a:cubicBezTo>
                  <a:pt x="927861" y="411395"/>
                  <a:pt x="946907" y="431529"/>
                  <a:pt x="946363" y="453296"/>
                </a:cubicBezTo>
                <a:cubicBezTo>
                  <a:pt x="946363" y="473975"/>
                  <a:pt x="927317" y="491933"/>
                  <a:pt x="906638" y="491933"/>
                </a:cubicBezTo>
                <a:cubicBezTo>
                  <a:pt x="887048" y="491933"/>
                  <a:pt x="866913" y="473431"/>
                  <a:pt x="868546" y="452208"/>
                </a:cubicBezTo>
                <a:cubicBezTo>
                  <a:pt x="870179" y="428808"/>
                  <a:pt x="884871" y="413571"/>
                  <a:pt x="908271" y="414116"/>
                </a:cubicBezTo>
                <a:close/>
                <a:moveTo>
                  <a:pt x="1072068" y="409218"/>
                </a:moveTo>
                <a:cubicBezTo>
                  <a:pt x="1097100" y="410307"/>
                  <a:pt x="1113970" y="427720"/>
                  <a:pt x="1113970" y="452752"/>
                </a:cubicBezTo>
                <a:cubicBezTo>
                  <a:pt x="1113970" y="478329"/>
                  <a:pt x="1092203" y="495198"/>
                  <a:pt x="1070436" y="495198"/>
                </a:cubicBezTo>
                <a:cubicBezTo>
                  <a:pt x="1048124" y="494654"/>
                  <a:pt x="1027446" y="475063"/>
                  <a:pt x="1028534" y="451120"/>
                </a:cubicBezTo>
                <a:cubicBezTo>
                  <a:pt x="1029622" y="427720"/>
                  <a:pt x="1048669" y="408130"/>
                  <a:pt x="1072068" y="409218"/>
                </a:cubicBezTo>
                <a:close/>
                <a:moveTo>
                  <a:pt x="1235865" y="408130"/>
                </a:moveTo>
                <a:cubicBezTo>
                  <a:pt x="1258721" y="405953"/>
                  <a:pt x="1279400" y="427176"/>
                  <a:pt x="1279400" y="453296"/>
                </a:cubicBezTo>
                <a:cubicBezTo>
                  <a:pt x="1278855" y="478328"/>
                  <a:pt x="1258177" y="497374"/>
                  <a:pt x="1233689" y="497374"/>
                </a:cubicBezTo>
                <a:cubicBezTo>
                  <a:pt x="1209745" y="496830"/>
                  <a:pt x="1189066" y="476151"/>
                  <a:pt x="1189611" y="451664"/>
                </a:cubicBezTo>
                <a:cubicBezTo>
                  <a:pt x="1189611" y="429352"/>
                  <a:pt x="1209201" y="404864"/>
                  <a:pt x="1235865" y="408130"/>
                </a:cubicBezTo>
                <a:close/>
                <a:moveTo>
                  <a:pt x="1396941" y="403776"/>
                </a:moveTo>
                <a:cubicBezTo>
                  <a:pt x="1425238" y="403232"/>
                  <a:pt x="1445373" y="423911"/>
                  <a:pt x="1446461" y="450575"/>
                </a:cubicBezTo>
                <a:cubicBezTo>
                  <a:pt x="1447005" y="476696"/>
                  <a:pt x="1426327" y="500096"/>
                  <a:pt x="1399118" y="500640"/>
                </a:cubicBezTo>
                <a:cubicBezTo>
                  <a:pt x="1372453" y="501184"/>
                  <a:pt x="1349598" y="479961"/>
                  <a:pt x="1349598" y="453296"/>
                </a:cubicBezTo>
                <a:cubicBezTo>
                  <a:pt x="1349598" y="424999"/>
                  <a:pt x="1370277" y="404865"/>
                  <a:pt x="1396941" y="403776"/>
                </a:cubicBezTo>
                <a:close/>
                <a:moveTo>
                  <a:pt x="1560738" y="402144"/>
                </a:moveTo>
                <a:cubicBezTo>
                  <a:pt x="1588491" y="402144"/>
                  <a:pt x="1611347" y="427176"/>
                  <a:pt x="1611347" y="453297"/>
                </a:cubicBezTo>
                <a:cubicBezTo>
                  <a:pt x="1610803" y="476152"/>
                  <a:pt x="1590668" y="502817"/>
                  <a:pt x="1560194" y="502272"/>
                </a:cubicBezTo>
                <a:cubicBezTo>
                  <a:pt x="1534074" y="501728"/>
                  <a:pt x="1508498" y="479961"/>
                  <a:pt x="1511218" y="451664"/>
                </a:cubicBezTo>
                <a:cubicBezTo>
                  <a:pt x="1508498" y="425544"/>
                  <a:pt x="1534618" y="402144"/>
                  <a:pt x="1560738" y="402144"/>
                </a:cubicBezTo>
                <a:close/>
                <a:moveTo>
                  <a:pt x="1723991" y="399423"/>
                </a:moveTo>
                <a:cubicBezTo>
                  <a:pt x="1756097" y="402688"/>
                  <a:pt x="1777320" y="422278"/>
                  <a:pt x="1776776" y="452752"/>
                </a:cubicBezTo>
                <a:cubicBezTo>
                  <a:pt x="1776232" y="483226"/>
                  <a:pt x="1757730" y="501728"/>
                  <a:pt x="1725079" y="504993"/>
                </a:cubicBezTo>
                <a:cubicBezTo>
                  <a:pt x="1697870" y="507714"/>
                  <a:pt x="1670117" y="479961"/>
                  <a:pt x="1671750" y="452752"/>
                </a:cubicBezTo>
                <a:cubicBezTo>
                  <a:pt x="1673382" y="420102"/>
                  <a:pt x="1692428" y="403232"/>
                  <a:pt x="1723991" y="399423"/>
                </a:cubicBezTo>
                <a:close/>
                <a:moveTo>
                  <a:pt x="2051040" y="398335"/>
                </a:moveTo>
                <a:lnTo>
                  <a:pt x="2051041" y="398335"/>
                </a:lnTo>
                <a:lnTo>
                  <a:pt x="2051041" y="506936"/>
                </a:lnTo>
                <a:lnTo>
                  <a:pt x="2049952" y="507170"/>
                </a:lnTo>
                <a:cubicBezTo>
                  <a:pt x="2020566" y="506626"/>
                  <a:pt x="1995534" y="481593"/>
                  <a:pt x="1995534" y="452208"/>
                </a:cubicBezTo>
                <a:cubicBezTo>
                  <a:pt x="1996078" y="424455"/>
                  <a:pt x="2021655" y="397246"/>
                  <a:pt x="2051040" y="398335"/>
                </a:cubicBezTo>
                <a:close/>
                <a:moveTo>
                  <a:pt x="1888332" y="398335"/>
                </a:moveTo>
                <a:cubicBezTo>
                  <a:pt x="1915541" y="398879"/>
                  <a:pt x="1941661" y="423911"/>
                  <a:pt x="1941661" y="452208"/>
                </a:cubicBezTo>
                <a:cubicBezTo>
                  <a:pt x="1941661" y="481594"/>
                  <a:pt x="1916085" y="507170"/>
                  <a:pt x="1886699" y="506082"/>
                </a:cubicBezTo>
                <a:cubicBezTo>
                  <a:pt x="1857314" y="505538"/>
                  <a:pt x="1833914" y="481594"/>
                  <a:pt x="1833370" y="452208"/>
                </a:cubicBezTo>
                <a:cubicBezTo>
                  <a:pt x="1833370" y="423911"/>
                  <a:pt x="1860035" y="398335"/>
                  <a:pt x="1888332" y="398335"/>
                </a:cubicBezTo>
                <a:close/>
                <a:moveTo>
                  <a:pt x="12014" y="364052"/>
                </a:moveTo>
                <a:cubicBezTo>
                  <a:pt x="13102" y="365140"/>
                  <a:pt x="15279" y="367317"/>
                  <a:pt x="15823" y="370038"/>
                </a:cubicBezTo>
                <a:cubicBezTo>
                  <a:pt x="16911" y="374391"/>
                  <a:pt x="14191" y="377656"/>
                  <a:pt x="9293" y="377656"/>
                </a:cubicBezTo>
                <a:cubicBezTo>
                  <a:pt x="4940" y="377656"/>
                  <a:pt x="3307" y="374936"/>
                  <a:pt x="3307" y="371126"/>
                </a:cubicBezTo>
                <a:cubicBezTo>
                  <a:pt x="3307" y="367317"/>
                  <a:pt x="4940" y="364052"/>
                  <a:pt x="12014" y="364052"/>
                </a:cubicBezTo>
                <a:close/>
                <a:moveTo>
                  <a:pt x="172545" y="353713"/>
                </a:moveTo>
                <a:cubicBezTo>
                  <a:pt x="184517" y="353713"/>
                  <a:pt x="190503" y="359154"/>
                  <a:pt x="190503" y="370582"/>
                </a:cubicBezTo>
                <a:cubicBezTo>
                  <a:pt x="190503" y="381466"/>
                  <a:pt x="184517" y="387996"/>
                  <a:pt x="173090" y="387996"/>
                </a:cubicBezTo>
                <a:cubicBezTo>
                  <a:pt x="163839" y="388540"/>
                  <a:pt x="155676" y="381466"/>
                  <a:pt x="155676" y="371126"/>
                </a:cubicBezTo>
                <a:cubicBezTo>
                  <a:pt x="155676" y="362419"/>
                  <a:pt x="161662" y="352080"/>
                  <a:pt x="172545" y="353713"/>
                </a:cubicBezTo>
                <a:close/>
                <a:moveTo>
                  <a:pt x="336886" y="345550"/>
                </a:moveTo>
                <a:cubicBezTo>
                  <a:pt x="350490" y="346094"/>
                  <a:pt x="362462" y="358610"/>
                  <a:pt x="361374" y="371670"/>
                </a:cubicBezTo>
                <a:cubicBezTo>
                  <a:pt x="360286" y="385275"/>
                  <a:pt x="348858" y="395614"/>
                  <a:pt x="335798" y="395070"/>
                </a:cubicBezTo>
                <a:cubicBezTo>
                  <a:pt x="319472" y="394526"/>
                  <a:pt x="311854" y="381466"/>
                  <a:pt x="311854" y="370038"/>
                </a:cubicBezTo>
                <a:cubicBezTo>
                  <a:pt x="311854" y="356978"/>
                  <a:pt x="324370" y="345550"/>
                  <a:pt x="336886" y="345550"/>
                </a:cubicBezTo>
                <a:close/>
                <a:moveTo>
                  <a:pt x="499596" y="342284"/>
                </a:moveTo>
                <a:cubicBezTo>
                  <a:pt x="518642" y="341196"/>
                  <a:pt x="528437" y="354256"/>
                  <a:pt x="528437" y="370582"/>
                </a:cubicBezTo>
                <a:cubicBezTo>
                  <a:pt x="528437" y="386363"/>
                  <a:pt x="518642" y="399967"/>
                  <a:pt x="499051" y="399423"/>
                </a:cubicBezTo>
                <a:cubicBezTo>
                  <a:pt x="481094" y="399423"/>
                  <a:pt x="470210" y="387995"/>
                  <a:pt x="470210" y="370037"/>
                </a:cubicBezTo>
                <a:cubicBezTo>
                  <a:pt x="470754" y="352624"/>
                  <a:pt x="481638" y="341740"/>
                  <a:pt x="499596" y="342284"/>
                </a:cubicBezTo>
                <a:close/>
                <a:moveTo>
                  <a:pt x="663392" y="337387"/>
                </a:moveTo>
                <a:cubicBezTo>
                  <a:pt x="680262" y="337387"/>
                  <a:pt x="697675" y="354801"/>
                  <a:pt x="697131" y="371126"/>
                </a:cubicBezTo>
                <a:cubicBezTo>
                  <a:pt x="696043" y="390172"/>
                  <a:pt x="682982" y="404321"/>
                  <a:pt x="662304" y="404321"/>
                </a:cubicBezTo>
                <a:cubicBezTo>
                  <a:pt x="643258" y="405953"/>
                  <a:pt x="629109" y="389084"/>
                  <a:pt x="629109" y="371126"/>
                </a:cubicBezTo>
                <a:cubicBezTo>
                  <a:pt x="629109" y="352624"/>
                  <a:pt x="645434" y="337387"/>
                  <a:pt x="663392" y="337387"/>
                </a:cubicBezTo>
                <a:close/>
                <a:moveTo>
                  <a:pt x="825556" y="332489"/>
                </a:moveTo>
                <a:cubicBezTo>
                  <a:pt x="847323" y="333577"/>
                  <a:pt x="864193" y="349358"/>
                  <a:pt x="864737" y="370037"/>
                </a:cubicBezTo>
                <a:cubicBezTo>
                  <a:pt x="864193" y="391260"/>
                  <a:pt x="847323" y="409218"/>
                  <a:pt x="826645" y="409218"/>
                </a:cubicBezTo>
                <a:cubicBezTo>
                  <a:pt x="808687" y="412483"/>
                  <a:pt x="788008" y="387995"/>
                  <a:pt x="787464" y="371126"/>
                </a:cubicBezTo>
                <a:cubicBezTo>
                  <a:pt x="787464" y="353712"/>
                  <a:pt x="808687" y="331945"/>
                  <a:pt x="825556" y="332489"/>
                </a:cubicBezTo>
                <a:close/>
                <a:moveTo>
                  <a:pt x="989898" y="328680"/>
                </a:moveTo>
                <a:cubicBezTo>
                  <a:pt x="1013297" y="329224"/>
                  <a:pt x="1030167" y="347182"/>
                  <a:pt x="1031255" y="371126"/>
                </a:cubicBezTo>
                <a:cubicBezTo>
                  <a:pt x="1029623" y="396702"/>
                  <a:pt x="1010576" y="413027"/>
                  <a:pt x="989354" y="413027"/>
                </a:cubicBezTo>
                <a:cubicBezTo>
                  <a:pt x="964866" y="412483"/>
                  <a:pt x="946908" y="393981"/>
                  <a:pt x="947452" y="370037"/>
                </a:cubicBezTo>
                <a:cubicBezTo>
                  <a:pt x="947996" y="346094"/>
                  <a:pt x="964866" y="328680"/>
                  <a:pt x="989898" y="328680"/>
                </a:cubicBezTo>
                <a:close/>
                <a:moveTo>
                  <a:pt x="1153150" y="326504"/>
                </a:moveTo>
                <a:cubicBezTo>
                  <a:pt x="1177094" y="326504"/>
                  <a:pt x="1197228" y="347727"/>
                  <a:pt x="1197228" y="370582"/>
                </a:cubicBezTo>
                <a:cubicBezTo>
                  <a:pt x="1197228" y="392894"/>
                  <a:pt x="1176550" y="417925"/>
                  <a:pt x="1152606" y="414661"/>
                </a:cubicBezTo>
                <a:cubicBezTo>
                  <a:pt x="1130295" y="417925"/>
                  <a:pt x="1107984" y="393982"/>
                  <a:pt x="1108528" y="370038"/>
                </a:cubicBezTo>
                <a:cubicBezTo>
                  <a:pt x="1109072" y="347727"/>
                  <a:pt x="1129751" y="326504"/>
                  <a:pt x="1153150" y="326504"/>
                </a:cubicBezTo>
                <a:close/>
                <a:moveTo>
                  <a:pt x="1317492" y="323239"/>
                </a:moveTo>
                <a:cubicBezTo>
                  <a:pt x="1341979" y="322151"/>
                  <a:pt x="1367012" y="348271"/>
                  <a:pt x="1364835" y="372215"/>
                </a:cubicBezTo>
                <a:cubicBezTo>
                  <a:pt x="1361026" y="399968"/>
                  <a:pt x="1344700" y="416837"/>
                  <a:pt x="1314771" y="419014"/>
                </a:cubicBezTo>
                <a:cubicBezTo>
                  <a:pt x="1286474" y="415205"/>
                  <a:pt x="1267972" y="398879"/>
                  <a:pt x="1268516" y="370582"/>
                </a:cubicBezTo>
                <a:cubicBezTo>
                  <a:pt x="1268516" y="341197"/>
                  <a:pt x="1288650" y="324327"/>
                  <a:pt x="1317492" y="323239"/>
                </a:cubicBezTo>
                <a:close/>
                <a:moveTo>
                  <a:pt x="1479112" y="320517"/>
                </a:moveTo>
                <a:cubicBezTo>
                  <a:pt x="1503600" y="319973"/>
                  <a:pt x="1530265" y="343917"/>
                  <a:pt x="1529720" y="371670"/>
                </a:cubicBezTo>
                <a:cubicBezTo>
                  <a:pt x="1528632" y="395069"/>
                  <a:pt x="1506321" y="423366"/>
                  <a:pt x="1478568" y="420101"/>
                </a:cubicBezTo>
                <a:cubicBezTo>
                  <a:pt x="1452447" y="422822"/>
                  <a:pt x="1429592" y="397246"/>
                  <a:pt x="1429592" y="370037"/>
                </a:cubicBezTo>
                <a:cubicBezTo>
                  <a:pt x="1429592" y="342284"/>
                  <a:pt x="1455713" y="320517"/>
                  <a:pt x="1479112" y="320517"/>
                </a:cubicBezTo>
                <a:close/>
                <a:moveTo>
                  <a:pt x="1642364" y="318341"/>
                </a:moveTo>
                <a:cubicBezTo>
                  <a:pt x="1670661" y="318341"/>
                  <a:pt x="1692973" y="339020"/>
                  <a:pt x="1695694" y="370582"/>
                </a:cubicBezTo>
                <a:cubicBezTo>
                  <a:pt x="1696238" y="397791"/>
                  <a:pt x="1671206" y="423367"/>
                  <a:pt x="1643453" y="424455"/>
                </a:cubicBezTo>
                <a:cubicBezTo>
                  <a:pt x="1616788" y="425544"/>
                  <a:pt x="1589035" y="398335"/>
                  <a:pt x="1589035" y="371670"/>
                </a:cubicBezTo>
                <a:cubicBezTo>
                  <a:pt x="1589035" y="345006"/>
                  <a:pt x="1615155" y="317797"/>
                  <a:pt x="1642364" y="318341"/>
                </a:cubicBezTo>
                <a:close/>
                <a:moveTo>
                  <a:pt x="90919" y="273718"/>
                </a:moveTo>
                <a:cubicBezTo>
                  <a:pt x="96361" y="273174"/>
                  <a:pt x="106156" y="282425"/>
                  <a:pt x="106700" y="288411"/>
                </a:cubicBezTo>
                <a:cubicBezTo>
                  <a:pt x="106700" y="294941"/>
                  <a:pt x="97993" y="303648"/>
                  <a:pt x="91463" y="303648"/>
                </a:cubicBezTo>
                <a:cubicBezTo>
                  <a:pt x="84933" y="303648"/>
                  <a:pt x="76226" y="294941"/>
                  <a:pt x="76770" y="288411"/>
                </a:cubicBezTo>
                <a:cubicBezTo>
                  <a:pt x="76770" y="283513"/>
                  <a:pt x="86021" y="274262"/>
                  <a:pt x="90919" y="273718"/>
                </a:cubicBezTo>
                <a:close/>
                <a:moveTo>
                  <a:pt x="254716" y="267733"/>
                </a:moveTo>
                <a:cubicBezTo>
                  <a:pt x="267776" y="267733"/>
                  <a:pt x="276483" y="276440"/>
                  <a:pt x="276483" y="288956"/>
                </a:cubicBezTo>
                <a:cubicBezTo>
                  <a:pt x="276483" y="301472"/>
                  <a:pt x="266688" y="311811"/>
                  <a:pt x="254172" y="311811"/>
                </a:cubicBezTo>
                <a:cubicBezTo>
                  <a:pt x="243289" y="311811"/>
                  <a:pt x="232405" y="300384"/>
                  <a:pt x="232405" y="289500"/>
                </a:cubicBezTo>
                <a:cubicBezTo>
                  <a:pt x="232405" y="276984"/>
                  <a:pt x="242744" y="267733"/>
                  <a:pt x="254716" y="267733"/>
                </a:cubicBezTo>
                <a:close/>
                <a:moveTo>
                  <a:pt x="1941117" y="263202"/>
                </a:moveTo>
                <a:cubicBezTo>
                  <a:pt x="1937852" y="261570"/>
                  <a:pt x="1936219" y="263202"/>
                  <a:pt x="1936219" y="266467"/>
                </a:cubicBezTo>
                <a:cubicBezTo>
                  <a:pt x="1936763" y="268644"/>
                  <a:pt x="1937852" y="270276"/>
                  <a:pt x="1938396" y="272453"/>
                </a:cubicBezTo>
                <a:cubicBezTo>
                  <a:pt x="1944382" y="290955"/>
                  <a:pt x="1943838" y="308913"/>
                  <a:pt x="1932954" y="325782"/>
                </a:cubicBezTo>
                <a:cubicBezTo>
                  <a:pt x="1931866" y="327415"/>
                  <a:pt x="1931866" y="329047"/>
                  <a:pt x="1930777" y="331224"/>
                </a:cubicBezTo>
                <a:cubicBezTo>
                  <a:pt x="1932410" y="331224"/>
                  <a:pt x="1935131" y="331224"/>
                  <a:pt x="1936219" y="330136"/>
                </a:cubicBezTo>
                <a:cubicBezTo>
                  <a:pt x="1945470" y="323061"/>
                  <a:pt x="1955265" y="320885"/>
                  <a:pt x="1966693" y="320340"/>
                </a:cubicBezTo>
                <a:cubicBezTo>
                  <a:pt x="1978121" y="319796"/>
                  <a:pt x="1989004" y="323061"/>
                  <a:pt x="1998799" y="328503"/>
                </a:cubicBezTo>
                <a:cubicBezTo>
                  <a:pt x="2000432" y="329047"/>
                  <a:pt x="2001520" y="329592"/>
                  <a:pt x="2003153" y="330136"/>
                </a:cubicBezTo>
                <a:cubicBezTo>
                  <a:pt x="2002609" y="328503"/>
                  <a:pt x="2002609" y="326326"/>
                  <a:pt x="2001520" y="324694"/>
                </a:cubicBezTo>
                <a:cubicBezTo>
                  <a:pt x="1999344" y="319796"/>
                  <a:pt x="1995534" y="314899"/>
                  <a:pt x="1994446" y="309457"/>
                </a:cubicBezTo>
                <a:cubicBezTo>
                  <a:pt x="1992269" y="295308"/>
                  <a:pt x="1990093" y="281160"/>
                  <a:pt x="1998255" y="267555"/>
                </a:cubicBezTo>
                <a:cubicBezTo>
                  <a:pt x="2000432" y="267555"/>
                  <a:pt x="2000432" y="265923"/>
                  <a:pt x="2000976" y="263746"/>
                </a:cubicBezTo>
                <a:cubicBezTo>
                  <a:pt x="1998799" y="263746"/>
                  <a:pt x="1996623" y="262658"/>
                  <a:pt x="1995534" y="263746"/>
                </a:cubicBezTo>
                <a:cubicBezTo>
                  <a:pt x="1977577" y="272997"/>
                  <a:pt x="1959075" y="272997"/>
                  <a:pt x="1941117" y="263202"/>
                </a:cubicBezTo>
                <a:close/>
                <a:moveTo>
                  <a:pt x="417425" y="262291"/>
                </a:moveTo>
                <a:cubicBezTo>
                  <a:pt x="434839" y="262291"/>
                  <a:pt x="445178" y="272086"/>
                  <a:pt x="445178" y="288956"/>
                </a:cubicBezTo>
                <a:cubicBezTo>
                  <a:pt x="445178" y="305825"/>
                  <a:pt x="434839" y="316164"/>
                  <a:pt x="417969" y="317253"/>
                </a:cubicBezTo>
                <a:cubicBezTo>
                  <a:pt x="404909" y="317797"/>
                  <a:pt x="389672" y="306369"/>
                  <a:pt x="390216" y="290044"/>
                </a:cubicBezTo>
                <a:cubicBezTo>
                  <a:pt x="391305" y="272086"/>
                  <a:pt x="400011" y="262291"/>
                  <a:pt x="417425" y="262291"/>
                </a:cubicBezTo>
                <a:close/>
                <a:moveTo>
                  <a:pt x="580678" y="256304"/>
                </a:moveTo>
                <a:cubicBezTo>
                  <a:pt x="596459" y="255760"/>
                  <a:pt x="616049" y="273174"/>
                  <a:pt x="613872" y="288955"/>
                </a:cubicBezTo>
                <a:cubicBezTo>
                  <a:pt x="615505" y="304736"/>
                  <a:pt x="598635" y="322150"/>
                  <a:pt x="581222" y="322150"/>
                </a:cubicBezTo>
                <a:cubicBezTo>
                  <a:pt x="564352" y="322150"/>
                  <a:pt x="548571" y="308001"/>
                  <a:pt x="548027" y="289499"/>
                </a:cubicBezTo>
                <a:cubicBezTo>
                  <a:pt x="547483" y="272086"/>
                  <a:pt x="565441" y="256849"/>
                  <a:pt x="580678" y="256304"/>
                </a:cubicBezTo>
                <a:close/>
                <a:moveTo>
                  <a:pt x="743930" y="251951"/>
                </a:moveTo>
                <a:cubicBezTo>
                  <a:pt x="764609" y="251951"/>
                  <a:pt x="782566" y="268820"/>
                  <a:pt x="782022" y="289499"/>
                </a:cubicBezTo>
                <a:cubicBezTo>
                  <a:pt x="781478" y="311266"/>
                  <a:pt x="765153" y="326503"/>
                  <a:pt x="744474" y="326503"/>
                </a:cubicBezTo>
                <a:cubicBezTo>
                  <a:pt x="723795" y="326503"/>
                  <a:pt x="708014" y="311266"/>
                  <a:pt x="707470" y="289499"/>
                </a:cubicBezTo>
                <a:cubicBezTo>
                  <a:pt x="706926" y="271541"/>
                  <a:pt x="722163" y="252495"/>
                  <a:pt x="743930" y="251951"/>
                </a:cubicBezTo>
                <a:close/>
                <a:moveTo>
                  <a:pt x="907183" y="249775"/>
                </a:moveTo>
                <a:cubicBezTo>
                  <a:pt x="929494" y="249775"/>
                  <a:pt x="946908" y="263924"/>
                  <a:pt x="947452" y="289500"/>
                </a:cubicBezTo>
                <a:cubicBezTo>
                  <a:pt x="947996" y="311811"/>
                  <a:pt x="931127" y="330313"/>
                  <a:pt x="908271" y="329225"/>
                </a:cubicBezTo>
                <a:cubicBezTo>
                  <a:pt x="885960" y="330857"/>
                  <a:pt x="868002" y="312355"/>
                  <a:pt x="867458" y="290044"/>
                </a:cubicBezTo>
                <a:cubicBezTo>
                  <a:pt x="867458" y="266100"/>
                  <a:pt x="884872" y="249775"/>
                  <a:pt x="907183" y="249775"/>
                </a:cubicBezTo>
                <a:close/>
                <a:moveTo>
                  <a:pt x="1070435" y="245965"/>
                </a:moveTo>
                <a:cubicBezTo>
                  <a:pt x="1093291" y="245421"/>
                  <a:pt x="1116146" y="264467"/>
                  <a:pt x="1114513" y="290043"/>
                </a:cubicBezTo>
                <a:cubicBezTo>
                  <a:pt x="1115602" y="312899"/>
                  <a:pt x="1092202" y="334122"/>
                  <a:pt x="1069347" y="333578"/>
                </a:cubicBezTo>
                <a:cubicBezTo>
                  <a:pt x="1047036" y="333034"/>
                  <a:pt x="1026357" y="311266"/>
                  <a:pt x="1026357" y="288955"/>
                </a:cubicBezTo>
                <a:cubicBezTo>
                  <a:pt x="1026901" y="268276"/>
                  <a:pt x="1045403" y="245965"/>
                  <a:pt x="1070435" y="245965"/>
                </a:cubicBezTo>
                <a:close/>
                <a:moveTo>
                  <a:pt x="1233689" y="241613"/>
                </a:moveTo>
                <a:cubicBezTo>
                  <a:pt x="1257632" y="241068"/>
                  <a:pt x="1281032" y="263924"/>
                  <a:pt x="1282120" y="288412"/>
                </a:cubicBezTo>
                <a:cubicBezTo>
                  <a:pt x="1282665" y="312900"/>
                  <a:pt x="1260898" y="336299"/>
                  <a:pt x="1235321" y="335755"/>
                </a:cubicBezTo>
                <a:cubicBezTo>
                  <a:pt x="1206480" y="335211"/>
                  <a:pt x="1190155" y="318886"/>
                  <a:pt x="1187434" y="289500"/>
                </a:cubicBezTo>
                <a:cubicBezTo>
                  <a:pt x="1184713" y="266100"/>
                  <a:pt x="1208657" y="242701"/>
                  <a:pt x="1233689" y="241613"/>
                </a:cubicBezTo>
                <a:close/>
                <a:moveTo>
                  <a:pt x="1397485" y="238891"/>
                </a:moveTo>
                <a:cubicBezTo>
                  <a:pt x="1421973" y="237259"/>
                  <a:pt x="1448638" y="264467"/>
                  <a:pt x="1448094" y="288955"/>
                </a:cubicBezTo>
                <a:cubicBezTo>
                  <a:pt x="1447005" y="312355"/>
                  <a:pt x="1424150" y="341196"/>
                  <a:pt x="1398029" y="338475"/>
                </a:cubicBezTo>
                <a:cubicBezTo>
                  <a:pt x="1372453" y="340652"/>
                  <a:pt x="1347421" y="315620"/>
                  <a:pt x="1348509" y="289499"/>
                </a:cubicBezTo>
                <a:cubicBezTo>
                  <a:pt x="1349598" y="261202"/>
                  <a:pt x="1369732" y="240524"/>
                  <a:pt x="1397485" y="238891"/>
                </a:cubicBezTo>
                <a:close/>
                <a:moveTo>
                  <a:pt x="1559650" y="237258"/>
                </a:moveTo>
                <a:cubicBezTo>
                  <a:pt x="1590668" y="236170"/>
                  <a:pt x="1611891" y="259570"/>
                  <a:pt x="1613523" y="288955"/>
                </a:cubicBezTo>
                <a:cubicBezTo>
                  <a:pt x="1613523" y="316164"/>
                  <a:pt x="1587403" y="342829"/>
                  <a:pt x="1560738" y="342829"/>
                </a:cubicBezTo>
                <a:cubicBezTo>
                  <a:pt x="1534618" y="342829"/>
                  <a:pt x="1505776" y="315620"/>
                  <a:pt x="1507953" y="289499"/>
                </a:cubicBezTo>
                <a:cubicBezTo>
                  <a:pt x="1510130" y="261202"/>
                  <a:pt x="1526455" y="238347"/>
                  <a:pt x="1559650" y="237258"/>
                </a:cubicBezTo>
                <a:close/>
                <a:moveTo>
                  <a:pt x="9837" y="198078"/>
                </a:moveTo>
                <a:cubicBezTo>
                  <a:pt x="14190" y="198078"/>
                  <a:pt x="19632" y="202976"/>
                  <a:pt x="19632" y="207873"/>
                </a:cubicBezTo>
                <a:cubicBezTo>
                  <a:pt x="19632" y="212227"/>
                  <a:pt x="14190" y="217668"/>
                  <a:pt x="10381" y="218213"/>
                </a:cubicBezTo>
                <a:cubicBezTo>
                  <a:pt x="5483" y="218757"/>
                  <a:pt x="-503" y="212771"/>
                  <a:pt x="42" y="207873"/>
                </a:cubicBezTo>
                <a:cubicBezTo>
                  <a:pt x="42" y="202976"/>
                  <a:pt x="5483" y="198078"/>
                  <a:pt x="9837" y="198078"/>
                </a:cubicBezTo>
                <a:close/>
                <a:moveTo>
                  <a:pt x="173090" y="187739"/>
                </a:moveTo>
                <a:cubicBezTo>
                  <a:pt x="183429" y="188283"/>
                  <a:pt x="192136" y="196990"/>
                  <a:pt x="192136" y="207329"/>
                </a:cubicBezTo>
                <a:cubicBezTo>
                  <a:pt x="192136" y="217669"/>
                  <a:pt x="182341" y="228008"/>
                  <a:pt x="172546" y="227464"/>
                </a:cubicBezTo>
                <a:cubicBezTo>
                  <a:pt x="163839" y="226920"/>
                  <a:pt x="154588" y="217669"/>
                  <a:pt x="154044" y="208418"/>
                </a:cubicBezTo>
                <a:cubicBezTo>
                  <a:pt x="153500" y="198078"/>
                  <a:pt x="162751" y="187739"/>
                  <a:pt x="173090" y="187739"/>
                </a:cubicBezTo>
                <a:close/>
                <a:moveTo>
                  <a:pt x="336887" y="182297"/>
                </a:moveTo>
                <a:cubicBezTo>
                  <a:pt x="350491" y="182841"/>
                  <a:pt x="361919" y="191548"/>
                  <a:pt x="363007" y="207329"/>
                </a:cubicBezTo>
                <a:cubicBezTo>
                  <a:pt x="363551" y="219845"/>
                  <a:pt x="349947" y="233449"/>
                  <a:pt x="336887" y="233994"/>
                </a:cubicBezTo>
                <a:cubicBezTo>
                  <a:pt x="324371" y="233994"/>
                  <a:pt x="311311" y="221478"/>
                  <a:pt x="310766" y="208961"/>
                </a:cubicBezTo>
                <a:cubicBezTo>
                  <a:pt x="310222" y="195357"/>
                  <a:pt x="323282" y="181753"/>
                  <a:pt x="336887" y="182297"/>
                </a:cubicBezTo>
                <a:close/>
                <a:moveTo>
                  <a:pt x="1856225" y="180487"/>
                </a:moveTo>
                <a:cubicBezTo>
                  <a:pt x="1856225" y="182664"/>
                  <a:pt x="1855137" y="184841"/>
                  <a:pt x="1855681" y="185929"/>
                </a:cubicBezTo>
                <a:cubicBezTo>
                  <a:pt x="1863844" y="206064"/>
                  <a:pt x="1863844" y="226198"/>
                  <a:pt x="1851872" y="244700"/>
                </a:cubicBezTo>
                <a:cubicBezTo>
                  <a:pt x="1851328" y="245788"/>
                  <a:pt x="1851328" y="246877"/>
                  <a:pt x="1851328" y="247965"/>
                </a:cubicBezTo>
                <a:cubicBezTo>
                  <a:pt x="1852416" y="247965"/>
                  <a:pt x="1854049" y="247965"/>
                  <a:pt x="1854593" y="247421"/>
                </a:cubicBezTo>
                <a:cubicBezTo>
                  <a:pt x="1868197" y="237082"/>
                  <a:pt x="1883434" y="237082"/>
                  <a:pt x="1899215" y="238714"/>
                </a:cubicBezTo>
                <a:cubicBezTo>
                  <a:pt x="1904113" y="239258"/>
                  <a:pt x="1909010" y="241979"/>
                  <a:pt x="1913908" y="243067"/>
                </a:cubicBezTo>
                <a:cubicBezTo>
                  <a:pt x="1915541" y="243612"/>
                  <a:pt x="1917173" y="242523"/>
                  <a:pt x="1918806" y="242523"/>
                </a:cubicBezTo>
                <a:cubicBezTo>
                  <a:pt x="1918806" y="240891"/>
                  <a:pt x="1918806" y="239258"/>
                  <a:pt x="1918261" y="238170"/>
                </a:cubicBezTo>
                <a:cubicBezTo>
                  <a:pt x="1908466" y="220756"/>
                  <a:pt x="1910099" y="203887"/>
                  <a:pt x="1917173" y="185929"/>
                </a:cubicBezTo>
                <a:cubicBezTo>
                  <a:pt x="1917717" y="184297"/>
                  <a:pt x="1917717" y="183208"/>
                  <a:pt x="1918261" y="181576"/>
                </a:cubicBezTo>
                <a:cubicBezTo>
                  <a:pt x="1916629" y="182120"/>
                  <a:pt x="1914996" y="182120"/>
                  <a:pt x="1913908" y="182664"/>
                </a:cubicBezTo>
                <a:cubicBezTo>
                  <a:pt x="1895950" y="189738"/>
                  <a:pt x="1877992" y="190827"/>
                  <a:pt x="1860579" y="180487"/>
                </a:cubicBezTo>
                <a:cubicBezTo>
                  <a:pt x="1858946" y="181031"/>
                  <a:pt x="1857858" y="181031"/>
                  <a:pt x="1856225" y="180487"/>
                </a:cubicBezTo>
                <a:close/>
                <a:moveTo>
                  <a:pt x="499595" y="175767"/>
                </a:moveTo>
                <a:cubicBezTo>
                  <a:pt x="514832" y="175767"/>
                  <a:pt x="531702" y="193181"/>
                  <a:pt x="531158" y="207874"/>
                </a:cubicBezTo>
                <a:cubicBezTo>
                  <a:pt x="530613" y="223110"/>
                  <a:pt x="513744" y="239980"/>
                  <a:pt x="498507" y="238347"/>
                </a:cubicBezTo>
                <a:cubicBezTo>
                  <a:pt x="479461" y="236715"/>
                  <a:pt x="469666" y="224743"/>
                  <a:pt x="468033" y="207329"/>
                </a:cubicBezTo>
                <a:cubicBezTo>
                  <a:pt x="466945" y="192636"/>
                  <a:pt x="484903" y="175767"/>
                  <a:pt x="499595" y="175767"/>
                </a:cubicBezTo>
                <a:close/>
                <a:moveTo>
                  <a:pt x="662304" y="173046"/>
                </a:moveTo>
                <a:cubicBezTo>
                  <a:pt x="683527" y="171958"/>
                  <a:pt x="698220" y="189916"/>
                  <a:pt x="697676" y="207873"/>
                </a:cubicBezTo>
                <a:cubicBezTo>
                  <a:pt x="697131" y="227464"/>
                  <a:pt x="684615" y="243245"/>
                  <a:pt x="662304" y="242156"/>
                </a:cubicBezTo>
                <a:cubicBezTo>
                  <a:pt x="639993" y="241612"/>
                  <a:pt x="628565" y="229096"/>
                  <a:pt x="628021" y="207873"/>
                </a:cubicBezTo>
                <a:cubicBezTo>
                  <a:pt x="628021" y="187739"/>
                  <a:pt x="642714" y="172502"/>
                  <a:pt x="662304" y="173046"/>
                </a:cubicBezTo>
                <a:close/>
                <a:moveTo>
                  <a:pt x="826645" y="168148"/>
                </a:moveTo>
                <a:cubicBezTo>
                  <a:pt x="844602" y="168148"/>
                  <a:pt x="867458" y="187194"/>
                  <a:pt x="864737" y="207329"/>
                </a:cubicBezTo>
                <a:cubicBezTo>
                  <a:pt x="867458" y="229096"/>
                  <a:pt x="844058" y="247054"/>
                  <a:pt x="826100" y="247054"/>
                </a:cubicBezTo>
                <a:cubicBezTo>
                  <a:pt x="808687" y="247054"/>
                  <a:pt x="787464" y="228552"/>
                  <a:pt x="787464" y="207873"/>
                </a:cubicBezTo>
                <a:cubicBezTo>
                  <a:pt x="787464" y="187194"/>
                  <a:pt x="807054" y="168148"/>
                  <a:pt x="826645" y="168148"/>
                </a:cubicBezTo>
                <a:close/>
                <a:moveTo>
                  <a:pt x="987721" y="164883"/>
                </a:moveTo>
                <a:cubicBezTo>
                  <a:pt x="1012209" y="164339"/>
                  <a:pt x="1030711" y="181753"/>
                  <a:pt x="1031799" y="207329"/>
                </a:cubicBezTo>
                <a:cubicBezTo>
                  <a:pt x="1031255" y="232361"/>
                  <a:pt x="1011665" y="250319"/>
                  <a:pt x="988809" y="250319"/>
                </a:cubicBezTo>
                <a:cubicBezTo>
                  <a:pt x="965954" y="250319"/>
                  <a:pt x="946364" y="231273"/>
                  <a:pt x="945819" y="208417"/>
                </a:cubicBezTo>
                <a:cubicBezTo>
                  <a:pt x="945275" y="185018"/>
                  <a:pt x="962689" y="165428"/>
                  <a:pt x="987721" y="164883"/>
                </a:cubicBezTo>
                <a:close/>
                <a:moveTo>
                  <a:pt x="1153150" y="162707"/>
                </a:moveTo>
                <a:cubicBezTo>
                  <a:pt x="1177638" y="161619"/>
                  <a:pt x="1197772" y="180665"/>
                  <a:pt x="1197772" y="207874"/>
                </a:cubicBezTo>
                <a:cubicBezTo>
                  <a:pt x="1197772" y="235083"/>
                  <a:pt x="1176005" y="253584"/>
                  <a:pt x="1151517" y="253584"/>
                </a:cubicBezTo>
                <a:cubicBezTo>
                  <a:pt x="1128118" y="253040"/>
                  <a:pt x="1106895" y="234538"/>
                  <a:pt x="1107439" y="207329"/>
                </a:cubicBezTo>
                <a:cubicBezTo>
                  <a:pt x="1107983" y="179576"/>
                  <a:pt x="1129206" y="161075"/>
                  <a:pt x="1153150" y="162707"/>
                </a:cubicBezTo>
                <a:close/>
                <a:moveTo>
                  <a:pt x="1315315" y="158353"/>
                </a:moveTo>
                <a:cubicBezTo>
                  <a:pt x="1341435" y="156177"/>
                  <a:pt x="1365923" y="184474"/>
                  <a:pt x="1365379" y="206785"/>
                </a:cubicBezTo>
                <a:cubicBezTo>
                  <a:pt x="1365379" y="229640"/>
                  <a:pt x="1344156" y="256849"/>
                  <a:pt x="1315859" y="256305"/>
                </a:cubicBezTo>
                <a:cubicBezTo>
                  <a:pt x="1290283" y="256305"/>
                  <a:pt x="1267427" y="233994"/>
                  <a:pt x="1266883" y="207873"/>
                </a:cubicBezTo>
                <a:cubicBezTo>
                  <a:pt x="1265795" y="181209"/>
                  <a:pt x="1292460" y="157265"/>
                  <a:pt x="1315315" y="158353"/>
                </a:cubicBezTo>
                <a:close/>
                <a:moveTo>
                  <a:pt x="1478567" y="156721"/>
                </a:moveTo>
                <a:cubicBezTo>
                  <a:pt x="1510129" y="156721"/>
                  <a:pt x="1530264" y="180665"/>
                  <a:pt x="1529720" y="207329"/>
                </a:cubicBezTo>
                <a:cubicBezTo>
                  <a:pt x="1530264" y="236715"/>
                  <a:pt x="1510129" y="258482"/>
                  <a:pt x="1478567" y="258482"/>
                </a:cubicBezTo>
                <a:cubicBezTo>
                  <a:pt x="1449182" y="257938"/>
                  <a:pt x="1428503" y="238892"/>
                  <a:pt x="1427959" y="207874"/>
                </a:cubicBezTo>
                <a:cubicBezTo>
                  <a:pt x="1427415" y="179576"/>
                  <a:pt x="1447549" y="156721"/>
                  <a:pt x="1478567" y="156721"/>
                </a:cubicBezTo>
                <a:close/>
                <a:moveTo>
                  <a:pt x="1644541" y="153456"/>
                </a:moveTo>
                <a:cubicBezTo>
                  <a:pt x="1672294" y="154544"/>
                  <a:pt x="1697870" y="180665"/>
                  <a:pt x="1697326" y="209506"/>
                </a:cubicBezTo>
                <a:cubicBezTo>
                  <a:pt x="1696782" y="238347"/>
                  <a:pt x="1669573" y="263924"/>
                  <a:pt x="1641276" y="262835"/>
                </a:cubicBezTo>
                <a:cubicBezTo>
                  <a:pt x="1612979" y="261203"/>
                  <a:pt x="1587402" y="236715"/>
                  <a:pt x="1587947" y="206785"/>
                </a:cubicBezTo>
                <a:cubicBezTo>
                  <a:pt x="1587947" y="180121"/>
                  <a:pt x="1613523" y="152368"/>
                  <a:pt x="1644541" y="153456"/>
                </a:cubicBezTo>
                <a:close/>
                <a:moveTo>
                  <a:pt x="91463" y="109922"/>
                </a:moveTo>
                <a:cubicBezTo>
                  <a:pt x="97993" y="109922"/>
                  <a:pt x="107244" y="119173"/>
                  <a:pt x="107244" y="126247"/>
                </a:cubicBezTo>
                <a:cubicBezTo>
                  <a:pt x="107788" y="132777"/>
                  <a:pt x="98537" y="142028"/>
                  <a:pt x="91463" y="142028"/>
                </a:cubicBezTo>
                <a:cubicBezTo>
                  <a:pt x="83845" y="142028"/>
                  <a:pt x="75682" y="133866"/>
                  <a:pt x="75682" y="126247"/>
                </a:cubicBezTo>
                <a:cubicBezTo>
                  <a:pt x="75682" y="118629"/>
                  <a:pt x="84389" y="109922"/>
                  <a:pt x="91463" y="109922"/>
                </a:cubicBezTo>
                <a:close/>
                <a:moveTo>
                  <a:pt x="1942341" y="104915"/>
                </a:moveTo>
                <a:cubicBezTo>
                  <a:pt x="1941389" y="105799"/>
                  <a:pt x="1941389" y="107840"/>
                  <a:pt x="1942205" y="111377"/>
                </a:cubicBezTo>
                <a:cubicBezTo>
                  <a:pt x="1943294" y="118451"/>
                  <a:pt x="1944926" y="124437"/>
                  <a:pt x="1946559" y="131511"/>
                </a:cubicBezTo>
                <a:cubicBezTo>
                  <a:pt x="1944382" y="139674"/>
                  <a:pt x="1941661" y="148381"/>
                  <a:pt x="1939484" y="157088"/>
                </a:cubicBezTo>
                <a:cubicBezTo>
                  <a:pt x="1939484" y="158176"/>
                  <a:pt x="1941117" y="160353"/>
                  <a:pt x="1941117" y="160353"/>
                </a:cubicBezTo>
                <a:cubicBezTo>
                  <a:pt x="1955810" y="154367"/>
                  <a:pt x="1971046" y="150558"/>
                  <a:pt x="1986828" y="157088"/>
                </a:cubicBezTo>
                <a:cubicBezTo>
                  <a:pt x="1987372" y="157088"/>
                  <a:pt x="1987916" y="157088"/>
                  <a:pt x="1987916" y="157088"/>
                </a:cubicBezTo>
                <a:cubicBezTo>
                  <a:pt x="1994990" y="157632"/>
                  <a:pt x="1996623" y="155999"/>
                  <a:pt x="1993902" y="150013"/>
                </a:cubicBezTo>
                <a:cubicBezTo>
                  <a:pt x="1988460" y="136409"/>
                  <a:pt x="1988460" y="123349"/>
                  <a:pt x="1993902" y="109744"/>
                </a:cubicBezTo>
                <a:cubicBezTo>
                  <a:pt x="1995534" y="105935"/>
                  <a:pt x="1994446" y="103214"/>
                  <a:pt x="1989004" y="105391"/>
                </a:cubicBezTo>
                <a:cubicBezTo>
                  <a:pt x="1975400" y="109744"/>
                  <a:pt x="1961796" y="109744"/>
                  <a:pt x="1948191" y="105391"/>
                </a:cubicBezTo>
                <a:cubicBezTo>
                  <a:pt x="1945198" y="104303"/>
                  <a:pt x="1943294" y="104031"/>
                  <a:pt x="1942341" y="104915"/>
                </a:cubicBezTo>
                <a:close/>
                <a:moveTo>
                  <a:pt x="255804" y="103392"/>
                </a:moveTo>
                <a:cubicBezTo>
                  <a:pt x="269409" y="103392"/>
                  <a:pt x="277571" y="112643"/>
                  <a:pt x="277571" y="126791"/>
                </a:cubicBezTo>
                <a:cubicBezTo>
                  <a:pt x="277027" y="139852"/>
                  <a:pt x="267776" y="148558"/>
                  <a:pt x="254172" y="148014"/>
                </a:cubicBezTo>
                <a:cubicBezTo>
                  <a:pt x="241112" y="148014"/>
                  <a:pt x="231861" y="138763"/>
                  <a:pt x="232405" y="125159"/>
                </a:cubicBezTo>
                <a:cubicBezTo>
                  <a:pt x="232405" y="112099"/>
                  <a:pt x="242200" y="102848"/>
                  <a:pt x="255804" y="103392"/>
                </a:cubicBezTo>
                <a:close/>
                <a:moveTo>
                  <a:pt x="1773511" y="99405"/>
                </a:moveTo>
                <a:cubicBezTo>
                  <a:pt x="1773511" y="102126"/>
                  <a:pt x="1772966" y="104303"/>
                  <a:pt x="1773511" y="107023"/>
                </a:cubicBezTo>
                <a:cubicBezTo>
                  <a:pt x="1776232" y="114098"/>
                  <a:pt x="1778408" y="121716"/>
                  <a:pt x="1780585" y="130423"/>
                </a:cubicBezTo>
                <a:cubicBezTo>
                  <a:pt x="1778408" y="139130"/>
                  <a:pt x="1775687" y="147293"/>
                  <a:pt x="1773511" y="155999"/>
                </a:cubicBezTo>
                <a:cubicBezTo>
                  <a:pt x="1772966" y="157632"/>
                  <a:pt x="1772966" y="160897"/>
                  <a:pt x="1774055" y="161985"/>
                </a:cubicBezTo>
                <a:cubicBezTo>
                  <a:pt x="1775143" y="163074"/>
                  <a:pt x="1778408" y="163074"/>
                  <a:pt x="1780041" y="162529"/>
                </a:cubicBezTo>
                <a:cubicBezTo>
                  <a:pt x="1789836" y="155455"/>
                  <a:pt x="1800719" y="157632"/>
                  <a:pt x="1811059" y="157632"/>
                </a:cubicBezTo>
                <a:cubicBezTo>
                  <a:pt x="1817589" y="157632"/>
                  <a:pt x="1824119" y="156543"/>
                  <a:pt x="1829561" y="161985"/>
                </a:cubicBezTo>
                <a:cubicBezTo>
                  <a:pt x="1830649" y="163074"/>
                  <a:pt x="1834458" y="161985"/>
                  <a:pt x="1836635" y="161985"/>
                </a:cubicBezTo>
                <a:cubicBezTo>
                  <a:pt x="1835547" y="160353"/>
                  <a:pt x="1835002" y="158720"/>
                  <a:pt x="1833914" y="157088"/>
                </a:cubicBezTo>
                <a:cubicBezTo>
                  <a:pt x="1826840" y="139674"/>
                  <a:pt x="1826296" y="121716"/>
                  <a:pt x="1834458" y="104303"/>
                </a:cubicBezTo>
                <a:cubicBezTo>
                  <a:pt x="1835002" y="102670"/>
                  <a:pt x="1835547" y="101038"/>
                  <a:pt x="1835547" y="99405"/>
                </a:cubicBezTo>
                <a:cubicBezTo>
                  <a:pt x="1833914" y="99949"/>
                  <a:pt x="1832282" y="99949"/>
                  <a:pt x="1831193" y="101038"/>
                </a:cubicBezTo>
                <a:cubicBezTo>
                  <a:pt x="1814324" y="109200"/>
                  <a:pt x="1797454" y="109200"/>
                  <a:pt x="1780041" y="101582"/>
                </a:cubicBezTo>
                <a:cubicBezTo>
                  <a:pt x="1777864" y="100493"/>
                  <a:pt x="1775687" y="100493"/>
                  <a:pt x="1773511" y="99405"/>
                </a:cubicBezTo>
                <a:close/>
                <a:moveTo>
                  <a:pt x="417424" y="97950"/>
                </a:moveTo>
                <a:cubicBezTo>
                  <a:pt x="435382" y="97950"/>
                  <a:pt x="445721" y="108289"/>
                  <a:pt x="445721" y="126247"/>
                </a:cubicBezTo>
                <a:cubicBezTo>
                  <a:pt x="445721" y="143661"/>
                  <a:pt x="435382" y="153456"/>
                  <a:pt x="417424" y="153456"/>
                </a:cubicBezTo>
                <a:cubicBezTo>
                  <a:pt x="402187" y="155088"/>
                  <a:pt x="389127" y="141484"/>
                  <a:pt x="390215" y="125159"/>
                </a:cubicBezTo>
                <a:cubicBezTo>
                  <a:pt x="391304" y="107745"/>
                  <a:pt x="400555" y="97950"/>
                  <a:pt x="417424" y="97950"/>
                </a:cubicBezTo>
                <a:close/>
                <a:moveTo>
                  <a:pt x="580677" y="92508"/>
                </a:moveTo>
                <a:cubicBezTo>
                  <a:pt x="599724" y="92508"/>
                  <a:pt x="613328" y="106112"/>
                  <a:pt x="614960" y="125159"/>
                </a:cubicBezTo>
                <a:cubicBezTo>
                  <a:pt x="616049" y="141484"/>
                  <a:pt x="598091" y="161618"/>
                  <a:pt x="581766" y="158353"/>
                </a:cubicBezTo>
                <a:cubicBezTo>
                  <a:pt x="561631" y="158353"/>
                  <a:pt x="548571" y="145293"/>
                  <a:pt x="548571" y="125703"/>
                </a:cubicBezTo>
                <a:cubicBezTo>
                  <a:pt x="548571" y="106657"/>
                  <a:pt x="562175" y="92508"/>
                  <a:pt x="580677" y="92508"/>
                </a:cubicBezTo>
                <a:close/>
                <a:moveTo>
                  <a:pt x="745019" y="88154"/>
                </a:moveTo>
                <a:cubicBezTo>
                  <a:pt x="763521" y="87610"/>
                  <a:pt x="783111" y="107745"/>
                  <a:pt x="782567" y="126791"/>
                </a:cubicBezTo>
                <a:cubicBezTo>
                  <a:pt x="782023" y="147469"/>
                  <a:pt x="761344" y="164339"/>
                  <a:pt x="743930" y="164339"/>
                </a:cubicBezTo>
                <a:cubicBezTo>
                  <a:pt x="723796" y="163795"/>
                  <a:pt x="705838" y="144204"/>
                  <a:pt x="706382" y="125702"/>
                </a:cubicBezTo>
                <a:cubicBezTo>
                  <a:pt x="706926" y="109377"/>
                  <a:pt x="723252" y="87066"/>
                  <a:pt x="745019" y="88154"/>
                </a:cubicBezTo>
                <a:close/>
                <a:moveTo>
                  <a:pt x="1685898" y="84712"/>
                </a:moveTo>
                <a:lnTo>
                  <a:pt x="1685681" y="85147"/>
                </a:lnTo>
                <a:lnTo>
                  <a:pt x="1685354" y="85256"/>
                </a:lnTo>
                <a:cubicBezTo>
                  <a:pt x="1685354" y="85256"/>
                  <a:pt x="1685898" y="84712"/>
                  <a:pt x="1685898" y="84712"/>
                </a:cubicBezTo>
                <a:close/>
                <a:moveTo>
                  <a:pt x="907183" y="84345"/>
                </a:moveTo>
                <a:cubicBezTo>
                  <a:pt x="916978" y="84345"/>
                  <a:pt x="926773" y="87610"/>
                  <a:pt x="934935" y="95228"/>
                </a:cubicBezTo>
                <a:cubicBezTo>
                  <a:pt x="944187" y="103935"/>
                  <a:pt x="946907" y="114819"/>
                  <a:pt x="949628" y="125158"/>
                </a:cubicBezTo>
                <a:cubicBezTo>
                  <a:pt x="946907" y="150190"/>
                  <a:pt x="932759" y="166515"/>
                  <a:pt x="908271" y="167060"/>
                </a:cubicBezTo>
                <a:cubicBezTo>
                  <a:pt x="884871" y="167604"/>
                  <a:pt x="867458" y="150734"/>
                  <a:pt x="866369" y="125702"/>
                </a:cubicBezTo>
                <a:cubicBezTo>
                  <a:pt x="865825" y="103935"/>
                  <a:pt x="884871" y="83801"/>
                  <a:pt x="907183" y="84345"/>
                </a:cubicBezTo>
                <a:close/>
                <a:moveTo>
                  <a:pt x="1070979" y="82169"/>
                </a:moveTo>
                <a:cubicBezTo>
                  <a:pt x="1095467" y="79448"/>
                  <a:pt x="1115602" y="103936"/>
                  <a:pt x="1115602" y="126247"/>
                </a:cubicBezTo>
                <a:cubicBezTo>
                  <a:pt x="1115602" y="148014"/>
                  <a:pt x="1094923" y="170325"/>
                  <a:pt x="1071524" y="170325"/>
                </a:cubicBezTo>
                <a:cubicBezTo>
                  <a:pt x="1047580" y="170325"/>
                  <a:pt x="1026357" y="148558"/>
                  <a:pt x="1026357" y="125703"/>
                </a:cubicBezTo>
                <a:cubicBezTo>
                  <a:pt x="1026357" y="103936"/>
                  <a:pt x="1047036" y="79448"/>
                  <a:pt x="1070979" y="82169"/>
                </a:cubicBezTo>
                <a:close/>
                <a:moveTo>
                  <a:pt x="1684811" y="82168"/>
                </a:moveTo>
                <a:cubicBezTo>
                  <a:pt x="1684811" y="82168"/>
                  <a:pt x="1684266" y="82713"/>
                  <a:pt x="1684266" y="82713"/>
                </a:cubicBezTo>
                <a:lnTo>
                  <a:pt x="1684469" y="82365"/>
                </a:lnTo>
                <a:close/>
                <a:moveTo>
                  <a:pt x="1234777" y="78360"/>
                </a:moveTo>
                <a:cubicBezTo>
                  <a:pt x="1259809" y="76727"/>
                  <a:pt x="1284297" y="101759"/>
                  <a:pt x="1282664" y="126791"/>
                </a:cubicBezTo>
                <a:cubicBezTo>
                  <a:pt x="1280487" y="152912"/>
                  <a:pt x="1264162" y="171958"/>
                  <a:pt x="1234232" y="174135"/>
                </a:cubicBezTo>
                <a:cubicBezTo>
                  <a:pt x="1205935" y="172502"/>
                  <a:pt x="1186345" y="153456"/>
                  <a:pt x="1186889" y="126791"/>
                </a:cubicBezTo>
                <a:cubicBezTo>
                  <a:pt x="1187433" y="96318"/>
                  <a:pt x="1207024" y="79992"/>
                  <a:pt x="1234777" y="78360"/>
                </a:cubicBezTo>
                <a:close/>
                <a:moveTo>
                  <a:pt x="1398574" y="76182"/>
                </a:moveTo>
                <a:cubicBezTo>
                  <a:pt x="1424150" y="74006"/>
                  <a:pt x="1448638" y="99582"/>
                  <a:pt x="1448094" y="127335"/>
                </a:cubicBezTo>
                <a:cubicBezTo>
                  <a:pt x="1447549" y="151823"/>
                  <a:pt x="1426327" y="176311"/>
                  <a:pt x="1396941" y="175766"/>
                </a:cubicBezTo>
                <a:cubicBezTo>
                  <a:pt x="1367011" y="175222"/>
                  <a:pt x="1347421" y="151278"/>
                  <a:pt x="1347421" y="125702"/>
                </a:cubicBezTo>
                <a:cubicBezTo>
                  <a:pt x="1347421" y="99038"/>
                  <a:pt x="1369732" y="74006"/>
                  <a:pt x="1398574" y="76182"/>
                </a:cubicBezTo>
                <a:close/>
                <a:moveTo>
                  <a:pt x="1561282" y="72373"/>
                </a:moveTo>
                <a:cubicBezTo>
                  <a:pt x="1588491" y="72373"/>
                  <a:pt x="1614611" y="96861"/>
                  <a:pt x="1614611" y="126247"/>
                </a:cubicBezTo>
                <a:cubicBezTo>
                  <a:pt x="1614067" y="155632"/>
                  <a:pt x="1590667" y="180120"/>
                  <a:pt x="1560738" y="179576"/>
                </a:cubicBezTo>
                <a:cubicBezTo>
                  <a:pt x="1530808" y="179576"/>
                  <a:pt x="1507953" y="156176"/>
                  <a:pt x="1507409" y="126247"/>
                </a:cubicBezTo>
                <a:cubicBezTo>
                  <a:pt x="1506864" y="96861"/>
                  <a:pt x="1532441" y="72373"/>
                  <a:pt x="1561282" y="72373"/>
                </a:cubicBezTo>
                <a:close/>
                <a:moveTo>
                  <a:pt x="10381" y="33737"/>
                </a:moveTo>
                <a:cubicBezTo>
                  <a:pt x="15822" y="33737"/>
                  <a:pt x="20720" y="39179"/>
                  <a:pt x="20720" y="45165"/>
                </a:cubicBezTo>
                <a:cubicBezTo>
                  <a:pt x="20176" y="50606"/>
                  <a:pt x="14734" y="55504"/>
                  <a:pt x="9292" y="54960"/>
                </a:cubicBezTo>
                <a:cubicBezTo>
                  <a:pt x="4395" y="54416"/>
                  <a:pt x="41" y="49518"/>
                  <a:pt x="41" y="44621"/>
                </a:cubicBezTo>
                <a:cubicBezTo>
                  <a:pt x="-503" y="38635"/>
                  <a:pt x="4395" y="33737"/>
                  <a:pt x="10381" y="33737"/>
                </a:cubicBezTo>
                <a:close/>
                <a:moveTo>
                  <a:pt x="172546" y="23942"/>
                </a:moveTo>
                <a:cubicBezTo>
                  <a:pt x="181796" y="22854"/>
                  <a:pt x="193224" y="34826"/>
                  <a:pt x="193224" y="44621"/>
                </a:cubicBezTo>
                <a:cubicBezTo>
                  <a:pt x="193224" y="53872"/>
                  <a:pt x="182341" y="64755"/>
                  <a:pt x="173090" y="64755"/>
                </a:cubicBezTo>
                <a:cubicBezTo>
                  <a:pt x="164383" y="64755"/>
                  <a:pt x="152411" y="52784"/>
                  <a:pt x="152411" y="44621"/>
                </a:cubicBezTo>
                <a:cubicBezTo>
                  <a:pt x="152411" y="36458"/>
                  <a:pt x="164927" y="24486"/>
                  <a:pt x="172546" y="23942"/>
                </a:cubicBezTo>
                <a:close/>
                <a:moveTo>
                  <a:pt x="1861123" y="22132"/>
                </a:moveTo>
                <a:cubicBezTo>
                  <a:pt x="1861123" y="26485"/>
                  <a:pt x="1860035" y="31383"/>
                  <a:pt x="1861123" y="35737"/>
                </a:cubicBezTo>
                <a:cubicBezTo>
                  <a:pt x="1863844" y="44443"/>
                  <a:pt x="1864932" y="52606"/>
                  <a:pt x="1861123" y="61313"/>
                </a:cubicBezTo>
                <a:cubicBezTo>
                  <a:pt x="1860035" y="64034"/>
                  <a:pt x="1860035" y="67299"/>
                  <a:pt x="1858946" y="72740"/>
                </a:cubicBezTo>
                <a:cubicBezTo>
                  <a:pt x="1858402" y="76550"/>
                  <a:pt x="1861123" y="77638"/>
                  <a:pt x="1866021" y="76550"/>
                </a:cubicBezTo>
                <a:cubicBezTo>
                  <a:pt x="1868741" y="76006"/>
                  <a:pt x="1871462" y="76006"/>
                  <a:pt x="1873639" y="74917"/>
                </a:cubicBezTo>
                <a:cubicBezTo>
                  <a:pt x="1882346" y="71108"/>
                  <a:pt x="1891053" y="71108"/>
                  <a:pt x="1900304" y="74373"/>
                </a:cubicBezTo>
                <a:cubicBezTo>
                  <a:pt x="1902480" y="75461"/>
                  <a:pt x="1905201" y="76006"/>
                  <a:pt x="1907922" y="76006"/>
                </a:cubicBezTo>
                <a:cubicBezTo>
                  <a:pt x="1912276" y="76550"/>
                  <a:pt x="1914996" y="75461"/>
                  <a:pt x="1912820" y="70020"/>
                </a:cubicBezTo>
                <a:cubicBezTo>
                  <a:pt x="1907378" y="55871"/>
                  <a:pt x="1906834" y="41178"/>
                  <a:pt x="1912820" y="27030"/>
                </a:cubicBezTo>
                <a:cubicBezTo>
                  <a:pt x="1914996" y="22132"/>
                  <a:pt x="1911731" y="21588"/>
                  <a:pt x="1908466" y="22132"/>
                </a:cubicBezTo>
                <a:cubicBezTo>
                  <a:pt x="1906290" y="22676"/>
                  <a:pt x="1904657" y="24309"/>
                  <a:pt x="1902480" y="24309"/>
                </a:cubicBezTo>
                <a:cubicBezTo>
                  <a:pt x="1892685" y="24309"/>
                  <a:pt x="1882890" y="24853"/>
                  <a:pt x="1873095" y="24309"/>
                </a:cubicBezTo>
                <a:cubicBezTo>
                  <a:pt x="1868741" y="24309"/>
                  <a:pt x="1864932" y="22676"/>
                  <a:pt x="1861123" y="22132"/>
                </a:cubicBezTo>
                <a:close/>
                <a:moveTo>
                  <a:pt x="336886" y="17412"/>
                </a:moveTo>
                <a:cubicBezTo>
                  <a:pt x="347770" y="17412"/>
                  <a:pt x="363551" y="31016"/>
                  <a:pt x="363007" y="44077"/>
                </a:cubicBezTo>
                <a:cubicBezTo>
                  <a:pt x="363007" y="57681"/>
                  <a:pt x="350491" y="70741"/>
                  <a:pt x="337431" y="71285"/>
                </a:cubicBezTo>
                <a:cubicBezTo>
                  <a:pt x="324370" y="71830"/>
                  <a:pt x="310766" y="58769"/>
                  <a:pt x="310222" y="45165"/>
                </a:cubicBezTo>
                <a:cubicBezTo>
                  <a:pt x="309678" y="31016"/>
                  <a:pt x="323282" y="17956"/>
                  <a:pt x="336886" y="17412"/>
                </a:cubicBezTo>
                <a:close/>
                <a:moveTo>
                  <a:pt x="498507" y="13059"/>
                </a:moveTo>
                <a:cubicBezTo>
                  <a:pt x="514832" y="11970"/>
                  <a:pt x="531702" y="28296"/>
                  <a:pt x="531702" y="44621"/>
                </a:cubicBezTo>
                <a:cubicBezTo>
                  <a:pt x="531702" y="60402"/>
                  <a:pt x="515376" y="76183"/>
                  <a:pt x="499595" y="76727"/>
                </a:cubicBezTo>
                <a:cubicBezTo>
                  <a:pt x="483270" y="76727"/>
                  <a:pt x="467489" y="61490"/>
                  <a:pt x="467489" y="45165"/>
                </a:cubicBezTo>
                <a:cubicBezTo>
                  <a:pt x="467489" y="28840"/>
                  <a:pt x="482182" y="13059"/>
                  <a:pt x="498507" y="13059"/>
                </a:cubicBezTo>
                <a:close/>
                <a:moveTo>
                  <a:pt x="662303" y="7616"/>
                </a:moveTo>
                <a:cubicBezTo>
                  <a:pt x="680805" y="7072"/>
                  <a:pt x="698763" y="25030"/>
                  <a:pt x="698763" y="44076"/>
                </a:cubicBezTo>
                <a:cubicBezTo>
                  <a:pt x="698763" y="62578"/>
                  <a:pt x="680261" y="81624"/>
                  <a:pt x="662303" y="81080"/>
                </a:cubicBezTo>
                <a:cubicBezTo>
                  <a:pt x="644346" y="80536"/>
                  <a:pt x="626932" y="62578"/>
                  <a:pt x="626932" y="44076"/>
                </a:cubicBezTo>
                <a:cubicBezTo>
                  <a:pt x="626932" y="25574"/>
                  <a:pt x="643257" y="8160"/>
                  <a:pt x="662303" y="7616"/>
                </a:cubicBezTo>
                <a:close/>
                <a:moveTo>
                  <a:pt x="825557" y="5440"/>
                </a:moveTo>
                <a:cubicBezTo>
                  <a:pt x="847868" y="5440"/>
                  <a:pt x="865281" y="23942"/>
                  <a:pt x="865281" y="44621"/>
                </a:cubicBezTo>
                <a:cubicBezTo>
                  <a:pt x="865281" y="63667"/>
                  <a:pt x="847324" y="85978"/>
                  <a:pt x="826101" y="83257"/>
                </a:cubicBezTo>
                <a:cubicBezTo>
                  <a:pt x="805422" y="85978"/>
                  <a:pt x="786920" y="64211"/>
                  <a:pt x="786920" y="44621"/>
                </a:cubicBezTo>
                <a:cubicBezTo>
                  <a:pt x="786920" y="22854"/>
                  <a:pt x="805422" y="5440"/>
                  <a:pt x="825557" y="5440"/>
                </a:cubicBezTo>
                <a:close/>
                <a:moveTo>
                  <a:pt x="989353" y="1086"/>
                </a:moveTo>
                <a:cubicBezTo>
                  <a:pt x="1013297" y="1086"/>
                  <a:pt x="1032343" y="21220"/>
                  <a:pt x="1032343" y="43532"/>
                </a:cubicBezTo>
                <a:cubicBezTo>
                  <a:pt x="1032887" y="66931"/>
                  <a:pt x="1012753" y="88698"/>
                  <a:pt x="989897" y="87610"/>
                </a:cubicBezTo>
                <a:cubicBezTo>
                  <a:pt x="967042" y="88698"/>
                  <a:pt x="945819" y="65843"/>
                  <a:pt x="945819" y="44620"/>
                </a:cubicBezTo>
                <a:cubicBezTo>
                  <a:pt x="945819" y="23941"/>
                  <a:pt x="964321" y="1086"/>
                  <a:pt x="989353" y="1086"/>
                </a:cubicBezTo>
                <a:close/>
                <a:moveTo>
                  <a:pt x="1614056" y="0"/>
                </a:moveTo>
                <a:lnTo>
                  <a:pt x="1675529" y="0"/>
                </a:lnTo>
                <a:lnTo>
                  <a:pt x="1682905" y="4720"/>
                </a:lnTo>
                <a:lnTo>
                  <a:pt x="1933639" y="4720"/>
                </a:lnTo>
                <a:cubicBezTo>
                  <a:pt x="1966059" y="4720"/>
                  <a:pt x="1995409" y="17861"/>
                  <a:pt x="2016655" y="39107"/>
                </a:cubicBezTo>
                <a:lnTo>
                  <a:pt x="2028934" y="57318"/>
                </a:lnTo>
                <a:lnTo>
                  <a:pt x="2026008" y="71108"/>
                </a:lnTo>
                <a:cubicBezTo>
                  <a:pt x="2023832" y="74917"/>
                  <a:pt x="2026552" y="77094"/>
                  <a:pt x="2030906" y="75461"/>
                </a:cubicBezTo>
                <a:lnTo>
                  <a:pt x="2039929" y="73627"/>
                </a:lnTo>
                <a:lnTo>
                  <a:pt x="2041815" y="76424"/>
                </a:lnTo>
                <a:cubicBezTo>
                  <a:pt x="2047756" y="90470"/>
                  <a:pt x="2051041" y="105912"/>
                  <a:pt x="2051041" y="122122"/>
                </a:cubicBezTo>
                <a:lnTo>
                  <a:pt x="2051041" y="186473"/>
                </a:lnTo>
                <a:lnTo>
                  <a:pt x="2029818" y="186473"/>
                </a:lnTo>
                <a:cubicBezTo>
                  <a:pt x="2023832" y="184297"/>
                  <a:pt x="2022743" y="185929"/>
                  <a:pt x="2023287" y="192459"/>
                </a:cubicBezTo>
                <a:cubicBezTo>
                  <a:pt x="2023287" y="193548"/>
                  <a:pt x="2023287" y="195180"/>
                  <a:pt x="2023832" y="196268"/>
                </a:cubicBezTo>
                <a:cubicBezTo>
                  <a:pt x="2028185" y="210961"/>
                  <a:pt x="2026008" y="225110"/>
                  <a:pt x="2019478" y="239258"/>
                </a:cubicBezTo>
                <a:cubicBezTo>
                  <a:pt x="2018934" y="240347"/>
                  <a:pt x="2019478" y="241979"/>
                  <a:pt x="2020022" y="242523"/>
                </a:cubicBezTo>
                <a:cubicBezTo>
                  <a:pt x="2020566" y="243067"/>
                  <a:pt x="2022743" y="243612"/>
                  <a:pt x="2023287" y="243067"/>
                </a:cubicBezTo>
                <a:cubicBezTo>
                  <a:pt x="2032266" y="238986"/>
                  <a:pt x="2041245" y="237082"/>
                  <a:pt x="2050224" y="237150"/>
                </a:cubicBezTo>
                <a:lnTo>
                  <a:pt x="2051041" y="237329"/>
                </a:lnTo>
                <a:lnTo>
                  <a:pt x="2051041" y="348996"/>
                </a:lnTo>
                <a:lnTo>
                  <a:pt x="2036552" y="347754"/>
                </a:lnTo>
                <a:cubicBezTo>
                  <a:pt x="2031178" y="346733"/>
                  <a:pt x="2026009" y="344829"/>
                  <a:pt x="2021111" y="341019"/>
                </a:cubicBezTo>
                <a:cubicBezTo>
                  <a:pt x="2020022" y="339931"/>
                  <a:pt x="2018390" y="339387"/>
                  <a:pt x="2016757" y="338842"/>
                </a:cubicBezTo>
                <a:cubicBezTo>
                  <a:pt x="2016757" y="340475"/>
                  <a:pt x="2016757" y="343196"/>
                  <a:pt x="2017301" y="344284"/>
                </a:cubicBezTo>
                <a:cubicBezTo>
                  <a:pt x="2022743" y="354079"/>
                  <a:pt x="2026008" y="364419"/>
                  <a:pt x="2025464" y="376391"/>
                </a:cubicBezTo>
                <a:cubicBezTo>
                  <a:pt x="2024376" y="398702"/>
                  <a:pt x="2014580" y="413939"/>
                  <a:pt x="1994446" y="424278"/>
                </a:cubicBezTo>
                <a:cubicBezTo>
                  <a:pt x="1972135" y="435706"/>
                  <a:pt x="1950912" y="431352"/>
                  <a:pt x="1933498" y="416115"/>
                </a:cubicBezTo>
                <a:cubicBezTo>
                  <a:pt x="1917173" y="401967"/>
                  <a:pt x="1908466" y="378567"/>
                  <a:pt x="1920438" y="352447"/>
                </a:cubicBezTo>
                <a:cubicBezTo>
                  <a:pt x="1922615" y="348093"/>
                  <a:pt x="1923703" y="343196"/>
                  <a:pt x="1925336" y="338298"/>
                </a:cubicBezTo>
                <a:cubicBezTo>
                  <a:pt x="1920982" y="339931"/>
                  <a:pt x="1916085" y="341563"/>
                  <a:pt x="1911731" y="343196"/>
                </a:cubicBezTo>
                <a:cubicBezTo>
                  <a:pt x="1907378" y="344828"/>
                  <a:pt x="1903024" y="347005"/>
                  <a:pt x="1898671" y="347005"/>
                </a:cubicBezTo>
                <a:cubicBezTo>
                  <a:pt x="1882890" y="348638"/>
                  <a:pt x="1867653" y="348638"/>
                  <a:pt x="1854593" y="336666"/>
                </a:cubicBezTo>
                <a:lnTo>
                  <a:pt x="1847690" y="333480"/>
                </a:lnTo>
                <a:lnTo>
                  <a:pt x="1852961" y="344461"/>
                </a:lnTo>
                <a:cubicBezTo>
                  <a:pt x="1868742" y="372214"/>
                  <a:pt x="1855137" y="408674"/>
                  <a:pt x="1826840" y="420646"/>
                </a:cubicBezTo>
                <a:cubicBezTo>
                  <a:pt x="1803441" y="430985"/>
                  <a:pt x="1777864" y="422278"/>
                  <a:pt x="1765893" y="408130"/>
                </a:cubicBezTo>
                <a:cubicBezTo>
                  <a:pt x="1749567" y="388539"/>
                  <a:pt x="1744126" y="368405"/>
                  <a:pt x="1759362" y="342829"/>
                </a:cubicBezTo>
                <a:cubicBezTo>
                  <a:pt x="1771199" y="322422"/>
                  <a:pt x="1795584" y="313341"/>
                  <a:pt x="1815991" y="317193"/>
                </a:cubicBezTo>
                <a:cubicBezTo>
                  <a:pt x="1822793" y="318477"/>
                  <a:pt x="1829153" y="321198"/>
                  <a:pt x="1834459" y="325415"/>
                </a:cubicBezTo>
                <a:lnTo>
                  <a:pt x="1845023" y="330169"/>
                </a:lnTo>
                <a:lnTo>
                  <a:pt x="1840444" y="321429"/>
                </a:lnTo>
                <a:cubicBezTo>
                  <a:pt x="1831193" y="306736"/>
                  <a:pt x="1832282" y="290955"/>
                  <a:pt x="1834458" y="275174"/>
                </a:cubicBezTo>
                <a:cubicBezTo>
                  <a:pt x="1835002" y="269732"/>
                  <a:pt x="1838812" y="265379"/>
                  <a:pt x="1840988" y="259937"/>
                </a:cubicBezTo>
                <a:cubicBezTo>
                  <a:pt x="1841533" y="258849"/>
                  <a:pt x="1842077" y="257216"/>
                  <a:pt x="1842077" y="255584"/>
                </a:cubicBezTo>
                <a:cubicBezTo>
                  <a:pt x="1840444" y="256128"/>
                  <a:pt x="1838812" y="256672"/>
                  <a:pt x="1837723" y="257216"/>
                </a:cubicBezTo>
                <a:cubicBezTo>
                  <a:pt x="1831193" y="259937"/>
                  <a:pt x="1824663" y="263746"/>
                  <a:pt x="1817589" y="264834"/>
                </a:cubicBezTo>
                <a:cubicBezTo>
                  <a:pt x="1799631" y="268100"/>
                  <a:pt x="1782762" y="264290"/>
                  <a:pt x="1768069" y="251774"/>
                </a:cubicBezTo>
                <a:lnTo>
                  <a:pt x="1764740" y="250110"/>
                </a:lnTo>
                <a:lnTo>
                  <a:pt x="1773510" y="267189"/>
                </a:lnTo>
                <a:cubicBezTo>
                  <a:pt x="1786571" y="292765"/>
                  <a:pt x="1773510" y="323239"/>
                  <a:pt x="1750655" y="336843"/>
                </a:cubicBezTo>
                <a:cubicBezTo>
                  <a:pt x="1721270" y="354257"/>
                  <a:pt x="1685354" y="337388"/>
                  <a:pt x="1673926" y="310723"/>
                </a:cubicBezTo>
                <a:cubicBezTo>
                  <a:pt x="1664675" y="289500"/>
                  <a:pt x="1669029" y="271542"/>
                  <a:pt x="1681545" y="254673"/>
                </a:cubicBezTo>
                <a:cubicBezTo>
                  <a:pt x="1694605" y="237803"/>
                  <a:pt x="1712563" y="231817"/>
                  <a:pt x="1733786" y="235083"/>
                </a:cubicBezTo>
                <a:cubicBezTo>
                  <a:pt x="1739771" y="236171"/>
                  <a:pt x="1745757" y="239980"/>
                  <a:pt x="1751743" y="242157"/>
                </a:cubicBezTo>
                <a:lnTo>
                  <a:pt x="1762506" y="246769"/>
                </a:lnTo>
                <a:lnTo>
                  <a:pt x="1757185" y="236537"/>
                </a:lnTo>
                <a:cubicBezTo>
                  <a:pt x="1747934" y="219668"/>
                  <a:pt x="1747390" y="203343"/>
                  <a:pt x="1756097" y="185929"/>
                </a:cubicBezTo>
                <a:cubicBezTo>
                  <a:pt x="1757185" y="183752"/>
                  <a:pt x="1756641" y="180487"/>
                  <a:pt x="1757185" y="177766"/>
                </a:cubicBezTo>
                <a:cubicBezTo>
                  <a:pt x="1754464" y="177766"/>
                  <a:pt x="1751199" y="177222"/>
                  <a:pt x="1749023" y="178311"/>
                </a:cubicBezTo>
                <a:cubicBezTo>
                  <a:pt x="1722358" y="193003"/>
                  <a:pt x="1688075" y="178855"/>
                  <a:pt x="1676103" y="154911"/>
                </a:cubicBezTo>
                <a:cubicBezTo>
                  <a:pt x="1665220" y="133688"/>
                  <a:pt x="1667396" y="113554"/>
                  <a:pt x="1681001" y="94507"/>
                </a:cubicBezTo>
                <a:lnTo>
                  <a:pt x="1685681" y="85147"/>
                </a:lnTo>
                <a:lnTo>
                  <a:pt x="1693517" y="82536"/>
                </a:lnTo>
                <a:cubicBezTo>
                  <a:pt x="1710930" y="71108"/>
                  <a:pt x="1728888" y="71108"/>
                  <a:pt x="1747934" y="77638"/>
                </a:cubicBezTo>
                <a:cubicBezTo>
                  <a:pt x="1750655" y="78726"/>
                  <a:pt x="1753920" y="78726"/>
                  <a:pt x="1756641" y="79271"/>
                </a:cubicBezTo>
                <a:cubicBezTo>
                  <a:pt x="1756097" y="76550"/>
                  <a:pt x="1755553" y="74373"/>
                  <a:pt x="1754464" y="71652"/>
                </a:cubicBezTo>
                <a:cubicBezTo>
                  <a:pt x="1753920" y="70564"/>
                  <a:pt x="1753376" y="69475"/>
                  <a:pt x="1752832" y="68387"/>
                </a:cubicBezTo>
                <a:cubicBezTo>
                  <a:pt x="1747934" y="52062"/>
                  <a:pt x="1747390" y="35737"/>
                  <a:pt x="1756097" y="20500"/>
                </a:cubicBezTo>
                <a:cubicBezTo>
                  <a:pt x="1756641" y="19411"/>
                  <a:pt x="1757185" y="16690"/>
                  <a:pt x="1756641" y="16146"/>
                </a:cubicBezTo>
                <a:cubicBezTo>
                  <a:pt x="1755553" y="15058"/>
                  <a:pt x="1753376" y="14514"/>
                  <a:pt x="1751744" y="15058"/>
                </a:cubicBezTo>
                <a:cubicBezTo>
                  <a:pt x="1747934" y="16146"/>
                  <a:pt x="1744669" y="19411"/>
                  <a:pt x="1741404" y="19955"/>
                </a:cubicBezTo>
                <a:cubicBezTo>
                  <a:pt x="1724535" y="21588"/>
                  <a:pt x="1707121" y="23765"/>
                  <a:pt x="1691884" y="11249"/>
                </a:cubicBezTo>
                <a:lnTo>
                  <a:pt x="1685645" y="8369"/>
                </a:lnTo>
                <a:lnTo>
                  <a:pt x="1688620" y="14691"/>
                </a:lnTo>
                <a:cubicBezTo>
                  <a:pt x="1700048" y="32648"/>
                  <a:pt x="1700048" y="50606"/>
                  <a:pt x="1691885" y="69652"/>
                </a:cubicBezTo>
                <a:lnTo>
                  <a:pt x="1684469" y="82365"/>
                </a:lnTo>
                <a:lnTo>
                  <a:pt x="1663044" y="94684"/>
                </a:lnTo>
                <a:cubicBezTo>
                  <a:pt x="1651072" y="101759"/>
                  <a:pt x="1638556" y="100126"/>
                  <a:pt x="1626584" y="96861"/>
                </a:cubicBezTo>
                <a:cubicBezTo>
                  <a:pt x="1608082" y="91419"/>
                  <a:pt x="1595566" y="78359"/>
                  <a:pt x="1590124" y="60401"/>
                </a:cubicBezTo>
                <a:cubicBezTo>
                  <a:pt x="1586315" y="48974"/>
                  <a:pt x="1586315" y="37002"/>
                  <a:pt x="1591757" y="25030"/>
                </a:cubicBezTo>
                <a:close/>
                <a:moveTo>
                  <a:pt x="1460066" y="0"/>
                </a:moveTo>
                <a:lnTo>
                  <a:pt x="1498513" y="0"/>
                </a:lnTo>
                <a:lnTo>
                  <a:pt x="1517204" y="8092"/>
                </a:lnTo>
                <a:cubicBezTo>
                  <a:pt x="1526183" y="17411"/>
                  <a:pt x="1531352" y="30199"/>
                  <a:pt x="1531896" y="45164"/>
                </a:cubicBezTo>
                <a:cubicBezTo>
                  <a:pt x="1532985" y="71829"/>
                  <a:pt x="1505776" y="97949"/>
                  <a:pt x="1479111" y="97949"/>
                </a:cubicBezTo>
                <a:cubicBezTo>
                  <a:pt x="1451902" y="97949"/>
                  <a:pt x="1425238" y="71829"/>
                  <a:pt x="1426870" y="45164"/>
                </a:cubicBezTo>
                <a:cubicBezTo>
                  <a:pt x="1427687" y="29655"/>
                  <a:pt x="1432720" y="16867"/>
                  <a:pt x="1441631" y="7684"/>
                </a:cubicBezTo>
                <a:close/>
                <a:moveTo>
                  <a:pt x="1296749" y="0"/>
                </a:moveTo>
                <a:lnTo>
                  <a:pt x="1335755" y="0"/>
                </a:lnTo>
                <a:lnTo>
                  <a:pt x="1350278" y="10270"/>
                </a:lnTo>
                <a:cubicBezTo>
                  <a:pt x="1359937" y="19861"/>
                  <a:pt x="1366467" y="32649"/>
                  <a:pt x="1365923" y="45165"/>
                </a:cubicBezTo>
                <a:cubicBezTo>
                  <a:pt x="1364291" y="71829"/>
                  <a:pt x="1343068" y="93052"/>
                  <a:pt x="1315315" y="93052"/>
                </a:cubicBezTo>
                <a:cubicBezTo>
                  <a:pt x="1290283" y="95229"/>
                  <a:pt x="1266339" y="69109"/>
                  <a:pt x="1266339" y="44076"/>
                </a:cubicBezTo>
                <a:cubicBezTo>
                  <a:pt x="1266339" y="30472"/>
                  <a:pt x="1273141" y="18228"/>
                  <a:pt x="1282732" y="9317"/>
                </a:cubicBezTo>
                <a:close/>
                <a:moveTo>
                  <a:pt x="1148085" y="0"/>
                </a:moveTo>
                <a:lnTo>
                  <a:pt x="1161802" y="0"/>
                </a:lnTo>
                <a:lnTo>
                  <a:pt x="1169637" y="1315"/>
                </a:lnTo>
                <a:cubicBezTo>
                  <a:pt x="1186447" y="8432"/>
                  <a:pt x="1199813" y="26798"/>
                  <a:pt x="1199405" y="45164"/>
                </a:cubicBezTo>
                <a:cubicBezTo>
                  <a:pt x="1198861" y="69652"/>
                  <a:pt x="1175462" y="93596"/>
                  <a:pt x="1151518" y="91419"/>
                </a:cubicBezTo>
                <a:cubicBezTo>
                  <a:pt x="1123765" y="88154"/>
                  <a:pt x="1109072" y="72373"/>
                  <a:pt x="1105807" y="44620"/>
                </a:cubicBezTo>
                <a:cubicBezTo>
                  <a:pt x="1107440" y="30472"/>
                  <a:pt x="1111657" y="19588"/>
                  <a:pt x="1119139" y="11902"/>
                </a:cubicBezTo>
                <a:close/>
              </a:path>
            </a:pathLst>
          </a:custGeom>
          <a:solidFill>
            <a:srgbClr val="9AA8C5">
              <a:alpha val="17000"/>
            </a:srgbClr>
          </a:solidFill>
          <a:ln w="5432" cap="flat">
            <a:noFill/>
            <a:prstDash val="solid"/>
            <a:miter/>
          </a:ln>
        </p:spPr>
        <p:txBody>
          <a:bodyPr rtlCol="0" anchor="ctr"/>
          <a:lstStyle/>
          <a:p>
            <a:endParaRPr lang="en-IN"/>
          </a:p>
        </p:txBody>
      </p:sp>
    </p:spTree>
    <p:extLst>
      <p:ext uri="{BB962C8B-B14F-4D97-AF65-F5344CB8AC3E}">
        <p14:creationId xmlns:p14="http://schemas.microsoft.com/office/powerpoint/2010/main" val="30733248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1_Title and chart">
    <p:spTree>
      <p:nvGrpSpPr>
        <p:cNvPr id="1" name=""/>
        <p:cNvGrpSpPr/>
        <p:nvPr/>
      </p:nvGrpSpPr>
      <p:grpSpPr>
        <a:xfrm>
          <a:off x="0" y="0"/>
          <a:ext cx="0" cy="0"/>
          <a:chOff x="0" y="0"/>
          <a:chExt cx="0" cy="0"/>
        </a:xfrm>
      </p:grpSpPr>
      <p:sp>
        <p:nvSpPr>
          <p:cNvPr id="9" name="Freeform: Shape 14">
            <a:extLst>
              <a:ext uri="{FF2B5EF4-FFF2-40B4-BE49-F238E27FC236}">
                <a16:creationId xmlns:a16="http://schemas.microsoft.com/office/drawing/2014/main" id="{AA80C7B8-E5A8-9D48-80EC-2A763893835E}"/>
              </a:ext>
            </a:extLst>
          </p:cNvPr>
          <p:cNvSpPr/>
          <p:nvPr/>
        </p:nvSpPr>
        <p:spPr>
          <a:xfrm rot="5400000" flipH="1">
            <a:off x="10650813" y="-6388"/>
            <a:ext cx="1528833" cy="1553542"/>
          </a:xfrm>
          <a:custGeom>
            <a:avLst/>
            <a:gdLst>
              <a:gd name="connsiteX0" fmla="*/ 2051041 w 2051041"/>
              <a:gd name="connsiteY0" fmla="*/ 2080382 h 2084191"/>
              <a:gd name="connsiteX1" fmla="*/ 2051041 w 2051041"/>
              <a:gd name="connsiteY1" fmla="*/ 2083967 h 2084191"/>
              <a:gd name="connsiteX2" fmla="*/ 2047231 w 2051041"/>
              <a:gd name="connsiteY2" fmla="*/ 2084191 h 2084191"/>
              <a:gd name="connsiteX3" fmla="*/ 2045599 w 2051041"/>
              <a:gd name="connsiteY3" fmla="*/ 2081470 h 2084191"/>
              <a:gd name="connsiteX4" fmla="*/ 1478568 w 2051041"/>
              <a:gd name="connsiteY4" fmla="*/ 1997668 h 2084191"/>
              <a:gd name="connsiteX5" fmla="*/ 1484554 w 2051041"/>
              <a:gd name="connsiteY5" fmla="*/ 2004743 h 2084191"/>
              <a:gd name="connsiteX6" fmla="*/ 1478568 w 2051041"/>
              <a:gd name="connsiteY6" fmla="*/ 2009096 h 2084191"/>
              <a:gd name="connsiteX7" fmla="*/ 1473126 w 2051041"/>
              <a:gd name="connsiteY7" fmla="*/ 2003654 h 2084191"/>
              <a:gd name="connsiteX8" fmla="*/ 1478568 w 2051041"/>
              <a:gd name="connsiteY8" fmla="*/ 1997668 h 2084191"/>
              <a:gd name="connsiteX9" fmla="*/ 1641820 w 2051041"/>
              <a:gd name="connsiteY9" fmla="*/ 1993859 h 2084191"/>
              <a:gd name="connsiteX10" fmla="*/ 1652160 w 2051041"/>
              <a:gd name="connsiteY10" fmla="*/ 2003654 h 2084191"/>
              <a:gd name="connsiteX11" fmla="*/ 1641820 w 2051041"/>
              <a:gd name="connsiteY11" fmla="*/ 2013449 h 2084191"/>
              <a:gd name="connsiteX12" fmla="*/ 1632025 w 2051041"/>
              <a:gd name="connsiteY12" fmla="*/ 2003654 h 2084191"/>
              <a:gd name="connsiteX13" fmla="*/ 1641820 w 2051041"/>
              <a:gd name="connsiteY13" fmla="*/ 1993859 h 2084191"/>
              <a:gd name="connsiteX14" fmla="*/ 1969414 w 2051041"/>
              <a:gd name="connsiteY14" fmla="*/ 1992226 h 2084191"/>
              <a:gd name="connsiteX15" fmla="*/ 1979753 w 2051041"/>
              <a:gd name="connsiteY15" fmla="*/ 2003654 h 2084191"/>
              <a:gd name="connsiteX16" fmla="*/ 1968325 w 2051041"/>
              <a:gd name="connsiteY16" fmla="*/ 2014537 h 2084191"/>
              <a:gd name="connsiteX17" fmla="*/ 1957986 w 2051041"/>
              <a:gd name="connsiteY17" fmla="*/ 2003110 h 2084191"/>
              <a:gd name="connsiteX18" fmla="*/ 1969414 w 2051041"/>
              <a:gd name="connsiteY18" fmla="*/ 1992226 h 2084191"/>
              <a:gd name="connsiteX19" fmla="*/ 1805073 w 2051041"/>
              <a:gd name="connsiteY19" fmla="*/ 1992226 h 2084191"/>
              <a:gd name="connsiteX20" fmla="*/ 1815956 w 2051041"/>
              <a:gd name="connsiteY20" fmla="*/ 2002565 h 2084191"/>
              <a:gd name="connsiteX21" fmla="*/ 1805073 w 2051041"/>
              <a:gd name="connsiteY21" fmla="*/ 2014537 h 2084191"/>
              <a:gd name="connsiteX22" fmla="*/ 1794189 w 2051041"/>
              <a:gd name="connsiteY22" fmla="*/ 2004198 h 2084191"/>
              <a:gd name="connsiteX23" fmla="*/ 1805073 w 2051041"/>
              <a:gd name="connsiteY23" fmla="*/ 1992226 h 2084191"/>
              <a:gd name="connsiteX24" fmla="*/ 1234233 w 2051041"/>
              <a:gd name="connsiteY24" fmla="*/ 1916042 h 2084191"/>
              <a:gd name="connsiteX25" fmla="*/ 1240219 w 2051041"/>
              <a:gd name="connsiteY25" fmla="*/ 1923660 h 2084191"/>
              <a:gd name="connsiteX26" fmla="*/ 1236953 w 2051041"/>
              <a:gd name="connsiteY26" fmla="*/ 1926381 h 2084191"/>
              <a:gd name="connsiteX27" fmla="*/ 1229335 w 2051041"/>
              <a:gd name="connsiteY27" fmla="*/ 1918762 h 2084191"/>
              <a:gd name="connsiteX28" fmla="*/ 1234233 w 2051041"/>
              <a:gd name="connsiteY28" fmla="*/ 1916042 h 2084191"/>
              <a:gd name="connsiteX29" fmla="*/ 1397486 w 2051041"/>
              <a:gd name="connsiteY29" fmla="*/ 1911144 h 2084191"/>
              <a:gd name="connsiteX30" fmla="*/ 1408369 w 2051041"/>
              <a:gd name="connsiteY30" fmla="*/ 1921483 h 2084191"/>
              <a:gd name="connsiteX31" fmla="*/ 1399118 w 2051041"/>
              <a:gd name="connsiteY31" fmla="*/ 1931823 h 2084191"/>
              <a:gd name="connsiteX32" fmla="*/ 1387146 w 2051041"/>
              <a:gd name="connsiteY32" fmla="*/ 1922028 h 2084191"/>
              <a:gd name="connsiteX33" fmla="*/ 1397486 w 2051041"/>
              <a:gd name="connsiteY33" fmla="*/ 1911144 h 2084191"/>
              <a:gd name="connsiteX34" fmla="*/ 1560194 w 2051041"/>
              <a:gd name="connsiteY34" fmla="*/ 1906790 h 2084191"/>
              <a:gd name="connsiteX35" fmla="*/ 1574342 w 2051041"/>
              <a:gd name="connsiteY35" fmla="*/ 1921482 h 2084191"/>
              <a:gd name="connsiteX36" fmla="*/ 1560738 w 2051041"/>
              <a:gd name="connsiteY36" fmla="*/ 1935631 h 2084191"/>
              <a:gd name="connsiteX37" fmla="*/ 1547134 w 2051041"/>
              <a:gd name="connsiteY37" fmla="*/ 1922027 h 2084191"/>
              <a:gd name="connsiteX38" fmla="*/ 1560194 w 2051041"/>
              <a:gd name="connsiteY38" fmla="*/ 1906790 h 2084191"/>
              <a:gd name="connsiteX39" fmla="*/ 2049952 w 2051041"/>
              <a:gd name="connsiteY39" fmla="*/ 1905702 h 2084191"/>
              <a:gd name="connsiteX40" fmla="*/ 2051041 w 2051041"/>
              <a:gd name="connsiteY40" fmla="*/ 1906027 h 2084191"/>
              <a:gd name="connsiteX41" fmla="*/ 2051041 w 2051041"/>
              <a:gd name="connsiteY41" fmla="*/ 1938133 h 2084191"/>
              <a:gd name="connsiteX42" fmla="*/ 2050496 w 2051041"/>
              <a:gd name="connsiteY42" fmla="*/ 1938353 h 2084191"/>
              <a:gd name="connsiteX43" fmla="*/ 2034171 w 2051041"/>
              <a:gd name="connsiteY43" fmla="*/ 1922572 h 2084191"/>
              <a:gd name="connsiteX44" fmla="*/ 2049952 w 2051041"/>
              <a:gd name="connsiteY44" fmla="*/ 1905702 h 2084191"/>
              <a:gd name="connsiteX45" fmla="*/ 1723447 w 2051041"/>
              <a:gd name="connsiteY45" fmla="*/ 1905702 h 2084191"/>
              <a:gd name="connsiteX46" fmla="*/ 1739772 w 2051041"/>
              <a:gd name="connsiteY46" fmla="*/ 1920939 h 2084191"/>
              <a:gd name="connsiteX47" fmla="*/ 1724535 w 2051041"/>
              <a:gd name="connsiteY47" fmla="*/ 1937264 h 2084191"/>
              <a:gd name="connsiteX48" fmla="*/ 1708210 w 2051041"/>
              <a:gd name="connsiteY48" fmla="*/ 1922027 h 2084191"/>
              <a:gd name="connsiteX49" fmla="*/ 1723447 w 2051041"/>
              <a:gd name="connsiteY49" fmla="*/ 1905702 h 2084191"/>
              <a:gd name="connsiteX50" fmla="*/ 1887787 w 2051041"/>
              <a:gd name="connsiteY50" fmla="*/ 1905158 h 2084191"/>
              <a:gd name="connsiteX51" fmla="*/ 1904113 w 2051041"/>
              <a:gd name="connsiteY51" fmla="*/ 1922028 h 2084191"/>
              <a:gd name="connsiteX52" fmla="*/ 1886699 w 2051041"/>
              <a:gd name="connsiteY52" fmla="*/ 1937809 h 2084191"/>
              <a:gd name="connsiteX53" fmla="*/ 1870918 w 2051041"/>
              <a:gd name="connsiteY53" fmla="*/ 1921483 h 2084191"/>
              <a:gd name="connsiteX54" fmla="*/ 1887787 w 2051041"/>
              <a:gd name="connsiteY54" fmla="*/ 1905158 h 2084191"/>
              <a:gd name="connsiteX55" fmla="*/ 1152606 w 2051041"/>
              <a:gd name="connsiteY55" fmla="*/ 1831693 h 2084191"/>
              <a:gd name="connsiteX56" fmla="*/ 1161313 w 2051041"/>
              <a:gd name="connsiteY56" fmla="*/ 1839312 h 2084191"/>
              <a:gd name="connsiteX57" fmla="*/ 1153694 w 2051041"/>
              <a:gd name="connsiteY57" fmla="*/ 1852916 h 2084191"/>
              <a:gd name="connsiteX58" fmla="*/ 1144988 w 2051041"/>
              <a:gd name="connsiteY58" fmla="*/ 1841489 h 2084191"/>
              <a:gd name="connsiteX59" fmla="*/ 1152606 w 2051041"/>
              <a:gd name="connsiteY59" fmla="*/ 1831693 h 2084191"/>
              <a:gd name="connsiteX60" fmla="*/ 1315315 w 2051041"/>
              <a:gd name="connsiteY60" fmla="*/ 1825708 h 2084191"/>
              <a:gd name="connsiteX61" fmla="*/ 1330552 w 2051041"/>
              <a:gd name="connsiteY61" fmla="*/ 1840401 h 2084191"/>
              <a:gd name="connsiteX62" fmla="*/ 1316404 w 2051041"/>
              <a:gd name="connsiteY62" fmla="*/ 1854549 h 2084191"/>
              <a:gd name="connsiteX63" fmla="*/ 1301711 w 2051041"/>
              <a:gd name="connsiteY63" fmla="*/ 1840945 h 2084191"/>
              <a:gd name="connsiteX64" fmla="*/ 1315315 w 2051041"/>
              <a:gd name="connsiteY64" fmla="*/ 1825708 h 2084191"/>
              <a:gd name="connsiteX65" fmla="*/ 1479656 w 2051041"/>
              <a:gd name="connsiteY65" fmla="*/ 1822987 h 2084191"/>
              <a:gd name="connsiteX66" fmla="*/ 1495981 w 2051041"/>
              <a:gd name="connsiteY66" fmla="*/ 1840401 h 2084191"/>
              <a:gd name="connsiteX67" fmla="*/ 1478567 w 2051041"/>
              <a:gd name="connsiteY67" fmla="*/ 1856182 h 2084191"/>
              <a:gd name="connsiteX68" fmla="*/ 1462242 w 2051041"/>
              <a:gd name="connsiteY68" fmla="*/ 1839312 h 2084191"/>
              <a:gd name="connsiteX69" fmla="*/ 1479656 w 2051041"/>
              <a:gd name="connsiteY69" fmla="*/ 1822987 h 2084191"/>
              <a:gd name="connsiteX70" fmla="*/ 1642365 w 2051041"/>
              <a:gd name="connsiteY70" fmla="*/ 1821355 h 2084191"/>
              <a:gd name="connsiteX71" fmla="*/ 1660867 w 2051041"/>
              <a:gd name="connsiteY71" fmla="*/ 1840401 h 2084191"/>
              <a:gd name="connsiteX72" fmla="*/ 1642365 w 2051041"/>
              <a:gd name="connsiteY72" fmla="*/ 1857270 h 2084191"/>
              <a:gd name="connsiteX73" fmla="*/ 1624407 w 2051041"/>
              <a:gd name="connsiteY73" fmla="*/ 1839857 h 2084191"/>
              <a:gd name="connsiteX74" fmla="*/ 1642365 w 2051041"/>
              <a:gd name="connsiteY74" fmla="*/ 1821355 h 2084191"/>
              <a:gd name="connsiteX75" fmla="*/ 1806162 w 2051041"/>
              <a:gd name="connsiteY75" fmla="*/ 1819723 h 2084191"/>
              <a:gd name="connsiteX76" fmla="*/ 1826840 w 2051041"/>
              <a:gd name="connsiteY76" fmla="*/ 1840945 h 2084191"/>
              <a:gd name="connsiteX77" fmla="*/ 1804529 w 2051041"/>
              <a:gd name="connsiteY77" fmla="*/ 1861080 h 2084191"/>
              <a:gd name="connsiteX78" fmla="*/ 1784395 w 2051041"/>
              <a:gd name="connsiteY78" fmla="*/ 1839313 h 2084191"/>
              <a:gd name="connsiteX79" fmla="*/ 1806162 w 2051041"/>
              <a:gd name="connsiteY79" fmla="*/ 1819723 h 2084191"/>
              <a:gd name="connsiteX80" fmla="*/ 1968870 w 2051041"/>
              <a:gd name="connsiteY80" fmla="*/ 1819178 h 2084191"/>
              <a:gd name="connsiteX81" fmla="*/ 1990093 w 2051041"/>
              <a:gd name="connsiteY81" fmla="*/ 1840401 h 2084191"/>
              <a:gd name="connsiteX82" fmla="*/ 1968870 w 2051041"/>
              <a:gd name="connsiteY82" fmla="*/ 1861624 h 2084191"/>
              <a:gd name="connsiteX83" fmla="*/ 1947647 w 2051041"/>
              <a:gd name="connsiteY83" fmla="*/ 1840401 h 2084191"/>
              <a:gd name="connsiteX84" fmla="*/ 1968870 w 2051041"/>
              <a:gd name="connsiteY84" fmla="*/ 1819178 h 2084191"/>
              <a:gd name="connsiteX85" fmla="*/ 1070436 w 2051041"/>
              <a:gd name="connsiteY85" fmla="*/ 1747347 h 2084191"/>
              <a:gd name="connsiteX86" fmla="*/ 1081863 w 2051041"/>
              <a:gd name="connsiteY86" fmla="*/ 1758231 h 2084191"/>
              <a:gd name="connsiteX87" fmla="*/ 1070980 w 2051041"/>
              <a:gd name="connsiteY87" fmla="*/ 1769658 h 2084191"/>
              <a:gd name="connsiteX88" fmla="*/ 1059552 w 2051041"/>
              <a:gd name="connsiteY88" fmla="*/ 1758775 h 2084191"/>
              <a:gd name="connsiteX89" fmla="*/ 1070436 w 2051041"/>
              <a:gd name="connsiteY89" fmla="*/ 1747347 h 2084191"/>
              <a:gd name="connsiteX90" fmla="*/ 1233688 w 2051041"/>
              <a:gd name="connsiteY90" fmla="*/ 1742449 h 2084191"/>
              <a:gd name="connsiteX91" fmla="*/ 1250558 w 2051041"/>
              <a:gd name="connsiteY91" fmla="*/ 1758774 h 2084191"/>
              <a:gd name="connsiteX92" fmla="*/ 1233688 w 2051041"/>
              <a:gd name="connsiteY92" fmla="*/ 1775099 h 2084191"/>
              <a:gd name="connsiteX93" fmla="*/ 1217907 w 2051041"/>
              <a:gd name="connsiteY93" fmla="*/ 1759318 h 2084191"/>
              <a:gd name="connsiteX94" fmla="*/ 1233688 w 2051041"/>
              <a:gd name="connsiteY94" fmla="*/ 1742449 h 2084191"/>
              <a:gd name="connsiteX95" fmla="*/ 1399662 w 2051041"/>
              <a:gd name="connsiteY95" fmla="*/ 1739728 h 2084191"/>
              <a:gd name="connsiteX96" fmla="*/ 1417076 w 2051041"/>
              <a:gd name="connsiteY96" fmla="*/ 1760407 h 2084191"/>
              <a:gd name="connsiteX97" fmla="*/ 1396941 w 2051041"/>
              <a:gd name="connsiteY97" fmla="*/ 1779453 h 2084191"/>
              <a:gd name="connsiteX98" fmla="*/ 1377895 w 2051041"/>
              <a:gd name="connsiteY98" fmla="*/ 1757686 h 2084191"/>
              <a:gd name="connsiteX99" fmla="*/ 1399662 w 2051041"/>
              <a:gd name="connsiteY99" fmla="*/ 1739728 h 2084191"/>
              <a:gd name="connsiteX100" fmla="*/ 1723991 w 2051041"/>
              <a:gd name="connsiteY100" fmla="*/ 1735919 h 2084191"/>
              <a:gd name="connsiteX101" fmla="*/ 1746847 w 2051041"/>
              <a:gd name="connsiteY101" fmla="*/ 1758774 h 2084191"/>
              <a:gd name="connsiteX102" fmla="*/ 1723991 w 2051041"/>
              <a:gd name="connsiteY102" fmla="*/ 1781086 h 2084191"/>
              <a:gd name="connsiteX103" fmla="*/ 1701680 w 2051041"/>
              <a:gd name="connsiteY103" fmla="*/ 1758774 h 2084191"/>
              <a:gd name="connsiteX104" fmla="*/ 1723991 w 2051041"/>
              <a:gd name="connsiteY104" fmla="*/ 1735919 h 2084191"/>
              <a:gd name="connsiteX105" fmla="*/ 1560194 w 2051041"/>
              <a:gd name="connsiteY105" fmla="*/ 1735919 h 2084191"/>
              <a:gd name="connsiteX106" fmla="*/ 1582505 w 2051041"/>
              <a:gd name="connsiteY106" fmla="*/ 1758230 h 2084191"/>
              <a:gd name="connsiteX107" fmla="*/ 1560738 w 2051041"/>
              <a:gd name="connsiteY107" fmla="*/ 1779997 h 2084191"/>
              <a:gd name="connsiteX108" fmla="*/ 1538427 w 2051041"/>
              <a:gd name="connsiteY108" fmla="*/ 1758230 h 2084191"/>
              <a:gd name="connsiteX109" fmla="*/ 1560194 w 2051041"/>
              <a:gd name="connsiteY109" fmla="*/ 1735919 h 2084191"/>
              <a:gd name="connsiteX110" fmla="*/ 2051041 w 2051041"/>
              <a:gd name="connsiteY110" fmla="*/ 1734831 h 2084191"/>
              <a:gd name="connsiteX111" fmla="*/ 2051041 w 2051041"/>
              <a:gd name="connsiteY111" fmla="*/ 1781438 h 2084191"/>
              <a:gd name="connsiteX112" fmla="*/ 2050496 w 2051041"/>
              <a:gd name="connsiteY112" fmla="*/ 1781630 h 2084191"/>
              <a:gd name="connsiteX113" fmla="*/ 2027097 w 2051041"/>
              <a:gd name="connsiteY113" fmla="*/ 1758775 h 2084191"/>
              <a:gd name="connsiteX114" fmla="*/ 2051041 w 2051041"/>
              <a:gd name="connsiteY114" fmla="*/ 1734831 h 2084191"/>
              <a:gd name="connsiteX115" fmla="*/ 1887788 w 2051041"/>
              <a:gd name="connsiteY115" fmla="*/ 1734831 h 2084191"/>
              <a:gd name="connsiteX116" fmla="*/ 1910099 w 2051041"/>
              <a:gd name="connsiteY116" fmla="*/ 1758775 h 2084191"/>
              <a:gd name="connsiteX117" fmla="*/ 1886699 w 2051041"/>
              <a:gd name="connsiteY117" fmla="*/ 1781086 h 2084191"/>
              <a:gd name="connsiteX118" fmla="*/ 1863844 w 2051041"/>
              <a:gd name="connsiteY118" fmla="*/ 1757687 h 2084191"/>
              <a:gd name="connsiteX119" fmla="*/ 1887788 w 2051041"/>
              <a:gd name="connsiteY119" fmla="*/ 1734831 h 2084191"/>
              <a:gd name="connsiteX120" fmla="*/ 826100 w 2051041"/>
              <a:gd name="connsiteY120" fmla="*/ 1671706 h 2084191"/>
              <a:gd name="connsiteX121" fmla="*/ 832086 w 2051041"/>
              <a:gd name="connsiteY121" fmla="*/ 1677692 h 2084191"/>
              <a:gd name="connsiteX122" fmla="*/ 825556 w 2051041"/>
              <a:gd name="connsiteY122" fmla="*/ 1683134 h 2084191"/>
              <a:gd name="connsiteX123" fmla="*/ 820658 w 2051041"/>
              <a:gd name="connsiteY123" fmla="*/ 1676603 h 2084191"/>
              <a:gd name="connsiteX124" fmla="*/ 826100 w 2051041"/>
              <a:gd name="connsiteY124" fmla="*/ 1671706 h 2084191"/>
              <a:gd name="connsiteX125" fmla="*/ 989354 w 2051041"/>
              <a:gd name="connsiteY125" fmla="*/ 1661912 h 2084191"/>
              <a:gd name="connsiteX126" fmla="*/ 1004046 w 2051041"/>
              <a:gd name="connsiteY126" fmla="*/ 1676604 h 2084191"/>
              <a:gd name="connsiteX127" fmla="*/ 989354 w 2051041"/>
              <a:gd name="connsiteY127" fmla="*/ 1690209 h 2084191"/>
              <a:gd name="connsiteX128" fmla="*/ 975205 w 2051041"/>
              <a:gd name="connsiteY128" fmla="*/ 1677693 h 2084191"/>
              <a:gd name="connsiteX129" fmla="*/ 989354 w 2051041"/>
              <a:gd name="connsiteY129" fmla="*/ 1661912 h 2084191"/>
              <a:gd name="connsiteX130" fmla="*/ 1153151 w 2051041"/>
              <a:gd name="connsiteY130" fmla="*/ 1659734 h 2084191"/>
              <a:gd name="connsiteX131" fmla="*/ 1170564 w 2051041"/>
              <a:gd name="connsiteY131" fmla="*/ 1677692 h 2084191"/>
              <a:gd name="connsiteX132" fmla="*/ 1152062 w 2051041"/>
              <a:gd name="connsiteY132" fmla="*/ 1694562 h 2084191"/>
              <a:gd name="connsiteX133" fmla="*/ 1135737 w 2051041"/>
              <a:gd name="connsiteY133" fmla="*/ 1677148 h 2084191"/>
              <a:gd name="connsiteX134" fmla="*/ 1153151 w 2051041"/>
              <a:gd name="connsiteY134" fmla="*/ 1659734 h 2084191"/>
              <a:gd name="connsiteX135" fmla="*/ 1315315 w 2051041"/>
              <a:gd name="connsiteY135" fmla="*/ 1655381 h 2084191"/>
              <a:gd name="connsiteX136" fmla="*/ 1337082 w 2051041"/>
              <a:gd name="connsiteY136" fmla="*/ 1676603 h 2084191"/>
              <a:gd name="connsiteX137" fmla="*/ 1315315 w 2051041"/>
              <a:gd name="connsiteY137" fmla="*/ 1698915 h 2084191"/>
              <a:gd name="connsiteX138" fmla="*/ 1294092 w 2051041"/>
              <a:gd name="connsiteY138" fmla="*/ 1677148 h 2084191"/>
              <a:gd name="connsiteX139" fmla="*/ 1315315 w 2051041"/>
              <a:gd name="connsiteY139" fmla="*/ 1655381 h 2084191"/>
              <a:gd name="connsiteX140" fmla="*/ 1479111 w 2051041"/>
              <a:gd name="connsiteY140" fmla="*/ 1654293 h 2084191"/>
              <a:gd name="connsiteX141" fmla="*/ 1501967 w 2051041"/>
              <a:gd name="connsiteY141" fmla="*/ 1677692 h 2084191"/>
              <a:gd name="connsiteX142" fmla="*/ 1479111 w 2051041"/>
              <a:gd name="connsiteY142" fmla="*/ 1700548 h 2084191"/>
              <a:gd name="connsiteX143" fmla="*/ 1455712 w 2051041"/>
              <a:gd name="connsiteY143" fmla="*/ 1676604 h 2084191"/>
              <a:gd name="connsiteX144" fmla="*/ 1479111 w 2051041"/>
              <a:gd name="connsiteY144" fmla="*/ 1654293 h 2084191"/>
              <a:gd name="connsiteX145" fmla="*/ 1643452 w 2051041"/>
              <a:gd name="connsiteY145" fmla="*/ 1650483 h 2084191"/>
              <a:gd name="connsiteX146" fmla="*/ 1668484 w 2051041"/>
              <a:gd name="connsiteY146" fmla="*/ 1676603 h 2084191"/>
              <a:gd name="connsiteX147" fmla="*/ 1643452 w 2051041"/>
              <a:gd name="connsiteY147" fmla="*/ 1703268 h 2084191"/>
              <a:gd name="connsiteX148" fmla="*/ 1617332 w 2051041"/>
              <a:gd name="connsiteY148" fmla="*/ 1677692 h 2084191"/>
              <a:gd name="connsiteX149" fmla="*/ 1643452 w 2051041"/>
              <a:gd name="connsiteY149" fmla="*/ 1650483 h 2084191"/>
              <a:gd name="connsiteX150" fmla="*/ 1968326 w 2051041"/>
              <a:gd name="connsiteY150" fmla="*/ 1649940 h 2084191"/>
              <a:gd name="connsiteX151" fmla="*/ 1995535 w 2051041"/>
              <a:gd name="connsiteY151" fmla="*/ 1676604 h 2084191"/>
              <a:gd name="connsiteX152" fmla="*/ 1968870 w 2051041"/>
              <a:gd name="connsiteY152" fmla="*/ 1704357 h 2084191"/>
              <a:gd name="connsiteX153" fmla="*/ 1941661 w 2051041"/>
              <a:gd name="connsiteY153" fmla="*/ 1677148 h 2084191"/>
              <a:gd name="connsiteX154" fmla="*/ 1968326 w 2051041"/>
              <a:gd name="connsiteY154" fmla="*/ 1649940 h 2084191"/>
              <a:gd name="connsiteX155" fmla="*/ 1805617 w 2051041"/>
              <a:gd name="connsiteY155" fmla="*/ 1649939 h 2084191"/>
              <a:gd name="connsiteX156" fmla="*/ 1832826 w 2051041"/>
              <a:gd name="connsiteY156" fmla="*/ 1677148 h 2084191"/>
              <a:gd name="connsiteX157" fmla="*/ 1805073 w 2051041"/>
              <a:gd name="connsiteY157" fmla="*/ 1704357 h 2084191"/>
              <a:gd name="connsiteX158" fmla="*/ 1778409 w 2051041"/>
              <a:gd name="connsiteY158" fmla="*/ 1677148 h 2084191"/>
              <a:gd name="connsiteX159" fmla="*/ 1805617 w 2051041"/>
              <a:gd name="connsiteY159" fmla="*/ 1649939 h 2084191"/>
              <a:gd name="connsiteX160" fmla="*/ 744474 w 2051041"/>
              <a:gd name="connsiteY160" fmla="*/ 1588992 h 2084191"/>
              <a:gd name="connsiteX161" fmla="*/ 751004 w 2051041"/>
              <a:gd name="connsiteY161" fmla="*/ 1594978 h 2084191"/>
              <a:gd name="connsiteX162" fmla="*/ 745562 w 2051041"/>
              <a:gd name="connsiteY162" fmla="*/ 1602052 h 2084191"/>
              <a:gd name="connsiteX163" fmla="*/ 738488 w 2051041"/>
              <a:gd name="connsiteY163" fmla="*/ 1594978 h 2084191"/>
              <a:gd name="connsiteX164" fmla="*/ 744474 w 2051041"/>
              <a:gd name="connsiteY164" fmla="*/ 1588992 h 2084191"/>
              <a:gd name="connsiteX165" fmla="*/ 907183 w 2051041"/>
              <a:gd name="connsiteY165" fmla="*/ 1579741 h 2084191"/>
              <a:gd name="connsiteX166" fmla="*/ 923508 w 2051041"/>
              <a:gd name="connsiteY166" fmla="*/ 1594978 h 2084191"/>
              <a:gd name="connsiteX167" fmla="*/ 908815 w 2051041"/>
              <a:gd name="connsiteY167" fmla="*/ 1610759 h 2084191"/>
              <a:gd name="connsiteX168" fmla="*/ 892490 w 2051041"/>
              <a:gd name="connsiteY168" fmla="*/ 1595522 h 2084191"/>
              <a:gd name="connsiteX169" fmla="*/ 907183 w 2051041"/>
              <a:gd name="connsiteY169" fmla="*/ 1579741 h 2084191"/>
              <a:gd name="connsiteX170" fmla="*/ 1071524 w 2051041"/>
              <a:gd name="connsiteY170" fmla="*/ 1574843 h 2084191"/>
              <a:gd name="connsiteX171" fmla="*/ 1091114 w 2051041"/>
              <a:gd name="connsiteY171" fmla="*/ 1595522 h 2084191"/>
              <a:gd name="connsiteX172" fmla="*/ 1070980 w 2051041"/>
              <a:gd name="connsiteY172" fmla="*/ 1615656 h 2084191"/>
              <a:gd name="connsiteX173" fmla="*/ 1050301 w 2051041"/>
              <a:gd name="connsiteY173" fmla="*/ 1595522 h 2084191"/>
              <a:gd name="connsiteX174" fmla="*/ 1071524 w 2051041"/>
              <a:gd name="connsiteY174" fmla="*/ 1574843 h 2084191"/>
              <a:gd name="connsiteX175" fmla="*/ 1233688 w 2051041"/>
              <a:gd name="connsiteY175" fmla="*/ 1573210 h 2084191"/>
              <a:gd name="connsiteX176" fmla="*/ 1256544 w 2051041"/>
              <a:gd name="connsiteY176" fmla="*/ 1595522 h 2084191"/>
              <a:gd name="connsiteX177" fmla="*/ 1233688 w 2051041"/>
              <a:gd name="connsiteY177" fmla="*/ 1618377 h 2084191"/>
              <a:gd name="connsiteX178" fmla="*/ 1211377 w 2051041"/>
              <a:gd name="connsiteY178" fmla="*/ 1596610 h 2084191"/>
              <a:gd name="connsiteX179" fmla="*/ 1233688 w 2051041"/>
              <a:gd name="connsiteY179" fmla="*/ 1573210 h 2084191"/>
              <a:gd name="connsiteX180" fmla="*/ 1398030 w 2051041"/>
              <a:gd name="connsiteY180" fmla="*/ 1569402 h 2084191"/>
              <a:gd name="connsiteX181" fmla="*/ 1423062 w 2051041"/>
              <a:gd name="connsiteY181" fmla="*/ 1595522 h 2084191"/>
              <a:gd name="connsiteX182" fmla="*/ 1397485 w 2051041"/>
              <a:gd name="connsiteY182" fmla="*/ 1621099 h 2084191"/>
              <a:gd name="connsiteX183" fmla="*/ 1371365 w 2051041"/>
              <a:gd name="connsiteY183" fmla="*/ 1595522 h 2084191"/>
              <a:gd name="connsiteX184" fmla="*/ 1398030 w 2051041"/>
              <a:gd name="connsiteY184" fmla="*/ 1569402 h 2084191"/>
              <a:gd name="connsiteX185" fmla="*/ 1560194 w 2051041"/>
              <a:gd name="connsiteY185" fmla="*/ 1568313 h 2084191"/>
              <a:gd name="connsiteX186" fmla="*/ 1587947 w 2051041"/>
              <a:gd name="connsiteY186" fmla="*/ 1594433 h 2084191"/>
              <a:gd name="connsiteX187" fmla="*/ 1560194 w 2051041"/>
              <a:gd name="connsiteY187" fmla="*/ 1622730 h 2084191"/>
              <a:gd name="connsiteX188" fmla="*/ 1532985 w 2051041"/>
              <a:gd name="connsiteY188" fmla="*/ 1594977 h 2084191"/>
              <a:gd name="connsiteX189" fmla="*/ 1560194 w 2051041"/>
              <a:gd name="connsiteY189" fmla="*/ 1568313 h 2084191"/>
              <a:gd name="connsiteX190" fmla="*/ 1887244 w 2051041"/>
              <a:gd name="connsiteY190" fmla="*/ 1567225 h 2084191"/>
              <a:gd name="connsiteX191" fmla="*/ 1915541 w 2051041"/>
              <a:gd name="connsiteY191" fmla="*/ 1594978 h 2084191"/>
              <a:gd name="connsiteX192" fmla="*/ 1886699 w 2051041"/>
              <a:gd name="connsiteY192" fmla="*/ 1623819 h 2084191"/>
              <a:gd name="connsiteX193" fmla="*/ 1858947 w 2051041"/>
              <a:gd name="connsiteY193" fmla="*/ 1594978 h 2084191"/>
              <a:gd name="connsiteX194" fmla="*/ 1887244 w 2051041"/>
              <a:gd name="connsiteY194" fmla="*/ 1567225 h 2084191"/>
              <a:gd name="connsiteX195" fmla="*/ 1724535 w 2051041"/>
              <a:gd name="connsiteY195" fmla="*/ 1567225 h 2084191"/>
              <a:gd name="connsiteX196" fmla="*/ 1752288 w 2051041"/>
              <a:gd name="connsiteY196" fmla="*/ 1594978 h 2084191"/>
              <a:gd name="connsiteX197" fmla="*/ 1724535 w 2051041"/>
              <a:gd name="connsiteY197" fmla="*/ 1623275 h 2084191"/>
              <a:gd name="connsiteX198" fmla="*/ 1696238 w 2051041"/>
              <a:gd name="connsiteY198" fmla="*/ 1594978 h 2084191"/>
              <a:gd name="connsiteX199" fmla="*/ 1724535 w 2051041"/>
              <a:gd name="connsiteY199" fmla="*/ 1567225 h 2084191"/>
              <a:gd name="connsiteX200" fmla="*/ 2050496 w 2051041"/>
              <a:gd name="connsiteY200" fmla="*/ 1566680 h 2084191"/>
              <a:gd name="connsiteX201" fmla="*/ 2051041 w 2051041"/>
              <a:gd name="connsiteY201" fmla="*/ 1566888 h 2084191"/>
              <a:gd name="connsiteX202" fmla="*/ 2051041 w 2051041"/>
              <a:gd name="connsiteY202" fmla="*/ 1623794 h 2084191"/>
              <a:gd name="connsiteX203" fmla="*/ 2049408 w 2051041"/>
              <a:gd name="connsiteY203" fmla="*/ 1624363 h 2084191"/>
              <a:gd name="connsiteX204" fmla="*/ 2021655 w 2051041"/>
              <a:gd name="connsiteY204" fmla="*/ 1594977 h 2084191"/>
              <a:gd name="connsiteX205" fmla="*/ 2050496 w 2051041"/>
              <a:gd name="connsiteY205" fmla="*/ 1566680 h 2084191"/>
              <a:gd name="connsiteX206" fmla="*/ 663392 w 2051041"/>
              <a:gd name="connsiteY206" fmla="*/ 1505188 h 2084191"/>
              <a:gd name="connsiteX207" fmla="*/ 674819 w 2051041"/>
              <a:gd name="connsiteY207" fmla="*/ 1513895 h 2084191"/>
              <a:gd name="connsiteX208" fmla="*/ 662848 w 2051041"/>
              <a:gd name="connsiteY208" fmla="*/ 1522058 h 2084191"/>
              <a:gd name="connsiteX209" fmla="*/ 654685 w 2051041"/>
              <a:gd name="connsiteY209" fmla="*/ 1513351 h 2084191"/>
              <a:gd name="connsiteX210" fmla="*/ 663392 w 2051041"/>
              <a:gd name="connsiteY210" fmla="*/ 1505188 h 2084191"/>
              <a:gd name="connsiteX211" fmla="*/ 826101 w 2051041"/>
              <a:gd name="connsiteY211" fmla="*/ 1497570 h 2084191"/>
              <a:gd name="connsiteX212" fmla="*/ 842970 w 2051041"/>
              <a:gd name="connsiteY212" fmla="*/ 1513351 h 2084191"/>
              <a:gd name="connsiteX213" fmla="*/ 826645 w 2051041"/>
              <a:gd name="connsiteY213" fmla="*/ 1529676 h 2084191"/>
              <a:gd name="connsiteX214" fmla="*/ 810319 w 2051041"/>
              <a:gd name="connsiteY214" fmla="*/ 1514983 h 2084191"/>
              <a:gd name="connsiteX215" fmla="*/ 826101 w 2051041"/>
              <a:gd name="connsiteY215" fmla="*/ 1497570 h 2084191"/>
              <a:gd name="connsiteX216" fmla="*/ 988265 w 2051041"/>
              <a:gd name="connsiteY216" fmla="*/ 1492128 h 2084191"/>
              <a:gd name="connsiteX217" fmla="*/ 1010577 w 2051041"/>
              <a:gd name="connsiteY217" fmla="*/ 1513351 h 2084191"/>
              <a:gd name="connsiteX218" fmla="*/ 989354 w 2051041"/>
              <a:gd name="connsiteY218" fmla="*/ 1534574 h 2084191"/>
              <a:gd name="connsiteX219" fmla="*/ 968131 w 2051041"/>
              <a:gd name="connsiteY219" fmla="*/ 1513895 h 2084191"/>
              <a:gd name="connsiteX220" fmla="*/ 988265 w 2051041"/>
              <a:gd name="connsiteY220" fmla="*/ 1492128 h 2084191"/>
              <a:gd name="connsiteX221" fmla="*/ 1152606 w 2051041"/>
              <a:gd name="connsiteY221" fmla="*/ 1490496 h 2084191"/>
              <a:gd name="connsiteX222" fmla="*/ 1176006 w 2051041"/>
              <a:gd name="connsiteY222" fmla="*/ 1513351 h 2084191"/>
              <a:gd name="connsiteX223" fmla="*/ 1152606 w 2051041"/>
              <a:gd name="connsiteY223" fmla="*/ 1537839 h 2084191"/>
              <a:gd name="connsiteX224" fmla="*/ 1129207 w 2051041"/>
              <a:gd name="connsiteY224" fmla="*/ 1514984 h 2084191"/>
              <a:gd name="connsiteX225" fmla="*/ 1152606 w 2051041"/>
              <a:gd name="connsiteY225" fmla="*/ 1490496 h 2084191"/>
              <a:gd name="connsiteX226" fmla="*/ 1316403 w 2051041"/>
              <a:gd name="connsiteY226" fmla="*/ 1487231 h 2084191"/>
              <a:gd name="connsiteX227" fmla="*/ 1342523 w 2051041"/>
              <a:gd name="connsiteY227" fmla="*/ 1513896 h 2084191"/>
              <a:gd name="connsiteX228" fmla="*/ 1315314 w 2051041"/>
              <a:gd name="connsiteY228" fmla="*/ 1540560 h 2084191"/>
              <a:gd name="connsiteX229" fmla="*/ 1288650 w 2051041"/>
              <a:gd name="connsiteY229" fmla="*/ 1513896 h 2084191"/>
              <a:gd name="connsiteX230" fmla="*/ 1316403 w 2051041"/>
              <a:gd name="connsiteY230" fmla="*/ 1487231 h 2084191"/>
              <a:gd name="connsiteX231" fmla="*/ 1479656 w 2051041"/>
              <a:gd name="connsiteY231" fmla="*/ 1485054 h 2084191"/>
              <a:gd name="connsiteX232" fmla="*/ 1507409 w 2051041"/>
              <a:gd name="connsiteY232" fmla="*/ 1513895 h 2084191"/>
              <a:gd name="connsiteX233" fmla="*/ 1479112 w 2051041"/>
              <a:gd name="connsiteY233" fmla="*/ 1541648 h 2084191"/>
              <a:gd name="connsiteX234" fmla="*/ 1451359 w 2051041"/>
              <a:gd name="connsiteY234" fmla="*/ 1513351 h 2084191"/>
              <a:gd name="connsiteX235" fmla="*/ 1479656 w 2051041"/>
              <a:gd name="connsiteY235" fmla="*/ 1485054 h 2084191"/>
              <a:gd name="connsiteX236" fmla="*/ 1641820 w 2051041"/>
              <a:gd name="connsiteY236" fmla="*/ 1482334 h 2084191"/>
              <a:gd name="connsiteX237" fmla="*/ 1673382 w 2051041"/>
              <a:gd name="connsiteY237" fmla="*/ 1512807 h 2084191"/>
              <a:gd name="connsiteX238" fmla="*/ 1642909 w 2051041"/>
              <a:gd name="connsiteY238" fmla="*/ 1544370 h 2084191"/>
              <a:gd name="connsiteX239" fmla="*/ 1612435 w 2051041"/>
              <a:gd name="connsiteY239" fmla="*/ 1513351 h 2084191"/>
              <a:gd name="connsiteX240" fmla="*/ 1641820 w 2051041"/>
              <a:gd name="connsiteY240" fmla="*/ 1482334 h 2084191"/>
              <a:gd name="connsiteX241" fmla="*/ 1804529 w 2051041"/>
              <a:gd name="connsiteY241" fmla="*/ 1481788 h 2084191"/>
              <a:gd name="connsiteX242" fmla="*/ 1837180 w 2051041"/>
              <a:gd name="connsiteY242" fmla="*/ 1513351 h 2084191"/>
              <a:gd name="connsiteX243" fmla="*/ 1805617 w 2051041"/>
              <a:gd name="connsiteY243" fmla="*/ 1545457 h 2084191"/>
              <a:gd name="connsiteX244" fmla="*/ 1773511 w 2051041"/>
              <a:gd name="connsiteY244" fmla="*/ 1514983 h 2084191"/>
              <a:gd name="connsiteX245" fmla="*/ 1804529 w 2051041"/>
              <a:gd name="connsiteY245" fmla="*/ 1481788 h 2084191"/>
              <a:gd name="connsiteX246" fmla="*/ 1968870 w 2051041"/>
              <a:gd name="connsiteY246" fmla="*/ 1480700 h 2084191"/>
              <a:gd name="connsiteX247" fmla="*/ 2000977 w 2051041"/>
              <a:gd name="connsiteY247" fmla="*/ 1513351 h 2084191"/>
              <a:gd name="connsiteX248" fmla="*/ 1968870 w 2051041"/>
              <a:gd name="connsiteY248" fmla="*/ 1545457 h 2084191"/>
              <a:gd name="connsiteX249" fmla="*/ 1936764 w 2051041"/>
              <a:gd name="connsiteY249" fmla="*/ 1513351 h 2084191"/>
              <a:gd name="connsiteX250" fmla="*/ 1968870 w 2051041"/>
              <a:gd name="connsiteY250" fmla="*/ 1480700 h 2084191"/>
              <a:gd name="connsiteX251" fmla="*/ 581221 w 2051041"/>
              <a:gd name="connsiteY251" fmla="*/ 1423562 h 2084191"/>
              <a:gd name="connsiteX252" fmla="*/ 588840 w 2051041"/>
              <a:gd name="connsiteY252" fmla="*/ 1431725 h 2084191"/>
              <a:gd name="connsiteX253" fmla="*/ 581765 w 2051041"/>
              <a:gd name="connsiteY253" fmla="*/ 1443153 h 2084191"/>
              <a:gd name="connsiteX254" fmla="*/ 573059 w 2051041"/>
              <a:gd name="connsiteY254" fmla="*/ 1432813 h 2084191"/>
              <a:gd name="connsiteX255" fmla="*/ 581221 w 2051041"/>
              <a:gd name="connsiteY255" fmla="*/ 1423562 h 2084191"/>
              <a:gd name="connsiteX256" fmla="*/ 745562 w 2051041"/>
              <a:gd name="connsiteY256" fmla="*/ 1414855 h 2084191"/>
              <a:gd name="connsiteX257" fmla="*/ 761344 w 2051041"/>
              <a:gd name="connsiteY257" fmla="*/ 1432269 h 2084191"/>
              <a:gd name="connsiteX258" fmla="*/ 745018 w 2051041"/>
              <a:gd name="connsiteY258" fmla="*/ 1448050 h 2084191"/>
              <a:gd name="connsiteX259" fmla="*/ 728693 w 2051041"/>
              <a:gd name="connsiteY259" fmla="*/ 1431725 h 2084191"/>
              <a:gd name="connsiteX260" fmla="*/ 745562 w 2051041"/>
              <a:gd name="connsiteY260" fmla="*/ 1414855 h 2084191"/>
              <a:gd name="connsiteX261" fmla="*/ 908815 w 2051041"/>
              <a:gd name="connsiteY261" fmla="*/ 1409958 h 2084191"/>
              <a:gd name="connsiteX262" fmla="*/ 930038 w 2051041"/>
              <a:gd name="connsiteY262" fmla="*/ 1431725 h 2084191"/>
              <a:gd name="connsiteX263" fmla="*/ 907183 w 2051041"/>
              <a:gd name="connsiteY263" fmla="*/ 1453492 h 2084191"/>
              <a:gd name="connsiteX264" fmla="*/ 885960 w 2051041"/>
              <a:gd name="connsiteY264" fmla="*/ 1431725 h 2084191"/>
              <a:gd name="connsiteX265" fmla="*/ 908815 w 2051041"/>
              <a:gd name="connsiteY265" fmla="*/ 1409958 h 2084191"/>
              <a:gd name="connsiteX266" fmla="*/ 1070436 w 2051041"/>
              <a:gd name="connsiteY266" fmla="*/ 1406693 h 2084191"/>
              <a:gd name="connsiteX267" fmla="*/ 1096012 w 2051041"/>
              <a:gd name="connsiteY267" fmla="*/ 1432269 h 2084191"/>
              <a:gd name="connsiteX268" fmla="*/ 1070436 w 2051041"/>
              <a:gd name="connsiteY268" fmla="*/ 1457846 h 2084191"/>
              <a:gd name="connsiteX269" fmla="*/ 1045404 w 2051041"/>
              <a:gd name="connsiteY269" fmla="*/ 1431181 h 2084191"/>
              <a:gd name="connsiteX270" fmla="*/ 1070436 w 2051041"/>
              <a:gd name="connsiteY270" fmla="*/ 1406693 h 2084191"/>
              <a:gd name="connsiteX271" fmla="*/ 1235865 w 2051041"/>
              <a:gd name="connsiteY271" fmla="*/ 1404516 h 2084191"/>
              <a:gd name="connsiteX272" fmla="*/ 1261986 w 2051041"/>
              <a:gd name="connsiteY272" fmla="*/ 1433358 h 2084191"/>
              <a:gd name="connsiteX273" fmla="*/ 1233689 w 2051041"/>
              <a:gd name="connsiteY273" fmla="*/ 1459478 h 2084191"/>
              <a:gd name="connsiteX274" fmla="*/ 1206480 w 2051041"/>
              <a:gd name="connsiteY274" fmla="*/ 1432269 h 2084191"/>
              <a:gd name="connsiteX275" fmla="*/ 1235865 w 2051041"/>
              <a:gd name="connsiteY275" fmla="*/ 1404516 h 2084191"/>
              <a:gd name="connsiteX276" fmla="*/ 1397485 w 2051041"/>
              <a:gd name="connsiteY276" fmla="*/ 1400162 h 2084191"/>
              <a:gd name="connsiteX277" fmla="*/ 1427959 w 2051041"/>
              <a:gd name="connsiteY277" fmla="*/ 1431724 h 2084191"/>
              <a:gd name="connsiteX278" fmla="*/ 1398029 w 2051041"/>
              <a:gd name="connsiteY278" fmla="*/ 1463287 h 2084191"/>
              <a:gd name="connsiteX279" fmla="*/ 1366467 w 2051041"/>
              <a:gd name="connsiteY279" fmla="*/ 1432813 h 2084191"/>
              <a:gd name="connsiteX280" fmla="*/ 1397485 w 2051041"/>
              <a:gd name="connsiteY280" fmla="*/ 1400162 h 2084191"/>
              <a:gd name="connsiteX281" fmla="*/ 1561282 w 2051041"/>
              <a:gd name="connsiteY281" fmla="*/ 1399618 h 2084191"/>
              <a:gd name="connsiteX282" fmla="*/ 1593388 w 2051041"/>
              <a:gd name="connsiteY282" fmla="*/ 1432269 h 2084191"/>
              <a:gd name="connsiteX283" fmla="*/ 1560738 w 2051041"/>
              <a:gd name="connsiteY283" fmla="*/ 1464375 h 2084191"/>
              <a:gd name="connsiteX284" fmla="*/ 1528631 w 2051041"/>
              <a:gd name="connsiteY284" fmla="*/ 1432813 h 2084191"/>
              <a:gd name="connsiteX285" fmla="*/ 1561282 w 2051041"/>
              <a:gd name="connsiteY285" fmla="*/ 1399618 h 2084191"/>
              <a:gd name="connsiteX286" fmla="*/ 1723446 w 2051041"/>
              <a:gd name="connsiteY286" fmla="*/ 1399074 h 2084191"/>
              <a:gd name="connsiteX287" fmla="*/ 1757185 w 2051041"/>
              <a:gd name="connsiteY287" fmla="*/ 1432269 h 2084191"/>
              <a:gd name="connsiteX288" fmla="*/ 1723991 w 2051041"/>
              <a:gd name="connsiteY288" fmla="*/ 1465464 h 2084191"/>
              <a:gd name="connsiteX289" fmla="*/ 1691340 w 2051041"/>
              <a:gd name="connsiteY289" fmla="*/ 1433357 h 2084191"/>
              <a:gd name="connsiteX290" fmla="*/ 1723446 w 2051041"/>
              <a:gd name="connsiteY290" fmla="*/ 1399074 h 2084191"/>
              <a:gd name="connsiteX291" fmla="*/ 1886700 w 2051041"/>
              <a:gd name="connsiteY291" fmla="*/ 1398530 h 2084191"/>
              <a:gd name="connsiteX292" fmla="*/ 1920439 w 2051041"/>
              <a:gd name="connsiteY292" fmla="*/ 1432269 h 2084191"/>
              <a:gd name="connsiteX293" fmla="*/ 1887788 w 2051041"/>
              <a:gd name="connsiteY293" fmla="*/ 1464920 h 2084191"/>
              <a:gd name="connsiteX294" fmla="*/ 1854049 w 2051041"/>
              <a:gd name="connsiteY294" fmla="*/ 1433358 h 2084191"/>
              <a:gd name="connsiteX295" fmla="*/ 1886700 w 2051041"/>
              <a:gd name="connsiteY295" fmla="*/ 1398530 h 2084191"/>
              <a:gd name="connsiteX296" fmla="*/ 2051041 w 2051041"/>
              <a:gd name="connsiteY296" fmla="*/ 1398217 h 2084191"/>
              <a:gd name="connsiteX297" fmla="*/ 2051041 w 2051041"/>
              <a:gd name="connsiteY297" fmla="*/ 1464535 h 2084191"/>
              <a:gd name="connsiteX298" fmla="*/ 2049953 w 2051041"/>
              <a:gd name="connsiteY298" fmla="*/ 1464920 h 2084191"/>
              <a:gd name="connsiteX299" fmla="*/ 2017302 w 2051041"/>
              <a:gd name="connsiteY299" fmla="*/ 1431725 h 2084191"/>
              <a:gd name="connsiteX300" fmla="*/ 2027709 w 2051041"/>
              <a:gd name="connsiteY300" fmla="*/ 1408121 h 2084191"/>
              <a:gd name="connsiteX301" fmla="*/ 500139 w 2051041"/>
              <a:gd name="connsiteY301" fmla="*/ 1341936 h 2084191"/>
              <a:gd name="connsiteX302" fmla="*/ 511023 w 2051041"/>
              <a:gd name="connsiteY302" fmla="*/ 1350643 h 2084191"/>
              <a:gd name="connsiteX303" fmla="*/ 499595 w 2051041"/>
              <a:gd name="connsiteY303" fmla="*/ 1358261 h 2084191"/>
              <a:gd name="connsiteX304" fmla="*/ 491432 w 2051041"/>
              <a:gd name="connsiteY304" fmla="*/ 1349010 h 2084191"/>
              <a:gd name="connsiteX305" fmla="*/ 500139 w 2051041"/>
              <a:gd name="connsiteY305" fmla="*/ 1341936 h 2084191"/>
              <a:gd name="connsiteX306" fmla="*/ 662848 w 2051041"/>
              <a:gd name="connsiteY306" fmla="*/ 1333773 h 2084191"/>
              <a:gd name="connsiteX307" fmla="*/ 679173 w 2051041"/>
              <a:gd name="connsiteY307" fmla="*/ 1350643 h 2084191"/>
              <a:gd name="connsiteX308" fmla="*/ 662848 w 2051041"/>
              <a:gd name="connsiteY308" fmla="*/ 1366424 h 2084191"/>
              <a:gd name="connsiteX309" fmla="*/ 647067 w 2051041"/>
              <a:gd name="connsiteY309" fmla="*/ 1350098 h 2084191"/>
              <a:gd name="connsiteX310" fmla="*/ 662848 w 2051041"/>
              <a:gd name="connsiteY310" fmla="*/ 1333773 h 2084191"/>
              <a:gd name="connsiteX311" fmla="*/ 826645 w 2051041"/>
              <a:gd name="connsiteY311" fmla="*/ 1328331 h 2084191"/>
              <a:gd name="connsiteX312" fmla="*/ 847868 w 2051041"/>
              <a:gd name="connsiteY312" fmla="*/ 1350642 h 2084191"/>
              <a:gd name="connsiteX313" fmla="*/ 825556 w 2051041"/>
              <a:gd name="connsiteY313" fmla="*/ 1372409 h 2084191"/>
              <a:gd name="connsiteX314" fmla="*/ 804334 w 2051041"/>
              <a:gd name="connsiteY314" fmla="*/ 1349554 h 2084191"/>
              <a:gd name="connsiteX315" fmla="*/ 826645 w 2051041"/>
              <a:gd name="connsiteY315" fmla="*/ 1328331 h 2084191"/>
              <a:gd name="connsiteX316" fmla="*/ 989353 w 2051041"/>
              <a:gd name="connsiteY316" fmla="*/ 1323978 h 2084191"/>
              <a:gd name="connsiteX317" fmla="*/ 1015473 w 2051041"/>
              <a:gd name="connsiteY317" fmla="*/ 1350098 h 2084191"/>
              <a:gd name="connsiteX318" fmla="*/ 989353 w 2051041"/>
              <a:gd name="connsiteY318" fmla="*/ 1376763 h 2084191"/>
              <a:gd name="connsiteX319" fmla="*/ 963777 w 2051041"/>
              <a:gd name="connsiteY319" fmla="*/ 1350642 h 2084191"/>
              <a:gd name="connsiteX320" fmla="*/ 989353 w 2051041"/>
              <a:gd name="connsiteY320" fmla="*/ 1323978 h 2084191"/>
              <a:gd name="connsiteX321" fmla="*/ 1152606 w 2051041"/>
              <a:gd name="connsiteY321" fmla="*/ 1322889 h 2084191"/>
              <a:gd name="connsiteX322" fmla="*/ 1181447 w 2051041"/>
              <a:gd name="connsiteY322" fmla="*/ 1350098 h 2084191"/>
              <a:gd name="connsiteX323" fmla="*/ 1152606 w 2051041"/>
              <a:gd name="connsiteY323" fmla="*/ 1379483 h 2084191"/>
              <a:gd name="connsiteX324" fmla="*/ 1124853 w 2051041"/>
              <a:gd name="connsiteY324" fmla="*/ 1350642 h 2084191"/>
              <a:gd name="connsiteX325" fmla="*/ 1152606 w 2051041"/>
              <a:gd name="connsiteY325" fmla="*/ 1322889 h 2084191"/>
              <a:gd name="connsiteX326" fmla="*/ 1315315 w 2051041"/>
              <a:gd name="connsiteY326" fmla="*/ 1318536 h 2084191"/>
              <a:gd name="connsiteX327" fmla="*/ 1347966 w 2051041"/>
              <a:gd name="connsiteY327" fmla="*/ 1350098 h 2084191"/>
              <a:gd name="connsiteX328" fmla="*/ 1315315 w 2051041"/>
              <a:gd name="connsiteY328" fmla="*/ 1381661 h 2084191"/>
              <a:gd name="connsiteX329" fmla="*/ 1284297 w 2051041"/>
              <a:gd name="connsiteY329" fmla="*/ 1350098 h 2084191"/>
              <a:gd name="connsiteX330" fmla="*/ 1315315 w 2051041"/>
              <a:gd name="connsiteY330" fmla="*/ 1318536 h 2084191"/>
              <a:gd name="connsiteX331" fmla="*/ 1480744 w 2051041"/>
              <a:gd name="connsiteY331" fmla="*/ 1317448 h 2084191"/>
              <a:gd name="connsiteX332" fmla="*/ 1512306 w 2051041"/>
              <a:gd name="connsiteY332" fmla="*/ 1351731 h 2084191"/>
              <a:gd name="connsiteX333" fmla="*/ 1477479 w 2051041"/>
              <a:gd name="connsiteY333" fmla="*/ 1383293 h 2084191"/>
              <a:gd name="connsiteX334" fmla="*/ 1446461 w 2051041"/>
              <a:gd name="connsiteY334" fmla="*/ 1349554 h 2084191"/>
              <a:gd name="connsiteX335" fmla="*/ 1480744 w 2051041"/>
              <a:gd name="connsiteY335" fmla="*/ 1317448 h 2084191"/>
              <a:gd name="connsiteX336" fmla="*/ 1642908 w 2051041"/>
              <a:gd name="connsiteY336" fmla="*/ 1315815 h 2084191"/>
              <a:gd name="connsiteX337" fmla="*/ 1676647 w 2051041"/>
              <a:gd name="connsiteY337" fmla="*/ 1351731 h 2084191"/>
              <a:gd name="connsiteX338" fmla="*/ 1640732 w 2051041"/>
              <a:gd name="connsiteY338" fmla="*/ 1383837 h 2084191"/>
              <a:gd name="connsiteX339" fmla="*/ 1608081 w 2051041"/>
              <a:gd name="connsiteY339" fmla="*/ 1349554 h 2084191"/>
              <a:gd name="connsiteX340" fmla="*/ 1642908 w 2051041"/>
              <a:gd name="connsiteY340" fmla="*/ 1315815 h 2084191"/>
              <a:gd name="connsiteX341" fmla="*/ 1968870 w 2051041"/>
              <a:gd name="connsiteY341" fmla="*/ 1314183 h 2084191"/>
              <a:gd name="connsiteX342" fmla="*/ 2005329 w 2051041"/>
              <a:gd name="connsiteY342" fmla="*/ 1351187 h 2084191"/>
              <a:gd name="connsiteX343" fmla="*/ 1967781 w 2051041"/>
              <a:gd name="connsiteY343" fmla="*/ 1388191 h 2084191"/>
              <a:gd name="connsiteX344" fmla="*/ 1931866 w 2051041"/>
              <a:gd name="connsiteY344" fmla="*/ 1350098 h 2084191"/>
              <a:gd name="connsiteX345" fmla="*/ 1968870 w 2051041"/>
              <a:gd name="connsiteY345" fmla="*/ 1314183 h 2084191"/>
              <a:gd name="connsiteX346" fmla="*/ 1806161 w 2051041"/>
              <a:gd name="connsiteY346" fmla="*/ 1313639 h 2084191"/>
              <a:gd name="connsiteX347" fmla="*/ 1841533 w 2051041"/>
              <a:gd name="connsiteY347" fmla="*/ 1351187 h 2084191"/>
              <a:gd name="connsiteX348" fmla="*/ 1830105 w 2051041"/>
              <a:gd name="connsiteY348" fmla="*/ 1376763 h 2084191"/>
              <a:gd name="connsiteX349" fmla="*/ 1803984 w 2051041"/>
              <a:gd name="connsiteY349" fmla="*/ 1387102 h 2084191"/>
              <a:gd name="connsiteX350" fmla="*/ 1768613 w 2051041"/>
              <a:gd name="connsiteY350" fmla="*/ 1350098 h 2084191"/>
              <a:gd name="connsiteX351" fmla="*/ 1806161 w 2051041"/>
              <a:gd name="connsiteY351" fmla="*/ 1313639 h 2084191"/>
              <a:gd name="connsiteX352" fmla="*/ 419057 w 2051041"/>
              <a:gd name="connsiteY352" fmla="*/ 1262486 h 2084191"/>
              <a:gd name="connsiteX353" fmla="*/ 424499 w 2051041"/>
              <a:gd name="connsiteY353" fmla="*/ 1269016 h 2084191"/>
              <a:gd name="connsiteX354" fmla="*/ 417969 w 2051041"/>
              <a:gd name="connsiteY354" fmla="*/ 1278811 h 2084191"/>
              <a:gd name="connsiteX355" fmla="*/ 411983 w 2051041"/>
              <a:gd name="connsiteY355" fmla="*/ 1269016 h 2084191"/>
              <a:gd name="connsiteX356" fmla="*/ 419057 w 2051041"/>
              <a:gd name="connsiteY356" fmla="*/ 1262486 h 2084191"/>
              <a:gd name="connsiteX357" fmla="*/ 581221 w 2051041"/>
              <a:gd name="connsiteY357" fmla="*/ 1252147 h 2084191"/>
              <a:gd name="connsiteX358" fmla="*/ 597547 w 2051041"/>
              <a:gd name="connsiteY358" fmla="*/ 1269017 h 2084191"/>
              <a:gd name="connsiteX359" fmla="*/ 580133 w 2051041"/>
              <a:gd name="connsiteY359" fmla="*/ 1284254 h 2084191"/>
              <a:gd name="connsiteX360" fmla="*/ 564896 w 2051041"/>
              <a:gd name="connsiteY360" fmla="*/ 1268472 h 2084191"/>
              <a:gd name="connsiteX361" fmla="*/ 581221 w 2051041"/>
              <a:gd name="connsiteY361" fmla="*/ 1252147 h 2084191"/>
              <a:gd name="connsiteX362" fmla="*/ 745018 w 2051041"/>
              <a:gd name="connsiteY362" fmla="*/ 1246705 h 2084191"/>
              <a:gd name="connsiteX363" fmla="*/ 766241 w 2051041"/>
              <a:gd name="connsiteY363" fmla="*/ 1269560 h 2084191"/>
              <a:gd name="connsiteX364" fmla="*/ 744474 w 2051041"/>
              <a:gd name="connsiteY364" fmla="*/ 1290783 h 2084191"/>
              <a:gd name="connsiteX365" fmla="*/ 722707 w 2051041"/>
              <a:gd name="connsiteY365" fmla="*/ 1267928 h 2084191"/>
              <a:gd name="connsiteX366" fmla="*/ 745018 w 2051041"/>
              <a:gd name="connsiteY366" fmla="*/ 1246705 h 2084191"/>
              <a:gd name="connsiteX367" fmla="*/ 907727 w 2051041"/>
              <a:gd name="connsiteY367" fmla="*/ 1241807 h 2084191"/>
              <a:gd name="connsiteX368" fmla="*/ 933847 w 2051041"/>
              <a:gd name="connsiteY368" fmla="*/ 1269016 h 2084191"/>
              <a:gd name="connsiteX369" fmla="*/ 907183 w 2051041"/>
              <a:gd name="connsiteY369" fmla="*/ 1295136 h 2084191"/>
              <a:gd name="connsiteX370" fmla="*/ 880518 w 2051041"/>
              <a:gd name="connsiteY370" fmla="*/ 1267927 h 2084191"/>
              <a:gd name="connsiteX371" fmla="*/ 907727 w 2051041"/>
              <a:gd name="connsiteY371" fmla="*/ 1241807 h 2084191"/>
              <a:gd name="connsiteX372" fmla="*/ 1070979 w 2051041"/>
              <a:gd name="connsiteY372" fmla="*/ 1240719 h 2084191"/>
              <a:gd name="connsiteX373" fmla="*/ 1099821 w 2051041"/>
              <a:gd name="connsiteY373" fmla="*/ 1268472 h 2084191"/>
              <a:gd name="connsiteX374" fmla="*/ 1070435 w 2051041"/>
              <a:gd name="connsiteY374" fmla="*/ 1297858 h 2084191"/>
              <a:gd name="connsiteX375" fmla="*/ 1042138 w 2051041"/>
              <a:gd name="connsiteY375" fmla="*/ 1269560 h 2084191"/>
              <a:gd name="connsiteX376" fmla="*/ 1070979 w 2051041"/>
              <a:gd name="connsiteY376" fmla="*/ 1240719 h 2084191"/>
              <a:gd name="connsiteX377" fmla="*/ 1234233 w 2051041"/>
              <a:gd name="connsiteY377" fmla="*/ 1235821 h 2084191"/>
              <a:gd name="connsiteX378" fmla="*/ 1266883 w 2051041"/>
              <a:gd name="connsiteY378" fmla="*/ 1269016 h 2084191"/>
              <a:gd name="connsiteX379" fmla="*/ 1234233 w 2051041"/>
              <a:gd name="connsiteY379" fmla="*/ 1300578 h 2084191"/>
              <a:gd name="connsiteX380" fmla="*/ 1201582 w 2051041"/>
              <a:gd name="connsiteY380" fmla="*/ 1267383 h 2084191"/>
              <a:gd name="connsiteX381" fmla="*/ 1234233 w 2051041"/>
              <a:gd name="connsiteY381" fmla="*/ 1235821 h 2084191"/>
              <a:gd name="connsiteX382" fmla="*/ 1396397 w 2051041"/>
              <a:gd name="connsiteY382" fmla="*/ 1234733 h 2084191"/>
              <a:gd name="connsiteX383" fmla="*/ 1431224 w 2051041"/>
              <a:gd name="connsiteY383" fmla="*/ 1268472 h 2084191"/>
              <a:gd name="connsiteX384" fmla="*/ 1396941 w 2051041"/>
              <a:gd name="connsiteY384" fmla="*/ 1302755 h 2084191"/>
              <a:gd name="connsiteX385" fmla="*/ 1363746 w 2051041"/>
              <a:gd name="connsiteY385" fmla="*/ 1269016 h 2084191"/>
              <a:gd name="connsiteX386" fmla="*/ 1396397 w 2051041"/>
              <a:gd name="connsiteY386" fmla="*/ 1234733 h 2084191"/>
              <a:gd name="connsiteX387" fmla="*/ 1559649 w 2051041"/>
              <a:gd name="connsiteY387" fmla="*/ 1232557 h 2084191"/>
              <a:gd name="connsiteX388" fmla="*/ 1597742 w 2051041"/>
              <a:gd name="connsiteY388" fmla="*/ 1268472 h 2084191"/>
              <a:gd name="connsiteX389" fmla="*/ 1561826 w 2051041"/>
              <a:gd name="connsiteY389" fmla="*/ 1305476 h 2084191"/>
              <a:gd name="connsiteX390" fmla="*/ 1523734 w 2051041"/>
              <a:gd name="connsiteY390" fmla="*/ 1269561 h 2084191"/>
              <a:gd name="connsiteX391" fmla="*/ 1559649 w 2051041"/>
              <a:gd name="connsiteY391" fmla="*/ 1232557 h 2084191"/>
              <a:gd name="connsiteX392" fmla="*/ 1723990 w 2051041"/>
              <a:gd name="connsiteY392" fmla="*/ 1231468 h 2084191"/>
              <a:gd name="connsiteX393" fmla="*/ 1762083 w 2051041"/>
              <a:gd name="connsiteY393" fmla="*/ 1268472 h 2084191"/>
              <a:gd name="connsiteX394" fmla="*/ 1724535 w 2051041"/>
              <a:gd name="connsiteY394" fmla="*/ 1307109 h 2084191"/>
              <a:gd name="connsiteX395" fmla="*/ 1686442 w 2051041"/>
              <a:gd name="connsiteY395" fmla="*/ 1270105 h 2084191"/>
              <a:gd name="connsiteX396" fmla="*/ 1723990 w 2051041"/>
              <a:gd name="connsiteY396" fmla="*/ 1231468 h 2084191"/>
              <a:gd name="connsiteX397" fmla="*/ 1888332 w 2051041"/>
              <a:gd name="connsiteY397" fmla="*/ 1230924 h 2084191"/>
              <a:gd name="connsiteX398" fmla="*/ 1925336 w 2051041"/>
              <a:gd name="connsiteY398" fmla="*/ 1269561 h 2084191"/>
              <a:gd name="connsiteX399" fmla="*/ 1887243 w 2051041"/>
              <a:gd name="connsiteY399" fmla="*/ 1307653 h 2084191"/>
              <a:gd name="connsiteX400" fmla="*/ 1849151 w 2051041"/>
              <a:gd name="connsiteY400" fmla="*/ 1267928 h 2084191"/>
              <a:gd name="connsiteX401" fmla="*/ 1888332 w 2051041"/>
              <a:gd name="connsiteY401" fmla="*/ 1230924 h 2084191"/>
              <a:gd name="connsiteX402" fmla="*/ 2049952 w 2051041"/>
              <a:gd name="connsiteY402" fmla="*/ 1230380 h 2084191"/>
              <a:gd name="connsiteX403" fmla="*/ 2051041 w 2051041"/>
              <a:gd name="connsiteY403" fmla="*/ 1230805 h 2084191"/>
              <a:gd name="connsiteX404" fmla="*/ 2051041 w 2051041"/>
              <a:gd name="connsiteY404" fmla="*/ 1307109 h 2084191"/>
              <a:gd name="connsiteX405" fmla="*/ 2012404 w 2051041"/>
              <a:gd name="connsiteY405" fmla="*/ 1268472 h 2084191"/>
              <a:gd name="connsiteX406" fmla="*/ 2049952 w 2051041"/>
              <a:gd name="connsiteY406" fmla="*/ 1230380 h 2084191"/>
              <a:gd name="connsiteX407" fmla="*/ 337431 w 2051041"/>
              <a:gd name="connsiteY407" fmla="*/ 1181404 h 2084191"/>
              <a:gd name="connsiteX408" fmla="*/ 345050 w 2051041"/>
              <a:gd name="connsiteY408" fmla="*/ 1187934 h 2084191"/>
              <a:gd name="connsiteX409" fmla="*/ 336343 w 2051041"/>
              <a:gd name="connsiteY409" fmla="*/ 1192288 h 2084191"/>
              <a:gd name="connsiteX410" fmla="*/ 330901 w 2051041"/>
              <a:gd name="connsiteY410" fmla="*/ 1185758 h 2084191"/>
              <a:gd name="connsiteX411" fmla="*/ 337431 w 2051041"/>
              <a:gd name="connsiteY411" fmla="*/ 1181404 h 2084191"/>
              <a:gd name="connsiteX412" fmla="*/ 499051 w 2051041"/>
              <a:gd name="connsiteY412" fmla="*/ 1171065 h 2084191"/>
              <a:gd name="connsiteX413" fmla="*/ 516465 w 2051041"/>
              <a:gd name="connsiteY413" fmla="*/ 1187390 h 2084191"/>
              <a:gd name="connsiteX414" fmla="*/ 500140 w 2051041"/>
              <a:gd name="connsiteY414" fmla="*/ 1202627 h 2084191"/>
              <a:gd name="connsiteX415" fmla="*/ 483814 w 2051041"/>
              <a:gd name="connsiteY415" fmla="*/ 1187390 h 2084191"/>
              <a:gd name="connsiteX416" fmla="*/ 499051 w 2051041"/>
              <a:gd name="connsiteY416" fmla="*/ 1171065 h 2084191"/>
              <a:gd name="connsiteX417" fmla="*/ 662848 w 2051041"/>
              <a:gd name="connsiteY417" fmla="*/ 1165623 h 2084191"/>
              <a:gd name="connsiteX418" fmla="*/ 684615 w 2051041"/>
              <a:gd name="connsiteY418" fmla="*/ 1187390 h 2084191"/>
              <a:gd name="connsiteX419" fmla="*/ 662848 w 2051041"/>
              <a:gd name="connsiteY419" fmla="*/ 1209157 h 2084191"/>
              <a:gd name="connsiteX420" fmla="*/ 641081 w 2051041"/>
              <a:gd name="connsiteY420" fmla="*/ 1186846 h 2084191"/>
              <a:gd name="connsiteX421" fmla="*/ 662848 w 2051041"/>
              <a:gd name="connsiteY421" fmla="*/ 1165623 h 2084191"/>
              <a:gd name="connsiteX422" fmla="*/ 825556 w 2051041"/>
              <a:gd name="connsiteY422" fmla="*/ 1160725 h 2084191"/>
              <a:gd name="connsiteX423" fmla="*/ 852765 w 2051041"/>
              <a:gd name="connsiteY423" fmla="*/ 1186846 h 2084191"/>
              <a:gd name="connsiteX424" fmla="*/ 826645 w 2051041"/>
              <a:gd name="connsiteY424" fmla="*/ 1213511 h 2084191"/>
              <a:gd name="connsiteX425" fmla="*/ 798892 w 2051041"/>
              <a:gd name="connsiteY425" fmla="*/ 1188479 h 2084191"/>
              <a:gd name="connsiteX426" fmla="*/ 825556 w 2051041"/>
              <a:gd name="connsiteY426" fmla="*/ 1160725 h 2084191"/>
              <a:gd name="connsiteX427" fmla="*/ 989353 w 2051041"/>
              <a:gd name="connsiteY427" fmla="*/ 1158004 h 2084191"/>
              <a:gd name="connsiteX428" fmla="*/ 1018195 w 2051041"/>
              <a:gd name="connsiteY428" fmla="*/ 1187934 h 2084191"/>
              <a:gd name="connsiteX429" fmla="*/ 988809 w 2051041"/>
              <a:gd name="connsiteY429" fmla="*/ 1216775 h 2084191"/>
              <a:gd name="connsiteX430" fmla="*/ 959968 w 2051041"/>
              <a:gd name="connsiteY430" fmla="*/ 1187934 h 2084191"/>
              <a:gd name="connsiteX431" fmla="*/ 989353 w 2051041"/>
              <a:gd name="connsiteY431" fmla="*/ 1158004 h 2084191"/>
              <a:gd name="connsiteX432" fmla="*/ 1152062 w 2051041"/>
              <a:gd name="connsiteY432" fmla="*/ 1153651 h 2084191"/>
              <a:gd name="connsiteX433" fmla="*/ 1185801 w 2051041"/>
              <a:gd name="connsiteY433" fmla="*/ 1186301 h 2084191"/>
              <a:gd name="connsiteX434" fmla="*/ 1153150 w 2051041"/>
              <a:gd name="connsiteY434" fmla="*/ 1219496 h 2084191"/>
              <a:gd name="connsiteX435" fmla="*/ 1119956 w 2051041"/>
              <a:gd name="connsiteY435" fmla="*/ 1187390 h 2084191"/>
              <a:gd name="connsiteX436" fmla="*/ 1152062 w 2051041"/>
              <a:gd name="connsiteY436" fmla="*/ 1153651 h 2084191"/>
              <a:gd name="connsiteX437" fmla="*/ 1315315 w 2051041"/>
              <a:gd name="connsiteY437" fmla="*/ 1152018 h 2084191"/>
              <a:gd name="connsiteX438" fmla="*/ 1351230 w 2051041"/>
              <a:gd name="connsiteY438" fmla="*/ 1186845 h 2084191"/>
              <a:gd name="connsiteX439" fmla="*/ 1315859 w 2051041"/>
              <a:gd name="connsiteY439" fmla="*/ 1221673 h 2084191"/>
              <a:gd name="connsiteX440" fmla="*/ 1281576 w 2051041"/>
              <a:gd name="connsiteY440" fmla="*/ 1187390 h 2084191"/>
              <a:gd name="connsiteX441" fmla="*/ 1315315 w 2051041"/>
              <a:gd name="connsiteY441" fmla="*/ 1152018 h 2084191"/>
              <a:gd name="connsiteX442" fmla="*/ 1479656 w 2051041"/>
              <a:gd name="connsiteY442" fmla="*/ 1149298 h 2084191"/>
              <a:gd name="connsiteX443" fmla="*/ 1516660 w 2051041"/>
              <a:gd name="connsiteY443" fmla="*/ 1188479 h 2084191"/>
              <a:gd name="connsiteX444" fmla="*/ 1478023 w 2051041"/>
              <a:gd name="connsiteY444" fmla="*/ 1224394 h 2084191"/>
              <a:gd name="connsiteX445" fmla="*/ 1441563 w 2051041"/>
              <a:gd name="connsiteY445" fmla="*/ 1185758 h 2084191"/>
              <a:gd name="connsiteX446" fmla="*/ 1479656 w 2051041"/>
              <a:gd name="connsiteY446" fmla="*/ 1149298 h 2084191"/>
              <a:gd name="connsiteX447" fmla="*/ 1642365 w 2051041"/>
              <a:gd name="connsiteY447" fmla="*/ 1148209 h 2084191"/>
              <a:gd name="connsiteX448" fmla="*/ 1681001 w 2051041"/>
              <a:gd name="connsiteY448" fmla="*/ 1187390 h 2084191"/>
              <a:gd name="connsiteX449" fmla="*/ 1641821 w 2051041"/>
              <a:gd name="connsiteY449" fmla="*/ 1226026 h 2084191"/>
              <a:gd name="connsiteX450" fmla="*/ 1603728 w 2051041"/>
              <a:gd name="connsiteY450" fmla="*/ 1186846 h 2084191"/>
              <a:gd name="connsiteX451" fmla="*/ 1642365 w 2051041"/>
              <a:gd name="connsiteY451" fmla="*/ 1148209 h 2084191"/>
              <a:gd name="connsiteX452" fmla="*/ 1969414 w 2051041"/>
              <a:gd name="connsiteY452" fmla="*/ 1147665 h 2084191"/>
              <a:gd name="connsiteX453" fmla="*/ 2009139 w 2051041"/>
              <a:gd name="connsiteY453" fmla="*/ 1187934 h 2084191"/>
              <a:gd name="connsiteX454" fmla="*/ 1968870 w 2051041"/>
              <a:gd name="connsiteY454" fmla="*/ 1227114 h 2084191"/>
              <a:gd name="connsiteX455" fmla="*/ 1929145 w 2051041"/>
              <a:gd name="connsiteY455" fmla="*/ 1186301 h 2084191"/>
              <a:gd name="connsiteX456" fmla="*/ 1969414 w 2051041"/>
              <a:gd name="connsiteY456" fmla="*/ 1147665 h 2084191"/>
              <a:gd name="connsiteX457" fmla="*/ 1805617 w 2051041"/>
              <a:gd name="connsiteY457" fmla="*/ 1147665 h 2084191"/>
              <a:gd name="connsiteX458" fmla="*/ 1844798 w 2051041"/>
              <a:gd name="connsiteY458" fmla="*/ 1187934 h 2084191"/>
              <a:gd name="connsiteX459" fmla="*/ 1805073 w 2051041"/>
              <a:gd name="connsiteY459" fmla="*/ 1226571 h 2084191"/>
              <a:gd name="connsiteX460" fmla="*/ 1766981 w 2051041"/>
              <a:gd name="connsiteY460" fmla="*/ 1186845 h 2084191"/>
              <a:gd name="connsiteX461" fmla="*/ 1805617 w 2051041"/>
              <a:gd name="connsiteY461" fmla="*/ 1147665 h 2084191"/>
              <a:gd name="connsiteX462" fmla="*/ 417425 w 2051041"/>
              <a:gd name="connsiteY462" fmla="*/ 1090527 h 2084191"/>
              <a:gd name="connsiteX463" fmla="*/ 432662 w 2051041"/>
              <a:gd name="connsiteY463" fmla="*/ 1105764 h 2084191"/>
              <a:gd name="connsiteX464" fmla="*/ 417969 w 2051041"/>
              <a:gd name="connsiteY464" fmla="*/ 1120457 h 2084191"/>
              <a:gd name="connsiteX465" fmla="*/ 402732 w 2051041"/>
              <a:gd name="connsiteY465" fmla="*/ 1105219 h 2084191"/>
              <a:gd name="connsiteX466" fmla="*/ 417425 w 2051041"/>
              <a:gd name="connsiteY466" fmla="*/ 1090527 h 2084191"/>
              <a:gd name="connsiteX467" fmla="*/ 580677 w 2051041"/>
              <a:gd name="connsiteY467" fmla="*/ 1083996 h 2084191"/>
              <a:gd name="connsiteX468" fmla="*/ 602444 w 2051041"/>
              <a:gd name="connsiteY468" fmla="*/ 1105219 h 2084191"/>
              <a:gd name="connsiteX469" fmla="*/ 581221 w 2051041"/>
              <a:gd name="connsiteY469" fmla="*/ 1127530 h 2084191"/>
              <a:gd name="connsiteX470" fmla="*/ 558910 w 2051041"/>
              <a:gd name="connsiteY470" fmla="*/ 1105219 h 2084191"/>
              <a:gd name="connsiteX471" fmla="*/ 580677 w 2051041"/>
              <a:gd name="connsiteY471" fmla="*/ 1083996 h 2084191"/>
              <a:gd name="connsiteX472" fmla="*/ 743386 w 2051041"/>
              <a:gd name="connsiteY472" fmla="*/ 1079099 h 2084191"/>
              <a:gd name="connsiteX473" fmla="*/ 770595 w 2051041"/>
              <a:gd name="connsiteY473" fmla="*/ 1105219 h 2084191"/>
              <a:gd name="connsiteX474" fmla="*/ 745019 w 2051041"/>
              <a:gd name="connsiteY474" fmla="*/ 1132428 h 2084191"/>
              <a:gd name="connsiteX475" fmla="*/ 717810 w 2051041"/>
              <a:gd name="connsiteY475" fmla="*/ 1106308 h 2084191"/>
              <a:gd name="connsiteX476" fmla="*/ 743386 w 2051041"/>
              <a:gd name="connsiteY476" fmla="*/ 1079099 h 2084191"/>
              <a:gd name="connsiteX477" fmla="*/ 907727 w 2051041"/>
              <a:gd name="connsiteY477" fmla="*/ 1076378 h 2084191"/>
              <a:gd name="connsiteX478" fmla="*/ 937112 w 2051041"/>
              <a:gd name="connsiteY478" fmla="*/ 1105219 h 2084191"/>
              <a:gd name="connsiteX479" fmla="*/ 908271 w 2051041"/>
              <a:gd name="connsiteY479" fmla="*/ 1134061 h 2084191"/>
              <a:gd name="connsiteX480" fmla="*/ 878885 w 2051041"/>
              <a:gd name="connsiteY480" fmla="*/ 1105764 h 2084191"/>
              <a:gd name="connsiteX481" fmla="*/ 907727 w 2051041"/>
              <a:gd name="connsiteY481" fmla="*/ 1076378 h 2084191"/>
              <a:gd name="connsiteX482" fmla="*/ 1071524 w 2051041"/>
              <a:gd name="connsiteY482" fmla="*/ 1072569 h 2084191"/>
              <a:gd name="connsiteX483" fmla="*/ 1104174 w 2051041"/>
              <a:gd name="connsiteY483" fmla="*/ 1105220 h 2084191"/>
              <a:gd name="connsiteX484" fmla="*/ 1070435 w 2051041"/>
              <a:gd name="connsiteY484" fmla="*/ 1137870 h 2084191"/>
              <a:gd name="connsiteX485" fmla="*/ 1038329 w 2051041"/>
              <a:gd name="connsiteY485" fmla="*/ 1105764 h 2084191"/>
              <a:gd name="connsiteX486" fmla="*/ 1071524 w 2051041"/>
              <a:gd name="connsiteY486" fmla="*/ 1072569 h 2084191"/>
              <a:gd name="connsiteX487" fmla="*/ 1235865 w 2051041"/>
              <a:gd name="connsiteY487" fmla="*/ 1068760 h 2084191"/>
              <a:gd name="connsiteX488" fmla="*/ 1271237 w 2051041"/>
              <a:gd name="connsiteY488" fmla="*/ 1106852 h 2084191"/>
              <a:gd name="connsiteX489" fmla="*/ 1234777 w 2051041"/>
              <a:gd name="connsiteY489" fmla="*/ 1142223 h 2084191"/>
              <a:gd name="connsiteX490" fmla="*/ 1198861 w 2051041"/>
              <a:gd name="connsiteY490" fmla="*/ 1105219 h 2084191"/>
              <a:gd name="connsiteX491" fmla="*/ 1235865 w 2051041"/>
              <a:gd name="connsiteY491" fmla="*/ 1068760 h 2084191"/>
              <a:gd name="connsiteX492" fmla="*/ 1396397 w 2051041"/>
              <a:gd name="connsiteY492" fmla="*/ 1067127 h 2084191"/>
              <a:gd name="connsiteX493" fmla="*/ 1435578 w 2051041"/>
              <a:gd name="connsiteY493" fmla="*/ 1105219 h 2084191"/>
              <a:gd name="connsiteX494" fmla="*/ 1396941 w 2051041"/>
              <a:gd name="connsiteY494" fmla="*/ 1143856 h 2084191"/>
              <a:gd name="connsiteX495" fmla="*/ 1358849 w 2051041"/>
              <a:gd name="connsiteY495" fmla="*/ 1105763 h 2084191"/>
              <a:gd name="connsiteX496" fmla="*/ 1396397 w 2051041"/>
              <a:gd name="connsiteY496" fmla="*/ 1067127 h 2084191"/>
              <a:gd name="connsiteX497" fmla="*/ 1560738 w 2051041"/>
              <a:gd name="connsiteY497" fmla="*/ 1066582 h 2084191"/>
              <a:gd name="connsiteX498" fmla="*/ 1599919 w 2051041"/>
              <a:gd name="connsiteY498" fmla="*/ 1105763 h 2084191"/>
              <a:gd name="connsiteX499" fmla="*/ 1560738 w 2051041"/>
              <a:gd name="connsiteY499" fmla="*/ 1144400 h 2084191"/>
              <a:gd name="connsiteX500" fmla="*/ 1521013 w 2051041"/>
              <a:gd name="connsiteY500" fmla="*/ 1105763 h 2084191"/>
              <a:gd name="connsiteX501" fmla="*/ 1560738 w 2051041"/>
              <a:gd name="connsiteY501" fmla="*/ 1066582 h 2084191"/>
              <a:gd name="connsiteX502" fmla="*/ 1723447 w 2051041"/>
              <a:gd name="connsiteY502" fmla="*/ 1064406 h 2084191"/>
              <a:gd name="connsiteX503" fmla="*/ 1764260 w 2051041"/>
              <a:gd name="connsiteY503" fmla="*/ 1104675 h 2084191"/>
              <a:gd name="connsiteX504" fmla="*/ 1724535 w 2051041"/>
              <a:gd name="connsiteY504" fmla="*/ 1146032 h 2084191"/>
              <a:gd name="connsiteX505" fmla="*/ 1683178 w 2051041"/>
              <a:gd name="connsiteY505" fmla="*/ 1105764 h 2084191"/>
              <a:gd name="connsiteX506" fmla="*/ 1723447 w 2051041"/>
              <a:gd name="connsiteY506" fmla="*/ 1064406 h 2084191"/>
              <a:gd name="connsiteX507" fmla="*/ 2051041 w 2051041"/>
              <a:gd name="connsiteY507" fmla="*/ 1063318 h 2084191"/>
              <a:gd name="connsiteX508" fmla="*/ 2051041 w 2051041"/>
              <a:gd name="connsiteY508" fmla="*/ 1147740 h 2084191"/>
              <a:gd name="connsiteX509" fmla="*/ 2049952 w 2051041"/>
              <a:gd name="connsiteY509" fmla="*/ 1148210 h 2084191"/>
              <a:gd name="connsiteX510" fmla="*/ 2008051 w 2051041"/>
              <a:gd name="connsiteY510" fmla="*/ 1105764 h 2084191"/>
              <a:gd name="connsiteX511" fmla="*/ 2051041 w 2051041"/>
              <a:gd name="connsiteY511" fmla="*/ 1063318 h 2084191"/>
              <a:gd name="connsiteX512" fmla="*/ 1887787 w 2051041"/>
              <a:gd name="connsiteY512" fmla="*/ 1062773 h 2084191"/>
              <a:gd name="connsiteX513" fmla="*/ 1929145 w 2051041"/>
              <a:gd name="connsiteY513" fmla="*/ 1105763 h 2084191"/>
              <a:gd name="connsiteX514" fmla="*/ 1886699 w 2051041"/>
              <a:gd name="connsiteY514" fmla="*/ 1147665 h 2084191"/>
              <a:gd name="connsiteX515" fmla="*/ 1844798 w 2051041"/>
              <a:gd name="connsiteY515" fmla="*/ 1105219 h 2084191"/>
              <a:gd name="connsiteX516" fmla="*/ 1887787 w 2051041"/>
              <a:gd name="connsiteY516" fmla="*/ 1062773 h 2084191"/>
              <a:gd name="connsiteX517" fmla="*/ 335798 w 2051041"/>
              <a:gd name="connsiteY517" fmla="*/ 1011621 h 2084191"/>
              <a:gd name="connsiteX518" fmla="*/ 348314 w 2051041"/>
              <a:gd name="connsiteY518" fmla="*/ 1023049 h 2084191"/>
              <a:gd name="connsiteX519" fmla="*/ 336886 w 2051041"/>
              <a:gd name="connsiteY519" fmla="*/ 1036109 h 2084191"/>
              <a:gd name="connsiteX520" fmla="*/ 324370 w 2051041"/>
              <a:gd name="connsiteY520" fmla="*/ 1024681 h 2084191"/>
              <a:gd name="connsiteX521" fmla="*/ 335798 w 2051041"/>
              <a:gd name="connsiteY521" fmla="*/ 1011621 h 2084191"/>
              <a:gd name="connsiteX522" fmla="*/ 499051 w 2051041"/>
              <a:gd name="connsiteY522" fmla="*/ 1002914 h 2084191"/>
              <a:gd name="connsiteX523" fmla="*/ 520818 w 2051041"/>
              <a:gd name="connsiteY523" fmla="*/ 1024137 h 2084191"/>
              <a:gd name="connsiteX524" fmla="*/ 499595 w 2051041"/>
              <a:gd name="connsiteY524" fmla="*/ 1045360 h 2084191"/>
              <a:gd name="connsiteX525" fmla="*/ 478372 w 2051041"/>
              <a:gd name="connsiteY525" fmla="*/ 1024137 h 2084191"/>
              <a:gd name="connsiteX526" fmla="*/ 499051 w 2051041"/>
              <a:gd name="connsiteY526" fmla="*/ 1002914 h 2084191"/>
              <a:gd name="connsiteX527" fmla="*/ 663392 w 2051041"/>
              <a:gd name="connsiteY527" fmla="*/ 997473 h 2084191"/>
              <a:gd name="connsiteX528" fmla="*/ 688424 w 2051041"/>
              <a:gd name="connsiteY528" fmla="*/ 1024138 h 2084191"/>
              <a:gd name="connsiteX529" fmla="*/ 661759 w 2051041"/>
              <a:gd name="connsiteY529" fmla="*/ 1050258 h 2084191"/>
              <a:gd name="connsiteX530" fmla="*/ 636727 w 2051041"/>
              <a:gd name="connsiteY530" fmla="*/ 1023593 h 2084191"/>
              <a:gd name="connsiteX531" fmla="*/ 663392 w 2051041"/>
              <a:gd name="connsiteY531" fmla="*/ 997473 h 2084191"/>
              <a:gd name="connsiteX532" fmla="*/ 826645 w 2051041"/>
              <a:gd name="connsiteY532" fmla="*/ 995840 h 2084191"/>
              <a:gd name="connsiteX533" fmla="*/ 854942 w 2051041"/>
              <a:gd name="connsiteY533" fmla="*/ 1024137 h 2084191"/>
              <a:gd name="connsiteX534" fmla="*/ 825557 w 2051041"/>
              <a:gd name="connsiteY534" fmla="*/ 1052978 h 2084191"/>
              <a:gd name="connsiteX535" fmla="*/ 797260 w 2051041"/>
              <a:gd name="connsiteY535" fmla="*/ 1023593 h 2084191"/>
              <a:gd name="connsiteX536" fmla="*/ 826645 w 2051041"/>
              <a:gd name="connsiteY536" fmla="*/ 995840 h 2084191"/>
              <a:gd name="connsiteX537" fmla="*/ 990441 w 2051041"/>
              <a:gd name="connsiteY537" fmla="*/ 990942 h 2084191"/>
              <a:gd name="connsiteX538" fmla="*/ 1022548 w 2051041"/>
              <a:gd name="connsiteY538" fmla="*/ 1025225 h 2084191"/>
              <a:gd name="connsiteX539" fmla="*/ 988809 w 2051041"/>
              <a:gd name="connsiteY539" fmla="*/ 1056787 h 2084191"/>
              <a:gd name="connsiteX540" fmla="*/ 956702 w 2051041"/>
              <a:gd name="connsiteY540" fmla="*/ 1023593 h 2084191"/>
              <a:gd name="connsiteX541" fmla="*/ 990441 w 2051041"/>
              <a:gd name="connsiteY541" fmla="*/ 990942 h 2084191"/>
              <a:gd name="connsiteX542" fmla="*/ 1150974 w 2051041"/>
              <a:gd name="connsiteY542" fmla="*/ 987678 h 2084191"/>
              <a:gd name="connsiteX543" fmla="*/ 1189610 w 2051041"/>
              <a:gd name="connsiteY543" fmla="*/ 1023593 h 2084191"/>
              <a:gd name="connsiteX544" fmla="*/ 1152062 w 2051041"/>
              <a:gd name="connsiteY544" fmla="*/ 1061685 h 2084191"/>
              <a:gd name="connsiteX545" fmla="*/ 1115058 w 2051041"/>
              <a:gd name="connsiteY545" fmla="*/ 1024682 h 2084191"/>
              <a:gd name="connsiteX546" fmla="*/ 1150974 w 2051041"/>
              <a:gd name="connsiteY546" fmla="*/ 987678 h 2084191"/>
              <a:gd name="connsiteX547" fmla="*/ 1315314 w 2051041"/>
              <a:gd name="connsiteY547" fmla="*/ 985501 h 2084191"/>
              <a:gd name="connsiteX548" fmla="*/ 1354495 w 2051041"/>
              <a:gd name="connsiteY548" fmla="*/ 1023593 h 2084191"/>
              <a:gd name="connsiteX549" fmla="*/ 1315858 w 2051041"/>
              <a:gd name="connsiteY549" fmla="*/ 1062230 h 2084191"/>
              <a:gd name="connsiteX550" fmla="*/ 1277222 w 2051041"/>
              <a:gd name="connsiteY550" fmla="*/ 1024137 h 2084191"/>
              <a:gd name="connsiteX551" fmla="*/ 1315314 w 2051041"/>
              <a:gd name="connsiteY551" fmla="*/ 985501 h 2084191"/>
              <a:gd name="connsiteX552" fmla="*/ 1479656 w 2051041"/>
              <a:gd name="connsiteY552" fmla="*/ 984412 h 2084191"/>
              <a:gd name="connsiteX553" fmla="*/ 1519380 w 2051041"/>
              <a:gd name="connsiteY553" fmla="*/ 1025225 h 2084191"/>
              <a:gd name="connsiteX554" fmla="*/ 1478567 w 2051041"/>
              <a:gd name="connsiteY554" fmla="*/ 1063318 h 2084191"/>
              <a:gd name="connsiteX555" fmla="*/ 1439387 w 2051041"/>
              <a:gd name="connsiteY555" fmla="*/ 1023593 h 2084191"/>
              <a:gd name="connsiteX556" fmla="*/ 1479656 w 2051041"/>
              <a:gd name="connsiteY556" fmla="*/ 984412 h 2084191"/>
              <a:gd name="connsiteX557" fmla="*/ 1641820 w 2051041"/>
              <a:gd name="connsiteY557" fmla="*/ 981691 h 2084191"/>
              <a:gd name="connsiteX558" fmla="*/ 1684810 w 2051041"/>
              <a:gd name="connsiteY558" fmla="*/ 1023592 h 2084191"/>
              <a:gd name="connsiteX559" fmla="*/ 1642909 w 2051041"/>
              <a:gd name="connsiteY559" fmla="*/ 1066038 h 2084191"/>
              <a:gd name="connsiteX560" fmla="*/ 1599919 w 2051041"/>
              <a:gd name="connsiteY560" fmla="*/ 1023592 h 2084191"/>
              <a:gd name="connsiteX561" fmla="*/ 1641820 w 2051041"/>
              <a:gd name="connsiteY561" fmla="*/ 981691 h 2084191"/>
              <a:gd name="connsiteX562" fmla="*/ 1806161 w 2051041"/>
              <a:gd name="connsiteY562" fmla="*/ 980603 h 2084191"/>
              <a:gd name="connsiteX563" fmla="*/ 1849151 w 2051041"/>
              <a:gd name="connsiteY563" fmla="*/ 1023592 h 2084191"/>
              <a:gd name="connsiteX564" fmla="*/ 1805617 w 2051041"/>
              <a:gd name="connsiteY564" fmla="*/ 1067127 h 2084191"/>
              <a:gd name="connsiteX565" fmla="*/ 1762083 w 2051041"/>
              <a:gd name="connsiteY565" fmla="*/ 1023592 h 2084191"/>
              <a:gd name="connsiteX566" fmla="*/ 1806161 w 2051041"/>
              <a:gd name="connsiteY566" fmla="*/ 980603 h 2084191"/>
              <a:gd name="connsiteX567" fmla="*/ 1969414 w 2051041"/>
              <a:gd name="connsiteY567" fmla="*/ 980059 h 2084191"/>
              <a:gd name="connsiteX568" fmla="*/ 2012404 w 2051041"/>
              <a:gd name="connsiteY568" fmla="*/ 1024137 h 2084191"/>
              <a:gd name="connsiteX569" fmla="*/ 1968870 w 2051041"/>
              <a:gd name="connsiteY569" fmla="*/ 1067127 h 2084191"/>
              <a:gd name="connsiteX570" fmla="*/ 1924792 w 2051041"/>
              <a:gd name="connsiteY570" fmla="*/ 1024137 h 2084191"/>
              <a:gd name="connsiteX571" fmla="*/ 1969414 w 2051041"/>
              <a:gd name="connsiteY571" fmla="*/ 980059 h 2084191"/>
              <a:gd name="connsiteX572" fmla="*/ 254171 w 2051041"/>
              <a:gd name="connsiteY572" fmla="*/ 931083 h 2084191"/>
              <a:gd name="connsiteX573" fmla="*/ 265599 w 2051041"/>
              <a:gd name="connsiteY573" fmla="*/ 941967 h 2084191"/>
              <a:gd name="connsiteX574" fmla="*/ 254171 w 2051041"/>
              <a:gd name="connsiteY574" fmla="*/ 952850 h 2084191"/>
              <a:gd name="connsiteX575" fmla="*/ 243832 w 2051041"/>
              <a:gd name="connsiteY575" fmla="*/ 941967 h 2084191"/>
              <a:gd name="connsiteX576" fmla="*/ 254171 w 2051041"/>
              <a:gd name="connsiteY576" fmla="*/ 931083 h 2084191"/>
              <a:gd name="connsiteX577" fmla="*/ 417968 w 2051041"/>
              <a:gd name="connsiteY577" fmla="*/ 922377 h 2084191"/>
              <a:gd name="connsiteX578" fmla="*/ 437559 w 2051041"/>
              <a:gd name="connsiteY578" fmla="*/ 942511 h 2084191"/>
              <a:gd name="connsiteX579" fmla="*/ 417968 w 2051041"/>
              <a:gd name="connsiteY579" fmla="*/ 961557 h 2084191"/>
              <a:gd name="connsiteX580" fmla="*/ 397834 w 2051041"/>
              <a:gd name="connsiteY580" fmla="*/ 941423 h 2084191"/>
              <a:gd name="connsiteX581" fmla="*/ 417968 w 2051041"/>
              <a:gd name="connsiteY581" fmla="*/ 922377 h 2084191"/>
              <a:gd name="connsiteX582" fmla="*/ 581222 w 2051041"/>
              <a:gd name="connsiteY582" fmla="*/ 916934 h 2084191"/>
              <a:gd name="connsiteX583" fmla="*/ 606798 w 2051041"/>
              <a:gd name="connsiteY583" fmla="*/ 943054 h 2084191"/>
              <a:gd name="connsiteX584" fmla="*/ 581222 w 2051041"/>
              <a:gd name="connsiteY584" fmla="*/ 967542 h 2084191"/>
              <a:gd name="connsiteX585" fmla="*/ 556190 w 2051041"/>
              <a:gd name="connsiteY585" fmla="*/ 943054 h 2084191"/>
              <a:gd name="connsiteX586" fmla="*/ 581222 w 2051041"/>
              <a:gd name="connsiteY586" fmla="*/ 916934 h 2084191"/>
              <a:gd name="connsiteX587" fmla="*/ 744474 w 2051041"/>
              <a:gd name="connsiteY587" fmla="*/ 913669 h 2084191"/>
              <a:gd name="connsiteX588" fmla="*/ 773315 w 2051041"/>
              <a:gd name="connsiteY588" fmla="*/ 942510 h 2084191"/>
              <a:gd name="connsiteX589" fmla="*/ 743930 w 2051041"/>
              <a:gd name="connsiteY589" fmla="*/ 970807 h 2084191"/>
              <a:gd name="connsiteX590" fmla="*/ 716177 w 2051041"/>
              <a:gd name="connsiteY590" fmla="*/ 941966 h 2084191"/>
              <a:gd name="connsiteX591" fmla="*/ 744474 w 2051041"/>
              <a:gd name="connsiteY591" fmla="*/ 913669 h 2084191"/>
              <a:gd name="connsiteX592" fmla="*/ 908271 w 2051041"/>
              <a:gd name="connsiteY592" fmla="*/ 908772 h 2084191"/>
              <a:gd name="connsiteX593" fmla="*/ 940377 w 2051041"/>
              <a:gd name="connsiteY593" fmla="*/ 944144 h 2084191"/>
              <a:gd name="connsiteX594" fmla="*/ 906094 w 2051041"/>
              <a:gd name="connsiteY594" fmla="*/ 975162 h 2084191"/>
              <a:gd name="connsiteX595" fmla="*/ 874532 w 2051041"/>
              <a:gd name="connsiteY595" fmla="*/ 940879 h 2084191"/>
              <a:gd name="connsiteX596" fmla="*/ 908271 w 2051041"/>
              <a:gd name="connsiteY596" fmla="*/ 908772 h 2084191"/>
              <a:gd name="connsiteX597" fmla="*/ 1072068 w 2051041"/>
              <a:gd name="connsiteY597" fmla="*/ 906051 h 2084191"/>
              <a:gd name="connsiteX598" fmla="*/ 1107984 w 2051041"/>
              <a:gd name="connsiteY598" fmla="*/ 942511 h 2084191"/>
              <a:gd name="connsiteX599" fmla="*/ 1070980 w 2051041"/>
              <a:gd name="connsiteY599" fmla="*/ 979515 h 2084191"/>
              <a:gd name="connsiteX600" fmla="*/ 1034520 w 2051041"/>
              <a:gd name="connsiteY600" fmla="*/ 942511 h 2084191"/>
              <a:gd name="connsiteX601" fmla="*/ 1072068 w 2051041"/>
              <a:gd name="connsiteY601" fmla="*/ 906051 h 2084191"/>
              <a:gd name="connsiteX602" fmla="*/ 1235321 w 2051041"/>
              <a:gd name="connsiteY602" fmla="*/ 903874 h 2084191"/>
              <a:gd name="connsiteX603" fmla="*/ 1272325 w 2051041"/>
              <a:gd name="connsiteY603" fmla="*/ 943054 h 2084191"/>
              <a:gd name="connsiteX604" fmla="*/ 1233688 w 2051041"/>
              <a:gd name="connsiteY604" fmla="*/ 981147 h 2084191"/>
              <a:gd name="connsiteX605" fmla="*/ 1195596 w 2051041"/>
              <a:gd name="connsiteY605" fmla="*/ 940878 h 2084191"/>
              <a:gd name="connsiteX606" fmla="*/ 1235321 w 2051041"/>
              <a:gd name="connsiteY606" fmla="*/ 903874 h 2084191"/>
              <a:gd name="connsiteX607" fmla="*/ 1397486 w 2051041"/>
              <a:gd name="connsiteY607" fmla="*/ 901153 h 2084191"/>
              <a:gd name="connsiteX608" fmla="*/ 1438299 w 2051041"/>
              <a:gd name="connsiteY608" fmla="*/ 942511 h 2084191"/>
              <a:gd name="connsiteX609" fmla="*/ 1396941 w 2051041"/>
              <a:gd name="connsiteY609" fmla="*/ 983324 h 2084191"/>
              <a:gd name="connsiteX610" fmla="*/ 1356128 w 2051041"/>
              <a:gd name="connsiteY610" fmla="*/ 941967 h 2084191"/>
              <a:gd name="connsiteX611" fmla="*/ 1397486 w 2051041"/>
              <a:gd name="connsiteY611" fmla="*/ 901153 h 2084191"/>
              <a:gd name="connsiteX612" fmla="*/ 1560738 w 2051041"/>
              <a:gd name="connsiteY612" fmla="*/ 898977 h 2084191"/>
              <a:gd name="connsiteX613" fmla="*/ 1603728 w 2051041"/>
              <a:gd name="connsiteY613" fmla="*/ 942511 h 2084191"/>
              <a:gd name="connsiteX614" fmla="*/ 1560738 w 2051041"/>
              <a:gd name="connsiteY614" fmla="*/ 985501 h 2084191"/>
              <a:gd name="connsiteX615" fmla="*/ 1517204 w 2051041"/>
              <a:gd name="connsiteY615" fmla="*/ 941423 h 2084191"/>
              <a:gd name="connsiteX616" fmla="*/ 1560738 w 2051041"/>
              <a:gd name="connsiteY616" fmla="*/ 898977 h 2084191"/>
              <a:gd name="connsiteX617" fmla="*/ 1723990 w 2051041"/>
              <a:gd name="connsiteY617" fmla="*/ 897888 h 2084191"/>
              <a:gd name="connsiteX618" fmla="*/ 1768069 w 2051041"/>
              <a:gd name="connsiteY618" fmla="*/ 942510 h 2084191"/>
              <a:gd name="connsiteX619" fmla="*/ 1723990 w 2051041"/>
              <a:gd name="connsiteY619" fmla="*/ 986589 h 2084191"/>
              <a:gd name="connsiteX620" fmla="*/ 1679912 w 2051041"/>
              <a:gd name="connsiteY620" fmla="*/ 941422 h 2084191"/>
              <a:gd name="connsiteX621" fmla="*/ 1723990 w 2051041"/>
              <a:gd name="connsiteY621" fmla="*/ 897888 h 2084191"/>
              <a:gd name="connsiteX622" fmla="*/ 2050497 w 2051041"/>
              <a:gd name="connsiteY622" fmla="*/ 897344 h 2084191"/>
              <a:gd name="connsiteX623" fmla="*/ 2051041 w 2051041"/>
              <a:gd name="connsiteY623" fmla="*/ 897453 h 2084191"/>
              <a:gd name="connsiteX624" fmla="*/ 2051041 w 2051041"/>
              <a:gd name="connsiteY624" fmla="*/ 986917 h 2084191"/>
              <a:gd name="connsiteX625" fmla="*/ 2049952 w 2051041"/>
              <a:gd name="connsiteY625" fmla="*/ 987133 h 2084191"/>
              <a:gd name="connsiteX626" fmla="*/ 2005330 w 2051041"/>
              <a:gd name="connsiteY626" fmla="*/ 941422 h 2084191"/>
              <a:gd name="connsiteX627" fmla="*/ 2050497 w 2051041"/>
              <a:gd name="connsiteY627" fmla="*/ 897344 h 2084191"/>
              <a:gd name="connsiteX628" fmla="*/ 1887243 w 2051041"/>
              <a:gd name="connsiteY628" fmla="*/ 897344 h 2084191"/>
              <a:gd name="connsiteX629" fmla="*/ 1931866 w 2051041"/>
              <a:gd name="connsiteY629" fmla="*/ 942511 h 2084191"/>
              <a:gd name="connsiteX630" fmla="*/ 1887243 w 2051041"/>
              <a:gd name="connsiteY630" fmla="*/ 986589 h 2084191"/>
              <a:gd name="connsiteX631" fmla="*/ 1843165 w 2051041"/>
              <a:gd name="connsiteY631" fmla="*/ 941422 h 2084191"/>
              <a:gd name="connsiteX632" fmla="*/ 1887243 w 2051041"/>
              <a:gd name="connsiteY632" fmla="*/ 897344 h 2084191"/>
              <a:gd name="connsiteX633" fmla="*/ 172545 w 2051041"/>
              <a:gd name="connsiteY633" fmla="*/ 854354 h 2084191"/>
              <a:gd name="connsiteX634" fmla="*/ 179619 w 2051041"/>
              <a:gd name="connsiteY634" fmla="*/ 860884 h 2084191"/>
              <a:gd name="connsiteX635" fmla="*/ 173634 w 2051041"/>
              <a:gd name="connsiteY635" fmla="*/ 866870 h 2084191"/>
              <a:gd name="connsiteX636" fmla="*/ 166015 w 2051041"/>
              <a:gd name="connsiteY636" fmla="*/ 861973 h 2084191"/>
              <a:gd name="connsiteX637" fmla="*/ 172545 w 2051041"/>
              <a:gd name="connsiteY637" fmla="*/ 854354 h 2084191"/>
              <a:gd name="connsiteX638" fmla="*/ 336342 w 2051041"/>
              <a:gd name="connsiteY638" fmla="*/ 843471 h 2084191"/>
              <a:gd name="connsiteX639" fmla="*/ 353211 w 2051041"/>
              <a:gd name="connsiteY639" fmla="*/ 860340 h 2084191"/>
              <a:gd name="connsiteX640" fmla="*/ 336886 w 2051041"/>
              <a:gd name="connsiteY640" fmla="*/ 877210 h 2084191"/>
              <a:gd name="connsiteX641" fmla="*/ 320017 w 2051041"/>
              <a:gd name="connsiteY641" fmla="*/ 860884 h 2084191"/>
              <a:gd name="connsiteX642" fmla="*/ 336342 w 2051041"/>
              <a:gd name="connsiteY642" fmla="*/ 843471 h 2084191"/>
              <a:gd name="connsiteX643" fmla="*/ 500139 w 2051041"/>
              <a:gd name="connsiteY643" fmla="*/ 837485 h 2084191"/>
              <a:gd name="connsiteX644" fmla="*/ 522994 w 2051041"/>
              <a:gd name="connsiteY644" fmla="*/ 861428 h 2084191"/>
              <a:gd name="connsiteX645" fmla="*/ 499595 w 2051041"/>
              <a:gd name="connsiteY645" fmla="*/ 884284 h 2084191"/>
              <a:gd name="connsiteX646" fmla="*/ 476739 w 2051041"/>
              <a:gd name="connsiteY646" fmla="*/ 860340 h 2084191"/>
              <a:gd name="connsiteX647" fmla="*/ 500139 w 2051041"/>
              <a:gd name="connsiteY647" fmla="*/ 837485 h 2084191"/>
              <a:gd name="connsiteX648" fmla="*/ 662848 w 2051041"/>
              <a:gd name="connsiteY648" fmla="*/ 832587 h 2084191"/>
              <a:gd name="connsiteX649" fmla="*/ 690057 w 2051041"/>
              <a:gd name="connsiteY649" fmla="*/ 860340 h 2084191"/>
              <a:gd name="connsiteX650" fmla="*/ 662848 w 2051041"/>
              <a:gd name="connsiteY650" fmla="*/ 888637 h 2084191"/>
              <a:gd name="connsiteX651" fmla="*/ 634551 w 2051041"/>
              <a:gd name="connsiteY651" fmla="*/ 861428 h 2084191"/>
              <a:gd name="connsiteX652" fmla="*/ 662848 w 2051041"/>
              <a:gd name="connsiteY652" fmla="*/ 832587 h 2084191"/>
              <a:gd name="connsiteX653" fmla="*/ 826101 w 2051041"/>
              <a:gd name="connsiteY653" fmla="*/ 827146 h 2084191"/>
              <a:gd name="connsiteX654" fmla="*/ 859295 w 2051041"/>
              <a:gd name="connsiteY654" fmla="*/ 860885 h 2084191"/>
              <a:gd name="connsiteX655" fmla="*/ 825556 w 2051041"/>
              <a:gd name="connsiteY655" fmla="*/ 892991 h 2084191"/>
              <a:gd name="connsiteX656" fmla="*/ 793450 w 2051041"/>
              <a:gd name="connsiteY656" fmla="*/ 860885 h 2084191"/>
              <a:gd name="connsiteX657" fmla="*/ 826101 w 2051041"/>
              <a:gd name="connsiteY657" fmla="*/ 827146 h 2084191"/>
              <a:gd name="connsiteX658" fmla="*/ 988809 w 2051041"/>
              <a:gd name="connsiteY658" fmla="*/ 824424 h 2084191"/>
              <a:gd name="connsiteX659" fmla="*/ 1025813 w 2051041"/>
              <a:gd name="connsiteY659" fmla="*/ 860339 h 2084191"/>
              <a:gd name="connsiteX660" fmla="*/ 989897 w 2051041"/>
              <a:gd name="connsiteY660" fmla="*/ 897344 h 2084191"/>
              <a:gd name="connsiteX661" fmla="*/ 953437 w 2051041"/>
              <a:gd name="connsiteY661" fmla="*/ 861972 h 2084191"/>
              <a:gd name="connsiteX662" fmla="*/ 988809 w 2051041"/>
              <a:gd name="connsiteY662" fmla="*/ 824424 h 2084191"/>
              <a:gd name="connsiteX663" fmla="*/ 1153695 w 2051041"/>
              <a:gd name="connsiteY663" fmla="*/ 821704 h 2084191"/>
              <a:gd name="connsiteX664" fmla="*/ 1191243 w 2051041"/>
              <a:gd name="connsiteY664" fmla="*/ 861429 h 2084191"/>
              <a:gd name="connsiteX665" fmla="*/ 1152606 w 2051041"/>
              <a:gd name="connsiteY665" fmla="*/ 899521 h 2084191"/>
              <a:gd name="connsiteX666" fmla="*/ 1114514 w 2051041"/>
              <a:gd name="connsiteY666" fmla="*/ 859252 h 2084191"/>
              <a:gd name="connsiteX667" fmla="*/ 1153695 w 2051041"/>
              <a:gd name="connsiteY667" fmla="*/ 821704 h 2084191"/>
              <a:gd name="connsiteX668" fmla="*/ 1316403 w 2051041"/>
              <a:gd name="connsiteY668" fmla="*/ 818982 h 2084191"/>
              <a:gd name="connsiteX669" fmla="*/ 1357216 w 2051041"/>
              <a:gd name="connsiteY669" fmla="*/ 860884 h 2084191"/>
              <a:gd name="connsiteX670" fmla="*/ 1315315 w 2051041"/>
              <a:gd name="connsiteY670" fmla="*/ 901697 h 2084191"/>
              <a:gd name="connsiteX671" fmla="*/ 1274501 w 2051041"/>
              <a:gd name="connsiteY671" fmla="*/ 860340 h 2084191"/>
              <a:gd name="connsiteX672" fmla="*/ 1316403 w 2051041"/>
              <a:gd name="connsiteY672" fmla="*/ 818982 h 2084191"/>
              <a:gd name="connsiteX673" fmla="*/ 1479112 w 2051041"/>
              <a:gd name="connsiteY673" fmla="*/ 816806 h 2084191"/>
              <a:gd name="connsiteX674" fmla="*/ 1522646 w 2051041"/>
              <a:gd name="connsiteY674" fmla="*/ 860340 h 2084191"/>
              <a:gd name="connsiteX675" fmla="*/ 1479656 w 2051041"/>
              <a:gd name="connsiteY675" fmla="*/ 904419 h 2084191"/>
              <a:gd name="connsiteX676" fmla="*/ 1435578 w 2051041"/>
              <a:gd name="connsiteY676" fmla="*/ 860884 h 2084191"/>
              <a:gd name="connsiteX677" fmla="*/ 1479112 w 2051041"/>
              <a:gd name="connsiteY677" fmla="*/ 816806 h 2084191"/>
              <a:gd name="connsiteX678" fmla="*/ 1642909 w 2051041"/>
              <a:gd name="connsiteY678" fmla="*/ 815718 h 2084191"/>
              <a:gd name="connsiteX679" fmla="*/ 1686987 w 2051041"/>
              <a:gd name="connsiteY679" fmla="*/ 860885 h 2084191"/>
              <a:gd name="connsiteX680" fmla="*/ 1641276 w 2051041"/>
              <a:gd name="connsiteY680" fmla="*/ 905507 h 2084191"/>
              <a:gd name="connsiteX681" fmla="*/ 1597742 w 2051041"/>
              <a:gd name="connsiteY681" fmla="*/ 860340 h 2084191"/>
              <a:gd name="connsiteX682" fmla="*/ 1642909 w 2051041"/>
              <a:gd name="connsiteY682" fmla="*/ 815718 h 2084191"/>
              <a:gd name="connsiteX683" fmla="*/ 1806161 w 2051041"/>
              <a:gd name="connsiteY683" fmla="*/ 815173 h 2084191"/>
              <a:gd name="connsiteX684" fmla="*/ 1852416 w 2051041"/>
              <a:gd name="connsiteY684" fmla="*/ 860884 h 2084191"/>
              <a:gd name="connsiteX685" fmla="*/ 1805617 w 2051041"/>
              <a:gd name="connsiteY685" fmla="*/ 906594 h 2084191"/>
              <a:gd name="connsiteX686" fmla="*/ 1759906 w 2051041"/>
              <a:gd name="connsiteY686" fmla="*/ 860884 h 2084191"/>
              <a:gd name="connsiteX687" fmla="*/ 1806161 w 2051041"/>
              <a:gd name="connsiteY687" fmla="*/ 815173 h 2084191"/>
              <a:gd name="connsiteX688" fmla="*/ 1968326 w 2051041"/>
              <a:gd name="connsiteY688" fmla="*/ 812453 h 2084191"/>
              <a:gd name="connsiteX689" fmla="*/ 2000977 w 2051041"/>
              <a:gd name="connsiteY689" fmla="*/ 826057 h 2084191"/>
              <a:gd name="connsiteX690" fmla="*/ 2015670 w 2051041"/>
              <a:gd name="connsiteY690" fmla="*/ 859796 h 2084191"/>
              <a:gd name="connsiteX691" fmla="*/ 1969415 w 2051041"/>
              <a:gd name="connsiteY691" fmla="*/ 907684 h 2084191"/>
              <a:gd name="connsiteX692" fmla="*/ 1922071 w 2051041"/>
              <a:gd name="connsiteY692" fmla="*/ 860885 h 2084191"/>
              <a:gd name="connsiteX693" fmla="*/ 1968326 w 2051041"/>
              <a:gd name="connsiteY693" fmla="*/ 812453 h 2084191"/>
              <a:gd name="connsiteX694" fmla="*/ 255260 w 2051041"/>
              <a:gd name="connsiteY694" fmla="*/ 762932 h 2084191"/>
              <a:gd name="connsiteX695" fmla="*/ 270497 w 2051041"/>
              <a:gd name="connsiteY695" fmla="*/ 779802 h 2084191"/>
              <a:gd name="connsiteX696" fmla="*/ 254172 w 2051041"/>
              <a:gd name="connsiteY696" fmla="*/ 795038 h 2084191"/>
              <a:gd name="connsiteX697" fmla="*/ 238935 w 2051041"/>
              <a:gd name="connsiteY697" fmla="*/ 778713 h 2084191"/>
              <a:gd name="connsiteX698" fmla="*/ 255260 w 2051041"/>
              <a:gd name="connsiteY698" fmla="*/ 762932 h 2084191"/>
              <a:gd name="connsiteX699" fmla="*/ 416881 w 2051041"/>
              <a:gd name="connsiteY699" fmla="*/ 756402 h 2084191"/>
              <a:gd name="connsiteX700" fmla="*/ 440280 w 2051041"/>
              <a:gd name="connsiteY700" fmla="*/ 778713 h 2084191"/>
              <a:gd name="connsiteX701" fmla="*/ 419057 w 2051041"/>
              <a:gd name="connsiteY701" fmla="*/ 801024 h 2084191"/>
              <a:gd name="connsiteX702" fmla="*/ 396202 w 2051041"/>
              <a:gd name="connsiteY702" fmla="*/ 779257 h 2084191"/>
              <a:gd name="connsiteX703" fmla="*/ 416881 w 2051041"/>
              <a:gd name="connsiteY703" fmla="*/ 756402 h 2084191"/>
              <a:gd name="connsiteX704" fmla="*/ 581766 w 2051041"/>
              <a:gd name="connsiteY704" fmla="*/ 751505 h 2084191"/>
              <a:gd name="connsiteX705" fmla="*/ 608975 w 2051041"/>
              <a:gd name="connsiteY705" fmla="*/ 779802 h 2084191"/>
              <a:gd name="connsiteX706" fmla="*/ 580678 w 2051041"/>
              <a:gd name="connsiteY706" fmla="*/ 806467 h 2084191"/>
              <a:gd name="connsiteX707" fmla="*/ 553469 w 2051041"/>
              <a:gd name="connsiteY707" fmla="*/ 778714 h 2084191"/>
              <a:gd name="connsiteX708" fmla="*/ 581766 w 2051041"/>
              <a:gd name="connsiteY708" fmla="*/ 751505 h 2084191"/>
              <a:gd name="connsiteX709" fmla="*/ 746107 w 2051041"/>
              <a:gd name="connsiteY709" fmla="*/ 746607 h 2084191"/>
              <a:gd name="connsiteX710" fmla="*/ 777125 w 2051041"/>
              <a:gd name="connsiteY710" fmla="*/ 780346 h 2084191"/>
              <a:gd name="connsiteX711" fmla="*/ 742842 w 2051041"/>
              <a:gd name="connsiteY711" fmla="*/ 811364 h 2084191"/>
              <a:gd name="connsiteX712" fmla="*/ 712368 w 2051041"/>
              <a:gd name="connsiteY712" fmla="*/ 778713 h 2084191"/>
              <a:gd name="connsiteX713" fmla="*/ 746107 w 2051041"/>
              <a:gd name="connsiteY713" fmla="*/ 746607 h 2084191"/>
              <a:gd name="connsiteX714" fmla="*/ 907727 w 2051041"/>
              <a:gd name="connsiteY714" fmla="*/ 741710 h 2084191"/>
              <a:gd name="connsiteX715" fmla="*/ 944187 w 2051041"/>
              <a:gd name="connsiteY715" fmla="*/ 778714 h 2084191"/>
              <a:gd name="connsiteX716" fmla="*/ 907727 w 2051041"/>
              <a:gd name="connsiteY716" fmla="*/ 815174 h 2084191"/>
              <a:gd name="connsiteX717" fmla="*/ 872355 w 2051041"/>
              <a:gd name="connsiteY717" fmla="*/ 779258 h 2084191"/>
              <a:gd name="connsiteX718" fmla="*/ 907727 w 2051041"/>
              <a:gd name="connsiteY718" fmla="*/ 741710 h 2084191"/>
              <a:gd name="connsiteX719" fmla="*/ 1070979 w 2051041"/>
              <a:gd name="connsiteY719" fmla="*/ 740621 h 2084191"/>
              <a:gd name="connsiteX720" fmla="*/ 1110160 w 2051041"/>
              <a:gd name="connsiteY720" fmla="*/ 779258 h 2084191"/>
              <a:gd name="connsiteX721" fmla="*/ 1070979 w 2051041"/>
              <a:gd name="connsiteY721" fmla="*/ 817894 h 2084191"/>
              <a:gd name="connsiteX722" fmla="*/ 1031799 w 2051041"/>
              <a:gd name="connsiteY722" fmla="*/ 778714 h 2084191"/>
              <a:gd name="connsiteX723" fmla="*/ 1070979 w 2051041"/>
              <a:gd name="connsiteY723" fmla="*/ 740621 h 2084191"/>
              <a:gd name="connsiteX724" fmla="*/ 1233688 w 2051041"/>
              <a:gd name="connsiteY724" fmla="*/ 736268 h 2084191"/>
              <a:gd name="connsiteX725" fmla="*/ 1276134 w 2051041"/>
              <a:gd name="connsiteY725" fmla="*/ 777625 h 2084191"/>
              <a:gd name="connsiteX726" fmla="*/ 1235320 w 2051041"/>
              <a:gd name="connsiteY726" fmla="*/ 820615 h 2084191"/>
              <a:gd name="connsiteX727" fmla="*/ 1192331 w 2051041"/>
              <a:gd name="connsiteY727" fmla="*/ 779258 h 2084191"/>
              <a:gd name="connsiteX728" fmla="*/ 1233688 w 2051041"/>
              <a:gd name="connsiteY728" fmla="*/ 736268 h 2084191"/>
              <a:gd name="connsiteX729" fmla="*/ 1397485 w 2051041"/>
              <a:gd name="connsiteY729" fmla="*/ 735724 h 2084191"/>
              <a:gd name="connsiteX730" fmla="*/ 1441019 w 2051041"/>
              <a:gd name="connsiteY730" fmla="*/ 779802 h 2084191"/>
              <a:gd name="connsiteX731" fmla="*/ 1396397 w 2051041"/>
              <a:gd name="connsiteY731" fmla="*/ 823336 h 2084191"/>
              <a:gd name="connsiteX732" fmla="*/ 1352863 w 2051041"/>
              <a:gd name="connsiteY732" fmla="*/ 779258 h 2084191"/>
              <a:gd name="connsiteX733" fmla="*/ 1397485 w 2051041"/>
              <a:gd name="connsiteY733" fmla="*/ 735724 h 2084191"/>
              <a:gd name="connsiteX734" fmla="*/ 1562371 w 2051041"/>
              <a:gd name="connsiteY734" fmla="*/ 734636 h 2084191"/>
              <a:gd name="connsiteX735" fmla="*/ 1605905 w 2051041"/>
              <a:gd name="connsiteY735" fmla="*/ 779802 h 2084191"/>
              <a:gd name="connsiteX736" fmla="*/ 1560194 w 2051041"/>
              <a:gd name="connsiteY736" fmla="*/ 823881 h 2084191"/>
              <a:gd name="connsiteX737" fmla="*/ 1515572 w 2051041"/>
              <a:gd name="connsiteY737" fmla="*/ 777626 h 2084191"/>
              <a:gd name="connsiteX738" fmla="*/ 1562371 w 2051041"/>
              <a:gd name="connsiteY738" fmla="*/ 734636 h 2084191"/>
              <a:gd name="connsiteX739" fmla="*/ 1724535 w 2051041"/>
              <a:gd name="connsiteY739" fmla="*/ 730827 h 2084191"/>
              <a:gd name="connsiteX740" fmla="*/ 1772422 w 2051041"/>
              <a:gd name="connsiteY740" fmla="*/ 779258 h 2084191"/>
              <a:gd name="connsiteX741" fmla="*/ 1723446 w 2051041"/>
              <a:gd name="connsiteY741" fmla="*/ 826602 h 2084191"/>
              <a:gd name="connsiteX742" fmla="*/ 1676647 w 2051041"/>
              <a:gd name="connsiteY742" fmla="*/ 778714 h 2084191"/>
              <a:gd name="connsiteX743" fmla="*/ 1724535 w 2051041"/>
              <a:gd name="connsiteY743" fmla="*/ 730827 h 2084191"/>
              <a:gd name="connsiteX744" fmla="*/ 1886699 w 2051041"/>
              <a:gd name="connsiteY744" fmla="*/ 730826 h 2084191"/>
              <a:gd name="connsiteX745" fmla="*/ 1935131 w 2051041"/>
              <a:gd name="connsiteY745" fmla="*/ 778713 h 2084191"/>
              <a:gd name="connsiteX746" fmla="*/ 1887244 w 2051041"/>
              <a:gd name="connsiteY746" fmla="*/ 827145 h 2084191"/>
              <a:gd name="connsiteX747" fmla="*/ 1838812 w 2051041"/>
              <a:gd name="connsiteY747" fmla="*/ 778713 h 2084191"/>
              <a:gd name="connsiteX748" fmla="*/ 1886699 w 2051041"/>
              <a:gd name="connsiteY748" fmla="*/ 730826 h 2084191"/>
              <a:gd name="connsiteX749" fmla="*/ 2050496 w 2051041"/>
              <a:gd name="connsiteY749" fmla="*/ 730282 h 2084191"/>
              <a:gd name="connsiteX750" fmla="*/ 2051041 w 2051041"/>
              <a:gd name="connsiteY750" fmla="*/ 730396 h 2084191"/>
              <a:gd name="connsiteX751" fmla="*/ 2051041 w 2051041"/>
              <a:gd name="connsiteY751" fmla="*/ 826942 h 2084191"/>
              <a:gd name="connsiteX752" fmla="*/ 2049952 w 2051041"/>
              <a:gd name="connsiteY752" fmla="*/ 827145 h 2084191"/>
              <a:gd name="connsiteX753" fmla="*/ 2002065 w 2051041"/>
              <a:gd name="connsiteY753" fmla="*/ 778169 h 2084191"/>
              <a:gd name="connsiteX754" fmla="*/ 2050496 w 2051041"/>
              <a:gd name="connsiteY754" fmla="*/ 730282 h 2084191"/>
              <a:gd name="connsiteX755" fmla="*/ 173634 w 2051041"/>
              <a:gd name="connsiteY755" fmla="*/ 685660 h 2084191"/>
              <a:gd name="connsiteX756" fmla="*/ 184518 w 2051041"/>
              <a:gd name="connsiteY756" fmla="*/ 698176 h 2084191"/>
              <a:gd name="connsiteX757" fmla="*/ 172546 w 2051041"/>
              <a:gd name="connsiteY757" fmla="*/ 709059 h 2084191"/>
              <a:gd name="connsiteX758" fmla="*/ 161118 w 2051041"/>
              <a:gd name="connsiteY758" fmla="*/ 697088 h 2084191"/>
              <a:gd name="connsiteX759" fmla="*/ 173634 w 2051041"/>
              <a:gd name="connsiteY759" fmla="*/ 685660 h 2084191"/>
              <a:gd name="connsiteX760" fmla="*/ 335798 w 2051041"/>
              <a:gd name="connsiteY760" fmla="*/ 675320 h 2084191"/>
              <a:gd name="connsiteX761" fmla="*/ 357565 w 2051041"/>
              <a:gd name="connsiteY761" fmla="*/ 696543 h 2084191"/>
              <a:gd name="connsiteX762" fmla="*/ 336342 w 2051041"/>
              <a:gd name="connsiteY762" fmla="*/ 718854 h 2084191"/>
              <a:gd name="connsiteX763" fmla="*/ 315120 w 2051041"/>
              <a:gd name="connsiteY763" fmla="*/ 697631 h 2084191"/>
              <a:gd name="connsiteX764" fmla="*/ 335798 w 2051041"/>
              <a:gd name="connsiteY764" fmla="*/ 675320 h 2084191"/>
              <a:gd name="connsiteX765" fmla="*/ 499051 w 2051041"/>
              <a:gd name="connsiteY765" fmla="*/ 670423 h 2084191"/>
              <a:gd name="connsiteX766" fmla="*/ 526804 w 2051041"/>
              <a:gd name="connsiteY766" fmla="*/ 697088 h 2084191"/>
              <a:gd name="connsiteX767" fmla="*/ 499595 w 2051041"/>
              <a:gd name="connsiteY767" fmla="*/ 724296 h 2084191"/>
              <a:gd name="connsiteX768" fmla="*/ 472930 w 2051041"/>
              <a:gd name="connsiteY768" fmla="*/ 697632 h 2084191"/>
              <a:gd name="connsiteX769" fmla="*/ 499051 w 2051041"/>
              <a:gd name="connsiteY769" fmla="*/ 670423 h 2084191"/>
              <a:gd name="connsiteX770" fmla="*/ 662848 w 2051041"/>
              <a:gd name="connsiteY770" fmla="*/ 665525 h 2084191"/>
              <a:gd name="connsiteX771" fmla="*/ 694954 w 2051041"/>
              <a:gd name="connsiteY771" fmla="*/ 697087 h 2084191"/>
              <a:gd name="connsiteX772" fmla="*/ 663392 w 2051041"/>
              <a:gd name="connsiteY772" fmla="*/ 729194 h 2084191"/>
              <a:gd name="connsiteX773" fmla="*/ 632374 w 2051041"/>
              <a:gd name="connsiteY773" fmla="*/ 698176 h 2084191"/>
              <a:gd name="connsiteX774" fmla="*/ 662848 w 2051041"/>
              <a:gd name="connsiteY774" fmla="*/ 665525 h 2084191"/>
              <a:gd name="connsiteX775" fmla="*/ 825013 w 2051041"/>
              <a:gd name="connsiteY775" fmla="*/ 663349 h 2084191"/>
              <a:gd name="connsiteX776" fmla="*/ 860384 w 2051041"/>
              <a:gd name="connsiteY776" fmla="*/ 697632 h 2084191"/>
              <a:gd name="connsiteX777" fmla="*/ 826101 w 2051041"/>
              <a:gd name="connsiteY777" fmla="*/ 731915 h 2084191"/>
              <a:gd name="connsiteX778" fmla="*/ 791818 w 2051041"/>
              <a:gd name="connsiteY778" fmla="*/ 698176 h 2084191"/>
              <a:gd name="connsiteX779" fmla="*/ 825013 w 2051041"/>
              <a:gd name="connsiteY779" fmla="*/ 663349 h 2084191"/>
              <a:gd name="connsiteX780" fmla="*/ 988809 w 2051041"/>
              <a:gd name="connsiteY780" fmla="*/ 658995 h 2084191"/>
              <a:gd name="connsiteX781" fmla="*/ 1027446 w 2051041"/>
              <a:gd name="connsiteY781" fmla="*/ 697087 h 2084191"/>
              <a:gd name="connsiteX782" fmla="*/ 989353 w 2051041"/>
              <a:gd name="connsiteY782" fmla="*/ 735723 h 2084191"/>
              <a:gd name="connsiteX783" fmla="*/ 950717 w 2051041"/>
              <a:gd name="connsiteY783" fmla="*/ 697631 h 2084191"/>
              <a:gd name="connsiteX784" fmla="*/ 988809 w 2051041"/>
              <a:gd name="connsiteY784" fmla="*/ 658995 h 2084191"/>
              <a:gd name="connsiteX785" fmla="*/ 1152607 w 2051041"/>
              <a:gd name="connsiteY785" fmla="*/ 655729 h 2084191"/>
              <a:gd name="connsiteX786" fmla="*/ 1195052 w 2051041"/>
              <a:gd name="connsiteY786" fmla="*/ 697087 h 2084191"/>
              <a:gd name="connsiteX787" fmla="*/ 1153151 w 2051041"/>
              <a:gd name="connsiteY787" fmla="*/ 739533 h 2084191"/>
              <a:gd name="connsiteX788" fmla="*/ 1110705 w 2051041"/>
              <a:gd name="connsiteY788" fmla="*/ 697631 h 2084191"/>
              <a:gd name="connsiteX789" fmla="*/ 1152607 w 2051041"/>
              <a:gd name="connsiteY789" fmla="*/ 655729 h 2084191"/>
              <a:gd name="connsiteX790" fmla="*/ 1316948 w 2051041"/>
              <a:gd name="connsiteY790" fmla="*/ 653554 h 2084191"/>
              <a:gd name="connsiteX791" fmla="*/ 1359937 w 2051041"/>
              <a:gd name="connsiteY791" fmla="*/ 697632 h 2084191"/>
              <a:gd name="connsiteX792" fmla="*/ 1315315 w 2051041"/>
              <a:gd name="connsiteY792" fmla="*/ 740622 h 2084191"/>
              <a:gd name="connsiteX793" fmla="*/ 1271781 w 2051041"/>
              <a:gd name="connsiteY793" fmla="*/ 696544 h 2084191"/>
              <a:gd name="connsiteX794" fmla="*/ 1316948 w 2051041"/>
              <a:gd name="connsiteY794" fmla="*/ 653554 h 2084191"/>
              <a:gd name="connsiteX795" fmla="*/ 1479112 w 2051041"/>
              <a:gd name="connsiteY795" fmla="*/ 651921 h 2084191"/>
              <a:gd name="connsiteX796" fmla="*/ 1524823 w 2051041"/>
              <a:gd name="connsiteY796" fmla="*/ 697088 h 2084191"/>
              <a:gd name="connsiteX797" fmla="*/ 1479112 w 2051041"/>
              <a:gd name="connsiteY797" fmla="*/ 742254 h 2084191"/>
              <a:gd name="connsiteX798" fmla="*/ 1433945 w 2051041"/>
              <a:gd name="connsiteY798" fmla="*/ 697088 h 2084191"/>
              <a:gd name="connsiteX799" fmla="*/ 1479112 w 2051041"/>
              <a:gd name="connsiteY799" fmla="*/ 651921 h 2084191"/>
              <a:gd name="connsiteX800" fmla="*/ 1642909 w 2051041"/>
              <a:gd name="connsiteY800" fmla="*/ 649744 h 2084191"/>
              <a:gd name="connsiteX801" fmla="*/ 1690796 w 2051041"/>
              <a:gd name="connsiteY801" fmla="*/ 697087 h 2084191"/>
              <a:gd name="connsiteX802" fmla="*/ 1642909 w 2051041"/>
              <a:gd name="connsiteY802" fmla="*/ 745519 h 2084191"/>
              <a:gd name="connsiteX803" fmla="*/ 1594477 w 2051041"/>
              <a:gd name="connsiteY803" fmla="*/ 697632 h 2084191"/>
              <a:gd name="connsiteX804" fmla="*/ 1642909 w 2051041"/>
              <a:gd name="connsiteY804" fmla="*/ 649744 h 2084191"/>
              <a:gd name="connsiteX805" fmla="*/ 1805617 w 2051041"/>
              <a:gd name="connsiteY805" fmla="*/ 648112 h 2084191"/>
              <a:gd name="connsiteX806" fmla="*/ 1854593 w 2051041"/>
              <a:gd name="connsiteY806" fmla="*/ 698176 h 2084191"/>
              <a:gd name="connsiteX807" fmla="*/ 1805073 w 2051041"/>
              <a:gd name="connsiteY807" fmla="*/ 746607 h 2084191"/>
              <a:gd name="connsiteX808" fmla="*/ 1756097 w 2051041"/>
              <a:gd name="connsiteY808" fmla="*/ 697087 h 2084191"/>
              <a:gd name="connsiteX809" fmla="*/ 1805617 w 2051041"/>
              <a:gd name="connsiteY809" fmla="*/ 648112 h 2084191"/>
              <a:gd name="connsiteX810" fmla="*/ 1969414 w 2051041"/>
              <a:gd name="connsiteY810" fmla="*/ 647023 h 2084191"/>
              <a:gd name="connsiteX811" fmla="*/ 2018934 w 2051041"/>
              <a:gd name="connsiteY811" fmla="*/ 698176 h 2084191"/>
              <a:gd name="connsiteX812" fmla="*/ 1968326 w 2051041"/>
              <a:gd name="connsiteY812" fmla="*/ 746063 h 2084191"/>
              <a:gd name="connsiteX813" fmla="*/ 1918806 w 2051041"/>
              <a:gd name="connsiteY813" fmla="*/ 697087 h 2084191"/>
              <a:gd name="connsiteX814" fmla="*/ 1969414 w 2051041"/>
              <a:gd name="connsiteY814" fmla="*/ 647023 h 2084191"/>
              <a:gd name="connsiteX815" fmla="*/ 90919 w 2051041"/>
              <a:gd name="connsiteY815" fmla="*/ 606754 h 2084191"/>
              <a:gd name="connsiteX816" fmla="*/ 99626 w 2051041"/>
              <a:gd name="connsiteY816" fmla="*/ 615460 h 2084191"/>
              <a:gd name="connsiteX817" fmla="*/ 92007 w 2051041"/>
              <a:gd name="connsiteY817" fmla="*/ 627976 h 2084191"/>
              <a:gd name="connsiteX818" fmla="*/ 82756 w 2051041"/>
              <a:gd name="connsiteY818" fmla="*/ 616005 h 2084191"/>
              <a:gd name="connsiteX819" fmla="*/ 90919 w 2051041"/>
              <a:gd name="connsiteY819" fmla="*/ 606754 h 2084191"/>
              <a:gd name="connsiteX820" fmla="*/ 254172 w 2051041"/>
              <a:gd name="connsiteY820" fmla="*/ 598047 h 2084191"/>
              <a:gd name="connsiteX821" fmla="*/ 272674 w 2051041"/>
              <a:gd name="connsiteY821" fmla="*/ 614917 h 2084191"/>
              <a:gd name="connsiteX822" fmla="*/ 255260 w 2051041"/>
              <a:gd name="connsiteY822" fmla="*/ 633419 h 2084191"/>
              <a:gd name="connsiteX823" fmla="*/ 236758 w 2051041"/>
              <a:gd name="connsiteY823" fmla="*/ 616005 h 2084191"/>
              <a:gd name="connsiteX824" fmla="*/ 254172 w 2051041"/>
              <a:gd name="connsiteY824" fmla="*/ 598047 h 2084191"/>
              <a:gd name="connsiteX825" fmla="*/ 418513 w 2051041"/>
              <a:gd name="connsiteY825" fmla="*/ 590429 h 2084191"/>
              <a:gd name="connsiteX826" fmla="*/ 443001 w 2051041"/>
              <a:gd name="connsiteY826" fmla="*/ 614917 h 2084191"/>
              <a:gd name="connsiteX827" fmla="*/ 419058 w 2051041"/>
              <a:gd name="connsiteY827" fmla="*/ 640493 h 2084191"/>
              <a:gd name="connsiteX828" fmla="*/ 392937 w 2051041"/>
              <a:gd name="connsiteY828" fmla="*/ 616005 h 2084191"/>
              <a:gd name="connsiteX829" fmla="*/ 418513 w 2051041"/>
              <a:gd name="connsiteY829" fmla="*/ 590429 h 2084191"/>
              <a:gd name="connsiteX830" fmla="*/ 581222 w 2051041"/>
              <a:gd name="connsiteY830" fmla="*/ 587163 h 2084191"/>
              <a:gd name="connsiteX831" fmla="*/ 610063 w 2051041"/>
              <a:gd name="connsiteY831" fmla="*/ 616549 h 2084191"/>
              <a:gd name="connsiteX832" fmla="*/ 580677 w 2051041"/>
              <a:gd name="connsiteY832" fmla="*/ 645390 h 2084191"/>
              <a:gd name="connsiteX833" fmla="*/ 551836 w 2051041"/>
              <a:gd name="connsiteY833" fmla="*/ 615461 h 2084191"/>
              <a:gd name="connsiteX834" fmla="*/ 581222 w 2051041"/>
              <a:gd name="connsiteY834" fmla="*/ 587163 h 2084191"/>
              <a:gd name="connsiteX835" fmla="*/ 743930 w 2051041"/>
              <a:gd name="connsiteY835" fmla="*/ 582266 h 2084191"/>
              <a:gd name="connsiteX836" fmla="*/ 779301 w 2051041"/>
              <a:gd name="connsiteY836" fmla="*/ 616005 h 2084191"/>
              <a:gd name="connsiteX837" fmla="*/ 745563 w 2051041"/>
              <a:gd name="connsiteY837" fmla="*/ 649744 h 2084191"/>
              <a:gd name="connsiteX838" fmla="*/ 711824 w 2051041"/>
              <a:gd name="connsiteY838" fmla="*/ 616549 h 2084191"/>
              <a:gd name="connsiteX839" fmla="*/ 743930 w 2051041"/>
              <a:gd name="connsiteY839" fmla="*/ 582266 h 2084191"/>
              <a:gd name="connsiteX840" fmla="*/ 907183 w 2051041"/>
              <a:gd name="connsiteY840" fmla="*/ 577913 h 2084191"/>
              <a:gd name="connsiteX841" fmla="*/ 945276 w 2051041"/>
              <a:gd name="connsiteY841" fmla="*/ 615461 h 2084191"/>
              <a:gd name="connsiteX842" fmla="*/ 907727 w 2051041"/>
              <a:gd name="connsiteY842" fmla="*/ 654098 h 2084191"/>
              <a:gd name="connsiteX843" fmla="*/ 869091 w 2051041"/>
              <a:gd name="connsiteY843" fmla="*/ 616006 h 2084191"/>
              <a:gd name="connsiteX844" fmla="*/ 907183 w 2051041"/>
              <a:gd name="connsiteY844" fmla="*/ 577913 h 2084191"/>
              <a:gd name="connsiteX845" fmla="*/ 1069891 w 2051041"/>
              <a:gd name="connsiteY845" fmla="*/ 574648 h 2084191"/>
              <a:gd name="connsiteX846" fmla="*/ 1111248 w 2051041"/>
              <a:gd name="connsiteY846" fmla="*/ 615461 h 2084191"/>
              <a:gd name="connsiteX847" fmla="*/ 1070435 w 2051041"/>
              <a:gd name="connsiteY847" fmla="*/ 656274 h 2084191"/>
              <a:gd name="connsiteX848" fmla="*/ 1029622 w 2051041"/>
              <a:gd name="connsiteY848" fmla="*/ 614917 h 2084191"/>
              <a:gd name="connsiteX849" fmla="*/ 1069891 w 2051041"/>
              <a:gd name="connsiteY849" fmla="*/ 574648 h 2084191"/>
              <a:gd name="connsiteX850" fmla="*/ 1235321 w 2051041"/>
              <a:gd name="connsiteY850" fmla="*/ 572472 h 2084191"/>
              <a:gd name="connsiteX851" fmla="*/ 1277222 w 2051041"/>
              <a:gd name="connsiteY851" fmla="*/ 616550 h 2084191"/>
              <a:gd name="connsiteX852" fmla="*/ 1233688 w 2051041"/>
              <a:gd name="connsiteY852" fmla="*/ 660084 h 2084191"/>
              <a:gd name="connsiteX853" fmla="*/ 1190154 w 2051041"/>
              <a:gd name="connsiteY853" fmla="*/ 614917 h 2084191"/>
              <a:gd name="connsiteX854" fmla="*/ 1235321 w 2051041"/>
              <a:gd name="connsiteY854" fmla="*/ 572472 h 2084191"/>
              <a:gd name="connsiteX855" fmla="*/ 1397485 w 2051041"/>
              <a:gd name="connsiteY855" fmla="*/ 569206 h 2084191"/>
              <a:gd name="connsiteX856" fmla="*/ 1443196 w 2051041"/>
              <a:gd name="connsiteY856" fmla="*/ 616005 h 2084191"/>
              <a:gd name="connsiteX857" fmla="*/ 1396941 w 2051041"/>
              <a:gd name="connsiteY857" fmla="*/ 661172 h 2084191"/>
              <a:gd name="connsiteX858" fmla="*/ 1351775 w 2051041"/>
              <a:gd name="connsiteY858" fmla="*/ 614373 h 2084191"/>
              <a:gd name="connsiteX859" fmla="*/ 1397485 w 2051041"/>
              <a:gd name="connsiteY859" fmla="*/ 569206 h 2084191"/>
              <a:gd name="connsiteX860" fmla="*/ 1560738 w 2051041"/>
              <a:gd name="connsiteY860" fmla="*/ 567029 h 2084191"/>
              <a:gd name="connsiteX861" fmla="*/ 1609714 w 2051041"/>
              <a:gd name="connsiteY861" fmla="*/ 615461 h 2084191"/>
              <a:gd name="connsiteX862" fmla="*/ 1561283 w 2051041"/>
              <a:gd name="connsiteY862" fmla="*/ 663892 h 2084191"/>
              <a:gd name="connsiteX863" fmla="*/ 1512851 w 2051041"/>
              <a:gd name="connsiteY863" fmla="*/ 616005 h 2084191"/>
              <a:gd name="connsiteX864" fmla="*/ 1560738 w 2051041"/>
              <a:gd name="connsiteY864" fmla="*/ 567029 h 2084191"/>
              <a:gd name="connsiteX865" fmla="*/ 1725624 w 2051041"/>
              <a:gd name="connsiteY865" fmla="*/ 565397 h 2084191"/>
              <a:gd name="connsiteX866" fmla="*/ 1774599 w 2051041"/>
              <a:gd name="connsiteY866" fmla="*/ 616005 h 2084191"/>
              <a:gd name="connsiteX867" fmla="*/ 1723447 w 2051041"/>
              <a:gd name="connsiteY867" fmla="*/ 664981 h 2084191"/>
              <a:gd name="connsiteX868" fmla="*/ 1674471 w 2051041"/>
              <a:gd name="connsiteY868" fmla="*/ 615461 h 2084191"/>
              <a:gd name="connsiteX869" fmla="*/ 1725624 w 2051041"/>
              <a:gd name="connsiteY869" fmla="*/ 565397 h 2084191"/>
              <a:gd name="connsiteX870" fmla="*/ 1886699 w 2051041"/>
              <a:gd name="connsiteY870" fmla="*/ 564853 h 2084191"/>
              <a:gd name="connsiteX871" fmla="*/ 1938396 w 2051041"/>
              <a:gd name="connsiteY871" fmla="*/ 614917 h 2084191"/>
              <a:gd name="connsiteX872" fmla="*/ 1887787 w 2051041"/>
              <a:gd name="connsiteY872" fmla="*/ 665525 h 2084191"/>
              <a:gd name="connsiteX873" fmla="*/ 1837179 w 2051041"/>
              <a:gd name="connsiteY873" fmla="*/ 615461 h 2084191"/>
              <a:gd name="connsiteX874" fmla="*/ 1886699 w 2051041"/>
              <a:gd name="connsiteY874" fmla="*/ 564853 h 2084191"/>
              <a:gd name="connsiteX875" fmla="*/ 2050496 w 2051041"/>
              <a:gd name="connsiteY875" fmla="*/ 564852 h 2084191"/>
              <a:gd name="connsiteX876" fmla="*/ 2051041 w 2051041"/>
              <a:gd name="connsiteY876" fmla="*/ 564962 h 2084191"/>
              <a:gd name="connsiteX877" fmla="*/ 2051041 w 2051041"/>
              <a:gd name="connsiteY877" fmla="*/ 665899 h 2084191"/>
              <a:gd name="connsiteX878" fmla="*/ 2049952 w 2051041"/>
              <a:gd name="connsiteY878" fmla="*/ 666069 h 2084191"/>
              <a:gd name="connsiteX879" fmla="*/ 1999344 w 2051041"/>
              <a:gd name="connsiteY879" fmla="*/ 615460 h 2084191"/>
              <a:gd name="connsiteX880" fmla="*/ 2050496 w 2051041"/>
              <a:gd name="connsiteY880" fmla="*/ 564852 h 2084191"/>
              <a:gd name="connsiteX881" fmla="*/ 173090 w 2051041"/>
              <a:gd name="connsiteY881" fmla="*/ 517509 h 2084191"/>
              <a:gd name="connsiteX882" fmla="*/ 189959 w 2051041"/>
              <a:gd name="connsiteY882" fmla="*/ 533834 h 2084191"/>
              <a:gd name="connsiteX883" fmla="*/ 173634 w 2051041"/>
              <a:gd name="connsiteY883" fmla="*/ 550160 h 2084191"/>
              <a:gd name="connsiteX884" fmla="*/ 157308 w 2051041"/>
              <a:gd name="connsiteY884" fmla="*/ 534923 h 2084191"/>
              <a:gd name="connsiteX885" fmla="*/ 173090 w 2051041"/>
              <a:gd name="connsiteY885" fmla="*/ 517509 h 2084191"/>
              <a:gd name="connsiteX886" fmla="*/ 335798 w 2051041"/>
              <a:gd name="connsiteY886" fmla="*/ 511523 h 2084191"/>
              <a:gd name="connsiteX887" fmla="*/ 358654 w 2051041"/>
              <a:gd name="connsiteY887" fmla="*/ 533834 h 2084191"/>
              <a:gd name="connsiteX888" fmla="*/ 336343 w 2051041"/>
              <a:gd name="connsiteY888" fmla="*/ 556689 h 2084191"/>
              <a:gd name="connsiteX889" fmla="*/ 312943 w 2051041"/>
              <a:gd name="connsiteY889" fmla="*/ 534378 h 2084191"/>
              <a:gd name="connsiteX890" fmla="*/ 335798 w 2051041"/>
              <a:gd name="connsiteY890" fmla="*/ 511523 h 2084191"/>
              <a:gd name="connsiteX891" fmla="*/ 500139 w 2051041"/>
              <a:gd name="connsiteY891" fmla="*/ 506626 h 2084191"/>
              <a:gd name="connsiteX892" fmla="*/ 527348 w 2051041"/>
              <a:gd name="connsiteY892" fmla="*/ 535467 h 2084191"/>
              <a:gd name="connsiteX893" fmla="*/ 497963 w 2051041"/>
              <a:gd name="connsiteY893" fmla="*/ 561587 h 2084191"/>
              <a:gd name="connsiteX894" fmla="*/ 471842 w 2051041"/>
              <a:gd name="connsiteY894" fmla="*/ 533290 h 2084191"/>
              <a:gd name="connsiteX895" fmla="*/ 500139 w 2051041"/>
              <a:gd name="connsiteY895" fmla="*/ 506626 h 2084191"/>
              <a:gd name="connsiteX896" fmla="*/ 662304 w 2051041"/>
              <a:gd name="connsiteY896" fmla="*/ 500639 h 2084191"/>
              <a:gd name="connsiteX897" fmla="*/ 696042 w 2051041"/>
              <a:gd name="connsiteY897" fmla="*/ 533290 h 2084191"/>
              <a:gd name="connsiteX898" fmla="*/ 663392 w 2051041"/>
              <a:gd name="connsiteY898" fmla="*/ 566485 h 2084191"/>
              <a:gd name="connsiteX899" fmla="*/ 630197 w 2051041"/>
              <a:gd name="connsiteY899" fmla="*/ 534378 h 2084191"/>
              <a:gd name="connsiteX900" fmla="*/ 662304 w 2051041"/>
              <a:gd name="connsiteY900" fmla="*/ 500639 h 2084191"/>
              <a:gd name="connsiteX901" fmla="*/ 825557 w 2051041"/>
              <a:gd name="connsiteY901" fmla="*/ 496830 h 2084191"/>
              <a:gd name="connsiteX902" fmla="*/ 863649 w 2051041"/>
              <a:gd name="connsiteY902" fmla="*/ 534923 h 2084191"/>
              <a:gd name="connsiteX903" fmla="*/ 825557 w 2051041"/>
              <a:gd name="connsiteY903" fmla="*/ 571383 h 2084191"/>
              <a:gd name="connsiteX904" fmla="*/ 788553 w 2051041"/>
              <a:gd name="connsiteY904" fmla="*/ 534379 h 2084191"/>
              <a:gd name="connsiteX905" fmla="*/ 825557 w 2051041"/>
              <a:gd name="connsiteY905" fmla="*/ 496830 h 2084191"/>
              <a:gd name="connsiteX906" fmla="*/ 989898 w 2051041"/>
              <a:gd name="connsiteY906" fmla="*/ 494110 h 2084191"/>
              <a:gd name="connsiteX907" fmla="*/ 1029078 w 2051041"/>
              <a:gd name="connsiteY907" fmla="*/ 534923 h 2084191"/>
              <a:gd name="connsiteX908" fmla="*/ 989353 w 2051041"/>
              <a:gd name="connsiteY908" fmla="*/ 574104 h 2084191"/>
              <a:gd name="connsiteX909" fmla="*/ 949629 w 2051041"/>
              <a:gd name="connsiteY909" fmla="*/ 533835 h 2084191"/>
              <a:gd name="connsiteX910" fmla="*/ 989898 w 2051041"/>
              <a:gd name="connsiteY910" fmla="*/ 494110 h 2084191"/>
              <a:gd name="connsiteX911" fmla="*/ 1152062 w 2051041"/>
              <a:gd name="connsiteY911" fmla="*/ 490301 h 2084191"/>
              <a:gd name="connsiteX912" fmla="*/ 1196140 w 2051041"/>
              <a:gd name="connsiteY912" fmla="*/ 533835 h 2084191"/>
              <a:gd name="connsiteX913" fmla="*/ 1152606 w 2051041"/>
              <a:gd name="connsiteY913" fmla="*/ 577369 h 2084191"/>
              <a:gd name="connsiteX914" fmla="*/ 1109072 w 2051041"/>
              <a:gd name="connsiteY914" fmla="*/ 534379 h 2084191"/>
              <a:gd name="connsiteX915" fmla="*/ 1152062 w 2051041"/>
              <a:gd name="connsiteY915" fmla="*/ 490301 h 2084191"/>
              <a:gd name="connsiteX916" fmla="*/ 1316947 w 2051041"/>
              <a:gd name="connsiteY916" fmla="*/ 489212 h 2084191"/>
              <a:gd name="connsiteX917" fmla="*/ 1361570 w 2051041"/>
              <a:gd name="connsiteY917" fmla="*/ 534923 h 2084191"/>
              <a:gd name="connsiteX918" fmla="*/ 1315859 w 2051041"/>
              <a:gd name="connsiteY918" fmla="*/ 580090 h 2084191"/>
              <a:gd name="connsiteX919" fmla="*/ 1270693 w 2051041"/>
              <a:gd name="connsiteY919" fmla="*/ 533835 h 2084191"/>
              <a:gd name="connsiteX920" fmla="*/ 1316947 w 2051041"/>
              <a:gd name="connsiteY920" fmla="*/ 489212 h 2084191"/>
              <a:gd name="connsiteX921" fmla="*/ 1479112 w 2051041"/>
              <a:gd name="connsiteY921" fmla="*/ 484315 h 2084191"/>
              <a:gd name="connsiteX922" fmla="*/ 1528087 w 2051041"/>
              <a:gd name="connsiteY922" fmla="*/ 533835 h 2084191"/>
              <a:gd name="connsiteX923" fmla="*/ 1479656 w 2051041"/>
              <a:gd name="connsiteY923" fmla="*/ 582267 h 2084191"/>
              <a:gd name="connsiteX924" fmla="*/ 1431224 w 2051041"/>
              <a:gd name="connsiteY924" fmla="*/ 533835 h 2084191"/>
              <a:gd name="connsiteX925" fmla="*/ 1479112 w 2051041"/>
              <a:gd name="connsiteY925" fmla="*/ 484315 h 2084191"/>
              <a:gd name="connsiteX926" fmla="*/ 1643452 w 2051041"/>
              <a:gd name="connsiteY926" fmla="*/ 484314 h 2084191"/>
              <a:gd name="connsiteX927" fmla="*/ 1692973 w 2051041"/>
              <a:gd name="connsiteY927" fmla="*/ 534923 h 2084191"/>
              <a:gd name="connsiteX928" fmla="*/ 1641276 w 2051041"/>
              <a:gd name="connsiteY928" fmla="*/ 583898 h 2084191"/>
              <a:gd name="connsiteX929" fmla="*/ 1592300 w 2051041"/>
              <a:gd name="connsiteY929" fmla="*/ 532202 h 2084191"/>
              <a:gd name="connsiteX930" fmla="*/ 1643452 w 2051041"/>
              <a:gd name="connsiteY930" fmla="*/ 484314 h 2084191"/>
              <a:gd name="connsiteX931" fmla="*/ 1806162 w 2051041"/>
              <a:gd name="connsiteY931" fmla="*/ 481594 h 2084191"/>
              <a:gd name="connsiteX932" fmla="*/ 1857858 w 2051041"/>
              <a:gd name="connsiteY932" fmla="*/ 536011 h 2084191"/>
              <a:gd name="connsiteX933" fmla="*/ 1803441 w 2051041"/>
              <a:gd name="connsiteY933" fmla="*/ 586075 h 2084191"/>
              <a:gd name="connsiteX934" fmla="*/ 1753377 w 2051041"/>
              <a:gd name="connsiteY934" fmla="*/ 533290 h 2084191"/>
              <a:gd name="connsiteX935" fmla="*/ 1806162 w 2051041"/>
              <a:gd name="connsiteY935" fmla="*/ 481594 h 2084191"/>
              <a:gd name="connsiteX936" fmla="*/ 1968326 w 2051041"/>
              <a:gd name="connsiteY936" fmla="*/ 480505 h 2084191"/>
              <a:gd name="connsiteX937" fmla="*/ 2022200 w 2051041"/>
              <a:gd name="connsiteY937" fmla="*/ 534379 h 2084191"/>
              <a:gd name="connsiteX938" fmla="*/ 1969415 w 2051041"/>
              <a:gd name="connsiteY938" fmla="*/ 588252 h 2084191"/>
              <a:gd name="connsiteX939" fmla="*/ 1915541 w 2051041"/>
              <a:gd name="connsiteY939" fmla="*/ 534923 h 2084191"/>
              <a:gd name="connsiteX940" fmla="*/ 1968326 w 2051041"/>
              <a:gd name="connsiteY940" fmla="*/ 480505 h 2084191"/>
              <a:gd name="connsiteX941" fmla="*/ 91464 w 2051041"/>
              <a:gd name="connsiteY941" fmla="*/ 440780 h 2084191"/>
              <a:gd name="connsiteX942" fmla="*/ 102891 w 2051041"/>
              <a:gd name="connsiteY942" fmla="*/ 451664 h 2084191"/>
              <a:gd name="connsiteX943" fmla="*/ 92008 w 2051041"/>
              <a:gd name="connsiteY943" fmla="*/ 464179 h 2084191"/>
              <a:gd name="connsiteX944" fmla="*/ 80036 w 2051041"/>
              <a:gd name="connsiteY944" fmla="*/ 452752 h 2084191"/>
              <a:gd name="connsiteX945" fmla="*/ 91464 w 2051041"/>
              <a:gd name="connsiteY945" fmla="*/ 440780 h 2084191"/>
              <a:gd name="connsiteX946" fmla="*/ 254172 w 2051041"/>
              <a:gd name="connsiteY946" fmla="*/ 430441 h 2084191"/>
              <a:gd name="connsiteX947" fmla="*/ 275939 w 2051041"/>
              <a:gd name="connsiteY947" fmla="*/ 452208 h 2084191"/>
              <a:gd name="connsiteX948" fmla="*/ 254716 w 2051041"/>
              <a:gd name="connsiteY948" fmla="*/ 473975 h 2084191"/>
              <a:gd name="connsiteX949" fmla="*/ 232405 w 2051041"/>
              <a:gd name="connsiteY949" fmla="*/ 452752 h 2084191"/>
              <a:gd name="connsiteX950" fmla="*/ 254172 w 2051041"/>
              <a:gd name="connsiteY950" fmla="*/ 430441 h 2084191"/>
              <a:gd name="connsiteX951" fmla="*/ 417969 w 2051041"/>
              <a:gd name="connsiteY951" fmla="*/ 424999 h 2084191"/>
              <a:gd name="connsiteX952" fmla="*/ 444634 w 2051041"/>
              <a:gd name="connsiteY952" fmla="*/ 452752 h 2084191"/>
              <a:gd name="connsiteX953" fmla="*/ 417425 w 2051041"/>
              <a:gd name="connsiteY953" fmla="*/ 479417 h 2084191"/>
              <a:gd name="connsiteX954" fmla="*/ 390760 w 2051041"/>
              <a:gd name="connsiteY954" fmla="*/ 452208 h 2084191"/>
              <a:gd name="connsiteX955" fmla="*/ 417969 w 2051041"/>
              <a:gd name="connsiteY955" fmla="*/ 424999 h 2084191"/>
              <a:gd name="connsiteX956" fmla="*/ 580677 w 2051041"/>
              <a:gd name="connsiteY956" fmla="*/ 419558 h 2084191"/>
              <a:gd name="connsiteX957" fmla="*/ 612783 w 2051041"/>
              <a:gd name="connsiteY957" fmla="*/ 452208 h 2084191"/>
              <a:gd name="connsiteX958" fmla="*/ 581221 w 2051041"/>
              <a:gd name="connsiteY958" fmla="*/ 484315 h 2084191"/>
              <a:gd name="connsiteX959" fmla="*/ 549115 w 2051041"/>
              <a:gd name="connsiteY959" fmla="*/ 452208 h 2084191"/>
              <a:gd name="connsiteX960" fmla="*/ 580677 w 2051041"/>
              <a:gd name="connsiteY960" fmla="*/ 419558 h 2084191"/>
              <a:gd name="connsiteX961" fmla="*/ 743931 w 2051041"/>
              <a:gd name="connsiteY961" fmla="*/ 415748 h 2084191"/>
              <a:gd name="connsiteX962" fmla="*/ 780390 w 2051041"/>
              <a:gd name="connsiteY962" fmla="*/ 452208 h 2084191"/>
              <a:gd name="connsiteX963" fmla="*/ 744475 w 2051041"/>
              <a:gd name="connsiteY963" fmla="*/ 489212 h 2084191"/>
              <a:gd name="connsiteX964" fmla="*/ 708559 w 2051041"/>
              <a:gd name="connsiteY964" fmla="*/ 453840 h 2084191"/>
              <a:gd name="connsiteX965" fmla="*/ 743931 w 2051041"/>
              <a:gd name="connsiteY965" fmla="*/ 415748 h 2084191"/>
              <a:gd name="connsiteX966" fmla="*/ 908271 w 2051041"/>
              <a:gd name="connsiteY966" fmla="*/ 414116 h 2084191"/>
              <a:gd name="connsiteX967" fmla="*/ 946363 w 2051041"/>
              <a:gd name="connsiteY967" fmla="*/ 453296 h 2084191"/>
              <a:gd name="connsiteX968" fmla="*/ 906638 w 2051041"/>
              <a:gd name="connsiteY968" fmla="*/ 491933 h 2084191"/>
              <a:gd name="connsiteX969" fmla="*/ 868546 w 2051041"/>
              <a:gd name="connsiteY969" fmla="*/ 452208 h 2084191"/>
              <a:gd name="connsiteX970" fmla="*/ 908271 w 2051041"/>
              <a:gd name="connsiteY970" fmla="*/ 414116 h 2084191"/>
              <a:gd name="connsiteX971" fmla="*/ 1072068 w 2051041"/>
              <a:gd name="connsiteY971" fmla="*/ 409218 h 2084191"/>
              <a:gd name="connsiteX972" fmla="*/ 1113970 w 2051041"/>
              <a:gd name="connsiteY972" fmla="*/ 452752 h 2084191"/>
              <a:gd name="connsiteX973" fmla="*/ 1070436 w 2051041"/>
              <a:gd name="connsiteY973" fmla="*/ 495198 h 2084191"/>
              <a:gd name="connsiteX974" fmla="*/ 1028534 w 2051041"/>
              <a:gd name="connsiteY974" fmla="*/ 451120 h 2084191"/>
              <a:gd name="connsiteX975" fmla="*/ 1072068 w 2051041"/>
              <a:gd name="connsiteY975" fmla="*/ 409218 h 2084191"/>
              <a:gd name="connsiteX976" fmla="*/ 1235865 w 2051041"/>
              <a:gd name="connsiteY976" fmla="*/ 408130 h 2084191"/>
              <a:gd name="connsiteX977" fmla="*/ 1279400 w 2051041"/>
              <a:gd name="connsiteY977" fmla="*/ 453296 h 2084191"/>
              <a:gd name="connsiteX978" fmla="*/ 1233689 w 2051041"/>
              <a:gd name="connsiteY978" fmla="*/ 497374 h 2084191"/>
              <a:gd name="connsiteX979" fmla="*/ 1189611 w 2051041"/>
              <a:gd name="connsiteY979" fmla="*/ 451664 h 2084191"/>
              <a:gd name="connsiteX980" fmla="*/ 1235865 w 2051041"/>
              <a:gd name="connsiteY980" fmla="*/ 408130 h 2084191"/>
              <a:gd name="connsiteX981" fmla="*/ 1396941 w 2051041"/>
              <a:gd name="connsiteY981" fmla="*/ 403776 h 2084191"/>
              <a:gd name="connsiteX982" fmla="*/ 1446461 w 2051041"/>
              <a:gd name="connsiteY982" fmla="*/ 450575 h 2084191"/>
              <a:gd name="connsiteX983" fmla="*/ 1399118 w 2051041"/>
              <a:gd name="connsiteY983" fmla="*/ 500640 h 2084191"/>
              <a:gd name="connsiteX984" fmla="*/ 1349598 w 2051041"/>
              <a:gd name="connsiteY984" fmla="*/ 453296 h 2084191"/>
              <a:gd name="connsiteX985" fmla="*/ 1396941 w 2051041"/>
              <a:gd name="connsiteY985" fmla="*/ 403776 h 2084191"/>
              <a:gd name="connsiteX986" fmla="*/ 1560738 w 2051041"/>
              <a:gd name="connsiteY986" fmla="*/ 402144 h 2084191"/>
              <a:gd name="connsiteX987" fmla="*/ 1611347 w 2051041"/>
              <a:gd name="connsiteY987" fmla="*/ 453297 h 2084191"/>
              <a:gd name="connsiteX988" fmla="*/ 1560194 w 2051041"/>
              <a:gd name="connsiteY988" fmla="*/ 502272 h 2084191"/>
              <a:gd name="connsiteX989" fmla="*/ 1511218 w 2051041"/>
              <a:gd name="connsiteY989" fmla="*/ 451664 h 2084191"/>
              <a:gd name="connsiteX990" fmla="*/ 1560738 w 2051041"/>
              <a:gd name="connsiteY990" fmla="*/ 402144 h 2084191"/>
              <a:gd name="connsiteX991" fmla="*/ 1723991 w 2051041"/>
              <a:gd name="connsiteY991" fmla="*/ 399423 h 2084191"/>
              <a:gd name="connsiteX992" fmla="*/ 1776776 w 2051041"/>
              <a:gd name="connsiteY992" fmla="*/ 452752 h 2084191"/>
              <a:gd name="connsiteX993" fmla="*/ 1725079 w 2051041"/>
              <a:gd name="connsiteY993" fmla="*/ 504993 h 2084191"/>
              <a:gd name="connsiteX994" fmla="*/ 1671750 w 2051041"/>
              <a:gd name="connsiteY994" fmla="*/ 452752 h 2084191"/>
              <a:gd name="connsiteX995" fmla="*/ 1723991 w 2051041"/>
              <a:gd name="connsiteY995" fmla="*/ 399423 h 2084191"/>
              <a:gd name="connsiteX996" fmla="*/ 2051040 w 2051041"/>
              <a:gd name="connsiteY996" fmla="*/ 398335 h 2084191"/>
              <a:gd name="connsiteX997" fmla="*/ 2051041 w 2051041"/>
              <a:gd name="connsiteY997" fmla="*/ 398335 h 2084191"/>
              <a:gd name="connsiteX998" fmla="*/ 2051041 w 2051041"/>
              <a:gd name="connsiteY998" fmla="*/ 506936 h 2084191"/>
              <a:gd name="connsiteX999" fmla="*/ 2049952 w 2051041"/>
              <a:gd name="connsiteY999" fmla="*/ 507170 h 2084191"/>
              <a:gd name="connsiteX1000" fmla="*/ 1995534 w 2051041"/>
              <a:gd name="connsiteY1000" fmla="*/ 452208 h 2084191"/>
              <a:gd name="connsiteX1001" fmla="*/ 2051040 w 2051041"/>
              <a:gd name="connsiteY1001" fmla="*/ 398335 h 2084191"/>
              <a:gd name="connsiteX1002" fmla="*/ 1888332 w 2051041"/>
              <a:gd name="connsiteY1002" fmla="*/ 398335 h 2084191"/>
              <a:gd name="connsiteX1003" fmla="*/ 1941661 w 2051041"/>
              <a:gd name="connsiteY1003" fmla="*/ 452208 h 2084191"/>
              <a:gd name="connsiteX1004" fmla="*/ 1886699 w 2051041"/>
              <a:gd name="connsiteY1004" fmla="*/ 506082 h 2084191"/>
              <a:gd name="connsiteX1005" fmla="*/ 1833370 w 2051041"/>
              <a:gd name="connsiteY1005" fmla="*/ 452208 h 2084191"/>
              <a:gd name="connsiteX1006" fmla="*/ 1888332 w 2051041"/>
              <a:gd name="connsiteY1006" fmla="*/ 398335 h 2084191"/>
              <a:gd name="connsiteX1007" fmla="*/ 12014 w 2051041"/>
              <a:gd name="connsiteY1007" fmla="*/ 364052 h 2084191"/>
              <a:gd name="connsiteX1008" fmla="*/ 15823 w 2051041"/>
              <a:gd name="connsiteY1008" fmla="*/ 370038 h 2084191"/>
              <a:gd name="connsiteX1009" fmla="*/ 9293 w 2051041"/>
              <a:gd name="connsiteY1009" fmla="*/ 377656 h 2084191"/>
              <a:gd name="connsiteX1010" fmla="*/ 3307 w 2051041"/>
              <a:gd name="connsiteY1010" fmla="*/ 371126 h 2084191"/>
              <a:gd name="connsiteX1011" fmla="*/ 12014 w 2051041"/>
              <a:gd name="connsiteY1011" fmla="*/ 364052 h 2084191"/>
              <a:gd name="connsiteX1012" fmla="*/ 172545 w 2051041"/>
              <a:gd name="connsiteY1012" fmla="*/ 353713 h 2084191"/>
              <a:gd name="connsiteX1013" fmla="*/ 190503 w 2051041"/>
              <a:gd name="connsiteY1013" fmla="*/ 370582 h 2084191"/>
              <a:gd name="connsiteX1014" fmla="*/ 173090 w 2051041"/>
              <a:gd name="connsiteY1014" fmla="*/ 387996 h 2084191"/>
              <a:gd name="connsiteX1015" fmla="*/ 155676 w 2051041"/>
              <a:gd name="connsiteY1015" fmla="*/ 371126 h 2084191"/>
              <a:gd name="connsiteX1016" fmla="*/ 172545 w 2051041"/>
              <a:gd name="connsiteY1016" fmla="*/ 353713 h 2084191"/>
              <a:gd name="connsiteX1017" fmla="*/ 336886 w 2051041"/>
              <a:gd name="connsiteY1017" fmla="*/ 345550 h 2084191"/>
              <a:gd name="connsiteX1018" fmla="*/ 361374 w 2051041"/>
              <a:gd name="connsiteY1018" fmla="*/ 371670 h 2084191"/>
              <a:gd name="connsiteX1019" fmla="*/ 335798 w 2051041"/>
              <a:gd name="connsiteY1019" fmla="*/ 395070 h 2084191"/>
              <a:gd name="connsiteX1020" fmla="*/ 311854 w 2051041"/>
              <a:gd name="connsiteY1020" fmla="*/ 370038 h 2084191"/>
              <a:gd name="connsiteX1021" fmla="*/ 336886 w 2051041"/>
              <a:gd name="connsiteY1021" fmla="*/ 345550 h 2084191"/>
              <a:gd name="connsiteX1022" fmla="*/ 499596 w 2051041"/>
              <a:gd name="connsiteY1022" fmla="*/ 342284 h 2084191"/>
              <a:gd name="connsiteX1023" fmla="*/ 528437 w 2051041"/>
              <a:gd name="connsiteY1023" fmla="*/ 370582 h 2084191"/>
              <a:gd name="connsiteX1024" fmla="*/ 499051 w 2051041"/>
              <a:gd name="connsiteY1024" fmla="*/ 399423 h 2084191"/>
              <a:gd name="connsiteX1025" fmla="*/ 470210 w 2051041"/>
              <a:gd name="connsiteY1025" fmla="*/ 370037 h 2084191"/>
              <a:gd name="connsiteX1026" fmla="*/ 499596 w 2051041"/>
              <a:gd name="connsiteY1026" fmla="*/ 342284 h 2084191"/>
              <a:gd name="connsiteX1027" fmla="*/ 663392 w 2051041"/>
              <a:gd name="connsiteY1027" fmla="*/ 337387 h 2084191"/>
              <a:gd name="connsiteX1028" fmla="*/ 697131 w 2051041"/>
              <a:gd name="connsiteY1028" fmla="*/ 371126 h 2084191"/>
              <a:gd name="connsiteX1029" fmla="*/ 662304 w 2051041"/>
              <a:gd name="connsiteY1029" fmla="*/ 404321 h 2084191"/>
              <a:gd name="connsiteX1030" fmla="*/ 629109 w 2051041"/>
              <a:gd name="connsiteY1030" fmla="*/ 371126 h 2084191"/>
              <a:gd name="connsiteX1031" fmla="*/ 663392 w 2051041"/>
              <a:gd name="connsiteY1031" fmla="*/ 337387 h 2084191"/>
              <a:gd name="connsiteX1032" fmla="*/ 825556 w 2051041"/>
              <a:gd name="connsiteY1032" fmla="*/ 332489 h 2084191"/>
              <a:gd name="connsiteX1033" fmla="*/ 864737 w 2051041"/>
              <a:gd name="connsiteY1033" fmla="*/ 370037 h 2084191"/>
              <a:gd name="connsiteX1034" fmla="*/ 826645 w 2051041"/>
              <a:gd name="connsiteY1034" fmla="*/ 409218 h 2084191"/>
              <a:gd name="connsiteX1035" fmla="*/ 787464 w 2051041"/>
              <a:gd name="connsiteY1035" fmla="*/ 371126 h 2084191"/>
              <a:gd name="connsiteX1036" fmla="*/ 825556 w 2051041"/>
              <a:gd name="connsiteY1036" fmla="*/ 332489 h 2084191"/>
              <a:gd name="connsiteX1037" fmla="*/ 989898 w 2051041"/>
              <a:gd name="connsiteY1037" fmla="*/ 328680 h 2084191"/>
              <a:gd name="connsiteX1038" fmla="*/ 1031255 w 2051041"/>
              <a:gd name="connsiteY1038" fmla="*/ 371126 h 2084191"/>
              <a:gd name="connsiteX1039" fmla="*/ 989354 w 2051041"/>
              <a:gd name="connsiteY1039" fmla="*/ 413027 h 2084191"/>
              <a:gd name="connsiteX1040" fmla="*/ 947452 w 2051041"/>
              <a:gd name="connsiteY1040" fmla="*/ 370037 h 2084191"/>
              <a:gd name="connsiteX1041" fmla="*/ 989898 w 2051041"/>
              <a:gd name="connsiteY1041" fmla="*/ 328680 h 2084191"/>
              <a:gd name="connsiteX1042" fmla="*/ 1153150 w 2051041"/>
              <a:gd name="connsiteY1042" fmla="*/ 326504 h 2084191"/>
              <a:gd name="connsiteX1043" fmla="*/ 1197228 w 2051041"/>
              <a:gd name="connsiteY1043" fmla="*/ 370582 h 2084191"/>
              <a:gd name="connsiteX1044" fmla="*/ 1152606 w 2051041"/>
              <a:gd name="connsiteY1044" fmla="*/ 414661 h 2084191"/>
              <a:gd name="connsiteX1045" fmla="*/ 1108528 w 2051041"/>
              <a:gd name="connsiteY1045" fmla="*/ 370038 h 2084191"/>
              <a:gd name="connsiteX1046" fmla="*/ 1153150 w 2051041"/>
              <a:gd name="connsiteY1046" fmla="*/ 326504 h 2084191"/>
              <a:gd name="connsiteX1047" fmla="*/ 1317492 w 2051041"/>
              <a:gd name="connsiteY1047" fmla="*/ 323239 h 2084191"/>
              <a:gd name="connsiteX1048" fmla="*/ 1364835 w 2051041"/>
              <a:gd name="connsiteY1048" fmla="*/ 372215 h 2084191"/>
              <a:gd name="connsiteX1049" fmla="*/ 1314771 w 2051041"/>
              <a:gd name="connsiteY1049" fmla="*/ 419014 h 2084191"/>
              <a:gd name="connsiteX1050" fmla="*/ 1268516 w 2051041"/>
              <a:gd name="connsiteY1050" fmla="*/ 370582 h 2084191"/>
              <a:gd name="connsiteX1051" fmla="*/ 1317492 w 2051041"/>
              <a:gd name="connsiteY1051" fmla="*/ 323239 h 2084191"/>
              <a:gd name="connsiteX1052" fmla="*/ 1479112 w 2051041"/>
              <a:gd name="connsiteY1052" fmla="*/ 320517 h 2084191"/>
              <a:gd name="connsiteX1053" fmla="*/ 1529720 w 2051041"/>
              <a:gd name="connsiteY1053" fmla="*/ 371670 h 2084191"/>
              <a:gd name="connsiteX1054" fmla="*/ 1478568 w 2051041"/>
              <a:gd name="connsiteY1054" fmla="*/ 420101 h 2084191"/>
              <a:gd name="connsiteX1055" fmla="*/ 1429592 w 2051041"/>
              <a:gd name="connsiteY1055" fmla="*/ 370037 h 2084191"/>
              <a:gd name="connsiteX1056" fmla="*/ 1479112 w 2051041"/>
              <a:gd name="connsiteY1056" fmla="*/ 320517 h 2084191"/>
              <a:gd name="connsiteX1057" fmla="*/ 1642364 w 2051041"/>
              <a:gd name="connsiteY1057" fmla="*/ 318341 h 2084191"/>
              <a:gd name="connsiteX1058" fmla="*/ 1695694 w 2051041"/>
              <a:gd name="connsiteY1058" fmla="*/ 370582 h 2084191"/>
              <a:gd name="connsiteX1059" fmla="*/ 1643453 w 2051041"/>
              <a:gd name="connsiteY1059" fmla="*/ 424455 h 2084191"/>
              <a:gd name="connsiteX1060" fmla="*/ 1589035 w 2051041"/>
              <a:gd name="connsiteY1060" fmla="*/ 371670 h 2084191"/>
              <a:gd name="connsiteX1061" fmla="*/ 1642364 w 2051041"/>
              <a:gd name="connsiteY1061" fmla="*/ 318341 h 2084191"/>
              <a:gd name="connsiteX1062" fmla="*/ 90919 w 2051041"/>
              <a:gd name="connsiteY1062" fmla="*/ 273718 h 2084191"/>
              <a:gd name="connsiteX1063" fmla="*/ 106700 w 2051041"/>
              <a:gd name="connsiteY1063" fmla="*/ 288411 h 2084191"/>
              <a:gd name="connsiteX1064" fmla="*/ 91463 w 2051041"/>
              <a:gd name="connsiteY1064" fmla="*/ 303648 h 2084191"/>
              <a:gd name="connsiteX1065" fmla="*/ 76770 w 2051041"/>
              <a:gd name="connsiteY1065" fmla="*/ 288411 h 2084191"/>
              <a:gd name="connsiteX1066" fmla="*/ 90919 w 2051041"/>
              <a:gd name="connsiteY1066" fmla="*/ 273718 h 2084191"/>
              <a:gd name="connsiteX1067" fmla="*/ 254716 w 2051041"/>
              <a:gd name="connsiteY1067" fmla="*/ 267733 h 2084191"/>
              <a:gd name="connsiteX1068" fmla="*/ 276483 w 2051041"/>
              <a:gd name="connsiteY1068" fmla="*/ 288956 h 2084191"/>
              <a:gd name="connsiteX1069" fmla="*/ 254172 w 2051041"/>
              <a:gd name="connsiteY1069" fmla="*/ 311811 h 2084191"/>
              <a:gd name="connsiteX1070" fmla="*/ 232405 w 2051041"/>
              <a:gd name="connsiteY1070" fmla="*/ 289500 h 2084191"/>
              <a:gd name="connsiteX1071" fmla="*/ 254716 w 2051041"/>
              <a:gd name="connsiteY1071" fmla="*/ 267733 h 2084191"/>
              <a:gd name="connsiteX1072" fmla="*/ 1941117 w 2051041"/>
              <a:gd name="connsiteY1072" fmla="*/ 263202 h 2084191"/>
              <a:gd name="connsiteX1073" fmla="*/ 1936219 w 2051041"/>
              <a:gd name="connsiteY1073" fmla="*/ 266467 h 2084191"/>
              <a:gd name="connsiteX1074" fmla="*/ 1938396 w 2051041"/>
              <a:gd name="connsiteY1074" fmla="*/ 272453 h 2084191"/>
              <a:gd name="connsiteX1075" fmla="*/ 1932954 w 2051041"/>
              <a:gd name="connsiteY1075" fmla="*/ 325782 h 2084191"/>
              <a:gd name="connsiteX1076" fmla="*/ 1930777 w 2051041"/>
              <a:gd name="connsiteY1076" fmla="*/ 331224 h 2084191"/>
              <a:gd name="connsiteX1077" fmla="*/ 1936219 w 2051041"/>
              <a:gd name="connsiteY1077" fmla="*/ 330136 h 2084191"/>
              <a:gd name="connsiteX1078" fmla="*/ 1966693 w 2051041"/>
              <a:gd name="connsiteY1078" fmla="*/ 320340 h 2084191"/>
              <a:gd name="connsiteX1079" fmla="*/ 1998799 w 2051041"/>
              <a:gd name="connsiteY1079" fmla="*/ 328503 h 2084191"/>
              <a:gd name="connsiteX1080" fmla="*/ 2003153 w 2051041"/>
              <a:gd name="connsiteY1080" fmla="*/ 330136 h 2084191"/>
              <a:gd name="connsiteX1081" fmla="*/ 2001520 w 2051041"/>
              <a:gd name="connsiteY1081" fmla="*/ 324694 h 2084191"/>
              <a:gd name="connsiteX1082" fmla="*/ 1994446 w 2051041"/>
              <a:gd name="connsiteY1082" fmla="*/ 309457 h 2084191"/>
              <a:gd name="connsiteX1083" fmla="*/ 1998255 w 2051041"/>
              <a:gd name="connsiteY1083" fmla="*/ 267555 h 2084191"/>
              <a:gd name="connsiteX1084" fmla="*/ 2000976 w 2051041"/>
              <a:gd name="connsiteY1084" fmla="*/ 263746 h 2084191"/>
              <a:gd name="connsiteX1085" fmla="*/ 1995534 w 2051041"/>
              <a:gd name="connsiteY1085" fmla="*/ 263746 h 2084191"/>
              <a:gd name="connsiteX1086" fmla="*/ 1941117 w 2051041"/>
              <a:gd name="connsiteY1086" fmla="*/ 263202 h 2084191"/>
              <a:gd name="connsiteX1087" fmla="*/ 417425 w 2051041"/>
              <a:gd name="connsiteY1087" fmla="*/ 262291 h 2084191"/>
              <a:gd name="connsiteX1088" fmla="*/ 445178 w 2051041"/>
              <a:gd name="connsiteY1088" fmla="*/ 288956 h 2084191"/>
              <a:gd name="connsiteX1089" fmla="*/ 417969 w 2051041"/>
              <a:gd name="connsiteY1089" fmla="*/ 317253 h 2084191"/>
              <a:gd name="connsiteX1090" fmla="*/ 390216 w 2051041"/>
              <a:gd name="connsiteY1090" fmla="*/ 290044 h 2084191"/>
              <a:gd name="connsiteX1091" fmla="*/ 417425 w 2051041"/>
              <a:gd name="connsiteY1091" fmla="*/ 262291 h 2084191"/>
              <a:gd name="connsiteX1092" fmla="*/ 580678 w 2051041"/>
              <a:gd name="connsiteY1092" fmla="*/ 256304 h 2084191"/>
              <a:gd name="connsiteX1093" fmla="*/ 613872 w 2051041"/>
              <a:gd name="connsiteY1093" fmla="*/ 288955 h 2084191"/>
              <a:gd name="connsiteX1094" fmla="*/ 581222 w 2051041"/>
              <a:gd name="connsiteY1094" fmla="*/ 322150 h 2084191"/>
              <a:gd name="connsiteX1095" fmla="*/ 548027 w 2051041"/>
              <a:gd name="connsiteY1095" fmla="*/ 289499 h 2084191"/>
              <a:gd name="connsiteX1096" fmla="*/ 580678 w 2051041"/>
              <a:gd name="connsiteY1096" fmla="*/ 256304 h 2084191"/>
              <a:gd name="connsiteX1097" fmla="*/ 743930 w 2051041"/>
              <a:gd name="connsiteY1097" fmla="*/ 251951 h 2084191"/>
              <a:gd name="connsiteX1098" fmla="*/ 782022 w 2051041"/>
              <a:gd name="connsiteY1098" fmla="*/ 289499 h 2084191"/>
              <a:gd name="connsiteX1099" fmla="*/ 744474 w 2051041"/>
              <a:gd name="connsiteY1099" fmla="*/ 326503 h 2084191"/>
              <a:gd name="connsiteX1100" fmla="*/ 707470 w 2051041"/>
              <a:gd name="connsiteY1100" fmla="*/ 289499 h 2084191"/>
              <a:gd name="connsiteX1101" fmla="*/ 743930 w 2051041"/>
              <a:gd name="connsiteY1101" fmla="*/ 251951 h 2084191"/>
              <a:gd name="connsiteX1102" fmla="*/ 907183 w 2051041"/>
              <a:gd name="connsiteY1102" fmla="*/ 249775 h 2084191"/>
              <a:gd name="connsiteX1103" fmla="*/ 947452 w 2051041"/>
              <a:gd name="connsiteY1103" fmla="*/ 289500 h 2084191"/>
              <a:gd name="connsiteX1104" fmla="*/ 908271 w 2051041"/>
              <a:gd name="connsiteY1104" fmla="*/ 329225 h 2084191"/>
              <a:gd name="connsiteX1105" fmla="*/ 867458 w 2051041"/>
              <a:gd name="connsiteY1105" fmla="*/ 290044 h 2084191"/>
              <a:gd name="connsiteX1106" fmla="*/ 907183 w 2051041"/>
              <a:gd name="connsiteY1106" fmla="*/ 249775 h 2084191"/>
              <a:gd name="connsiteX1107" fmla="*/ 1070435 w 2051041"/>
              <a:gd name="connsiteY1107" fmla="*/ 245965 h 2084191"/>
              <a:gd name="connsiteX1108" fmla="*/ 1114513 w 2051041"/>
              <a:gd name="connsiteY1108" fmla="*/ 290043 h 2084191"/>
              <a:gd name="connsiteX1109" fmla="*/ 1069347 w 2051041"/>
              <a:gd name="connsiteY1109" fmla="*/ 333578 h 2084191"/>
              <a:gd name="connsiteX1110" fmla="*/ 1026357 w 2051041"/>
              <a:gd name="connsiteY1110" fmla="*/ 288955 h 2084191"/>
              <a:gd name="connsiteX1111" fmla="*/ 1070435 w 2051041"/>
              <a:gd name="connsiteY1111" fmla="*/ 245965 h 2084191"/>
              <a:gd name="connsiteX1112" fmla="*/ 1233689 w 2051041"/>
              <a:gd name="connsiteY1112" fmla="*/ 241613 h 2084191"/>
              <a:gd name="connsiteX1113" fmla="*/ 1282120 w 2051041"/>
              <a:gd name="connsiteY1113" fmla="*/ 288412 h 2084191"/>
              <a:gd name="connsiteX1114" fmla="*/ 1235321 w 2051041"/>
              <a:gd name="connsiteY1114" fmla="*/ 335755 h 2084191"/>
              <a:gd name="connsiteX1115" fmla="*/ 1187434 w 2051041"/>
              <a:gd name="connsiteY1115" fmla="*/ 289500 h 2084191"/>
              <a:gd name="connsiteX1116" fmla="*/ 1233689 w 2051041"/>
              <a:gd name="connsiteY1116" fmla="*/ 241613 h 2084191"/>
              <a:gd name="connsiteX1117" fmla="*/ 1397485 w 2051041"/>
              <a:gd name="connsiteY1117" fmla="*/ 238891 h 2084191"/>
              <a:gd name="connsiteX1118" fmla="*/ 1448094 w 2051041"/>
              <a:gd name="connsiteY1118" fmla="*/ 288955 h 2084191"/>
              <a:gd name="connsiteX1119" fmla="*/ 1398029 w 2051041"/>
              <a:gd name="connsiteY1119" fmla="*/ 338475 h 2084191"/>
              <a:gd name="connsiteX1120" fmla="*/ 1348509 w 2051041"/>
              <a:gd name="connsiteY1120" fmla="*/ 289499 h 2084191"/>
              <a:gd name="connsiteX1121" fmla="*/ 1397485 w 2051041"/>
              <a:gd name="connsiteY1121" fmla="*/ 238891 h 2084191"/>
              <a:gd name="connsiteX1122" fmla="*/ 1559650 w 2051041"/>
              <a:gd name="connsiteY1122" fmla="*/ 237258 h 2084191"/>
              <a:gd name="connsiteX1123" fmla="*/ 1613523 w 2051041"/>
              <a:gd name="connsiteY1123" fmla="*/ 288955 h 2084191"/>
              <a:gd name="connsiteX1124" fmla="*/ 1560738 w 2051041"/>
              <a:gd name="connsiteY1124" fmla="*/ 342829 h 2084191"/>
              <a:gd name="connsiteX1125" fmla="*/ 1507953 w 2051041"/>
              <a:gd name="connsiteY1125" fmla="*/ 289499 h 2084191"/>
              <a:gd name="connsiteX1126" fmla="*/ 1559650 w 2051041"/>
              <a:gd name="connsiteY1126" fmla="*/ 237258 h 2084191"/>
              <a:gd name="connsiteX1127" fmla="*/ 9837 w 2051041"/>
              <a:gd name="connsiteY1127" fmla="*/ 198078 h 2084191"/>
              <a:gd name="connsiteX1128" fmla="*/ 19632 w 2051041"/>
              <a:gd name="connsiteY1128" fmla="*/ 207873 h 2084191"/>
              <a:gd name="connsiteX1129" fmla="*/ 10381 w 2051041"/>
              <a:gd name="connsiteY1129" fmla="*/ 218213 h 2084191"/>
              <a:gd name="connsiteX1130" fmla="*/ 42 w 2051041"/>
              <a:gd name="connsiteY1130" fmla="*/ 207873 h 2084191"/>
              <a:gd name="connsiteX1131" fmla="*/ 9837 w 2051041"/>
              <a:gd name="connsiteY1131" fmla="*/ 198078 h 2084191"/>
              <a:gd name="connsiteX1132" fmla="*/ 173090 w 2051041"/>
              <a:gd name="connsiteY1132" fmla="*/ 187739 h 2084191"/>
              <a:gd name="connsiteX1133" fmla="*/ 192136 w 2051041"/>
              <a:gd name="connsiteY1133" fmla="*/ 207329 h 2084191"/>
              <a:gd name="connsiteX1134" fmla="*/ 172546 w 2051041"/>
              <a:gd name="connsiteY1134" fmla="*/ 227464 h 2084191"/>
              <a:gd name="connsiteX1135" fmla="*/ 154044 w 2051041"/>
              <a:gd name="connsiteY1135" fmla="*/ 208418 h 2084191"/>
              <a:gd name="connsiteX1136" fmla="*/ 173090 w 2051041"/>
              <a:gd name="connsiteY1136" fmla="*/ 187739 h 2084191"/>
              <a:gd name="connsiteX1137" fmla="*/ 336887 w 2051041"/>
              <a:gd name="connsiteY1137" fmla="*/ 182297 h 2084191"/>
              <a:gd name="connsiteX1138" fmla="*/ 363007 w 2051041"/>
              <a:gd name="connsiteY1138" fmla="*/ 207329 h 2084191"/>
              <a:gd name="connsiteX1139" fmla="*/ 336887 w 2051041"/>
              <a:gd name="connsiteY1139" fmla="*/ 233994 h 2084191"/>
              <a:gd name="connsiteX1140" fmla="*/ 310766 w 2051041"/>
              <a:gd name="connsiteY1140" fmla="*/ 208961 h 2084191"/>
              <a:gd name="connsiteX1141" fmla="*/ 336887 w 2051041"/>
              <a:gd name="connsiteY1141" fmla="*/ 182297 h 2084191"/>
              <a:gd name="connsiteX1142" fmla="*/ 1856225 w 2051041"/>
              <a:gd name="connsiteY1142" fmla="*/ 180487 h 2084191"/>
              <a:gd name="connsiteX1143" fmla="*/ 1855681 w 2051041"/>
              <a:gd name="connsiteY1143" fmla="*/ 185929 h 2084191"/>
              <a:gd name="connsiteX1144" fmla="*/ 1851872 w 2051041"/>
              <a:gd name="connsiteY1144" fmla="*/ 244700 h 2084191"/>
              <a:gd name="connsiteX1145" fmla="*/ 1851328 w 2051041"/>
              <a:gd name="connsiteY1145" fmla="*/ 247965 h 2084191"/>
              <a:gd name="connsiteX1146" fmla="*/ 1854593 w 2051041"/>
              <a:gd name="connsiteY1146" fmla="*/ 247421 h 2084191"/>
              <a:gd name="connsiteX1147" fmla="*/ 1899215 w 2051041"/>
              <a:gd name="connsiteY1147" fmla="*/ 238714 h 2084191"/>
              <a:gd name="connsiteX1148" fmla="*/ 1913908 w 2051041"/>
              <a:gd name="connsiteY1148" fmla="*/ 243067 h 2084191"/>
              <a:gd name="connsiteX1149" fmla="*/ 1918806 w 2051041"/>
              <a:gd name="connsiteY1149" fmla="*/ 242523 h 2084191"/>
              <a:gd name="connsiteX1150" fmla="*/ 1918261 w 2051041"/>
              <a:gd name="connsiteY1150" fmla="*/ 238170 h 2084191"/>
              <a:gd name="connsiteX1151" fmla="*/ 1917173 w 2051041"/>
              <a:gd name="connsiteY1151" fmla="*/ 185929 h 2084191"/>
              <a:gd name="connsiteX1152" fmla="*/ 1918261 w 2051041"/>
              <a:gd name="connsiteY1152" fmla="*/ 181576 h 2084191"/>
              <a:gd name="connsiteX1153" fmla="*/ 1913908 w 2051041"/>
              <a:gd name="connsiteY1153" fmla="*/ 182664 h 2084191"/>
              <a:gd name="connsiteX1154" fmla="*/ 1860579 w 2051041"/>
              <a:gd name="connsiteY1154" fmla="*/ 180487 h 2084191"/>
              <a:gd name="connsiteX1155" fmla="*/ 1856225 w 2051041"/>
              <a:gd name="connsiteY1155" fmla="*/ 180487 h 2084191"/>
              <a:gd name="connsiteX1156" fmla="*/ 499595 w 2051041"/>
              <a:gd name="connsiteY1156" fmla="*/ 175767 h 2084191"/>
              <a:gd name="connsiteX1157" fmla="*/ 531158 w 2051041"/>
              <a:gd name="connsiteY1157" fmla="*/ 207874 h 2084191"/>
              <a:gd name="connsiteX1158" fmla="*/ 498507 w 2051041"/>
              <a:gd name="connsiteY1158" fmla="*/ 238347 h 2084191"/>
              <a:gd name="connsiteX1159" fmla="*/ 468033 w 2051041"/>
              <a:gd name="connsiteY1159" fmla="*/ 207329 h 2084191"/>
              <a:gd name="connsiteX1160" fmla="*/ 499595 w 2051041"/>
              <a:gd name="connsiteY1160" fmla="*/ 175767 h 2084191"/>
              <a:gd name="connsiteX1161" fmla="*/ 662304 w 2051041"/>
              <a:gd name="connsiteY1161" fmla="*/ 173046 h 2084191"/>
              <a:gd name="connsiteX1162" fmla="*/ 697676 w 2051041"/>
              <a:gd name="connsiteY1162" fmla="*/ 207873 h 2084191"/>
              <a:gd name="connsiteX1163" fmla="*/ 662304 w 2051041"/>
              <a:gd name="connsiteY1163" fmla="*/ 242156 h 2084191"/>
              <a:gd name="connsiteX1164" fmla="*/ 628021 w 2051041"/>
              <a:gd name="connsiteY1164" fmla="*/ 207873 h 2084191"/>
              <a:gd name="connsiteX1165" fmla="*/ 662304 w 2051041"/>
              <a:gd name="connsiteY1165" fmla="*/ 173046 h 2084191"/>
              <a:gd name="connsiteX1166" fmla="*/ 826645 w 2051041"/>
              <a:gd name="connsiteY1166" fmla="*/ 168148 h 2084191"/>
              <a:gd name="connsiteX1167" fmla="*/ 864737 w 2051041"/>
              <a:gd name="connsiteY1167" fmla="*/ 207329 h 2084191"/>
              <a:gd name="connsiteX1168" fmla="*/ 826100 w 2051041"/>
              <a:gd name="connsiteY1168" fmla="*/ 247054 h 2084191"/>
              <a:gd name="connsiteX1169" fmla="*/ 787464 w 2051041"/>
              <a:gd name="connsiteY1169" fmla="*/ 207873 h 2084191"/>
              <a:gd name="connsiteX1170" fmla="*/ 826645 w 2051041"/>
              <a:gd name="connsiteY1170" fmla="*/ 168148 h 2084191"/>
              <a:gd name="connsiteX1171" fmla="*/ 987721 w 2051041"/>
              <a:gd name="connsiteY1171" fmla="*/ 164883 h 2084191"/>
              <a:gd name="connsiteX1172" fmla="*/ 1031799 w 2051041"/>
              <a:gd name="connsiteY1172" fmla="*/ 207329 h 2084191"/>
              <a:gd name="connsiteX1173" fmla="*/ 988809 w 2051041"/>
              <a:gd name="connsiteY1173" fmla="*/ 250319 h 2084191"/>
              <a:gd name="connsiteX1174" fmla="*/ 945819 w 2051041"/>
              <a:gd name="connsiteY1174" fmla="*/ 208417 h 2084191"/>
              <a:gd name="connsiteX1175" fmla="*/ 987721 w 2051041"/>
              <a:gd name="connsiteY1175" fmla="*/ 164883 h 2084191"/>
              <a:gd name="connsiteX1176" fmla="*/ 1153150 w 2051041"/>
              <a:gd name="connsiteY1176" fmla="*/ 162707 h 2084191"/>
              <a:gd name="connsiteX1177" fmla="*/ 1197772 w 2051041"/>
              <a:gd name="connsiteY1177" fmla="*/ 207874 h 2084191"/>
              <a:gd name="connsiteX1178" fmla="*/ 1151517 w 2051041"/>
              <a:gd name="connsiteY1178" fmla="*/ 253584 h 2084191"/>
              <a:gd name="connsiteX1179" fmla="*/ 1107439 w 2051041"/>
              <a:gd name="connsiteY1179" fmla="*/ 207329 h 2084191"/>
              <a:gd name="connsiteX1180" fmla="*/ 1153150 w 2051041"/>
              <a:gd name="connsiteY1180" fmla="*/ 162707 h 2084191"/>
              <a:gd name="connsiteX1181" fmla="*/ 1315315 w 2051041"/>
              <a:gd name="connsiteY1181" fmla="*/ 158353 h 2084191"/>
              <a:gd name="connsiteX1182" fmla="*/ 1365379 w 2051041"/>
              <a:gd name="connsiteY1182" fmla="*/ 206785 h 2084191"/>
              <a:gd name="connsiteX1183" fmla="*/ 1315859 w 2051041"/>
              <a:gd name="connsiteY1183" fmla="*/ 256305 h 2084191"/>
              <a:gd name="connsiteX1184" fmla="*/ 1266883 w 2051041"/>
              <a:gd name="connsiteY1184" fmla="*/ 207873 h 2084191"/>
              <a:gd name="connsiteX1185" fmla="*/ 1315315 w 2051041"/>
              <a:gd name="connsiteY1185" fmla="*/ 158353 h 2084191"/>
              <a:gd name="connsiteX1186" fmla="*/ 1478567 w 2051041"/>
              <a:gd name="connsiteY1186" fmla="*/ 156721 h 2084191"/>
              <a:gd name="connsiteX1187" fmla="*/ 1529720 w 2051041"/>
              <a:gd name="connsiteY1187" fmla="*/ 207329 h 2084191"/>
              <a:gd name="connsiteX1188" fmla="*/ 1478567 w 2051041"/>
              <a:gd name="connsiteY1188" fmla="*/ 258482 h 2084191"/>
              <a:gd name="connsiteX1189" fmla="*/ 1427959 w 2051041"/>
              <a:gd name="connsiteY1189" fmla="*/ 207874 h 2084191"/>
              <a:gd name="connsiteX1190" fmla="*/ 1478567 w 2051041"/>
              <a:gd name="connsiteY1190" fmla="*/ 156721 h 2084191"/>
              <a:gd name="connsiteX1191" fmla="*/ 1644541 w 2051041"/>
              <a:gd name="connsiteY1191" fmla="*/ 153456 h 2084191"/>
              <a:gd name="connsiteX1192" fmla="*/ 1697326 w 2051041"/>
              <a:gd name="connsiteY1192" fmla="*/ 209506 h 2084191"/>
              <a:gd name="connsiteX1193" fmla="*/ 1641276 w 2051041"/>
              <a:gd name="connsiteY1193" fmla="*/ 262835 h 2084191"/>
              <a:gd name="connsiteX1194" fmla="*/ 1587947 w 2051041"/>
              <a:gd name="connsiteY1194" fmla="*/ 206785 h 2084191"/>
              <a:gd name="connsiteX1195" fmla="*/ 1644541 w 2051041"/>
              <a:gd name="connsiteY1195" fmla="*/ 153456 h 2084191"/>
              <a:gd name="connsiteX1196" fmla="*/ 91463 w 2051041"/>
              <a:gd name="connsiteY1196" fmla="*/ 109922 h 2084191"/>
              <a:gd name="connsiteX1197" fmla="*/ 107244 w 2051041"/>
              <a:gd name="connsiteY1197" fmla="*/ 126247 h 2084191"/>
              <a:gd name="connsiteX1198" fmla="*/ 91463 w 2051041"/>
              <a:gd name="connsiteY1198" fmla="*/ 142028 h 2084191"/>
              <a:gd name="connsiteX1199" fmla="*/ 75682 w 2051041"/>
              <a:gd name="connsiteY1199" fmla="*/ 126247 h 2084191"/>
              <a:gd name="connsiteX1200" fmla="*/ 91463 w 2051041"/>
              <a:gd name="connsiteY1200" fmla="*/ 109922 h 2084191"/>
              <a:gd name="connsiteX1201" fmla="*/ 1942341 w 2051041"/>
              <a:gd name="connsiteY1201" fmla="*/ 104915 h 2084191"/>
              <a:gd name="connsiteX1202" fmla="*/ 1942205 w 2051041"/>
              <a:gd name="connsiteY1202" fmla="*/ 111377 h 2084191"/>
              <a:gd name="connsiteX1203" fmla="*/ 1946559 w 2051041"/>
              <a:gd name="connsiteY1203" fmla="*/ 131511 h 2084191"/>
              <a:gd name="connsiteX1204" fmla="*/ 1939484 w 2051041"/>
              <a:gd name="connsiteY1204" fmla="*/ 157088 h 2084191"/>
              <a:gd name="connsiteX1205" fmla="*/ 1941117 w 2051041"/>
              <a:gd name="connsiteY1205" fmla="*/ 160353 h 2084191"/>
              <a:gd name="connsiteX1206" fmla="*/ 1986828 w 2051041"/>
              <a:gd name="connsiteY1206" fmla="*/ 157088 h 2084191"/>
              <a:gd name="connsiteX1207" fmla="*/ 1987916 w 2051041"/>
              <a:gd name="connsiteY1207" fmla="*/ 157088 h 2084191"/>
              <a:gd name="connsiteX1208" fmla="*/ 1993902 w 2051041"/>
              <a:gd name="connsiteY1208" fmla="*/ 150013 h 2084191"/>
              <a:gd name="connsiteX1209" fmla="*/ 1993902 w 2051041"/>
              <a:gd name="connsiteY1209" fmla="*/ 109744 h 2084191"/>
              <a:gd name="connsiteX1210" fmla="*/ 1989004 w 2051041"/>
              <a:gd name="connsiteY1210" fmla="*/ 105391 h 2084191"/>
              <a:gd name="connsiteX1211" fmla="*/ 1948191 w 2051041"/>
              <a:gd name="connsiteY1211" fmla="*/ 105391 h 2084191"/>
              <a:gd name="connsiteX1212" fmla="*/ 1942341 w 2051041"/>
              <a:gd name="connsiteY1212" fmla="*/ 104915 h 2084191"/>
              <a:gd name="connsiteX1213" fmla="*/ 255804 w 2051041"/>
              <a:gd name="connsiteY1213" fmla="*/ 103392 h 2084191"/>
              <a:gd name="connsiteX1214" fmla="*/ 277571 w 2051041"/>
              <a:gd name="connsiteY1214" fmla="*/ 126791 h 2084191"/>
              <a:gd name="connsiteX1215" fmla="*/ 254172 w 2051041"/>
              <a:gd name="connsiteY1215" fmla="*/ 148014 h 2084191"/>
              <a:gd name="connsiteX1216" fmla="*/ 232405 w 2051041"/>
              <a:gd name="connsiteY1216" fmla="*/ 125159 h 2084191"/>
              <a:gd name="connsiteX1217" fmla="*/ 255804 w 2051041"/>
              <a:gd name="connsiteY1217" fmla="*/ 103392 h 2084191"/>
              <a:gd name="connsiteX1218" fmla="*/ 1773511 w 2051041"/>
              <a:gd name="connsiteY1218" fmla="*/ 99405 h 2084191"/>
              <a:gd name="connsiteX1219" fmla="*/ 1773511 w 2051041"/>
              <a:gd name="connsiteY1219" fmla="*/ 107023 h 2084191"/>
              <a:gd name="connsiteX1220" fmla="*/ 1780585 w 2051041"/>
              <a:gd name="connsiteY1220" fmla="*/ 130423 h 2084191"/>
              <a:gd name="connsiteX1221" fmla="*/ 1773511 w 2051041"/>
              <a:gd name="connsiteY1221" fmla="*/ 155999 h 2084191"/>
              <a:gd name="connsiteX1222" fmla="*/ 1774055 w 2051041"/>
              <a:gd name="connsiteY1222" fmla="*/ 161985 h 2084191"/>
              <a:gd name="connsiteX1223" fmla="*/ 1780041 w 2051041"/>
              <a:gd name="connsiteY1223" fmla="*/ 162529 h 2084191"/>
              <a:gd name="connsiteX1224" fmla="*/ 1811059 w 2051041"/>
              <a:gd name="connsiteY1224" fmla="*/ 157632 h 2084191"/>
              <a:gd name="connsiteX1225" fmla="*/ 1829561 w 2051041"/>
              <a:gd name="connsiteY1225" fmla="*/ 161985 h 2084191"/>
              <a:gd name="connsiteX1226" fmla="*/ 1836635 w 2051041"/>
              <a:gd name="connsiteY1226" fmla="*/ 161985 h 2084191"/>
              <a:gd name="connsiteX1227" fmla="*/ 1833914 w 2051041"/>
              <a:gd name="connsiteY1227" fmla="*/ 157088 h 2084191"/>
              <a:gd name="connsiteX1228" fmla="*/ 1834458 w 2051041"/>
              <a:gd name="connsiteY1228" fmla="*/ 104303 h 2084191"/>
              <a:gd name="connsiteX1229" fmla="*/ 1835547 w 2051041"/>
              <a:gd name="connsiteY1229" fmla="*/ 99405 h 2084191"/>
              <a:gd name="connsiteX1230" fmla="*/ 1831193 w 2051041"/>
              <a:gd name="connsiteY1230" fmla="*/ 101038 h 2084191"/>
              <a:gd name="connsiteX1231" fmla="*/ 1780041 w 2051041"/>
              <a:gd name="connsiteY1231" fmla="*/ 101582 h 2084191"/>
              <a:gd name="connsiteX1232" fmla="*/ 1773511 w 2051041"/>
              <a:gd name="connsiteY1232" fmla="*/ 99405 h 2084191"/>
              <a:gd name="connsiteX1233" fmla="*/ 417424 w 2051041"/>
              <a:gd name="connsiteY1233" fmla="*/ 97950 h 2084191"/>
              <a:gd name="connsiteX1234" fmla="*/ 445721 w 2051041"/>
              <a:gd name="connsiteY1234" fmla="*/ 126247 h 2084191"/>
              <a:gd name="connsiteX1235" fmla="*/ 417424 w 2051041"/>
              <a:gd name="connsiteY1235" fmla="*/ 153456 h 2084191"/>
              <a:gd name="connsiteX1236" fmla="*/ 390215 w 2051041"/>
              <a:gd name="connsiteY1236" fmla="*/ 125159 h 2084191"/>
              <a:gd name="connsiteX1237" fmla="*/ 417424 w 2051041"/>
              <a:gd name="connsiteY1237" fmla="*/ 97950 h 2084191"/>
              <a:gd name="connsiteX1238" fmla="*/ 580677 w 2051041"/>
              <a:gd name="connsiteY1238" fmla="*/ 92508 h 2084191"/>
              <a:gd name="connsiteX1239" fmla="*/ 614960 w 2051041"/>
              <a:gd name="connsiteY1239" fmla="*/ 125159 h 2084191"/>
              <a:gd name="connsiteX1240" fmla="*/ 581766 w 2051041"/>
              <a:gd name="connsiteY1240" fmla="*/ 158353 h 2084191"/>
              <a:gd name="connsiteX1241" fmla="*/ 548571 w 2051041"/>
              <a:gd name="connsiteY1241" fmla="*/ 125703 h 2084191"/>
              <a:gd name="connsiteX1242" fmla="*/ 580677 w 2051041"/>
              <a:gd name="connsiteY1242" fmla="*/ 92508 h 2084191"/>
              <a:gd name="connsiteX1243" fmla="*/ 745019 w 2051041"/>
              <a:gd name="connsiteY1243" fmla="*/ 88154 h 2084191"/>
              <a:gd name="connsiteX1244" fmla="*/ 782567 w 2051041"/>
              <a:gd name="connsiteY1244" fmla="*/ 126791 h 2084191"/>
              <a:gd name="connsiteX1245" fmla="*/ 743930 w 2051041"/>
              <a:gd name="connsiteY1245" fmla="*/ 164339 h 2084191"/>
              <a:gd name="connsiteX1246" fmla="*/ 706382 w 2051041"/>
              <a:gd name="connsiteY1246" fmla="*/ 125702 h 2084191"/>
              <a:gd name="connsiteX1247" fmla="*/ 745019 w 2051041"/>
              <a:gd name="connsiteY1247" fmla="*/ 88154 h 2084191"/>
              <a:gd name="connsiteX1248" fmla="*/ 1685898 w 2051041"/>
              <a:gd name="connsiteY1248" fmla="*/ 84712 h 2084191"/>
              <a:gd name="connsiteX1249" fmla="*/ 1685681 w 2051041"/>
              <a:gd name="connsiteY1249" fmla="*/ 85147 h 2084191"/>
              <a:gd name="connsiteX1250" fmla="*/ 1685354 w 2051041"/>
              <a:gd name="connsiteY1250" fmla="*/ 85256 h 2084191"/>
              <a:gd name="connsiteX1251" fmla="*/ 1685898 w 2051041"/>
              <a:gd name="connsiteY1251" fmla="*/ 84712 h 2084191"/>
              <a:gd name="connsiteX1252" fmla="*/ 907183 w 2051041"/>
              <a:gd name="connsiteY1252" fmla="*/ 84345 h 2084191"/>
              <a:gd name="connsiteX1253" fmla="*/ 934935 w 2051041"/>
              <a:gd name="connsiteY1253" fmla="*/ 95228 h 2084191"/>
              <a:gd name="connsiteX1254" fmla="*/ 949628 w 2051041"/>
              <a:gd name="connsiteY1254" fmla="*/ 125158 h 2084191"/>
              <a:gd name="connsiteX1255" fmla="*/ 908271 w 2051041"/>
              <a:gd name="connsiteY1255" fmla="*/ 167060 h 2084191"/>
              <a:gd name="connsiteX1256" fmla="*/ 866369 w 2051041"/>
              <a:gd name="connsiteY1256" fmla="*/ 125702 h 2084191"/>
              <a:gd name="connsiteX1257" fmla="*/ 907183 w 2051041"/>
              <a:gd name="connsiteY1257" fmla="*/ 84345 h 2084191"/>
              <a:gd name="connsiteX1258" fmla="*/ 1070979 w 2051041"/>
              <a:gd name="connsiteY1258" fmla="*/ 82169 h 2084191"/>
              <a:gd name="connsiteX1259" fmla="*/ 1115602 w 2051041"/>
              <a:gd name="connsiteY1259" fmla="*/ 126247 h 2084191"/>
              <a:gd name="connsiteX1260" fmla="*/ 1071524 w 2051041"/>
              <a:gd name="connsiteY1260" fmla="*/ 170325 h 2084191"/>
              <a:gd name="connsiteX1261" fmla="*/ 1026357 w 2051041"/>
              <a:gd name="connsiteY1261" fmla="*/ 125703 h 2084191"/>
              <a:gd name="connsiteX1262" fmla="*/ 1070979 w 2051041"/>
              <a:gd name="connsiteY1262" fmla="*/ 82169 h 2084191"/>
              <a:gd name="connsiteX1263" fmla="*/ 1684811 w 2051041"/>
              <a:gd name="connsiteY1263" fmla="*/ 82168 h 2084191"/>
              <a:gd name="connsiteX1264" fmla="*/ 1684266 w 2051041"/>
              <a:gd name="connsiteY1264" fmla="*/ 82713 h 2084191"/>
              <a:gd name="connsiteX1265" fmla="*/ 1684469 w 2051041"/>
              <a:gd name="connsiteY1265" fmla="*/ 82365 h 2084191"/>
              <a:gd name="connsiteX1266" fmla="*/ 1234777 w 2051041"/>
              <a:gd name="connsiteY1266" fmla="*/ 78360 h 2084191"/>
              <a:gd name="connsiteX1267" fmla="*/ 1282664 w 2051041"/>
              <a:gd name="connsiteY1267" fmla="*/ 126791 h 2084191"/>
              <a:gd name="connsiteX1268" fmla="*/ 1234232 w 2051041"/>
              <a:gd name="connsiteY1268" fmla="*/ 174135 h 2084191"/>
              <a:gd name="connsiteX1269" fmla="*/ 1186889 w 2051041"/>
              <a:gd name="connsiteY1269" fmla="*/ 126791 h 2084191"/>
              <a:gd name="connsiteX1270" fmla="*/ 1234777 w 2051041"/>
              <a:gd name="connsiteY1270" fmla="*/ 78360 h 2084191"/>
              <a:gd name="connsiteX1271" fmla="*/ 1398574 w 2051041"/>
              <a:gd name="connsiteY1271" fmla="*/ 76182 h 2084191"/>
              <a:gd name="connsiteX1272" fmla="*/ 1448094 w 2051041"/>
              <a:gd name="connsiteY1272" fmla="*/ 127335 h 2084191"/>
              <a:gd name="connsiteX1273" fmla="*/ 1396941 w 2051041"/>
              <a:gd name="connsiteY1273" fmla="*/ 175766 h 2084191"/>
              <a:gd name="connsiteX1274" fmla="*/ 1347421 w 2051041"/>
              <a:gd name="connsiteY1274" fmla="*/ 125702 h 2084191"/>
              <a:gd name="connsiteX1275" fmla="*/ 1398574 w 2051041"/>
              <a:gd name="connsiteY1275" fmla="*/ 76182 h 2084191"/>
              <a:gd name="connsiteX1276" fmla="*/ 1561282 w 2051041"/>
              <a:gd name="connsiteY1276" fmla="*/ 72373 h 2084191"/>
              <a:gd name="connsiteX1277" fmla="*/ 1614611 w 2051041"/>
              <a:gd name="connsiteY1277" fmla="*/ 126247 h 2084191"/>
              <a:gd name="connsiteX1278" fmla="*/ 1560738 w 2051041"/>
              <a:gd name="connsiteY1278" fmla="*/ 179576 h 2084191"/>
              <a:gd name="connsiteX1279" fmla="*/ 1507409 w 2051041"/>
              <a:gd name="connsiteY1279" fmla="*/ 126247 h 2084191"/>
              <a:gd name="connsiteX1280" fmla="*/ 1561282 w 2051041"/>
              <a:gd name="connsiteY1280" fmla="*/ 72373 h 2084191"/>
              <a:gd name="connsiteX1281" fmla="*/ 10381 w 2051041"/>
              <a:gd name="connsiteY1281" fmla="*/ 33737 h 2084191"/>
              <a:gd name="connsiteX1282" fmla="*/ 20720 w 2051041"/>
              <a:gd name="connsiteY1282" fmla="*/ 45165 h 2084191"/>
              <a:gd name="connsiteX1283" fmla="*/ 9292 w 2051041"/>
              <a:gd name="connsiteY1283" fmla="*/ 54960 h 2084191"/>
              <a:gd name="connsiteX1284" fmla="*/ 41 w 2051041"/>
              <a:gd name="connsiteY1284" fmla="*/ 44621 h 2084191"/>
              <a:gd name="connsiteX1285" fmla="*/ 10381 w 2051041"/>
              <a:gd name="connsiteY1285" fmla="*/ 33737 h 2084191"/>
              <a:gd name="connsiteX1286" fmla="*/ 172546 w 2051041"/>
              <a:gd name="connsiteY1286" fmla="*/ 23942 h 2084191"/>
              <a:gd name="connsiteX1287" fmla="*/ 193224 w 2051041"/>
              <a:gd name="connsiteY1287" fmla="*/ 44621 h 2084191"/>
              <a:gd name="connsiteX1288" fmla="*/ 173090 w 2051041"/>
              <a:gd name="connsiteY1288" fmla="*/ 64755 h 2084191"/>
              <a:gd name="connsiteX1289" fmla="*/ 152411 w 2051041"/>
              <a:gd name="connsiteY1289" fmla="*/ 44621 h 2084191"/>
              <a:gd name="connsiteX1290" fmla="*/ 172546 w 2051041"/>
              <a:gd name="connsiteY1290" fmla="*/ 23942 h 2084191"/>
              <a:gd name="connsiteX1291" fmla="*/ 1861123 w 2051041"/>
              <a:gd name="connsiteY1291" fmla="*/ 22132 h 2084191"/>
              <a:gd name="connsiteX1292" fmla="*/ 1861123 w 2051041"/>
              <a:gd name="connsiteY1292" fmla="*/ 35737 h 2084191"/>
              <a:gd name="connsiteX1293" fmla="*/ 1861123 w 2051041"/>
              <a:gd name="connsiteY1293" fmla="*/ 61313 h 2084191"/>
              <a:gd name="connsiteX1294" fmla="*/ 1858946 w 2051041"/>
              <a:gd name="connsiteY1294" fmla="*/ 72740 h 2084191"/>
              <a:gd name="connsiteX1295" fmla="*/ 1866021 w 2051041"/>
              <a:gd name="connsiteY1295" fmla="*/ 76550 h 2084191"/>
              <a:gd name="connsiteX1296" fmla="*/ 1873639 w 2051041"/>
              <a:gd name="connsiteY1296" fmla="*/ 74917 h 2084191"/>
              <a:gd name="connsiteX1297" fmla="*/ 1900304 w 2051041"/>
              <a:gd name="connsiteY1297" fmla="*/ 74373 h 2084191"/>
              <a:gd name="connsiteX1298" fmla="*/ 1907922 w 2051041"/>
              <a:gd name="connsiteY1298" fmla="*/ 76006 h 2084191"/>
              <a:gd name="connsiteX1299" fmla="*/ 1912820 w 2051041"/>
              <a:gd name="connsiteY1299" fmla="*/ 70020 h 2084191"/>
              <a:gd name="connsiteX1300" fmla="*/ 1912820 w 2051041"/>
              <a:gd name="connsiteY1300" fmla="*/ 27030 h 2084191"/>
              <a:gd name="connsiteX1301" fmla="*/ 1908466 w 2051041"/>
              <a:gd name="connsiteY1301" fmla="*/ 22132 h 2084191"/>
              <a:gd name="connsiteX1302" fmla="*/ 1902480 w 2051041"/>
              <a:gd name="connsiteY1302" fmla="*/ 24309 h 2084191"/>
              <a:gd name="connsiteX1303" fmla="*/ 1873095 w 2051041"/>
              <a:gd name="connsiteY1303" fmla="*/ 24309 h 2084191"/>
              <a:gd name="connsiteX1304" fmla="*/ 1861123 w 2051041"/>
              <a:gd name="connsiteY1304" fmla="*/ 22132 h 2084191"/>
              <a:gd name="connsiteX1305" fmla="*/ 336886 w 2051041"/>
              <a:gd name="connsiteY1305" fmla="*/ 17412 h 2084191"/>
              <a:gd name="connsiteX1306" fmla="*/ 363007 w 2051041"/>
              <a:gd name="connsiteY1306" fmla="*/ 44077 h 2084191"/>
              <a:gd name="connsiteX1307" fmla="*/ 337431 w 2051041"/>
              <a:gd name="connsiteY1307" fmla="*/ 71285 h 2084191"/>
              <a:gd name="connsiteX1308" fmla="*/ 310222 w 2051041"/>
              <a:gd name="connsiteY1308" fmla="*/ 45165 h 2084191"/>
              <a:gd name="connsiteX1309" fmla="*/ 336886 w 2051041"/>
              <a:gd name="connsiteY1309" fmla="*/ 17412 h 2084191"/>
              <a:gd name="connsiteX1310" fmla="*/ 498507 w 2051041"/>
              <a:gd name="connsiteY1310" fmla="*/ 13059 h 2084191"/>
              <a:gd name="connsiteX1311" fmla="*/ 531702 w 2051041"/>
              <a:gd name="connsiteY1311" fmla="*/ 44621 h 2084191"/>
              <a:gd name="connsiteX1312" fmla="*/ 499595 w 2051041"/>
              <a:gd name="connsiteY1312" fmla="*/ 76727 h 2084191"/>
              <a:gd name="connsiteX1313" fmla="*/ 467489 w 2051041"/>
              <a:gd name="connsiteY1313" fmla="*/ 45165 h 2084191"/>
              <a:gd name="connsiteX1314" fmla="*/ 498507 w 2051041"/>
              <a:gd name="connsiteY1314" fmla="*/ 13059 h 2084191"/>
              <a:gd name="connsiteX1315" fmla="*/ 662303 w 2051041"/>
              <a:gd name="connsiteY1315" fmla="*/ 7616 h 2084191"/>
              <a:gd name="connsiteX1316" fmla="*/ 698763 w 2051041"/>
              <a:gd name="connsiteY1316" fmla="*/ 44076 h 2084191"/>
              <a:gd name="connsiteX1317" fmla="*/ 662303 w 2051041"/>
              <a:gd name="connsiteY1317" fmla="*/ 81080 h 2084191"/>
              <a:gd name="connsiteX1318" fmla="*/ 626932 w 2051041"/>
              <a:gd name="connsiteY1318" fmla="*/ 44076 h 2084191"/>
              <a:gd name="connsiteX1319" fmla="*/ 662303 w 2051041"/>
              <a:gd name="connsiteY1319" fmla="*/ 7616 h 2084191"/>
              <a:gd name="connsiteX1320" fmla="*/ 825557 w 2051041"/>
              <a:gd name="connsiteY1320" fmla="*/ 5440 h 2084191"/>
              <a:gd name="connsiteX1321" fmla="*/ 865281 w 2051041"/>
              <a:gd name="connsiteY1321" fmla="*/ 44621 h 2084191"/>
              <a:gd name="connsiteX1322" fmla="*/ 826101 w 2051041"/>
              <a:gd name="connsiteY1322" fmla="*/ 83257 h 2084191"/>
              <a:gd name="connsiteX1323" fmla="*/ 786920 w 2051041"/>
              <a:gd name="connsiteY1323" fmla="*/ 44621 h 2084191"/>
              <a:gd name="connsiteX1324" fmla="*/ 825557 w 2051041"/>
              <a:gd name="connsiteY1324" fmla="*/ 5440 h 2084191"/>
              <a:gd name="connsiteX1325" fmla="*/ 989353 w 2051041"/>
              <a:gd name="connsiteY1325" fmla="*/ 1086 h 2084191"/>
              <a:gd name="connsiteX1326" fmla="*/ 1032343 w 2051041"/>
              <a:gd name="connsiteY1326" fmla="*/ 43532 h 2084191"/>
              <a:gd name="connsiteX1327" fmla="*/ 989897 w 2051041"/>
              <a:gd name="connsiteY1327" fmla="*/ 87610 h 2084191"/>
              <a:gd name="connsiteX1328" fmla="*/ 945819 w 2051041"/>
              <a:gd name="connsiteY1328" fmla="*/ 44620 h 2084191"/>
              <a:gd name="connsiteX1329" fmla="*/ 989353 w 2051041"/>
              <a:gd name="connsiteY1329" fmla="*/ 1086 h 2084191"/>
              <a:gd name="connsiteX1330" fmla="*/ 1614056 w 2051041"/>
              <a:gd name="connsiteY1330" fmla="*/ 0 h 2084191"/>
              <a:gd name="connsiteX1331" fmla="*/ 1675529 w 2051041"/>
              <a:gd name="connsiteY1331" fmla="*/ 0 h 2084191"/>
              <a:gd name="connsiteX1332" fmla="*/ 1682905 w 2051041"/>
              <a:gd name="connsiteY1332" fmla="*/ 4720 h 2084191"/>
              <a:gd name="connsiteX1333" fmla="*/ 1933639 w 2051041"/>
              <a:gd name="connsiteY1333" fmla="*/ 4720 h 2084191"/>
              <a:gd name="connsiteX1334" fmla="*/ 2016655 w 2051041"/>
              <a:gd name="connsiteY1334" fmla="*/ 39107 h 2084191"/>
              <a:gd name="connsiteX1335" fmla="*/ 2028934 w 2051041"/>
              <a:gd name="connsiteY1335" fmla="*/ 57318 h 2084191"/>
              <a:gd name="connsiteX1336" fmla="*/ 2026008 w 2051041"/>
              <a:gd name="connsiteY1336" fmla="*/ 71108 h 2084191"/>
              <a:gd name="connsiteX1337" fmla="*/ 2030906 w 2051041"/>
              <a:gd name="connsiteY1337" fmla="*/ 75461 h 2084191"/>
              <a:gd name="connsiteX1338" fmla="*/ 2039929 w 2051041"/>
              <a:gd name="connsiteY1338" fmla="*/ 73627 h 2084191"/>
              <a:gd name="connsiteX1339" fmla="*/ 2041815 w 2051041"/>
              <a:gd name="connsiteY1339" fmla="*/ 76424 h 2084191"/>
              <a:gd name="connsiteX1340" fmla="*/ 2051041 w 2051041"/>
              <a:gd name="connsiteY1340" fmla="*/ 122122 h 2084191"/>
              <a:gd name="connsiteX1341" fmla="*/ 2051041 w 2051041"/>
              <a:gd name="connsiteY1341" fmla="*/ 186473 h 2084191"/>
              <a:gd name="connsiteX1342" fmla="*/ 2029818 w 2051041"/>
              <a:gd name="connsiteY1342" fmla="*/ 186473 h 2084191"/>
              <a:gd name="connsiteX1343" fmla="*/ 2023287 w 2051041"/>
              <a:gd name="connsiteY1343" fmla="*/ 192459 h 2084191"/>
              <a:gd name="connsiteX1344" fmla="*/ 2023832 w 2051041"/>
              <a:gd name="connsiteY1344" fmla="*/ 196268 h 2084191"/>
              <a:gd name="connsiteX1345" fmla="*/ 2019478 w 2051041"/>
              <a:gd name="connsiteY1345" fmla="*/ 239258 h 2084191"/>
              <a:gd name="connsiteX1346" fmla="*/ 2020022 w 2051041"/>
              <a:gd name="connsiteY1346" fmla="*/ 242523 h 2084191"/>
              <a:gd name="connsiteX1347" fmla="*/ 2023287 w 2051041"/>
              <a:gd name="connsiteY1347" fmla="*/ 243067 h 2084191"/>
              <a:gd name="connsiteX1348" fmla="*/ 2050224 w 2051041"/>
              <a:gd name="connsiteY1348" fmla="*/ 237150 h 2084191"/>
              <a:gd name="connsiteX1349" fmla="*/ 2051041 w 2051041"/>
              <a:gd name="connsiteY1349" fmla="*/ 237329 h 2084191"/>
              <a:gd name="connsiteX1350" fmla="*/ 2051041 w 2051041"/>
              <a:gd name="connsiteY1350" fmla="*/ 348996 h 2084191"/>
              <a:gd name="connsiteX1351" fmla="*/ 2036552 w 2051041"/>
              <a:gd name="connsiteY1351" fmla="*/ 347754 h 2084191"/>
              <a:gd name="connsiteX1352" fmla="*/ 2021111 w 2051041"/>
              <a:gd name="connsiteY1352" fmla="*/ 341019 h 2084191"/>
              <a:gd name="connsiteX1353" fmla="*/ 2016757 w 2051041"/>
              <a:gd name="connsiteY1353" fmla="*/ 338842 h 2084191"/>
              <a:gd name="connsiteX1354" fmla="*/ 2017301 w 2051041"/>
              <a:gd name="connsiteY1354" fmla="*/ 344284 h 2084191"/>
              <a:gd name="connsiteX1355" fmla="*/ 2025464 w 2051041"/>
              <a:gd name="connsiteY1355" fmla="*/ 376391 h 2084191"/>
              <a:gd name="connsiteX1356" fmla="*/ 1994446 w 2051041"/>
              <a:gd name="connsiteY1356" fmla="*/ 424278 h 2084191"/>
              <a:gd name="connsiteX1357" fmla="*/ 1933498 w 2051041"/>
              <a:gd name="connsiteY1357" fmla="*/ 416115 h 2084191"/>
              <a:gd name="connsiteX1358" fmla="*/ 1920438 w 2051041"/>
              <a:gd name="connsiteY1358" fmla="*/ 352447 h 2084191"/>
              <a:gd name="connsiteX1359" fmla="*/ 1925336 w 2051041"/>
              <a:gd name="connsiteY1359" fmla="*/ 338298 h 2084191"/>
              <a:gd name="connsiteX1360" fmla="*/ 1911731 w 2051041"/>
              <a:gd name="connsiteY1360" fmla="*/ 343196 h 2084191"/>
              <a:gd name="connsiteX1361" fmla="*/ 1898671 w 2051041"/>
              <a:gd name="connsiteY1361" fmla="*/ 347005 h 2084191"/>
              <a:gd name="connsiteX1362" fmla="*/ 1854593 w 2051041"/>
              <a:gd name="connsiteY1362" fmla="*/ 336666 h 2084191"/>
              <a:gd name="connsiteX1363" fmla="*/ 1847690 w 2051041"/>
              <a:gd name="connsiteY1363" fmla="*/ 333480 h 2084191"/>
              <a:gd name="connsiteX1364" fmla="*/ 1852961 w 2051041"/>
              <a:gd name="connsiteY1364" fmla="*/ 344461 h 2084191"/>
              <a:gd name="connsiteX1365" fmla="*/ 1826840 w 2051041"/>
              <a:gd name="connsiteY1365" fmla="*/ 420646 h 2084191"/>
              <a:gd name="connsiteX1366" fmla="*/ 1765893 w 2051041"/>
              <a:gd name="connsiteY1366" fmla="*/ 408130 h 2084191"/>
              <a:gd name="connsiteX1367" fmla="*/ 1759362 w 2051041"/>
              <a:gd name="connsiteY1367" fmla="*/ 342829 h 2084191"/>
              <a:gd name="connsiteX1368" fmla="*/ 1815991 w 2051041"/>
              <a:gd name="connsiteY1368" fmla="*/ 317193 h 2084191"/>
              <a:gd name="connsiteX1369" fmla="*/ 1834459 w 2051041"/>
              <a:gd name="connsiteY1369" fmla="*/ 325415 h 2084191"/>
              <a:gd name="connsiteX1370" fmla="*/ 1845023 w 2051041"/>
              <a:gd name="connsiteY1370" fmla="*/ 330169 h 2084191"/>
              <a:gd name="connsiteX1371" fmla="*/ 1840444 w 2051041"/>
              <a:gd name="connsiteY1371" fmla="*/ 321429 h 2084191"/>
              <a:gd name="connsiteX1372" fmla="*/ 1834458 w 2051041"/>
              <a:gd name="connsiteY1372" fmla="*/ 275174 h 2084191"/>
              <a:gd name="connsiteX1373" fmla="*/ 1840988 w 2051041"/>
              <a:gd name="connsiteY1373" fmla="*/ 259937 h 2084191"/>
              <a:gd name="connsiteX1374" fmla="*/ 1842077 w 2051041"/>
              <a:gd name="connsiteY1374" fmla="*/ 255584 h 2084191"/>
              <a:gd name="connsiteX1375" fmla="*/ 1837723 w 2051041"/>
              <a:gd name="connsiteY1375" fmla="*/ 257216 h 2084191"/>
              <a:gd name="connsiteX1376" fmla="*/ 1817589 w 2051041"/>
              <a:gd name="connsiteY1376" fmla="*/ 264834 h 2084191"/>
              <a:gd name="connsiteX1377" fmla="*/ 1768069 w 2051041"/>
              <a:gd name="connsiteY1377" fmla="*/ 251774 h 2084191"/>
              <a:gd name="connsiteX1378" fmla="*/ 1764740 w 2051041"/>
              <a:gd name="connsiteY1378" fmla="*/ 250110 h 2084191"/>
              <a:gd name="connsiteX1379" fmla="*/ 1773510 w 2051041"/>
              <a:gd name="connsiteY1379" fmla="*/ 267189 h 2084191"/>
              <a:gd name="connsiteX1380" fmla="*/ 1750655 w 2051041"/>
              <a:gd name="connsiteY1380" fmla="*/ 336843 h 2084191"/>
              <a:gd name="connsiteX1381" fmla="*/ 1673926 w 2051041"/>
              <a:gd name="connsiteY1381" fmla="*/ 310723 h 2084191"/>
              <a:gd name="connsiteX1382" fmla="*/ 1681545 w 2051041"/>
              <a:gd name="connsiteY1382" fmla="*/ 254673 h 2084191"/>
              <a:gd name="connsiteX1383" fmla="*/ 1733786 w 2051041"/>
              <a:gd name="connsiteY1383" fmla="*/ 235083 h 2084191"/>
              <a:gd name="connsiteX1384" fmla="*/ 1751743 w 2051041"/>
              <a:gd name="connsiteY1384" fmla="*/ 242157 h 2084191"/>
              <a:gd name="connsiteX1385" fmla="*/ 1762506 w 2051041"/>
              <a:gd name="connsiteY1385" fmla="*/ 246769 h 2084191"/>
              <a:gd name="connsiteX1386" fmla="*/ 1757185 w 2051041"/>
              <a:gd name="connsiteY1386" fmla="*/ 236537 h 2084191"/>
              <a:gd name="connsiteX1387" fmla="*/ 1756097 w 2051041"/>
              <a:gd name="connsiteY1387" fmla="*/ 185929 h 2084191"/>
              <a:gd name="connsiteX1388" fmla="*/ 1757185 w 2051041"/>
              <a:gd name="connsiteY1388" fmla="*/ 177766 h 2084191"/>
              <a:gd name="connsiteX1389" fmla="*/ 1749023 w 2051041"/>
              <a:gd name="connsiteY1389" fmla="*/ 178311 h 2084191"/>
              <a:gd name="connsiteX1390" fmla="*/ 1676103 w 2051041"/>
              <a:gd name="connsiteY1390" fmla="*/ 154911 h 2084191"/>
              <a:gd name="connsiteX1391" fmla="*/ 1681001 w 2051041"/>
              <a:gd name="connsiteY1391" fmla="*/ 94507 h 2084191"/>
              <a:gd name="connsiteX1392" fmla="*/ 1685681 w 2051041"/>
              <a:gd name="connsiteY1392" fmla="*/ 85147 h 2084191"/>
              <a:gd name="connsiteX1393" fmla="*/ 1693517 w 2051041"/>
              <a:gd name="connsiteY1393" fmla="*/ 82536 h 2084191"/>
              <a:gd name="connsiteX1394" fmla="*/ 1747934 w 2051041"/>
              <a:gd name="connsiteY1394" fmla="*/ 77638 h 2084191"/>
              <a:gd name="connsiteX1395" fmla="*/ 1756641 w 2051041"/>
              <a:gd name="connsiteY1395" fmla="*/ 79271 h 2084191"/>
              <a:gd name="connsiteX1396" fmla="*/ 1754464 w 2051041"/>
              <a:gd name="connsiteY1396" fmla="*/ 71652 h 2084191"/>
              <a:gd name="connsiteX1397" fmla="*/ 1752832 w 2051041"/>
              <a:gd name="connsiteY1397" fmla="*/ 68387 h 2084191"/>
              <a:gd name="connsiteX1398" fmla="*/ 1756097 w 2051041"/>
              <a:gd name="connsiteY1398" fmla="*/ 20500 h 2084191"/>
              <a:gd name="connsiteX1399" fmla="*/ 1756641 w 2051041"/>
              <a:gd name="connsiteY1399" fmla="*/ 16146 h 2084191"/>
              <a:gd name="connsiteX1400" fmla="*/ 1751744 w 2051041"/>
              <a:gd name="connsiteY1400" fmla="*/ 15058 h 2084191"/>
              <a:gd name="connsiteX1401" fmla="*/ 1741404 w 2051041"/>
              <a:gd name="connsiteY1401" fmla="*/ 19955 h 2084191"/>
              <a:gd name="connsiteX1402" fmla="*/ 1691884 w 2051041"/>
              <a:gd name="connsiteY1402" fmla="*/ 11249 h 2084191"/>
              <a:gd name="connsiteX1403" fmla="*/ 1685645 w 2051041"/>
              <a:gd name="connsiteY1403" fmla="*/ 8369 h 2084191"/>
              <a:gd name="connsiteX1404" fmla="*/ 1688620 w 2051041"/>
              <a:gd name="connsiteY1404" fmla="*/ 14691 h 2084191"/>
              <a:gd name="connsiteX1405" fmla="*/ 1691885 w 2051041"/>
              <a:gd name="connsiteY1405" fmla="*/ 69652 h 2084191"/>
              <a:gd name="connsiteX1406" fmla="*/ 1684469 w 2051041"/>
              <a:gd name="connsiteY1406" fmla="*/ 82365 h 2084191"/>
              <a:gd name="connsiteX1407" fmla="*/ 1663044 w 2051041"/>
              <a:gd name="connsiteY1407" fmla="*/ 94684 h 2084191"/>
              <a:gd name="connsiteX1408" fmla="*/ 1626584 w 2051041"/>
              <a:gd name="connsiteY1408" fmla="*/ 96861 h 2084191"/>
              <a:gd name="connsiteX1409" fmla="*/ 1590124 w 2051041"/>
              <a:gd name="connsiteY1409" fmla="*/ 60401 h 2084191"/>
              <a:gd name="connsiteX1410" fmla="*/ 1591757 w 2051041"/>
              <a:gd name="connsiteY1410" fmla="*/ 25030 h 2084191"/>
              <a:gd name="connsiteX1411" fmla="*/ 1460066 w 2051041"/>
              <a:gd name="connsiteY1411" fmla="*/ 0 h 2084191"/>
              <a:gd name="connsiteX1412" fmla="*/ 1498513 w 2051041"/>
              <a:gd name="connsiteY1412" fmla="*/ 0 h 2084191"/>
              <a:gd name="connsiteX1413" fmla="*/ 1517204 w 2051041"/>
              <a:gd name="connsiteY1413" fmla="*/ 8092 h 2084191"/>
              <a:gd name="connsiteX1414" fmla="*/ 1531896 w 2051041"/>
              <a:gd name="connsiteY1414" fmla="*/ 45164 h 2084191"/>
              <a:gd name="connsiteX1415" fmla="*/ 1479111 w 2051041"/>
              <a:gd name="connsiteY1415" fmla="*/ 97949 h 2084191"/>
              <a:gd name="connsiteX1416" fmla="*/ 1426870 w 2051041"/>
              <a:gd name="connsiteY1416" fmla="*/ 45164 h 2084191"/>
              <a:gd name="connsiteX1417" fmla="*/ 1441631 w 2051041"/>
              <a:gd name="connsiteY1417" fmla="*/ 7684 h 2084191"/>
              <a:gd name="connsiteX1418" fmla="*/ 1296749 w 2051041"/>
              <a:gd name="connsiteY1418" fmla="*/ 0 h 2084191"/>
              <a:gd name="connsiteX1419" fmla="*/ 1335755 w 2051041"/>
              <a:gd name="connsiteY1419" fmla="*/ 0 h 2084191"/>
              <a:gd name="connsiteX1420" fmla="*/ 1350278 w 2051041"/>
              <a:gd name="connsiteY1420" fmla="*/ 10270 h 2084191"/>
              <a:gd name="connsiteX1421" fmla="*/ 1365923 w 2051041"/>
              <a:gd name="connsiteY1421" fmla="*/ 45165 h 2084191"/>
              <a:gd name="connsiteX1422" fmla="*/ 1315315 w 2051041"/>
              <a:gd name="connsiteY1422" fmla="*/ 93052 h 2084191"/>
              <a:gd name="connsiteX1423" fmla="*/ 1266339 w 2051041"/>
              <a:gd name="connsiteY1423" fmla="*/ 44076 h 2084191"/>
              <a:gd name="connsiteX1424" fmla="*/ 1282732 w 2051041"/>
              <a:gd name="connsiteY1424" fmla="*/ 9317 h 2084191"/>
              <a:gd name="connsiteX1425" fmla="*/ 1148085 w 2051041"/>
              <a:gd name="connsiteY1425" fmla="*/ 0 h 2084191"/>
              <a:gd name="connsiteX1426" fmla="*/ 1161802 w 2051041"/>
              <a:gd name="connsiteY1426" fmla="*/ 0 h 2084191"/>
              <a:gd name="connsiteX1427" fmla="*/ 1169637 w 2051041"/>
              <a:gd name="connsiteY1427" fmla="*/ 1315 h 2084191"/>
              <a:gd name="connsiteX1428" fmla="*/ 1199405 w 2051041"/>
              <a:gd name="connsiteY1428" fmla="*/ 45164 h 2084191"/>
              <a:gd name="connsiteX1429" fmla="*/ 1151518 w 2051041"/>
              <a:gd name="connsiteY1429" fmla="*/ 91419 h 2084191"/>
              <a:gd name="connsiteX1430" fmla="*/ 1105807 w 2051041"/>
              <a:gd name="connsiteY1430" fmla="*/ 44620 h 2084191"/>
              <a:gd name="connsiteX1431" fmla="*/ 1119139 w 2051041"/>
              <a:gd name="connsiteY1431" fmla="*/ 11902 h 20841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Lst>
            <a:rect l="l" t="t" r="r" b="b"/>
            <a:pathLst>
              <a:path w="2051041" h="2084191">
                <a:moveTo>
                  <a:pt x="2051041" y="2080382"/>
                </a:moveTo>
                <a:lnTo>
                  <a:pt x="2051041" y="2083967"/>
                </a:lnTo>
                <a:lnTo>
                  <a:pt x="2047231" y="2084191"/>
                </a:lnTo>
                <a:cubicBezTo>
                  <a:pt x="2046687" y="2084191"/>
                  <a:pt x="2046143" y="2082559"/>
                  <a:pt x="2045599" y="2081470"/>
                </a:cubicBezTo>
                <a:close/>
                <a:moveTo>
                  <a:pt x="1478568" y="1997668"/>
                </a:moveTo>
                <a:cubicBezTo>
                  <a:pt x="1484010" y="1997668"/>
                  <a:pt x="1485642" y="2000933"/>
                  <a:pt x="1484554" y="2004743"/>
                </a:cubicBezTo>
                <a:cubicBezTo>
                  <a:pt x="1484010" y="2006919"/>
                  <a:pt x="1480745" y="2008551"/>
                  <a:pt x="1478568" y="2009096"/>
                </a:cubicBezTo>
                <a:cubicBezTo>
                  <a:pt x="1474759" y="2009640"/>
                  <a:pt x="1473126" y="2007463"/>
                  <a:pt x="1473126" y="2003654"/>
                </a:cubicBezTo>
                <a:cubicBezTo>
                  <a:pt x="1473126" y="1998756"/>
                  <a:pt x="1475303" y="1997124"/>
                  <a:pt x="1478568" y="1997668"/>
                </a:cubicBezTo>
                <a:close/>
                <a:moveTo>
                  <a:pt x="1641820" y="1993859"/>
                </a:moveTo>
                <a:cubicBezTo>
                  <a:pt x="1646718" y="1993314"/>
                  <a:pt x="1652160" y="1999300"/>
                  <a:pt x="1652160" y="2003654"/>
                </a:cubicBezTo>
                <a:cubicBezTo>
                  <a:pt x="1652160" y="2008551"/>
                  <a:pt x="1646718" y="2013449"/>
                  <a:pt x="1641820" y="2013449"/>
                </a:cubicBezTo>
                <a:cubicBezTo>
                  <a:pt x="1636923" y="2013449"/>
                  <a:pt x="1632025" y="2008007"/>
                  <a:pt x="1632025" y="2003654"/>
                </a:cubicBezTo>
                <a:cubicBezTo>
                  <a:pt x="1632025" y="1999300"/>
                  <a:pt x="1638011" y="1993859"/>
                  <a:pt x="1641820" y="1993859"/>
                </a:cubicBezTo>
                <a:close/>
                <a:moveTo>
                  <a:pt x="1969414" y="1992226"/>
                </a:moveTo>
                <a:cubicBezTo>
                  <a:pt x="1976488" y="1992226"/>
                  <a:pt x="1979753" y="1996035"/>
                  <a:pt x="1979753" y="2003654"/>
                </a:cubicBezTo>
                <a:cubicBezTo>
                  <a:pt x="1979753" y="2011272"/>
                  <a:pt x="1975944" y="2014537"/>
                  <a:pt x="1968325" y="2014537"/>
                </a:cubicBezTo>
                <a:cubicBezTo>
                  <a:pt x="1960707" y="2014537"/>
                  <a:pt x="1957442" y="2010728"/>
                  <a:pt x="1957986" y="2003110"/>
                </a:cubicBezTo>
                <a:cubicBezTo>
                  <a:pt x="1957986" y="1994947"/>
                  <a:pt x="1961251" y="1992226"/>
                  <a:pt x="1969414" y="1992226"/>
                </a:cubicBezTo>
                <a:close/>
                <a:moveTo>
                  <a:pt x="1805073" y="1992226"/>
                </a:moveTo>
                <a:cubicBezTo>
                  <a:pt x="1811058" y="1992226"/>
                  <a:pt x="1815956" y="1996035"/>
                  <a:pt x="1815956" y="2002565"/>
                </a:cubicBezTo>
                <a:cubicBezTo>
                  <a:pt x="1816500" y="2009096"/>
                  <a:pt x="1812147" y="2014537"/>
                  <a:pt x="1805073" y="2014537"/>
                </a:cubicBezTo>
                <a:cubicBezTo>
                  <a:pt x="1799087" y="2014537"/>
                  <a:pt x="1794189" y="2010184"/>
                  <a:pt x="1794189" y="2004198"/>
                </a:cubicBezTo>
                <a:cubicBezTo>
                  <a:pt x="1794189" y="1997668"/>
                  <a:pt x="1799087" y="1992770"/>
                  <a:pt x="1805073" y="1992226"/>
                </a:cubicBezTo>
                <a:close/>
                <a:moveTo>
                  <a:pt x="1234233" y="1916042"/>
                </a:moveTo>
                <a:cubicBezTo>
                  <a:pt x="1238586" y="1915497"/>
                  <a:pt x="1240763" y="1917674"/>
                  <a:pt x="1240219" y="1923660"/>
                </a:cubicBezTo>
                <a:cubicBezTo>
                  <a:pt x="1239674" y="1924204"/>
                  <a:pt x="1237498" y="1926381"/>
                  <a:pt x="1236953" y="1926381"/>
                </a:cubicBezTo>
                <a:cubicBezTo>
                  <a:pt x="1234233" y="1924204"/>
                  <a:pt x="1231512" y="1921483"/>
                  <a:pt x="1229335" y="1918762"/>
                </a:cubicBezTo>
                <a:cubicBezTo>
                  <a:pt x="1230968" y="1917674"/>
                  <a:pt x="1232600" y="1916586"/>
                  <a:pt x="1234233" y="1916042"/>
                </a:cubicBezTo>
                <a:close/>
                <a:moveTo>
                  <a:pt x="1397486" y="1911144"/>
                </a:moveTo>
                <a:cubicBezTo>
                  <a:pt x="1402927" y="1911144"/>
                  <a:pt x="1408369" y="1916041"/>
                  <a:pt x="1408369" y="1921483"/>
                </a:cubicBezTo>
                <a:cubicBezTo>
                  <a:pt x="1408369" y="1926925"/>
                  <a:pt x="1404016" y="1931279"/>
                  <a:pt x="1399118" y="1931823"/>
                </a:cubicBezTo>
                <a:cubicBezTo>
                  <a:pt x="1392588" y="1932367"/>
                  <a:pt x="1387146" y="1928013"/>
                  <a:pt x="1387146" y="1922028"/>
                </a:cubicBezTo>
                <a:cubicBezTo>
                  <a:pt x="1386602" y="1916586"/>
                  <a:pt x="1391500" y="1911144"/>
                  <a:pt x="1397486" y="1911144"/>
                </a:cubicBezTo>
                <a:close/>
                <a:moveTo>
                  <a:pt x="1560194" y="1906790"/>
                </a:moveTo>
                <a:cubicBezTo>
                  <a:pt x="1566180" y="1906790"/>
                  <a:pt x="1574342" y="1914953"/>
                  <a:pt x="1574342" y="1921482"/>
                </a:cubicBezTo>
                <a:cubicBezTo>
                  <a:pt x="1574342" y="1928013"/>
                  <a:pt x="1566724" y="1936175"/>
                  <a:pt x="1560738" y="1935631"/>
                </a:cubicBezTo>
                <a:cubicBezTo>
                  <a:pt x="1554752" y="1935631"/>
                  <a:pt x="1547678" y="1928557"/>
                  <a:pt x="1547134" y="1922027"/>
                </a:cubicBezTo>
                <a:cubicBezTo>
                  <a:pt x="1546589" y="1915497"/>
                  <a:pt x="1554208" y="1907334"/>
                  <a:pt x="1560194" y="1906790"/>
                </a:cubicBezTo>
                <a:close/>
                <a:moveTo>
                  <a:pt x="2049952" y="1905702"/>
                </a:moveTo>
                <a:lnTo>
                  <a:pt x="2051041" y="1906027"/>
                </a:lnTo>
                <a:lnTo>
                  <a:pt x="2051041" y="1938133"/>
                </a:lnTo>
                <a:lnTo>
                  <a:pt x="2050496" y="1938353"/>
                </a:lnTo>
                <a:cubicBezTo>
                  <a:pt x="2039613" y="1937808"/>
                  <a:pt x="2034715" y="1933455"/>
                  <a:pt x="2034171" y="1922572"/>
                </a:cubicBezTo>
                <a:cubicBezTo>
                  <a:pt x="2034171" y="1911144"/>
                  <a:pt x="2039069" y="1905702"/>
                  <a:pt x="2049952" y="1905702"/>
                </a:cubicBezTo>
                <a:close/>
                <a:moveTo>
                  <a:pt x="1723447" y="1905702"/>
                </a:moveTo>
                <a:cubicBezTo>
                  <a:pt x="1730521" y="1905702"/>
                  <a:pt x="1739772" y="1914409"/>
                  <a:pt x="1739772" y="1920939"/>
                </a:cubicBezTo>
                <a:cubicBezTo>
                  <a:pt x="1740316" y="1929101"/>
                  <a:pt x="1732698" y="1936720"/>
                  <a:pt x="1724535" y="1937264"/>
                </a:cubicBezTo>
                <a:cubicBezTo>
                  <a:pt x="1716373" y="1937264"/>
                  <a:pt x="1708754" y="1930190"/>
                  <a:pt x="1708210" y="1922027"/>
                </a:cubicBezTo>
                <a:cubicBezTo>
                  <a:pt x="1708210" y="1914953"/>
                  <a:pt x="1716373" y="1905702"/>
                  <a:pt x="1723447" y="1905702"/>
                </a:cubicBezTo>
                <a:close/>
                <a:moveTo>
                  <a:pt x="1887787" y="1905158"/>
                </a:moveTo>
                <a:cubicBezTo>
                  <a:pt x="1898671" y="1905158"/>
                  <a:pt x="1904113" y="1911144"/>
                  <a:pt x="1904113" y="1922028"/>
                </a:cubicBezTo>
                <a:cubicBezTo>
                  <a:pt x="1904113" y="1932367"/>
                  <a:pt x="1898127" y="1937809"/>
                  <a:pt x="1886699" y="1937809"/>
                </a:cubicBezTo>
                <a:cubicBezTo>
                  <a:pt x="1876360" y="1937809"/>
                  <a:pt x="1870918" y="1931823"/>
                  <a:pt x="1870918" y="1921483"/>
                </a:cubicBezTo>
                <a:cubicBezTo>
                  <a:pt x="1870918" y="1910600"/>
                  <a:pt x="1876904" y="1904614"/>
                  <a:pt x="1887787" y="1905158"/>
                </a:cubicBezTo>
                <a:close/>
                <a:moveTo>
                  <a:pt x="1152606" y="1831693"/>
                </a:moveTo>
                <a:cubicBezTo>
                  <a:pt x="1155871" y="1832782"/>
                  <a:pt x="1160769" y="1836591"/>
                  <a:pt x="1161313" y="1839312"/>
                </a:cubicBezTo>
                <a:cubicBezTo>
                  <a:pt x="1160769" y="1843121"/>
                  <a:pt x="1156959" y="1846931"/>
                  <a:pt x="1153694" y="1852916"/>
                </a:cubicBezTo>
                <a:cubicBezTo>
                  <a:pt x="1149341" y="1847475"/>
                  <a:pt x="1146076" y="1844754"/>
                  <a:pt x="1144988" y="1841489"/>
                </a:cubicBezTo>
                <a:cubicBezTo>
                  <a:pt x="1143355" y="1837135"/>
                  <a:pt x="1148797" y="1830605"/>
                  <a:pt x="1152606" y="1831693"/>
                </a:cubicBezTo>
                <a:close/>
                <a:moveTo>
                  <a:pt x="1315315" y="1825708"/>
                </a:moveTo>
                <a:cubicBezTo>
                  <a:pt x="1321301" y="1825164"/>
                  <a:pt x="1331096" y="1834415"/>
                  <a:pt x="1330552" y="1840401"/>
                </a:cubicBezTo>
                <a:cubicBezTo>
                  <a:pt x="1330552" y="1845298"/>
                  <a:pt x="1321301" y="1854549"/>
                  <a:pt x="1316404" y="1854549"/>
                </a:cubicBezTo>
                <a:cubicBezTo>
                  <a:pt x="1310962" y="1855094"/>
                  <a:pt x="1302255" y="1846387"/>
                  <a:pt x="1301711" y="1840945"/>
                </a:cubicBezTo>
                <a:cubicBezTo>
                  <a:pt x="1301167" y="1834959"/>
                  <a:pt x="1309329" y="1826252"/>
                  <a:pt x="1315315" y="1825708"/>
                </a:cubicBezTo>
                <a:close/>
                <a:moveTo>
                  <a:pt x="1479656" y="1822987"/>
                </a:moveTo>
                <a:cubicBezTo>
                  <a:pt x="1489995" y="1823531"/>
                  <a:pt x="1495981" y="1830061"/>
                  <a:pt x="1495981" y="1840401"/>
                </a:cubicBezTo>
                <a:cubicBezTo>
                  <a:pt x="1495981" y="1851284"/>
                  <a:pt x="1490539" y="1856726"/>
                  <a:pt x="1478567" y="1856182"/>
                </a:cubicBezTo>
                <a:cubicBezTo>
                  <a:pt x="1467140" y="1856182"/>
                  <a:pt x="1462242" y="1850740"/>
                  <a:pt x="1462242" y="1839312"/>
                </a:cubicBezTo>
                <a:cubicBezTo>
                  <a:pt x="1462242" y="1828429"/>
                  <a:pt x="1468772" y="1822443"/>
                  <a:pt x="1479656" y="1822987"/>
                </a:cubicBezTo>
                <a:close/>
                <a:moveTo>
                  <a:pt x="1642365" y="1821355"/>
                </a:moveTo>
                <a:cubicBezTo>
                  <a:pt x="1653248" y="1821355"/>
                  <a:pt x="1661955" y="1829518"/>
                  <a:pt x="1660867" y="1840401"/>
                </a:cubicBezTo>
                <a:cubicBezTo>
                  <a:pt x="1659778" y="1853461"/>
                  <a:pt x="1653792" y="1857270"/>
                  <a:pt x="1642365" y="1857270"/>
                </a:cubicBezTo>
                <a:cubicBezTo>
                  <a:pt x="1630937" y="1857270"/>
                  <a:pt x="1624407" y="1850740"/>
                  <a:pt x="1624407" y="1839857"/>
                </a:cubicBezTo>
                <a:cubicBezTo>
                  <a:pt x="1624407" y="1828973"/>
                  <a:pt x="1632025" y="1821355"/>
                  <a:pt x="1642365" y="1821355"/>
                </a:cubicBezTo>
                <a:close/>
                <a:moveTo>
                  <a:pt x="1806162" y="1819723"/>
                </a:moveTo>
                <a:cubicBezTo>
                  <a:pt x="1816501" y="1819723"/>
                  <a:pt x="1827385" y="1831150"/>
                  <a:pt x="1826840" y="1840945"/>
                </a:cubicBezTo>
                <a:cubicBezTo>
                  <a:pt x="1826296" y="1850740"/>
                  <a:pt x="1813780" y="1862168"/>
                  <a:pt x="1804529" y="1861080"/>
                </a:cubicBezTo>
                <a:cubicBezTo>
                  <a:pt x="1795278" y="1860536"/>
                  <a:pt x="1783851" y="1847476"/>
                  <a:pt x="1784395" y="1839313"/>
                </a:cubicBezTo>
                <a:cubicBezTo>
                  <a:pt x="1784939" y="1828973"/>
                  <a:pt x="1796367" y="1819178"/>
                  <a:pt x="1806162" y="1819723"/>
                </a:cubicBezTo>
                <a:close/>
                <a:moveTo>
                  <a:pt x="1968870" y="1819178"/>
                </a:moveTo>
                <a:cubicBezTo>
                  <a:pt x="1980298" y="1819178"/>
                  <a:pt x="1990093" y="1828973"/>
                  <a:pt x="1990093" y="1840401"/>
                </a:cubicBezTo>
                <a:cubicBezTo>
                  <a:pt x="1990093" y="1851285"/>
                  <a:pt x="1980298" y="1861624"/>
                  <a:pt x="1968870" y="1861624"/>
                </a:cubicBezTo>
                <a:cubicBezTo>
                  <a:pt x="1957986" y="1861624"/>
                  <a:pt x="1947647" y="1851285"/>
                  <a:pt x="1947647" y="1840401"/>
                </a:cubicBezTo>
                <a:cubicBezTo>
                  <a:pt x="1947647" y="1828973"/>
                  <a:pt x="1957986" y="1819178"/>
                  <a:pt x="1968870" y="1819178"/>
                </a:cubicBezTo>
                <a:close/>
                <a:moveTo>
                  <a:pt x="1070436" y="1747347"/>
                </a:moveTo>
                <a:cubicBezTo>
                  <a:pt x="1078598" y="1747347"/>
                  <a:pt x="1081863" y="1750612"/>
                  <a:pt x="1081863" y="1758231"/>
                </a:cubicBezTo>
                <a:cubicBezTo>
                  <a:pt x="1081863" y="1766393"/>
                  <a:pt x="1078598" y="1769658"/>
                  <a:pt x="1070980" y="1769658"/>
                </a:cubicBezTo>
                <a:cubicBezTo>
                  <a:pt x="1063361" y="1769658"/>
                  <a:pt x="1060096" y="1766393"/>
                  <a:pt x="1059552" y="1758775"/>
                </a:cubicBezTo>
                <a:cubicBezTo>
                  <a:pt x="1059552" y="1751156"/>
                  <a:pt x="1062817" y="1747347"/>
                  <a:pt x="1070436" y="1747347"/>
                </a:cubicBezTo>
                <a:close/>
                <a:moveTo>
                  <a:pt x="1233688" y="1742449"/>
                </a:moveTo>
                <a:cubicBezTo>
                  <a:pt x="1242939" y="1741904"/>
                  <a:pt x="1250558" y="1750067"/>
                  <a:pt x="1250558" y="1758774"/>
                </a:cubicBezTo>
                <a:cubicBezTo>
                  <a:pt x="1250558" y="1767481"/>
                  <a:pt x="1242939" y="1775099"/>
                  <a:pt x="1233688" y="1775099"/>
                </a:cubicBezTo>
                <a:cubicBezTo>
                  <a:pt x="1224981" y="1775099"/>
                  <a:pt x="1218451" y="1768025"/>
                  <a:pt x="1217907" y="1759318"/>
                </a:cubicBezTo>
                <a:cubicBezTo>
                  <a:pt x="1217907" y="1750067"/>
                  <a:pt x="1224981" y="1742449"/>
                  <a:pt x="1233688" y="1742449"/>
                </a:cubicBezTo>
                <a:close/>
                <a:moveTo>
                  <a:pt x="1399662" y="1739728"/>
                </a:moveTo>
                <a:cubicBezTo>
                  <a:pt x="1410002" y="1740817"/>
                  <a:pt x="1418164" y="1750068"/>
                  <a:pt x="1417076" y="1760407"/>
                </a:cubicBezTo>
                <a:cubicBezTo>
                  <a:pt x="1415988" y="1769114"/>
                  <a:pt x="1404560" y="1779997"/>
                  <a:pt x="1396941" y="1779453"/>
                </a:cubicBezTo>
                <a:cubicBezTo>
                  <a:pt x="1388779" y="1778909"/>
                  <a:pt x="1376807" y="1765305"/>
                  <a:pt x="1377895" y="1757686"/>
                </a:cubicBezTo>
                <a:cubicBezTo>
                  <a:pt x="1379528" y="1746803"/>
                  <a:pt x="1389867" y="1738640"/>
                  <a:pt x="1399662" y="1739728"/>
                </a:cubicBezTo>
                <a:close/>
                <a:moveTo>
                  <a:pt x="1723991" y="1735919"/>
                </a:moveTo>
                <a:cubicBezTo>
                  <a:pt x="1738140" y="1735919"/>
                  <a:pt x="1746847" y="1744626"/>
                  <a:pt x="1746847" y="1758774"/>
                </a:cubicBezTo>
                <a:cubicBezTo>
                  <a:pt x="1746847" y="1772379"/>
                  <a:pt x="1738140" y="1781086"/>
                  <a:pt x="1723991" y="1781086"/>
                </a:cubicBezTo>
                <a:cubicBezTo>
                  <a:pt x="1709299" y="1781086"/>
                  <a:pt x="1701680" y="1773467"/>
                  <a:pt x="1701680" y="1758774"/>
                </a:cubicBezTo>
                <a:cubicBezTo>
                  <a:pt x="1701680" y="1744626"/>
                  <a:pt x="1709843" y="1735919"/>
                  <a:pt x="1723991" y="1735919"/>
                </a:cubicBezTo>
                <a:close/>
                <a:moveTo>
                  <a:pt x="1560194" y="1735919"/>
                </a:moveTo>
                <a:cubicBezTo>
                  <a:pt x="1572710" y="1736463"/>
                  <a:pt x="1582505" y="1746258"/>
                  <a:pt x="1582505" y="1758230"/>
                </a:cubicBezTo>
                <a:cubicBezTo>
                  <a:pt x="1582505" y="1770202"/>
                  <a:pt x="1572710" y="1779997"/>
                  <a:pt x="1560738" y="1779997"/>
                </a:cubicBezTo>
                <a:cubicBezTo>
                  <a:pt x="1549855" y="1779997"/>
                  <a:pt x="1538427" y="1769114"/>
                  <a:pt x="1538427" y="1758230"/>
                </a:cubicBezTo>
                <a:cubicBezTo>
                  <a:pt x="1538427" y="1746803"/>
                  <a:pt x="1548766" y="1735919"/>
                  <a:pt x="1560194" y="1735919"/>
                </a:cubicBezTo>
                <a:close/>
                <a:moveTo>
                  <a:pt x="2051041" y="1734831"/>
                </a:moveTo>
                <a:lnTo>
                  <a:pt x="2051041" y="1781438"/>
                </a:lnTo>
                <a:lnTo>
                  <a:pt x="2050496" y="1781630"/>
                </a:lnTo>
                <a:cubicBezTo>
                  <a:pt x="2033627" y="1782174"/>
                  <a:pt x="2027097" y="1772379"/>
                  <a:pt x="2027097" y="1758775"/>
                </a:cubicBezTo>
                <a:cubicBezTo>
                  <a:pt x="2027097" y="1744082"/>
                  <a:pt x="2033627" y="1734831"/>
                  <a:pt x="2051041" y="1734831"/>
                </a:cubicBezTo>
                <a:close/>
                <a:moveTo>
                  <a:pt x="1887788" y="1734831"/>
                </a:moveTo>
                <a:cubicBezTo>
                  <a:pt x="1902481" y="1735375"/>
                  <a:pt x="1910099" y="1742994"/>
                  <a:pt x="1910099" y="1758775"/>
                </a:cubicBezTo>
                <a:cubicBezTo>
                  <a:pt x="1910099" y="1771835"/>
                  <a:pt x="1903025" y="1782718"/>
                  <a:pt x="1886699" y="1781086"/>
                </a:cubicBezTo>
                <a:cubicBezTo>
                  <a:pt x="1872551" y="1782174"/>
                  <a:pt x="1863844" y="1770203"/>
                  <a:pt x="1863844" y="1757687"/>
                </a:cubicBezTo>
                <a:cubicBezTo>
                  <a:pt x="1863844" y="1742994"/>
                  <a:pt x="1874728" y="1734287"/>
                  <a:pt x="1887788" y="1734831"/>
                </a:cubicBezTo>
                <a:close/>
                <a:moveTo>
                  <a:pt x="826100" y="1671706"/>
                </a:moveTo>
                <a:cubicBezTo>
                  <a:pt x="830454" y="1670618"/>
                  <a:pt x="832086" y="1673338"/>
                  <a:pt x="832086" y="1677692"/>
                </a:cubicBezTo>
                <a:cubicBezTo>
                  <a:pt x="832086" y="1681501"/>
                  <a:pt x="829365" y="1683134"/>
                  <a:pt x="825556" y="1683134"/>
                </a:cubicBezTo>
                <a:cubicBezTo>
                  <a:pt x="821203" y="1683134"/>
                  <a:pt x="819570" y="1679869"/>
                  <a:pt x="820658" y="1676603"/>
                </a:cubicBezTo>
                <a:cubicBezTo>
                  <a:pt x="821203" y="1674427"/>
                  <a:pt x="823924" y="1672250"/>
                  <a:pt x="826100" y="1671706"/>
                </a:cubicBezTo>
                <a:close/>
                <a:moveTo>
                  <a:pt x="989354" y="1661912"/>
                </a:moveTo>
                <a:cubicBezTo>
                  <a:pt x="994251" y="1661912"/>
                  <a:pt x="1004046" y="1671707"/>
                  <a:pt x="1004046" y="1676604"/>
                </a:cubicBezTo>
                <a:cubicBezTo>
                  <a:pt x="1004046" y="1682590"/>
                  <a:pt x="996428" y="1690209"/>
                  <a:pt x="989354" y="1690209"/>
                </a:cubicBezTo>
                <a:cubicBezTo>
                  <a:pt x="982823" y="1690209"/>
                  <a:pt x="975749" y="1683679"/>
                  <a:pt x="975205" y="1677693"/>
                </a:cubicBezTo>
                <a:cubicBezTo>
                  <a:pt x="974661" y="1671707"/>
                  <a:pt x="983912" y="1661367"/>
                  <a:pt x="989354" y="1661912"/>
                </a:cubicBezTo>
                <a:close/>
                <a:moveTo>
                  <a:pt x="1153151" y="1659734"/>
                </a:moveTo>
                <a:cubicBezTo>
                  <a:pt x="1162946" y="1658646"/>
                  <a:pt x="1171108" y="1667353"/>
                  <a:pt x="1170564" y="1677692"/>
                </a:cubicBezTo>
                <a:cubicBezTo>
                  <a:pt x="1170020" y="1688575"/>
                  <a:pt x="1162946" y="1694562"/>
                  <a:pt x="1152062" y="1694562"/>
                </a:cubicBezTo>
                <a:cubicBezTo>
                  <a:pt x="1141179" y="1694017"/>
                  <a:pt x="1135737" y="1688031"/>
                  <a:pt x="1135737" y="1677148"/>
                </a:cubicBezTo>
                <a:cubicBezTo>
                  <a:pt x="1135737" y="1664632"/>
                  <a:pt x="1141179" y="1659190"/>
                  <a:pt x="1153151" y="1659734"/>
                </a:cubicBezTo>
                <a:close/>
                <a:moveTo>
                  <a:pt x="1315315" y="1655381"/>
                </a:moveTo>
                <a:cubicBezTo>
                  <a:pt x="1327287" y="1654836"/>
                  <a:pt x="1337082" y="1664088"/>
                  <a:pt x="1337082" y="1676603"/>
                </a:cubicBezTo>
                <a:cubicBezTo>
                  <a:pt x="1337082" y="1688575"/>
                  <a:pt x="1326743" y="1698915"/>
                  <a:pt x="1315315" y="1698915"/>
                </a:cubicBezTo>
                <a:cubicBezTo>
                  <a:pt x="1304976" y="1698915"/>
                  <a:pt x="1294092" y="1687487"/>
                  <a:pt x="1294092" y="1677148"/>
                </a:cubicBezTo>
                <a:cubicBezTo>
                  <a:pt x="1294092" y="1666264"/>
                  <a:pt x="1304431" y="1655925"/>
                  <a:pt x="1315315" y="1655381"/>
                </a:cubicBezTo>
                <a:close/>
                <a:moveTo>
                  <a:pt x="1479111" y="1654293"/>
                </a:moveTo>
                <a:cubicBezTo>
                  <a:pt x="1495437" y="1653204"/>
                  <a:pt x="1501967" y="1664632"/>
                  <a:pt x="1501967" y="1677692"/>
                </a:cubicBezTo>
                <a:cubicBezTo>
                  <a:pt x="1501967" y="1689664"/>
                  <a:pt x="1492716" y="1700548"/>
                  <a:pt x="1479111" y="1700548"/>
                </a:cubicBezTo>
                <a:cubicBezTo>
                  <a:pt x="1466596" y="1700548"/>
                  <a:pt x="1455712" y="1690208"/>
                  <a:pt x="1455712" y="1676604"/>
                </a:cubicBezTo>
                <a:cubicBezTo>
                  <a:pt x="1456256" y="1663544"/>
                  <a:pt x="1464963" y="1653204"/>
                  <a:pt x="1479111" y="1654293"/>
                </a:cubicBezTo>
                <a:close/>
                <a:moveTo>
                  <a:pt x="1643452" y="1650483"/>
                </a:moveTo>
                <a:cubicBezTo>
                  <a:pt x="1654880" y="1651027"/>
                  <a:pt x="1667940" y="1664087"/>
                  <a:pt x="1668484" y="1676603"/>
                </a:cubicBezTo>
                <a:cubicBezTo>
                  <a:pt x="1669029" y="1689120"/>
                  <a:pt x="1655968" y="1702724"/>
                  <a:pt x="1643452" y="1703268"/>
                </a:cubicBezTo>
                <a:cubicBezTo>
                  <a:pt x="1631480" y="1703812"/>
                  <a:pt x="1617332" y="1690208"/>
                  <a:pt x="1617332" y="1677692"/>
                </a:cubicBezTo>
                <a:cubicBezTo>
                  <a:pt x="1616788" y="1664632"/>
                  <a:pt x="1630392" y="1650483"/>
                  <a:pt x="1643452" y="1650483"/>
                </a:cubicBezTo>
                <a:close/>
                <a:moveTo>
                  <a:pt x="1968326" y="1649940"/>
                </a:moveTo>
                <a:cubicBezTo>
                  <a:pt x="1983019" y="1649395"/>
                  <a:pt x="1997167" y="1664088"/>
                  <a:pt x="1995535" y="1676604"/>
                </a:cubicBezTo>
                <a:cubicBezTo>
                  <a:pt x="1997167" y="1689664"/>
                  <a:pt x="1982474" y="1704901"/>
                  <a:pt x="1968870" y="1704357"/>
                </a:cubicBezTo>
                <a:cubicBezTo>
                  <a:pt x="1954177" y="1703813"/>
                  <a:pt x="1942205" y="1691841"/>
                  <a:pt x="1941661" y="1677148"/>
                </a:cubicBezTo>
                <a:cubicBezTo>
                  <a:pt x="1941117" y="1662456"/>
                  <a:pt x="1956354" y="1649940"/>
                  <a:pt x="1968326" y="1649940"/>
                </a:cubicBezTo>
                <a:close/>
                <a:moveTo>
                  <a:pt x="1805617" y="1649939"/>
                </a:moveTo>
                <a:cubicBezTo>
                  <a:pt x="1819222" y="1648851"/>
                  <a:pt x="1832826" y="1664088"/>
                  <a:pt x="1832826" y="1677148"/>
                </a:cubicBezTo>
                <a:cubicBezTo>
                  <a:pt x="1832282" y="1690752"/>
                  <a:pt x="1819222" y="1703812"/>
                  <a:pt x="1805073" y="1704357"/>
                </a:cubicBezTo>
                <a:cubicBezTo>
                  <a:pt x="1792557" y="1704901"/>
                  <a:pt x="1777864" y="1688031"/>
                  <a:pt x="1778409" y="1677148"/>
                </a:cubicBezTo>
                <a:cubicBezTo>
                  <a:pt x="1779497" y="1662999"/>
                  <a:pt x="1791469" y="1649939"/>
                  <a:pt x="1805617" y="1649939"/>
                </a:cubicBezTo>
                <a:close/>
                <a:moveTo>
                  <a:pt x="744474" y="1588992"/>
                </a:moveTo>
                <a:cubicBezTo>
                  <a:pt x="748827" y="1588992"/>
                  <a:pt x="751004" y="1590624"/>
                  <a:pt x="751004" y="1594978"/>
                </a:cubicBezTo>
                <a:cubicBezTo>
                  <a:pt x="751004" y="1598787"/>
                  <a:pt x="749916" y="1601508"/>
                  <a:pt x="745562" y="1602052"/>
                </a:cubicBezTo>
                <a:cubicBezTo>
                  <a:pt x="740665" y="1602052"/>
                  <a:pt x="738488" y="1600420"/>
                  <a:pt x="738488" y="1594978"/>
                </a:cubicBezTo>
                <a:cubicBezTo>
                  <a:pt x="737944" y="1590624"/>
                  <a:pt x="740121" y="1588992"/>
                  <a:pt x="744474" y="1588992"/>
                </a:cubicBezTo>
                <a:close/>
                <a:moveTo>
                  <a:pt x="907183" y="1579741"/>
                </a:moveTo>
                <a:cubicBezTo>
                  <a:pt x="913169" y="1579197"/>
                  <a:pt x="923508" y="1588992"/>
                  <a:pt x="923508" y="1594978"/>
                </a:cubicBezTo>
                <a:cubicBezTo>
                  <a:pt x="923508" y="1600964"/>
                  <a:pt x="915345" y="1610215"/>
                  <a:pt x="908815" y="1610759"/>
                </a:cubicBezTo>
                <a:cubicBezTo>
                  <a:pt x="901197" y="1611303"/>
                  <a:pt x="892490" y="1603685"/>
                  <a:pt x="892490" y="1595522"/>
                </a:cubicBezTo>
                <a:cubicBezTo>
                  <a:pt x="892490" y="1588448"/>
                  <a:pt x="900653" y="1579741"/>
                  <a:pt x="907183" y="1579741"/>
                </a:cubicBezTo>
                <a:close/>
                <a:moveTo>
                  <a:pt x="1071524" y="1574843"/>
                </a:moveTo>
                <a:cubicBezTo>
                  <a:pt x="1081319" y="1575387"/>
                  <a:pt x="1091114" y="1585726"/>
                  <a:pt x="1091114" y="1595522"/>
                </a:cubicBezTo>
                <a:cubicBezTo>
                  <a:pt x="1091114" y="1605317"/>
                  <a:pt x="1080231" y="1615656"/>
                  <a:pt x="1070980" y="1615656"/>
                </a:cubicBezTo>
                <a:cubicBezTo>
                  <a:pt x="1062273" y="1615656"/>
                  <a:pt x="1050845" y="1604228"/>
                  <a:pt x="1050301" y="1595522"/>
                </a:cubicBezTo>
                <a:cubicBezTo>
                  <a:pt x="1050301" y="1586270"/>
                  <a:pt x="1062273" y="1574299"/>
                  <a:pt x="1071524" y="1574843"/>
                </a:cubicBezTo>
                <a:close/>
                <a:moveTo>
                  <a:pt x="1233688" y="1573210"/>
                </a:moveTo>
                <a:cubicBezTo>
                  <a:pt x="1247837" y="1573210"/>
                  <a:pt x="1256544" y="1581373"/>
                  <a:pt x="1256544" y="1595522"/>
                </a:cubicBezTo>
                <a:cubicBezTo>
                  <a:pt x="1256544" y="1609670"/>
                  <a:pt x="1247837" y="1618377"/>
                  <a:pt x="1233688" y="1618377"/>
                </a:cubicBezTo>
                <a:cubicBezTo>
                  <a:pt x="1221172" y="1618377"/>
                  <a:pt x="1212465" y="1608582"/>
                  <a:pt x="1211377" y="1596610"/>
                </a:cubicBezTo>
                <a:cubicBezTo>
                  <a:pt x="1210289" y="1584638"/>
                  <a:pt x="1222261" y="1571034"/>
                  <a:pt x="1233688" y="1573210"/>
                </a:cubicBezTo>
                <a:close/>
                <a:moveTo>
                  <a:pt x="1398030" y="1569402"/>
                </a:moveTo>
                <a:cubicBezTo>
                  <a:pt x="1411634" y="1569946"/>
                  <a:pt x="1423606" y="1582462"/>
                  <a:pt x="1423062" y="1595522"/>
                </a:cubicBezTo>
                <a:cubicBezTo>
                  <a:pt x="1423062" y="1608582"/>
                  <a:pt x="1410546" y="1621099"/>
                  <a:pt x="1397485" y="1621099"/>
                </a:cubicBezTo>
                <a:cubicBezTo>
                  <a:pt x="1384969" y="1621099"/>
                  <a:pt x="1371365" y="1608038"/>
                  <a:pt x="1371365" y="1595522"/>
                </a:cubicBezTo>
                <a:cubicBezTo>
                  <a:pt x="1371365" y="1582462"/>
                  <a:pt x="1384969" y="1568857"/>
                  <a:pt x="1398030" y="1569402"/>
                </a:cubicBezTo>
                <a:close/>
                <a:moveTo>
                  <a:pt x="1560194" y="1568313"/>
                </a:moveTo>
                <a:cubicBezTo>
                  <a:pt x="1574342" y="1566680"/>
                  <a:pt x="1587403" y="1581373"/>
                  <a:pt x="1587947" y="1594433"/>
                </a:cubicBezTo>
                <a:cubicBezTo>
                  <a:pt x="1588491" y="1608582"/>
                  <a:pt x="1574887" y="1622730"/>
                  <a:pt x="1560194" y="1622730"/>
                </a:cubicBezTo>
                <a:cubicBezTo>
                  <a:pt x="1547134" y="1622730"/>
                  <a:pt x="1532985" y="1608582"/>
                  <a:pt x="1532985" y="1594977"/>
                </a:cubicBezTo>
                <a:cubicBezTo>
                  <a:pt x="1532985" y="1581917"/>
                  <a:pt x="1547134" y="1566680"/>
                  <a:pt x="1560194" y="1568313"/>
                </a:cubicBezTo>
                <a:close/>
                <a:moveTo>
                  <a:pt x="1887244" y="1567225"/>
                </a:moveTo>
                <a:cubicBezTo>
                  <a:pt x="1905202" y="1567225"/>
                  <a:pt x="1915541" y="1578109"/>
                  <a:pt x="1915541" y="1594978"/>
                </a:cubicBezTo>
                <a:cubicBezTo>
                  <a:pt x="1915541" y="1612392"/>
                  <a:pt x="1903569" y="1624363"/>
                  <a:pt x="1886699" y="1623819"/>
                </a:cubicBezTo>
                <a:cubicBezTo>
                  <a:pt x="1872551" y="1623819"/>
                  <a:pt x="1857314" y="1613480"/>
                  <a:pt x="1858947" y="1594978"/>
                </a:cubicBezTo>
                <a:cubicBezTo>
                  <a:pt x="1857858" y="1577564"/>
                  <a:pt x="1870918" y="1567225"/>
                  <a:pt x="1887244" y="1567225"/>
                </a:cubicBezTo>
                <a:close/>
                <a:moveTo>
                  <a:pt x="1724535" y="1567225"/>
                </a:moveTo>
                <a:cubicBezTo>
                  <a:pt x="1743037" y="1567225"/>
                  <a:pt x="1752288" y="1581373"/>
                  <a:pt x="1752288" y="1594978"/>
                </a:cubicBezTo>
                <a:cubicBezTo>
                  <a:pt x="1752288" y="1609127"/>
                  <a:pt x="1741949" y="1623275"/>
                  <a:pt x="1724535" y="1623275"/>
                </a:cubicBezTo>
                <a:cubicBezTo>
                  <a:pt x="1710930" y="1623819"/>
                  <a:pt x="1694605" y="1613480"/>
                  <a:pt x="1696238" y="1594978"/>
                </a:cubicBezTo>
                <a:cubicBezTo>
                  <a:pt x="1694605" y="1577564"/>
                  <a:pt x="1708754" y="1567225"/>
                  <a:pt x="1724535" y="1567225"/>
                </a:cubicBezTo>
                <a:close/>
                <a:moveTo>
                  <a:pt x="2050496" y="1566680"/>
                </a:moveTo>
                <a:lnTo>
                  <a:pt x="2051041" y="1566888"/>
                </a:lnTo>
                <a:lnTo>
                  <a:pt x="2051041" y="1623794"/>
                </a:lnTo>
                <a:lnTo>
                  <a:pt x="2049408" y="1624363"/>
                </a:lnTo>
                <a:cubicBezTo>
                  <a:pt x="2033083" y="1623818"/>
                  <a:pt x="2021111" y="1611302"/>
                  <a:pt x="2021655" y="1594977"/>
                </a:cubicBezTo>
                <a:cubicBezTo>
                  <a:pt x="2022199" y="1575931"/>
                  <a:pt x="2033627" y="1567224"/>
                  <a:pt x="2050496" y="1566680"/>
                </a:cubicBezTo>
                <a:close/>
                <a:moveTo>
                  <a:pt x="663392" y="1505188"/>
                </a:moveTo>
                <a:cubicBezTo>
                  <a:pt x="666113" y="1505188"/>
                  <a:pt x="669922" y="1510086"/>
                  <a:pt x="674819" y="1513895"/>
                </a:cubicBezTo>
                <a:cubicBezTo>
                  <a:pt x="669378" y="1517704"/>
                  <a:pt x="665569" y="1522602"/>
                  <a:pt x="662848" y="1522058"/>
                </a:cubicBezTo>
                <a:cubicBezTo>
                  <a:pt x="659583" y="1521513"/>
                  <a:pt x="654685" y="1516072"/>
                  <a:pt x="654685" y="1513351"/>
                </a:cubicBezTo>
                <a:cubicBezTo>
                  <a:pt x="654685" y="1510086"/>
                  <a:pt x="660127" y="1505188"/>
                  <a:pt x="663392" y="1505188"/>
                </a:cubicBezTo>
                <a:close/>
                <a:moveTo>
                  <a:pt x="826101" y="1497570"/>
                </a:moveTo>
                <a:cubicBezTo>
                  <a:pt x="834263" y="1497025"/>
                  <a:pt x="842426" y="1505188"/>
                  <a:pt x="842970" y="1513351"/>
                </a:cubicBezTo>
                <a:cubicBezTo>
                  <a:pt x="842970" y="1522058"/>
                  <a:pt x="835352" y="1529676"/>
                  <a:pt x="826645" y="1529676"/>
                </a:cubicBezTo>
                <a:cubicBezTo>
                  <a:pt x="818482" y="1529676"/>
                  <a:pt x="810864" y="1523146"/>
                  <a:pt x="810319" y="1514983"/>
                </a:cubicBezTo>
                <a:cubicBezTo>
                  <a:pt x="809775" y="1506276"/>
                  <a:pt x="817394" y="1498114"/>
                  <a:pt x="826101" y="1497570"/>
                </a:cubicBezTo>
                <a:close/>
                <a:moveTo>
                  <a:pt x="988265" y="1492128"/>
                </a:moveTo>
                <a:cubicBezTo>
                  <a:pt x="998605" y="1492128"/>
                  <a:pt x="1010577" y="1501379"/>
                  <a:pt x="1010577" y="1513351"/>
                </a:cubicBezTo>
                <a:cubicBezTo>
                  <a:pt x="1010577" y="1524234"/>
                  <a:pt x="1000237" y="1534574"/>
                  <a:pt x="989354" y="1534574"/>
                </a:cubicBezTo>
                <a:cubicBezTo>
                  <a:pt x="979559" y="1534574"/>
                  <a:pt x="968675" y="1523690"/>
                  <a:pt x="968131" y="1513895"/>
                </a:cubicBezTo>
                <a:cubicBezTo>
                  <a:pt x="968131" y="1503556"/>
                  <a:pt x="977926" y="1492672"/>
                  <a:pt x="988265" y="1492128"/>
                </a:cubicBezTo>
                <a:close/>
                <a:moveTo>
                  <a:pt x="1152606" y="1490496"/>
                </a:moveTo>
                <a:cubicBezTo>
                  <a:pt x="1167299" y="1489407"/>
                  <a:pt x="1176006" y="1498658"/>
                  <a:pt x="1176006" y="1513351"/>
                </a:cubicBezTo>
                <a:cubicBezTo>
                  <a:pt x="1176006" y="1530764"/>
                  <a:pt x="1166755" y="1537295"/>
                  <a:pt x="1152606" y="1537839"/>
                </a:cubicBezTo>
                <a:cubicBezTo>
                  <a:pt x="1139546" y="1537839"/>
                  <a:pt x="1129207" y="1530764"/>
                  <a:pt x="1129207" y="1514984"/>
                </a:cubicBezTo>
                <a:cubicBezTo>
                  <a:pt x="1129207" y="1498114"/>
                  <a:pt x="1138458" y="1491040"/>
                  <a:pt x="1152606" y="1490496"/>
                </a:cubicBezTo>
                <a:close/>
                <a:moveTo>
                  <a:pt x="1316403" y="1487231"/>
                </a:moveTo>
                <a:cubicBezTo>
                  <a:pt x="1331095" y="1487775"/>
                  <a:pt x="1342523" y="1499203"/>
                  <a:pt x="1342523" y="1513896"/>
                </a:cubicBezTo>
                <a:cubicBezTo>
                  <a:pt x="1342523" y="1528588"/>
                  <a:pt x="1330551" y="1540560"/>
                  <a:pt x="1315314" y="1540560"/>
                </a:cubicBezTo>
                <a:cubicBezTo>
                  <a:pt x="1303887" y="1542193"/>
                  <a:pt x="1288106" y="1527500"/>
                  <a:pt x="1288650" y="1513896"/>
                </a:cubicBezTo>
                <a:cubicBezTo>
                  <a:pt x="1289194" y="1498659"/>
                  <a:pt x="1301166" y="1486687"/>
                  <a:pt x="1316403" y="1487231"/>
                </a:cubicBezTo>
                <a:close/>
                <a:moveTo>
                  <a:pt x="1479656" y="1485054"/>
                </a:moveTo>
                <a:cubicBezTo>
                  <a:pt x="1495437" y="1485598"/>
                  <a:pt x="1508497" y="1496482"/>
                  <a:pt x="1507409" y="1513895"/>
                </a:cubicBezTo>
                <a:cubicBezTo>
                  <a:pt x="1508497" y="1527500"/>
                  <a:pt x="1498158" y="1542192"/>
                  <a:pt x="1479112" y="1541648"/>
                </a:cubicBezTo>
                <a:cubicBezTo>
                  <a:pt x="1462787" y="1541648"/>
                  <a:pt x="1451359" y="1529676"/>
                  <a:pt x="1451359" y="1513351"/>
                </a:cubicBezTo>
                <a:cubicBezTo>
                  <a:pt x="1451359" y="1493761"/>
                  <a:pt x="1466596" y="1485054"/>
                  <a:pt x="1479656" y="1485054"/>
                </a:cubicBezTo>
                <a:close/>
                <a:moveTo>
                  <a:pt x="1641820" y="1482334"/>
                </a:moveTo>
                <a:cubicBezTo>
                  <a:pt x="1657057" y="1481789"/>
                  <a:pt x="1672838" y="1496482"/>
                  <a:pt x="1673382" y="1512807"/>
                </a:cubicBezTo>
                <a:cubicBezTo>
                  <a:pt x="1673927" y="1528044"/>
                  <a:pt x="1658145" y="1544370"/>
                  <a:pt x="1642909" y="1544370"/>
                </a:cubicBezTo>
                <a:cubicBezTo>
                  <a:pt x="1626039" y="1542193"/>
                  <a:pt x="1612979" y="1532942"/>
                  <a:pt x="1612435" y="1513351"/>
                </a:cubicBezTo>
                <a:cubicBezTo>
                  <a:pt x="1611890" y="1497571"/>
                  <a:pt x="1626583" y="1483422"/>
                  <a:pt x="1641820" y="1482334"/>
                </a:cubicBezTo>
                <a:close/>
                <a:moveTo>
                  <a:pt x="1804529" y="1481788"/>
                </a:moveTo>
                <a:cubicBezTo>
                  <a:pt x="1820855" y="1481244"/>
                  <a:pt x="1836091" y="1494304"/>
                  <a:pt x="1837180" y="1513351"/>
                </a:cubicBezTo>
                <a:cubicBezTo>
                  <a:pt x="1838812" y="1528043"/>
                  <a:pt x="1825208" y="1544913"/>
                  <a:pt x="1805617" y="1545457"/>
                </a:cubicBezTo>
                <a:cubicBezTo>
                  <a:pt x="1787660" y="1544913"/>
                  <a:pt x="1774055" y="1532397"/>
                  <a:pt x="1773511" y="1514983"/>
                </a:cubicBezTo>
                <a:cubicBezTo>
                  <a:pt x="1772967" y="1494849"/>
                  <a:pt x="1788204" y="1482333"/>
                  <a:pt x="1804529" y="1481788"/>
                </a:cubicBezTo>
                <a:close/>
                <a:moveTo>
                  <a:pt x="1968870" y="1480700"/>
                </a:moveTo>
                <a:cubicBezTo>
                  <a:pt x="1984651" y="1480700"/>
                  <a:pt x="2000977" y="1495937"/>
                  <a:pt x="2000977" y="1513351"/>
                </a:cubicBezTo>
                <a:cubicBezTo>
                  <a:pt x="2001521" y="1529132"/>
                  <a:pt x="1987916" y="1546001"/>
                  <a:pt x="1968870" y="1545457"/>
                </a:cubicBezTo>
                <a:cubicBezTo>
                  <a:pt x="1949824" y="1545457"/>
                  <a:pt x="1936764" y="1530764"/>
                  <a:pt x="1936764" y="1513351"/>
                </a:cubicBezTo>
                <a:cubicBezTo>
                  <a:pt x="1936764" y="1493760"/>
                  <a:pt x="1953633" y="1480700"/>
                  <a:pt x="1968870" y="1480700"/>
                </a:cubicBezTo>
                <a:close/>
                <a:moveTo>
                  <a:pt x="581221" y="1423562"/>
                </a:moveTo>
                <a:cubicBezTo>
                  <a:pt x="586663" y="1423562"/>
                  <a:pt x="589384" y="1427371"/>
                  <a:pt x="588840" y="1431725"/>
                </a:cubicBezTo>
                <a:cubicBezTo>
                  <a:pt x="588840" y="1434990"/>
                  <a:pt x="585030" y="1438255"/>
                  <a:pt x="581765" y="1443153"/>
                </a:cubicBezTo>
                <a:cubicBezTo>
                  <a:pt x="577412" y="1438255"/>
                  <a:pt x="574147" y="1436078"/>
                  <a:pt x="573059" y="1432813"/>
                </a:cubicBezTo>
                <a:cubicBezTo>
                  <a:pt x="571426" y="1429004"/>
                  <a:pt x="576868" y="1423562"/>
                  <a:pt x="581221" y="1423562"/>
                </a:cubicBezTo>
                <a:close/>
                <a:moveTo>
                  <a:pt x="745562" y="1414855"/>
                </a:moveTo>
                <a:cubicBezTo>
                  <a:pt x="754269" y="1415399"/>
                  <a:pt x="761344" y="1423018"/>
                  <a:pt x="761344" y="1432269"/>
                </a:cubicBezTo>
                <a:cubicBezTo>
                  <a:pt x="761344" y="1442064"/>
                  <a:pt x="754813" y="1448050"/>
                  <a:pt x="745018" y="1448050"/>
                </a:cubicBezTo>
                <a:cubicBezTo>
                  <a:pt x="734679" y="1448050"/>
                  <a:pt x="728693" y="1442064"/>
                  <a:pt x="728693" y="1431725"/>
                </a:cubicBezTo>
                <a:cubicBezTo>
                  <a:pt x="728693" y="1421386"/>
                  <a:pt x="735223" y="1414311"/>
                  <a:pt x="745562" y="1414855"/>
                </a:cubicBezTo>
                <a:close/>
                <a:moveTo>
                  <a:pt x="908815" y="1409958"/>
                </a:moveTo>
                <a:cubicBezTo>
                  <a:pt x="920243" y="1410502"/>
                  <a:pt x="930038" y="1420297"/>
                  <a:pt x="930038" y="1431725"/>
                </a:cubicBezTo>
                <a:cubicBezTo>
                  <a:pt x="929494" y="1443697"/>
                  <a:pt x="919155" y="1454036"/>
                  <a:pt x="907183" y="1453492"/>
                </a:cubicBezTo>
                <a:cubicBezTo>
                  <a:pt x="896844" y="1453492"/>
                  <a:pt x="885960" y="1442064"/>
                  <a:pt x="885960" y="1431725"/>
                </a:cubicBezTo>
                <a:cubicBezTo>
                  <a:pt x="885960" y="1420297"/>
                  <a:pt x="897388" y="1409414"/>
                  <a:pt x="908815" y="1409958"/>
                </a:cubicBezTo>
                <a:close/>
                <a:moveTo>
                  <a:pt x="1070436" y="1406693"/>
                </a:moveTo>
                <a:cubicBezTo>
                  <a:pt x="1084584" y="1406693"/>
                  <a:pt x="1096012" y="1418121"/>
                  <a:pt x="1096012" y="1432269"/>
                </a:cubicBezTo>
                <a:cubicBezTo>
                  <a:pt x="1096012" y="1445329"/>
                  <a:pt x="1082952" y="1458390"/>
                  <a:pt x="1070436" y="1457846"/>
                </a:cubicBezTo>
                <a:cubicBezTo>
                  <a:pt x="1058464" y="1457301"/>
                  <a:pt x="1044860" y="1443153"/>
                  <a:pt x="1045404" y="1431181"/>
                </a:cubicBezTo>
                <a:cubicBezTo>
                  <a:pt x="1045948" y="1418665"/>
                  <a:pt x="1057920" y="1406693"/>
                  <a:pt x="1070436" y="1406693"/>
                </a:cubicBezTo>
                <a:close/>
                <a:moveTo>
                  <a:pt x="1235865" y="1404516"/>
                </a:moveTo>
                <a:cubicBezTo>
                  <a:pt x="1252191" y="1405605"/>
                  <a:pt x="1262530" y="1415944"/>
                  <a:pt x="1261986" y="1433358"/>
                </a:cubicBezTo>
                <a:cubicBezTo>
                  <a:pt x="1261442" y="1449683"/>
                  <a:pt x="1251102" y="1459478"/>
                  <a:pt x="1233689" y="1459478"/>
                </a:cubicBezTo>
                <a:cubicBezTo>
                  <a:pt x="1218452" y="1461655"/>
                  <a:pt x="1206480" y="1445329"/>
                  <a:pt x="1206480" y="1432269"/>
                </a:cubicBezTo>
                <a:cubicBezTo>
                  <a:pt x="1206480" y="1417032"/>
                  <a:pt x="1220084" y="1403428"/>
                  <a:pt x="1235865" y="1404516"/>
                </a:cubicBezTo>
                <a:close/>
                <a:moveTo>
                  <a:pt x="1397485" y="1400162"/>
                </a:moveTo>
                <a:cubicBezTo>
                  <a:pt x="1412178" y="1400162"/>
                  <a:pt x="1427959" y="1416487"/>
                  <a:pt x="1427959" y="1431724"/>
                </a:cubicBezTo>
                <a:cubicBezTo>
                  <a:pt x="1428503" y="1446961"/>
                  <a:pt x="1413810" y="1462198"/>
                  <a:pt x="1398029" y="1463287"/>
                </a:cubicBezTo>
                <a:cubicBezTo>
                  <a:pt x="1384425" y="1464375"/>
                  <a:pt x="1367555" y="1448049"/>
                  <a:pt x="1366467" y="1432813"/>
                </a:cubicBezTo>
                <a:cubicBezTo>
                  <a:pt x="1365923" y="1418120"/>
                  <a:pt x="1382792" y="1400162"/>
                  <a:pt x="1397485" y="1400162"/>
                </a:cubicBezTo>
                <a:close/>
                <a:moveTo>
                  <a:pt x="1561282" y="1399618"/>
                </a:moveTo>
                <a:cubicBezTo>
                  <a:pt x="1575975" y="1399618"/>
                  <a:pt x="1593388" y="1415943"/>
                  <a:pt x="1593388" y="1432269"/>
                </a:cubicBezTo>
                <a:cubicBezTo>
                  <a:pt x="1593388" y="1446961"/>
                  <a:pt x="1578696" y="1464919"/>
                  <a:pt x="1560738" y="1464375"/>
                </a:cubicBezTo>
                <a:cubicBezTo>
                  <a:pt x="1542236" y="1463831"/>
                  <a:pt x="1529176" y="1450226"/>
                  <a:pt x="1528631" y="1432813"/>
                </a:cubicBezTo>
                <a:cubicBezTo>
                  <a:pt x="1528087" y="1414311"/>
                  <a:pt x="1545501" y="1399618"/>
                  <a:pt x="1561282" y="1399618"/>
                </a:cubicBezTo>
                <a:close/>
                <a:moveTo>
                  <a:pt x="1723446" y="1399074"/>
                </a:moveTo>
                <a:cubicBezTo>
                  <a:pt x="1741948" y="1399074"/>
                  <a:pt x="1757185" y="1413767"/>
                  <a:pt x="1757185" y="1432269"/>
                </a:cubicBezTo>
                <a:cubicBezTo>
                  <a:pt x="1757185" y="1451315"/>
                  <a:pt x="1743037" y="1463831"/>
                  <a:pt x="1723991" y="1465464"/>
                </a:cubicBezTo>
                <a:cubicBezTo>
                  <a:pt x="1707121" y="1466552"/>
                  <a:pt x="1690252" y="1448594"/>
                  <a:pt x="1691340" y="1433357"/>
                </a:cubicBezTo>
                <a:cubicBezTo>
                  <a:pt x="1692428" y="1412678"/>
                  <a:pt x="1704400" y="1399074"/>
                  <a:pt x="1723446" y="1399074"/>
                </a:cubicBezTo>
                <a:close/>
                <a:moveTo>
                  <a:pt x="1886700" y="1398530"/>
                </a:moveTo>
                <a:cubicBezTo>
                  <a:pt x="1904113" y="1396898"/>
                  <a:pt x="1922071" y="1415944"/>
                  <a:pt x="1920439" y="1432269"/>
                </a:cubicBezTo>
                <a:cubicBezTo>
                  <a:pt x="1919350" y="1451315"/>
                  <a:pt x="1907378" y="1464920"/>
                  <a:pt x="1887788" y="1464920"/>
                </a:cubicBezTo>
                <a:cubicBezTo>
                  <a:pt x="1867109" y="1464920"/>
                  <a:pt x="1854049" y="1452948"/>
                  <a:pt x="1854049" y="1433358"/>
                </a:cubicBezTo>
                <a:cubicBezTo>
                  <a:pt x="1854049" y="1412679"/>
                  <a:pt x="1867109" y="1400163"/>
                  <a:pt x="1886700" y="1398530"/>
                </a:cubicBezTo>
                <a:close/>
                <a:moveTo>
                  <a:pt x="2051041" y="1398217"/>
                </a:moveTo>
                <a:lnTo>
                  <a:pt x="2051041" y="1464535"/>
                </a:lnTo>
                <a:lnTo>
                  <a:pt x="2049953" y="1464920"/>
                </a:lnTo>
                <a:cubicBezTo>
                  <a:pt x="2032539" y="1467096"/>
                  <a:pt x="2017302" y="1450771"/>
                  <a:pt x="2017302" y="1431725"/>
                </a:cubicBezTo>
                <a:cubicBezTo>
                  <a:pt x="2017302" y="1422746"/>
                  <a:pt x="2021383" y="1414311"/>
                  <a:pt x="2027709" y="1408121"/>
                </a:cubicBezTo>
                <a:close/>
                <a:moveTo>
                  <a:pt x="500139" y="1341936"/>
                </a:moveTo>
                <a:cubicBezTo>
                  <a:pt x="503404" y="1343568"/>
                  <a:pt x="506125" y="1346833"/>
                  <a:pt x="511023" y="1350643"/>
                </a:cubicBezTo>
                <a:cubicBezTo>
                  <a:pt x="506125" y="1354452"/>
                  <a:pt x="502860" y="1357717"/>
                  <a:pt x="499595" y="1358261"/>
                </a:cubicBezTo>
                <a:cubicBezTo>
                  <a:pt x="495241" y="1359349"/>
                  <a:pt x="490888" y="1353908"/>
                  <a:pt x="491432" y="1349010"/>
                </a:cubicBezTo>
                <a:cubicBezTo>
                  <a:pt x="491976" y="1344112"/>
                  <a:pt x="495241" y="1340848"/>
                  <a:pt x="500139" y="1341936"/>
                </a:cubicBezTo>
                <a:close/>
                <a:moveTo>
                  <a:pt x="662848" y="1333773"/>
                </a:moveTo>
                <a:cubicBezTo>
                  <a:pt x="673187" y="1333773"/>
                  <a:pt x="679173" y="1340303"/>
                  <a:pt x="679173" y="1350643"/>
                </a:cubicBezTo>
                <a:cubicBezTo>
                  <a:pt x="679173" y="1359894"/>
                  <a:pt x="672099" y="1366424"/>
                  <a:pt x="662848" y="1366424"/>
                </a:cubicBezTo>
                <a:cubicBezTo>
                  <a:pt x="653053" y="1366424"/>
                  <a:pt x="647067" y="1359894"/>
                  <a:pt x="647067" y="1350098"/>
                </a:cubicBezTo>
                <a:cubicBezTo>
                  <a:pt x="647067" y="1339759"/>
                  <a:pt x="653053" y="1333773"/>
                  <a:pt x="662848" y="1333773"/>
                </a:cubicBezTo>
                <a:close/>
                <a:moveTo>
                  <a:pt x="826645" y="1328331"/>
                </a:moveTo>
                <a:cubicBezTo>
                  <a:pt x="838617" y="1328331"/>
                  <a:pt x="848412" y="1338670"/>
                  <a:pt x="847868" y="1350642"/>
                </a:cubicBezTo>
                <a:cubicBezTo>
                  <a:pt x="847868" y="1362070"/>
                  <a:pt x="836984" y="1372409"/>
                  <a:pt x="825556" y="1372409"/>
                </a:cubicBezTo>
                <a:cubicBezTo>
                  <a:pt x="814673" y="1372409"/>
                  <a:pt x="803789" y="1360982"/>
                  <a:pt x="804334" y="1349554"/>
                </a:cubicBezTo>
                <a:cubicBezTo>
                  <a:pt x="804334" y="1337582"/>
                  <a:pt x="814673" y="1328331"/>
                  <a:pt x="826645" y="1328331"/>
                </a:cubicBezTo>
                <a:close/>
                <a:moveTo>
                  <a:pt x="989353" y="1323978"/>
                </a:moveTo>
                <a:cubicBezTo>
                  <a:pt x="1002957" y="1324522"/>
                  <a:pt x="1014385" y="1334861"/>
                  <a:pt x="1015473" y="1350098"/>
                </a:cubicBezTo>
                <a:cubicBezTo>
                  <a:pt x="1014929" y="1363702"/>
                  <a:pt x="1004046" y="1376219"/>
                  <a:pt x="989353" y="1376763"/>
                </a:cubicBezTo>
                <a:cubicBezTo>
                  <a:pt x="976293" y="1376763"/>
                  <a:pt x="963777" y="1364791"/>
                  <a:pt x="963777" y="1350642"/>
                </a:cubicBezTo>
                <a:cubicBezTo>
                  <a:pt x="963233" y="1334861"/>
                  <a:pt x="977925" y="1323434"/>
                  <a:pt x="989353" y="1323978"/>
                </a:cubicBezTo>
                <a:close/>
                <a:moveTo>
                  <a:pt x="1152606" y="1322889"/>
                </a:moveTo>
                <a:cubicBezTo>
                  <a:pt x="1170564" y="1320712"/>
                  <a:pt x="1180903" y="1335405"/>
                  <a:pt x="1181447" y="1350098"/>
                </a:cubicBezTo>
                <a:cubicBezTo>
                  <a:pt x="1181447" y="1364791"/>
                  <a:pt x="1171108" y="1379483"/>
                  <a:pt x="1152606" y="1379483"/>
                </a:cubicBezTo>
                <a:cubicBezTo>
                  <a:pt x="1137913" y="1379483"/>
                  <a:pt x="1124853" y="1367511"/>
                  <a:pt x="1124853" y="1350642"/>
                </a:cubicBezTo>
                <a:cubicBezTo>
                  <a:pt x="1124309" y="1333228"/>
                  <a:pt x="1137913" y="1320712"/>
                  <a:pt x="1152606" y="1322889"/>
                </a:cubicBezTo>
                <a:close/>
                <a:moveTo>
                  <a:pt x="1315315" y="1318536"/>
                </a:moveTo>
                <a:cubicBezTo>
                  <a:pt x="1334361" y="1318536"/>
                  <a:pt x="1345789" y="1331596"/>
                  <a:pt x="1347966" y="1350098"/>
                </a:cubicBezTo>
                <a:cubicBezTo>
                  <a:pt x="1345245" y="1369144"/>
                  <a:pt x="1334905" y="1382205"/>
                  <a:pt x="1315315" y="1381661"/>
                </a:cubicBezTo>
                <a:cubicBezTo>
                  <a:pt x="1296813" y="1381116"/>
                  <a:pt x="1284841" y="1369144"/>
                  <a:pt x="1284297" y="1350098"/>
                </a:cubicBezTo>
                <a:cubicBezTo>
                  <a:pt x="1284297" y="1331052"/>
                  <a:pt x="1297357" y="1319080"/>
                  <a:pt x="1315315" y="1318536"/>
                </a:cubicBezTo>
                <a:close/>
                <a:moveTo>
                  <a:pt x="1480744" y="1317448"/>
                </a:moveTo>
                <a:cubicBezTo>
                  <a:pt x="1499246" y="1317992"/>
                  <a:pt x="1512851" y="1332140"/>
                  <a:pt x="1512306" y="1351731"/>
                </a:cubicBezTo>
                <a:cubicBezTo>
                  <a:pt x="1511762" y="1370233"/>
                  <a:pt x="1497070" y="1383837"/>
                  <a:pt x="1477479" y="1383293"/>
                </a:cubicBezTo>
                <a:cubicBezTo>
                  <a:pt x="1458977" y="1382749"/>
                  <a:pt x="1447550" y="1368600"/>
                  <a:pt x="1446461" y="1349554"/>
                </a:cubicBezTo>
                <a:cubicBezTo>
                  <a:pt x="1445373" y="1333773"/>
                  <a:pt x="1463331" y="1314727"/>
                  <a:pt x="1480744" y="1317448"/>
                </a:cubicBezTo>
                <a:close/>
                <a:moveTo>
                  <a:pt x="1642908" y="1315815"/>
                </a:moveTo>
                <a:cubicBezTo>
                  <a:pt x="1663043" y="1315815"/>
                  <a:pt x="1677735" y="1333229"/>
                  <a:pt x="1676647" y="1351731"/>
                </a:cubicBezTo>
                <a:cubicBezTo>
                  <a:pt x="1675559" y="1371865"/>
                  <a:pt x="1661954" y="1384381"/>
                  <a:pt x="1640732" y="1383837"/>
                </a:cubicBezTo>
                <a:cubicBezTo>
                  <a:pt x="1620597" y="1384381"/>
                  <a:pt x="1608081" y="1368056"/>
                  <a:pt x="1608081" y="1349554"/>
                </a:cubicBezTo>
                <a:cubicBezTo>
                  <a:pt x="1608081" y="1329964"/>
                  <a:pt x="1623318" y="1315815"/>
                  <a:pt x="1642908" y="1315815"/>
                </a:cubicBezTo>
                <a:close/>
                <a:moveTo>
                  <a:pt x="1968870" y="1314183"/>
                </a:moveTo>
                <a:cubicBezTo>
                  <a:pt x="1989548" y="1314727"/>
                  <a:pt x="2004785" y="1329420"/>
                  <a:pt x="2005329" y="1351187"/>
                </a:cubicBezTo>
                <a:cubicBezTo>
                  <a:pt x="2004785" y="1370233"/>
                  <a:pt x="1985739" y="1388735"/>
                  <a:pt x="1967781" y="1388191"/>
                </a:cubicBezTo>
                <a:cubicBezTo>
                  <a:pt x="1949823" y="1387647"/>
                  <a:pt x="1931322" y="1367512"/>
                  <a:pt x="1931866" y="1350098"/>
                </a:cubicBezTo>
                <a:cubicBezTo>
                  <a:pt x="1932410" y="1331596"/>
                  <a:pt x="1950912" y="1313094"/>
                  <a:pt x="1968870" y="1314183"/>
                </a:cubicBezTo>
                <a:close/>
                <a:moveTo>
                  <a:pt x="1806161" y="1313639"/>
                </a:moveTo>
                <a:cubicBezTo>
                  <a:pt x="1825207" y="1314183"/>
                  <a:pt x="1843165" y="1332141"/>
                  <a:pt x="1841533" y="1351187"/>
                </a:cubicBezTo>
                <a:cubicBezTo>
                  <a:pt x="1840988" y="1360438"/>
                  <a:pt x="1838267" y="1370233"/>
                  <a:pt x="1830105" y="1376763"/>
                </a:cubicBezTo>
                <a:cubicBezTo>
                  <a:pt x="1822486" y="1383293"/>
                  <a:pt x="1813235" y="1387102"/>
                  <a:pt x="1803984" y="1387102"/>
                </a:cubicBezTo>
                <a:cubicBezTo>
                  <a:pt x="1786027" y="1387102"/>
                  <a:pt x="1768613" y="1367512"/>
                  <a:pt x="1768613" y="1350098"/>
                </a:cubicBezTo>
                <a:cubicBezTo>
                  <a:pt x="1769157" y="1331596"/>
                  <a:pt x="1788203" y="1313094"/>
                  <a:pt x="1806161" y="1313639"/>
                </a:cubicBezTo>
                <a:close/>
                <a:moveTo>
                  <a:pt x="419057" y="1262486"/>
                </a:moveTo>
                <a:cubicBezTo>
                  <a:pt x="423410" y="1262486"/>
                  <a:pt x="425587" y="1265207"/>
                  <a:pt x="424499" y="1269016"/>
                </a:cubicBezTo>
                <a:cubicBezTo>
                  <a:pt x="423410" y="1271737"/>
                  <a:pt x="421234" y="1273914"/>
                  <a:pt x="417969" y="1278811"/>
                </a:cubicBezTo>
                <a:cubicBezTo>
                  <a:pt x="414704" y="1273914"/>
                  <a:pt x="412527" y="1271737"/>
                  <a:pt x="411983" y="1269016"/>
                </a:cubicBezTo>
                <a:cubicBezTo>
                  <a:pt x="410894" y="1264118"/>
                  <a:pt x="414159" y="1262486"/>
                  <a:pt x="419057" y="1262486"/>
                </a:cubicBezTo>
                <a:close/>
                <a:moveTo>
                  <a:pt x="581221" y="1252147"/>
                </a:moveTo>
                <a:cubicBezTo>
                  <a:pt x="591016" y="1252691"/>
                  <a:pt x="598091" y="1260310"/>
                  <a:pt x="597547" y="1269017"/>
                </a:cubicBezTo>
                <a:cubicBezTo>
                  <a:pt x="597547" y="1278268"/>
                  <a:pt x="589928" y="1284798"/>
                  <a:pt x="580133" y="1284254"/>
                </a:cubicBezTo>
                <a:cubicBezTo>
                  <a:pt x="570882" y="1283709"/>
                  <a:pt x="564896" y="1277179"/>
                  <a:pt x="564896" y="1268472"/>
                </a:cubicBezTo>
                <a:cubicBezTo>
                  <a:pt x="564896" y="1259222"/>
                  <a:pt x="571970" y="1252147"/>
                  <a:pt x="581221" y="1252147"/>
                </a:cubicBezTo>
                <a:close/>
                <a:moveTo>
                  <a:pt x="745018" y="1246705"/>
                </a:moveTo>
                <a:cubicBezTo>
                  <a:pt x="757534" y="1246705"/>
                  <a:pt x="766785" y="1257044"/>
                  <a:pt x="766241" y="1269560"/>
                </a:cubicBezTo>
                <a:cubicBezTo>
                  <a:pt x="765697" y="1280988"/>
                  <a:pt x="755358" y="1290783"/>
                  <a:pt x="744474" y="1290783"/>
                </a:cubicBezTo>
                <a:cubicBezTo>
                  <a:pt x="733046" y="1290783"/>
                  <a:pt x="722707" y="1279900"/>
                  <a:pt x="722707" y="1267928"/>
                </a:cubicBezTo>
                <a:cubicBezTo>
                  <a:pt x="722707" y="1255956"/>
                  <a:pt x="733046" y="1246705"/>
                  <a:pt x="745018" y="1246705"/>
                </a:cubicBezTo>
                <a:close/>
                <a:moveTo>
                  <a:pt x="907727" y="1241807"/>
                </a:moveTo>
                <a:cubicBezTo>
                  <a:pt x="921331" y="1241807"/>
                  <a:pt x="934391" y="1257044"/>
                  <a:pt x="933847" y="1269016"/>
                </a:cubicBezTo>
                <a:cubicBezTo>
                  <a:pt x="933847" y="1282620"/>
                  <a:pt x="920787" y="1295680"/>
                  <a:pt x="907183" y="1295136"/>
                </a:cubicBezTo>
                <a:cubicBezTo>
                  <a:pt x="893578" y="1294592"/>
                  <a:pt x="880518" y="1280988"/>
                  <a:pt x="880518" y="1267927"/>
                </a:cubicBezTo>
                <a:cubicBezTo>
                  <a:pt x="881062" y="1254323"/>
                  <a:pt x="894122" y="1242351"/>
                  <a:pt x="907727" y="1241807"/>
                </a:cubicBezTo>
                <a:close/>
                <a:moveTo>
                  <a:pt x="1070979" y="1240719"/>
                </a:moveTo>
                <a:cubicBezTo>
                  <a:pt x="1091114" y="1240175"/>
                  <a:pt x="1099276" y="1252691"/>
                  <a:pt x="1099821" y="1268472"/>
                </a:cubicBezTo>
                <a:cubicBezTo>
                  <a:pt x="1099821" y="1285886"/>
                  <a:pt x="1088393" y="1297858"/>
                  <a:pt x="1070435" y="1297858"/>
                </a:cubicBezTo>
                <a:cubicBezTo>
                  <a:pt x="1053566" y="1297858"/>
                  <a:pt x="1042138" y="1286430"/>
                  <a:pt x="1042138" y="1269560"/>
                </a:cubicBezTo>
                <a:cubicBezTo>
                  <a:pt x="1042138" y="1250514"/>
                  <a:pt x="1053566" y="1240719"/>
                  <a:pt x="1070979" y="1240719"/>
                </a:cubicBezTo>
                <a:close/>
                <a:moveTo>
                  <a:pt x="1234233" y="1235821"/>
                </a:moveTo>
                <a:cubicBezTo>
                  <a:pt x="1250558" y="1235821"/>
                  <a:pt x="1267972" y="1252691"/>
                  <a:pt x="1266883" y="1269016"/>
                </a:cubicBezTo>
                <a:cubicBezTo>
                  <a:pt x="1266339" y="1285885"/>
                  <a:pt x="1251646" y="1301122"/>
                  <a:pt x="1234233" y="1300578"/>
                </a:cubicBezTo>
                <a:cubicBezTo>
                  <a:pt x="1216275" y="1300578"/>
                  <a:pt x="1201582" y="1286430"/>
                  <a:pt x="1201582" y="1267383"/>
                </a:cubicBezTo>
                <a:cubicBezTo>
                  <a:pt x="1201582" y="1249425"/>
                  <a:pt x="1217907" y="1235821"/>
                  <a:pt x="1234233" y="1235821"/>
                </a:cubicBezTo>
                <a:close/>
                <a:moveTo>
                  <a:pt x="1396397" y="1234733"/>
                </a:moveTo>
                <a:cubicBezTo>
                  <a:pt x="1413810" y="1233645"/>
                  <a:pt x="1433945" y="1250514"/>
                  <a:pt x="1431224" y="1268472"/>
                </a:cubicBezTo>
                <a:cubicBezTo>
                  <a:pt x="1433401" y="1286430"/>
                  <a:pt x="1415443" y="1303299"/>
                  <a:pt x="1396941" y="1302755"/>
                </a:cubicBezTo>
                <a:cubicBezTo>
                  <a:pt x="1381160" y="1302211"/>
                  <a:pt x="1363202" y="1290783"/>
                  <a:pt x="1363746" y="1269016"/>
                </a:cubicBezTo>
                <a:cubicBezTo>
                  <a:pt x="1364290" y="1248881"/>
                  <a:pt x="1376806" y="1235821"/>
                  <a:pt x="1396397" y="1234733"/>
                </a:cubicBezTo>
                <a:close/>
                <a:moveTo>
                  <a:pt x="1559649" y="1232557"/>
                </a:moveTo>
                <a:cubicBezTo>
                  <a:pt x="1580328" y="1232013"/>
                  <a:pt x="1595021" y="1246705"/>
                  <a:pt x="1597742" y="1268472"/>
                </a:cubicBezTo>
                <a:cubicBezTo>
                  <a:pt x="1598286" y="1286974"/>
                  <a:pt x="1580872" y="1304932"/>
                  <a:pt x="1561826" y="1305476"/>
                </a:cubicBezTo>
                <a:cubicBezTo>
                  <a:pt x="1543868" y="1306564"/>
                  <a:pt x="1524822" y="1288063"/>
                  <a:pt x="1523734" y="1269561"/>
                </a:cubicBezTo>
                <a:cubicBezTo>
                  <a:pt x="1522645" y="1252147"/>
                  <a:pt x="1541147" y="1232557"/>
                  <a:pt x="1559649" y="1232557"/>
                </a:cubicBezTo>
                <a:close/>
                <a:moveTo>
                  <a:pt x="1723990" y="1231468"/>
                </a:moveTo>
                <a:cubicBezTo>
                  <a:pt x="1743037" y="1231468"/>
                  <a:pt x="1761539" y="1249426"/>
                  <a:pt x="1762083" y="1268472"/>
                </a:cubicBezTo>
                <a:cubicBezTo>
                  <a:pt x="1762627" y="1290239"/>
                  <a:pt x="1741404" y="1306020"/>
                  <a:pt x="1724535" y="1307109"/>
                </a:cubicBezTo>
                <a:cubicBezTo>
                  <a:pt x="1706033" y="1306564"/>
                  <a:pt x="1687531" y="1290239"/>
                  <a:pt x="1686442" y="1270105"/>
                </a:cubicBezTo>
                <a:cubicBezTo>
                  <a:pt x="1685354" y="1254323"/>
                  <a:pt x="1701679" y="1231468"/>
                  <a:pt x="1723990" y="1231468"/>
                </a:cubicBezTo>
                <a:close/>
                <a:moveTo>
                  <a:pt x="1888332" y="1230924"/>
                </a:moveTo>
                <a:cubicBezTo>
                  <a:pt x="1905745" y="1229836"/>
                  <a:pt x="1928056" y="1250514"/>
                  <a:pt x="1925336" y="1269561"/>
                </a:cubicBezTo>
                <a:cubicBezTo>
                  <a:pt x="1925336" y="1289695"/>
                  <a:pt x="1907378" y="1306564"/>
                  <a:pt x="1887243" y="1307653"/>
                </a:cubicBezTo>
                <a:cubicBezTo>
                  <a:pt x="1870918" y="1308197"/>
                  <a:pt x="1847519" y="1288063"/>
                  <a:pt x="1849151" y="1267928"/>
                </a:cubicBezTo>
                <a:cubicBezTo>
                  <a:pt x="1850239" y="1247794"/>
                  <a:pt x="1867653" y="1231468"/>
                  <a:pt x="1888332" y="1230924"/>
                </a:cubicBezTo>
                <a:close/>
                <a:moveTo>
                  <a:pt x="2049952" y="1230380"/>
                </a:moveTo>
                <a:lnTo>
                  <a:pt x="2051041" y="1230805"/>
                </a:lnTo>
                <a:lnTo>
                  <a:pt x="2051041" y="1307109"/>
                </a:lnTo>
                <a:cubicBezTo>
                  <a:pt x="2033627" y="1309830"/>
                  <a:pt x="2011316" y="1286974"/>
                  <a:pt x="2012404" y="1268472"/>
                </a:cubicBezTo>
                <a:cubicBezTo>
                  <a:pt x="2013493" y="1247794"/>
                  <a:pt x="2029274" y="1230380"/>
                  <a:pt x="2049952" y="1230380"/>
                </a:cubicBezTo>
                <a:close/>
                <a:moveTo>
                  <a:pt x="337431" y="1181404"/>
                </a:moveTo>
                <a:cubicBezTo>
                  <a:pt x="339608" y="1182493"/>
                  <a:pt x="341240" y="1184669"/>
                  <a:pt x="345050" y="1187934"/>
                </a:cubicBezTo>
                <a:cubicBezTo>
                  <a:pt x="340696" y="1190111"/>
                  <a:pt x="338519" y="1192288"/>
                  <a:pt x="336343" y="1192288"/>
                </a:cubicBezTo>
                <a:cubicBezTo>
                  <a:pt x="331445" y="1192832"/>
                  <a:pt x="330901" y="1189567"/>
                  <a:pt x="330901" y="1185758"/>
                </a:cubicBezTo>
                <a:cubicBezTo>
                  <a:pt x="330901" y="1181404"/>
                  <a:pt x="334166" y="1180860"/>
                  <a:pt x="337431" y="1181404"/>
                </a:cubicBezTo>
                <a:close/>
                <a:moveTo>
                  <a:pt x="499051" y="1171065"/>
                </a:moveTo>
                <a:cubicBezTo>
                  <a:pt x="506125" y="1170521"/>
                  <a:pt x="516465" y="1179772"/>
                  <a:pt x="516465" y="1187390"/>
                </a:cubicBezTo>
                <a:cubicBezTo>
                  <a:pt x="515921" y="1193920"/>
                  <a:pt x="507214" y="1202627"/>
                  <a:pt x="500140" y="1202627"/>
                </a:cubicBezTo>
                <a:cubicBezTo>
                  <a:pt x="493065" y="1202627"/>
                  <a:pt x="484358" y="1195008"/>
                  <a:pt x="483814" y="1187390"/>
                </a:cubicBezTo>
                <a:cubicBezTo>
                  <a:pt x="483270" y="1180316"/>
                  <a:pt x="491977" y="1171065"/>
                  <a:pt x="499051" y="1171065"/>
                </a:cubicBezTo>
                <a:close/>
                <a:moveTo>
                  <a:pt x="662848" y="1165623"/>
                </a:moveTo>
                <a:cubicBezTo>
                  <a:pt x="675364" y="1165623"/>
                  <a:pt x="684615" y="1174874"/>
                  <a:pt x="684615" y="1187390"/>
                </a:cubicBezTo>
                <a:cubicBezTo>
                  <a:pt x="684615" y="1199362"/>
                  <a:pt x="674820" y="1209157"/>
                  <a:pt x="662848" y="1209157"/>
                </a:cubicBezTo>
                <a:cubicBezTo>
                  <a:pt x="651420" y="1209157"/>
                  <a:pt x="641081" y="1198274"/>
                  <a:pt x="641081" y="1186846"/>
                </a:cubicBezTo>
                <a:cubicBezTo>
                  <a:pt x="641081" y="1175418"/>
                  <a:pt x="651420" y="1165623"/>
                  <a:pt x="662848" y="1165623"/>
                </a:cubicBezTo>
                <a:close/>
                <a:moveTo>
                  <a:pt x="825556" y="1160725"/>
                </a:moveTo>
                <a:cubicBezTo>
                  <a:pt x="840249" y="1161270"/>
                  <a:pt x="851677" y="1171609"/>
                  <a:pt x="852765" y="1186846"/>
                </a:cubicBezTo>
                <a:cubicBezTo>
                  <a:pt x="853309" y="1199906"/>
                  <a:pt x="840249" y="1213511"/>
                  <a:pt x="826645" y="1213511"/>
                </a:cubicBezTo>
                <a:cubicBezTo>
                  <a:pt x="813585" y="1214055"/>
                  <a:pt x="799980" y="1200995"/>
                  <a:pt x="798892" y="1188479"/>
                </a:cubicBezTo>
                <a:cubicBezTo>
                  <a:pt x="797803" y="1173241"/>
                  <a:pt x="814129" y="1160181"/>
                  <a:pt x="825556" y="1160725"/>
                </a:cubicBezTo>
                <a:close/>
                <a:moveTo>
                  <a:pt x="989353" y="1158004"/>
                </a:moveTo>
                <a:cubicBezTo>
                  <a:pt x="1007855" y="1159092"/>
                  <a:pt x="1018739" y="1168888"/>
                  <a:pt x="1018195" y="1187934"/>
                </a:cubicBezTo>
                <a:cubicBezTo>
                  <a:pt x="1017651" y="1206436"/>
                  <a:pt x="1007311" y="1216231"/>
                  <a:pt x="988809" y="1216775"/>
                </a:cubicBezTo>
                <a:cubicBezTo>
                  <a:pt x="972484" y="1217319"/>
                  <a:pt x="960512" y="1203715"/>
                  <a:pt x="959968" y="1187934"/>
                </a:cubicBezTo>
                <a:cubicBezTo>
                  <a:pt x="959968" y="1170520"/>
                  <a:pt x="972484" y="1158004"/>
                  <a:pt x="989353" y="1158004"/>
                </a:cubicBezTo>
                <a:close/>
                <a:moveTo>
                  <a:pt x="1152062" y="1153651"/>
                </a:moveTo>
                <a:cubicBezTo>
                  <a:pt x="1166755" y="1152562"/>
                  <a:pt x="1186345" y="1171065"/>
                  <a:pt x="1185801" y="1186301"/>
                </a:cubicBezTo>
                <a:cubicBezTo>
                  <a:pt x="1184713" y="1205348"/>
                  <a:pt x="1171652" y="1218952"/>
                  <a:pt x="1153150" y="1219496"/>
                </a:cubicBezTo>
                <a:cubicBezTo>
                  <a:pt x="1135193" y="1221129"/>
                  <a:pt x="1119412" y="1204259"/>
                  <a:pt x="1119956" y="1187390"/>
                </a:cubicBezTo>
                <a:cubicBezTo>
                  <a:pt x="1120500" y="1168888"/>
                  <a:pt x="1134648" y="1154739"/>
                  <a:pt x="1152062" y="1153651"/>
                </a:cubicBezTo>
                <a:close/>
                <a:moveTo>
                  <a:pt x="1315315" y="1152018"/>
                </a:moveTo>
                <a:cubicBezTo>
                  <a:pt x="1336537" y="1151474"/>
                  <a:pt x="1351230" y="1169432"/>
                  <a:pt x="1351230" y="1186845"/>
                </a:cubicBezTo>
                <a:cubicBezTo>
                  <a:pt x="1350686" y="1205891"/>
                  <a:pt x="1338714" y="1222217"/>
                  <a:pt x="1315859" y="1221673"/>
                </a:cubicBezTo>
                <a:cubicBezTo>
                  <a:pt x="1294092" y="1221128"/>
                  <a:pt x="1282120" y="1209157"/>
                  <a:pt x="1281576" y="1187390"/>
                </a:cubicBezTo>
                <a:cubicBezTo>
                  <a:pt x="1281031" y="1167255"/>
                  <a:pt x="1295724" y="1152562"/>
                  <a:pt x="1315315" y="1152018"/>
                </a:cubicBezTo>
                <a:close/>
                <a:moveTo>
                  <a:pt x="1479656" y="1149298"/>
                </a:moveTo>
                <a:cubicBezTo>
                  <a:pt x="1500878" y="1149842"/>
                  <a:pt x="1517204" y="1168888"/>
                  <a:pt x="1516660" y="1188479"/>
                </a:cubicBezTo>
                <a:cubicBezTo>
                  <a:pt x="1515027" y="1210246"/>
                  <a:pt x="1495981" y="1224938"/>
                  <a:pt x="1478023" y="1224394"/>
                </a:cubicBezTo>
                <a:cubicBezTo>
                  <a:pt x="1457889" y="1223850"/>
                  <a:pt x="1439931" y="1205892"/>
                  <a:pt x="1441563" y="1185758"/>
                </a:cubicBezTo>
                <a:cubicBezTo>
                  <a:pt x="1442652" y="1166167"/>
                  <a:pt x="1458977" y="1149298"/>
                  <a:pt x="1479656" y="1149298"/>
                </a:cubicBezTo>
                <a:close/>
                <a:moveTo>
                  <a:pt x="1642365" y="1148209"/>
                </a:moveTo>
                <a:cubicBezTo>
                  <a:pt x="1659779" y="1147121"/>
                  <a:pt x="1681001" y="1166711"/>
                  <a:pt x="1681001" y="1187390"/>
                </a:cubicBezTo>
                <a:cubicBezTo>
                  <a:pt x="1681001" y="1208613"/>
                  <a:pt x="1658690" y="1226026"/>
                  <a:pt x="1641821" y="1226026"/>
                </a:cubicBezTo>
                <a:cubicBezTo>
                  <a:pt x="1624407" y="1226026"/>
                  <a:pt x="1601007" y="1205348"/>
                  <a:pt x="1603728" y="1186846"/>
                </a:cubicBezTo>
                <a:cubicBezTo>
                  <a:pt x="1603728" y="1165623"/>
                  <a:pt x="1621686" y="1149298"/>
                  <a:pt x="1642365" y="1148209"/>
                </a:cubicBezTo>
                <a:close/>
                <a:moveTo>
                  <a:pt x="1969414" y="1147665"/>
                </a:moveTo>
                <a:cubicBezTo>
                  <a:pt x="1991725" y="1146032"/>
                  <a:pt x="2009139" y="1165623"/>
                  <a:pt x="2009139" y="1187934"/>
                </a:cubicBezTo>
                <a:cubicBezTo>
                  <a:pt x="2008595" y="1209157"/>
                  <a:pt x="1990093" y="1227114"/>
                  <a:pt x="1968870" y="1227114"/>
                </a:cubicBezTo>
                <a:cubicBezTo>
                  <a:pt x="1949824" y="1227114"/>
                  <a:pt x="1928601" y="1209701"/>
                  <a:pt x="1929145" y="1186301"/>
                </a:cubicBezTo>
                <a:cubicBezTo>
                  <a:pt x="1929145" y="1165623"/>
                  <a:pt x="1948191" y="1145488"/>
                  <a:pt x="1969414" y="1147665"/>
                </a:cubicBezTo>
                <a:close/>
                <a:moveTo>
                  <a:pt x="1805617" y="1147665"/>
                </a:moveTo>
                <a:cubicBezTo>
                  <a:pt x="1825752" y="1147665"/>
                  <a:pt x="1845342" y="1165078"/>
                  <a:pt x="1844798" y="1187934"/>
                </a:cubicBezTo>
                <a:cubicBezTo>
                  <a:pt x="1844254" y="1208612"/>
                  <a:pt x="1824664" y="1227115"/>
                  <a:pt x="1805073" y="1226571"/>
                </a:cubicBezTo>
                <a:cubicBezTo>
                  <a:pt x="1787115" y="1226571"/>
                  <a:pt x="1764260" y="1209701"/>
                  <a:pt x="1766981" y="1186845"/>
                </a:cubicBezTo>
                <a:cubicBezTo>
                  <a:pt x="1764804" y="1165623"/>
                  <a:pt x="1786027" y="1147665"/>
                  <a:pt x="1805617" y="1147665"/>
                </a:cubicBezTo>
                <a:close/>
                <a:moveTo>
                  <a:pt x="417425" y="1090527"/>
                </a:moveTo>
                <a:cubicBezTo>
                  <a:pt x="423955" y="1090527"/>
                  <a:pt x="433206" y="1099234"/>
                  <a:pt x="432662" y="1105764"/>
                </a:cubicBezTo>
                <a:cubicBezTo>
                  <a:pt x="432662" y="1111206"/>
                  <a:pt x="423955" y="1119912"/>
                  <a:pt x="417969" y="1120457"/>
                </a:cubicBezTo>
                <a:cubicBezTo>
                  <a:pt x="411439" y="1121001"/>
                  <a:pt x="402188" y="1111750"/>
                  <a:pt x="402732" y="1105219"/>
                </a:cubicBezTo>
                <a:cubicBezTo>
                  <a:pt x="402732" y="1099234"/>
                  <a:pt x="411439" y="1090527"/>
                  <a:pt x="417425" y="1090527"/>
                </a:cubicBezTo>
                <a:close/>
                <a:moveTo>
                  <a:pt x="580677" y="1083996"/>
                </a:moveTo>
                <a:cubicBezTo>
                  <a:pt x="592105" y="1083996"/>
                  <a:pt x="601900" y="1093791"/>
                  <a:pt x="602444" y="1105219"/>
                </a:cubicBezTo>
                <a:cubicBezTo>
                  <a:pt x="602988" y="1116647"/>
                  <a:pt x="593193" y="1126986"/>
                  <a:pt x="581221" y="1127530"/>
                </a:cubicBezTo>
                <a:cubicBezTo>
                  <a:pt x="570338" y="1127530"/>
                  <a:pt x="558910" y="1116102"/>
                  <a:pt x="558910" y="1105219"/>
                </a:cubicBezTo>
                <a:cubicBezTo>
                  <a:pt x="558910" y="1094880"/>
                  <a:pt x="570338" y="1083996"/>
                  <a:pt x="580677" y="1083996"/>
                </a:cubicBezTo>
                <a:close/>
                <a:moveTo>
                  <a:pt x="743386" y="1079099"/>
                </a:moveTo>
                <a:cubicBezTo>
                  <a:pt x="756991" y="1079099"/>
                  <a:pt x="769507" y="1088894"/>
                  <a:pt x="770595" y="1105219"/>
                </a:cubicBezTo>
                <a:cubicBezTo>
                  <a:pt x="771683" y="1116103"/>
                  <a:pt x="760800" y="1131340"/>
                  <a:pt x="745019" y="1132428"/>
                </a:cubicBezTo>
                <a:cubicBezTo>
                  <a:pt x="734135" y="1134061"/>
                  <a:pt x="717810" y="1118280"/>
                  <a:pt x="717810" y="1106308"/>
                </a:cubicBezTo>
                <a:cubicBezTo>
                  <a:pt x="717810" y="1091071"/>
                  <a:pt x="731414" y="1079099"/>
                  <a:pt x="743386" y="1079099"/>
                </a:cubicBezTo>
                <a:close/>
                <a:moveTo>
                  <a:pt x="907727" y="1076378"/>
                </a:moveTo>
                <a:cubicBezTo>
                  <a:pt x="926773" y="1076378"/>
                  <a:pt x="937112" y="1087262"/>
                  <a:pt x="937112" y="1105219"/>
                </a:cubicBezTo>
                <a:cubicBezTo>
                  <a:pt x="937112" y="1121545"/>
                  <a:pt x="928950" y="1134061"/>
                  <a:pt x="908271" y="1134061"/>
                </a:cubicBezTo>
                <a:cubicBezTo>
                  <a:pt x="888681" y="1134605"/>
                  <a:pt x="878341" y="1122633"/>
                  <a:pt x="878885" y="1105764"/>
                </a:cubicBezTo>
                <a:cubicBezTo>
                  <a:pt x="878341" y="1086173"/>
                  <a:pt x="892490" y="1076378"/>
                  <a:pt x="907727" y="1076378"/>
                </a:cubicBezTo>
                <a:close/>
                <a:moveTo>
                  <a:pt x="1071524" y="1072569"/>
                </a:moveTo>
                <a:cubicBezTo>
                  <a:pt x="1089482" y="1072569"/>
                  <a:pt x="1104174" y="1087806"/>
                  <a:pt x="1104174" y="1105220"/>
                </a:cubicBezTo>
                <a:cubicBezTo>
                  <a:pt x="1104174" y="1123722"/>
                  <a:pt x="1090026" y="1137870"/>
                  <a:pt x="1070435" y="1137870"/>
                </a:cubicBezTo>
                <a:cubicBezTo>
                  <a:pt x="1054110" y="1140047"/>
                  <a:pt x="1037241" y="1121545"/>
                  <a:pt x="1038329" y="1105764"/>
                </a:cubicBezTo>
                <a:cubicBezTo>
                  <a:pt x="1039417" y="1086173"/>
                  <a:pt x="1052478" y="1072569"/>
                  <a:pt x="1071524" y="1072569"/>
                </a:cubicBezTo>
                <a:close/>
                <a:moveTo>
                  <a:pt x="1235865" y="1068760"/>
                </a:moveTo>
                <a:cubicBezTo>
                  <a:pt x="1254912" y="1070392"/>
                  <a:pt x="1272325" y="1088894"/>
                  <a:pt x="1271237" y="1106852"/>
                </a:cubicBezTo>
                <a:cubicBezTo>
                  <a:pt x="1270149" y="1124810"/>
                  <a:pt x="1252735" y="1142223"/>
                  <a:pt x="1234777" y="1142223"/>
                </a:cubicBezTo>
                <a:cubicBezTo>
                  <a:pt x="1215187" y="1142223"/>
                  <a:pt x="1197773" y="1124265"/>
                  <a:pt x="1198861" y="1105219"/>
                </a:cubicBezTo>
                <a:cubicBezTo>
                  <a:pt x="1199406" y="1085629"/>
                  <a:pt x="1217908" y="1067127"/>
                  <a:pt x="1235865" y="1068760"/>
                </a:cubicBezTo>
                <a:close/>
                <a:moveTo>
                  <a:pt x="1396397" y="1067127"/>
                </a:moveTo>
                <a:cubicBezTo>
                  <a:pt x="1416532" y="1065494"/>
                  <a:pt x="1437755" y="1087806"/>
                  <a:pt x="1435578" y="1105219"/>
                </a:cubicBezTo>
                <a:cubicBezTo>
                  <a:pt x="1437210" y="1125898"/>
                  <a:pt x="1413267" y="1144400"/>
                  <a:pt x="1396941" y="1143856"/>
                </a:cubicBezTo>
                <a:cubicBezTo>
                  <a:pt x="1377895" y="1143856"/>
                  <a:pt x="1358305" y="1122633"/>
                  <a:pt x="1358849" y="1105763"/>
                </a:cubicBezTo>
                <a:cubicBezTo>
                  <a:pt x="1359393" y="1085629"/>
                  <a:pt x="1376807" y="1068759"/>
                  <a:pt x="1396397" y="1067127"/>
                </a:cubicBezTo>
                <a:close/>
                <a:moveTo>
                  <a:pt x="1560738" y="1066582"/>
                </a:moveTo>
                <a:cubicBezTo>
                  <a:pt x="1581961" y="1063862"/>
                  <a:pt x="1599919" y="1083452"/>
                  <a:pt x="1599919" y="1105763"/>
                </a:cubicBezTo>
                <a:cubicBezTo>
                  <a:pt x="1599919" y="1127530"/>
                  <a:pt x="1581417" y="1144400"/>
                  <a:pt x="1560738" y="1144400"/>
                </a:cubicBezTo>
                <a:cubicBezTo>
                  <a:pt x="1538971" y="1144400"/>
                  <a:pt x="1521557" y="1125898"/>
                  <a:pt x="1521013" y="1105763"/>
                </a:cubicBezTo>
                <a:cubicBezTo>
                  <a:pt x="1521013" y="1085629"/>
                  <a:pt x="1538971" y="1063862"/>
                  <a:pt x="1560738" y="1066582"/>
                </a:cubicBezTo>
                <a:close/>
                <a:moveTo>
                  <a:pt x="1723447" y="1064406"/>
                </a:moveTo>
                <a:cubicBezTo>
                  <a:pt x="1744126" y="1063862"/>
                  <a:pt x="1763716" y="1076378"/>
                  <a:pt x="1764260" y="1104675"/>
                </a:cubicBezTo>
                <a:cubicBezTo>
                  <a:pt x="1764804" y="1130796"/>
                  <a:pt x="1745758" y="1145488"/>
                  <a:pt x="1724535" y="1146032"/>
                </a:cubicBezTo>
                <a:cubicBezTo>
                  <a:pt x="1703313" y="1147121"/>
                  <a:pt x="1683722" y="1130796"/>
                  <a:pt x="1683178" y="1105764"/>
                </a:cubicBezTo>
                <a:cubicBezTo>
                  <a:pt x="1684266" y="1082364"/>
                  <a:pt x="1698415" y="1064950"/>
                  <a:pt x="1723447" y="1064406"/>
                </a:cubicBezTo>
                <a:close/>
                <a:moveTo>
                  <a:pt x="2051041" y="1063318"/>
                </a:moveTo>
                <a:lnTo>
                  <a:pt x="2051041" y="1147740"/>
                </a:lnTo>
                <a:lnTo>
                  <a:pt x="2049952" y="1148210"/>
                </a:lnTo>
                <a:cubicBezTo>
                  <a:pt x="2028730" y="1147121"/>
                  <a:pt x="2008051" y="1128619"/>
                  <a:pt x="2008051" y="1105764"/>
                </a:cubicBezTo>
                <a:cubicBezTo>
                  <a:pt x="2008595" y="1081276"/>
                  <a:pt x="2027641" y="1063862"/>
                  <a:pt x="2051041" y="1063318"/>
                </a:cubicBezTo>
                <a:close/>
                <a:moveTo>
                  <a:pt x="1887787" y="1062773"/>
                </a:moveTo>
                <a:cubicBezTo>
                  <a:pt x="1909554" y="1063862"/>
                  <a:pt x="1930233" y="1084540"/>
                  <a:pt x="1929145" y="1105763"/>
                </a:cubicBezTo>
                <a:cubicBezTo>
                  <a:pt x="1928056" y="1130251"/>
                  <a:pt x="1908466" y="1147121"/>
                  <a:pt x="1886699" y="1147665"/>
                </a:cubicBezTo>
                <a:cubicBezTo>
                  <a:pt x="1862755" y="1145488"/>
                  <a:pt x="1845886" y="1127530"/>
                  <a:pt x="1844798" y="1105219"/>
                </a:cubicBezTo>
                <a:cubicBezTo>
                  <a:pt x="1844253" y="1083996"/>
                  <a:pt x="1867109" y="1061685"/>
                  <a:pt x="1887787" y="1062773"/>
                </a:cubicBezTo>
                <a:close/>
                <a:moveTo>
                  <a:pt x="335798" y="1011621"/>
                </a:moveTo>
                <a:cubicBezTo>
                  <a:pt x="343960" y="1011621"/>
                  <a:pt x="347770" y="1014886"/>
                  <a:pt x="348314" y="1023049"/>
                </a:cubicBezTo>
                <a:cubicBezTo>
                  <a:pt x="348314" y="1031755"/>
                  <a:pt x="344505" y="1036109"/>
                  <a:pt x="336886" y="1036109"/>
                </a:cubicBezTo>
                <a:cubicBezTo>
                  <a:pt x="329268" y="1036109"/>
                  <a:pt x="324914" y="1032300"/>
                  <a:pt x="324370" y="1024681"/>
                </a:cubicBezTo>
                <a:cubicBezTo>
                  <a:pt x="323826" y="1015974"/>
                  <a:pt x="327635" y="1011621"/>
                  <a:pt x="335798" y="1011621"/>
                </a:cubicBezTo>
                <a:close/>
                <a:moveTo>
                  <a:pt x="499051" y="1002914"/>
                </a:moveTo>
                <a:cubicBezTo>
                  <a:pt x="508846" y="1002370"/>
                  <a:pt x="520818" y="1014342"/>
                  <a:pt x="520818" y="1024137"/>
                </a:cubicBezTo>
                <a:cubicBezTo>
                  <a:pt x="520818" y="1032844"/>
                  <a:pt x="508846" y="1045360"/>
                  <a:pt x="499595" y="1045360"/>
                </a:cubicBezTo>
                <a:cubicBezTo>
                  <a:pt x="490888" y="1045360"/>
                  <a:pt x="478372" y="1032844"/>
                  <a:pt x="478372" y="1024137"/>
                </a:cubicBezTo>
                <a:cubicBezTo>
                  <a:pt x="478372" y="1014886"/>
                  <a:pt x="489800" y="1002914"/>
                  <a:pt x="499051" y="1002914"/>
                </a:cubicBezTo>
                <a:close/>
                <a:moveTo>
                  <a:pt x="663392" y="997473"/>
                </a:moveTo>
                <a:cubicBezTo>
                  <a:pt x="675908" y="998561"/>
                  <a:pt x="688968" y="1011622"/>
                  <a:pt x="688424" y="1024138"/>
                </a:cubicBezTo>
                <a:cubicBezTo>
                  <a:pt x="687880" y="1039374"/>
                  <a:pt x="676452" y="1050802"/>
                  <a:pt x="661759" y="1050258"/>
                </a:cubicBezTo>
                <a:cubicBezTo>
                  <a:pt x="647066" y="1049170"/>
                  <a:pt x="637271" y="1036109"/>
                  <a:pt x="636727" y="1023593"/>
                </a:cubicBezTo>
                <a:cubicBezTo>
                  <a:pt x="637271" y="1010533"/>
                  <a:pt x="651420" y="996929"/>
                  <a:pt x="663392" y="997473"/>
                </a:cubicBezTo>
                <a:close/>
                <a:moveTo>
                  <a:pt x="826645" y="995840"/>
                </a:moveTo>
                <a:cubicBezTo>
                  <a:pt x="845147" y="995296"/>
                  <a:pt x="855486" y="1007267"/>
                  <a:pt x="854942" y="1024137"/>
                </a:cubicBezTo>
                <a:cubicBezTo>
                  <a:pt x="855486" y="1039374"/>
                  <a:pt x="845147" y="1052978"/>
                  <a:pt x="825557" y="1052978"/>
                </a:cubicBezTo>
                <a:cubicBezTo>
                  <a:pt x="808143" y="1052434"/>
                  <a:pt x="796715" y="1041006"/>
                  <a:pt x="797260" y="1023593"/>
                </a:cubicBezTo>
                <a:cubicBezTo>
                  <a:pt x="797260" y="1005635"/>
                  <a:pt x="808687" y="995840"/>
                  <a:pt x="826645" y="995840"/>
                </a:cubicBezTo>
                <a:close/>
                <a:moveTo>
                  <a:pt x="990441" y="990942"/>
                </a:moveTo>
                <a:cubicBezTo>
                  <a:pt x="1008943" y="990942"/>
                  <a:pt x="1023092" y="1006179"/>
                  <a:pt x="1022548" y="1025225"/>
                </a:cubicBezTo>
                <a:cubicBezTo>
                  <a:pt x="1022004" y="1043183"/>
                  <a:pt x="1007311" y="1056243"/>
                  <a:pt x="988809" y="1056787"/>
                </a:cubicBezTo>
                <a:cubicBezTo>
                  <a:pt x="973028" y="1057332"/>
                  <a:pt x="956702" y="1041551"/>
                  <a:pt x="956702" y="1023593"/>
                </a:cubicBezTo>
                <a:cubicBezTo>
                  <a:pt x="956158" y="1006723"/>
                  <a:pt x="973572" y="988221"/>
                  <a:pt x="990441" y="990942"/>
                </a:cubicBezTo>
                <a:close/>
                <a:moveTo>
                  <a:pt x="1150974" y="987678"/>
                </a:moveTo>
                <a:cubicBezTo>
                  <a:pt x="1170020" y="986045"/>
                  <a:pt x="1189066" y="1004547"/>
                  <a:pt x="1189610" y="1023593"/>
                </a:cubicBezTo>
                <a:cubicBezTo>
                  <a:pt x="1190154" y="1042095"/>
                  <a:pt x="1170564" y="1061685"/>
                  <a:pt x="1152062" y="1061685"/>
                </a:cubicBezTo>
                <a:cubicBezTo>
                  <a:pt x="1134104" y="1061685"/>
                  <a:pt x="1115602" y="1042639"/>
                  <a:pt x="1115058" y="1024682"/>
                </a:cubicBezTo>
                <a:cubicBezTo>
                  <a:pt x="1115058" y="1006724"/>
                  <a:pt x="1133016" y="988222"/>
                  <a:pt x="1150974" y="987678"/>
                </a:cubicBezTo>
                <a:close/>
                <a:moveTo>
                  <a:pt x="1315314" y="985501"/>
                </a:moveTo>
                <a:cubicBezTo>
                  <a:pt x="1335993" y="983868"/>
                  <a:pt x="1354495" y="1005635"/>
                  <a:pt x="1354495" y="1023593"/>
                </a:cubicBezTo>
                <a:cubicBezTo>
                  <a:pt x="1355039" y="1042639"/>
                  <a:pt x="1333816" y="1065495"/>
                  <a:pt x="1315858" y="1062230"/>
                </a:cubicBezTo>
                <a:cubicBezTo>
                  <a:pt x="1294636" y="1062230"/>
                  <a:pt x="1277222" y="1045360"/>
                  <a:pt x="1277222" y="1024137"/>
                </a:cubicBezTo>
                <a:cubicBezTo>
                  <a:pt x="1277222" y="1002914"/>
                  <a:pt x="1294091" y="986589"/>
                  <a:pt x="1315314" y="985501"/>
                </a:cubicBezTo>
                <a:close/>
                <a:moveTo>
                  <a:pt x="1479656" y="984412"/>
                </a:moveTo>
                <a:cubicBezTo>
                  <a:pt x="1503055" y="984412"/>
                  <a:pt x="1519925" y="1000737"/>
                  <a:pt x="1519380" y="1025225"/>
                </a:cubicBezTo>
                <a:cubicBezTo>
                  <a:pt x="1518836" y="1045904"/>
                  <a:pt x="1502511" y="1065494"/>
                  <a:pt x="1478567" y="1063318"/>
                </a:cubicBezTo>
                <a:cubicBezTo>
                  <a:pt x="1454624" y="1064950"/>
                  <a:pt x="1438842" y="1044816"/>
                  <a:pt x="1439387" y="1023593"/>
                </a:cubicBezTo>
                <a:cubicBezTo>
                  <a:pt x="1439931" y="1000193"/>
                  <a:pt x="1455712" y="983868"/>
                  <a:pt x="1479656" y="984412"/>
                </a:cubicBezTo>
                <a:close/>
                <a:moveTo>
                  <a:pt x="1641820" y="981691"/>
                </a:moveTo>
                <a:cubicBezTo>
                  <a:pt x="1665220" y="981691"/>
                  <a:pt x="1683178" y="999649"/>
                  <a:pt x="1684810" y="1023592"/>
                </a:cubicBezTo>
                <a:cubicBezTo>
                  <a:pt x="1683722" y="1048625"/>
                  <a:pt x="1665220" y="1066038"/>
                  <a:pt x="1642909" y="1066038"/>
                </a:cubicBezTo>
                <a:cubicBezTo>
                  <a:pt x="1618421" y="1066038"/>
                  <a:pt x="1599919" y="1047536"/>
                  <a:pt x="1599919" y="1023592"/>
                </a:cubicBezTo>
                <a:cubicBezTo>
                  <a:pt x="1599919" y="1001281"/>
                  <a:pt x="1616788" y="982235"/>
                  <a:pt x="1641820" y="981691"/>
                </a:cubicBezTo>
                <a:close/>
                <a:moveTo>
                  <a:pt x="1806161" y="980603"/>
                </a:moveTo>
                <a:cubicBezTo>
                  <a:pt x="1829561" y="980603"/>
                  <a:pt x="1848607" y="1000737"/>
                  <a:pt x="1849151" y="1023592"/>
                </a:cubicBezTo>
                <a:cubicBezTo>
                  <a:pt x="1849151" y="1046992"/>
                  <a:pt x="1827928" y="1068215"/>
                  <a:pt x="1805617" y="1067127"/>
                </a:cubicBezTo>
                <a:cubicBezTo>
                  <a:pt x="1781673" y="1068215"/>
                  <a:pt x="1762083" y="1044815"/>
                  <a:pt x="1762083" y="1023592"/>
                </a:cubicBezTo>
                <a:cubicBezTo>
                  <a:pt x="1762083" y="1002370"/>
                  <a:pt x="1781673" y="980058"/>
                  <a:pt x="1806161" y="980603"/>
                </a:cubicBezTo>
                <a:close/>
                <a:moveTo>
                  <a:pt x="1969414" y="980059"/>
                </a:moveTo>
                <a:cubicBezTo>
                  <a:pt x="1993358" y="980603"/>
                  <a:pt x="2012404" y="1001282"/>
                  <a:pt x="2012404" y="1024137"/>
                </a:cubicBezTo>
                <a:cubicBezTo>
                  <a:pt x="2012404" y="1046449"/>
                  <a:pt x="1991726" y="1069304"/>
                  <a:pt x="1968870" y="1067127"/>
                </a:cubicBezTo>
                <a:cubicBezTo>
                  <a:pt x="1946015" y="1068760"/>
                  <a:pt x="1925336" y="1044272"/>
                  <a:pt x="1924792" y="1024137"/>
                </a:cubicBezTo>
                <a:cubicBezTo>
                  <a:pt x="1924792" y="1002914"/>
                  <a:pt x="1944382" y="980059"/>
                  <a:pt x="1969414" y="980059"/>
                </a:cubicBezTo>
                <a:close/>
                <a:moveTo>
                  <a:pt x="254171" y="931083"/>
                </a:moveTo>
                <a:cubicBezTo>
                  <a:pt x="260701" y="931083"/>
                  <a:pt x="265599" y="935437"/>
                  <a:pt x="265599" y="941967"/>
                </a:cubicBezTo>
                <a:cubicBezTo>
                  <a:pt x="265599" y="948497"/>
                  <a:pt x="260701" y="952850"/>
                  <a:pt x="254171" y="952850"/>
                </a:cubicBezTo>
                <a:cubicBezTo>
                  <a:pt x="247641" y="952850"/>
                  <a:pt x="243832" y="948497"/>
                  <a:pt x="243832" y="941967"/>
                </a:cubicBezTo>
                <a:cubicBezTo>
                  <a:pt x="243832" y="935437"/>
                  <a:pt x="247641" y="931627"/>
                  <a:pt x="254171" y="931083"/>
                </a:cubicBezTo>
                <a:close/>
                <a:moveTo>
                  <a:pt x="417968" y="922377"/>
                </a:moveTo>
                <a:cubicBezTo>
                  <a:pt x="427219" y="921833"/>
                  <a:pt x="437559" y="932716"/>
                  <a:pt x="437559" y="942511"/>
                </a:cubicBezTo>
                <a:cubicBezTo>
                  <a:pt x="437559" y="951762"/>
                  <a:pt x="427219" y="961557"/>
                  <a:pt x="417968" y="961557"/>
                </a:cubicBezTo>
                <a:cubicBezTo>
                  <a:pt x="409262" y="961557"/>
                  <a:pt x="397290" y="949585"/>
                  <a:pt x="397834" y="941423"/>
                </a:cubicBezTo>
                <a:cubicBezTo>
                  <a:pt x="398378" y="933260"/>
                  <a:pt x="409806" y="922377"/>
                  <a:pt x="417968" y="922377"/>
                </a:cubicBezTo>
                <a:close/>
                <a:moveTo>
                  <a:pt x="581222" y="916934"/>
                </a:moveTo>
                <a:cubicBezTo>
                  <a:pt x="593738" y="916934"/>
                  <a:pt x="607342" y="931082"/>
                  <a:pt x="606798" y="943054"/>
                </a:cubicBezTo>
                <a:cubicBezTo>
                  <a:pt x="606254" y="955570"/>
                  <a:pt x="593738" y="967542"/>
                  <a:pt x="581222" y="967542"/>
                </a:cubicBezTo>
                <a:cubicBezTo>
                  <a:pt x="567617" y="966454"/>
                  <a:pt x="557278" y="958291"/>
                  <a:pt x="556190" y="943054"/>
                </a:cubicBezTo>
                <a:cubicBezTo>
                  <a:pt x="555101" y="929994"/>
                  <a:pt x="568161" y="916934"/>
                  <a:pt x="581222" y="916934"/>
                </a:cubicBezTo>
                <a:close/>
                <a:moveTo>
                  <a:pt x="744474" y="913669"/>
                </a:moveTo>
                <a:cubicBezTo>
                  <a:pt x="765153" y="913669"/>
                  <a:pt x="773860" y="927273"/>
                  <a:pt x="773315" y="942510"/>
                </a:cubicBezTo>
                <a:cubicBezTo>
                  <a:pt x="772771" y="959924"/>
                  <a:pt x="761344" y="971352"/>
                  <a:pt x="743930" y="970807"/>
                </a:cubicBezTo>
                <a:cubicBezTo>
                  <a:pt x="727061" y="970807"/>
                  <a:pt x="716177" y="959380"/>
                  <a:pt x="716177" y="941966"/>
                </a:cubicBezTo>
                <a:cubicBezTo>
                  <a:pt x="716177" y="923464"/>
                  <a:pt x="727605" y="914213"/>
                  <a:pt x="744474" y="913669"/>
                </a:cubicBezTo>
                <a:close/>
                <a:moveTo>
                  <a:pt x="908271" y="908772"/>
                </a:moveTo>
                <a:cubicBezTo>
                  <a:pt x="927317" y="910405"/>
                  <a:pt x="940922" y="924553"/>
                  <a:pt x="940377" y="944144"/>
                </a:cubicBezTo>
                <a:cubicBezTo>
                  <a:pt x="939833" y="962101"/>
                  <a:pt x="925141" y="975162"/>
                  <a:pt x="906094" y="975162"/>
                </a:cubicBezTo>
                <a:cubicBezTo>
                  <a:pt x="890313" y="975162"/>
                  <a:pt x="873988" y="959925"/>
                  <a:pt x="874532" y="940879"/>
                </a:cubicBezTo>
                <a:cubicBezTo>
                  <a:pt x="874532" y="925641"/>
                  <a:pt x="891402" y="907684"/>
                  <a:pt x="908271" y="908772"/>
                </a:cubicBezTo>
                <a:close/>
                <a:moveTo>
                  <a:pt x="1072068" y="906051"/>
                </a:moveTo>
                <a:cubicBezTo>
                  <a:pt x="1093291" y="907683"/>
                  <a:pt x="1105807" y="921832"/>
                  <a:pt x="1107984" y="942511"/>
                </a:cubicBezTo>
                <a:cubicBezTo>
                  <a:pt x="1107984" y="961013"/>
                  <a:pt x="1088938" y="979515"/>
                  <a:pt x="1070980" y="979515"/>
                </a:cubicBezTo>
                <a:cubicBezTo>
                  <a:pt x="1053022" y="979515"/>
                  <a:pt x="1034520" y="960469"/>
                  <a:pt x="1034520" y="942511"/>
                </a:cubicBezTo>
                <a:cubicBezTo>
                  <a:pt x="1034520" y="923465"/>
                  <a:pt x="1053566" y="904419"/>
                  <a:pt x="1072068" y="906051"/>
                </a:cubicBezTo>
                <a:close/>
                <a:moveTo>
                  <a:pt x="1235321" y="903874"/>
                </a:moveTo>
                <a:cubicBezTo>
                  <a:pt x="1257088" y="903874"/>
                  <a:pt x="1272325" y="920199"/>
                  <a:pt x="1272325" y="943054"/>
                </a:cubicBezTo>
                <a:cubicBezTo>
                  <a:pt x="1275045" y="962645"/>
                  <a:pt x="1251646" y="982779"/>
                  <a:pt x="1233688" y="981147"/>
                </a:cubicBezTo>
                <a:cubicBezTo>
                  <a:pt x="1211921" y="979514"/>
                  <a:pt x="1195052" y="963189"/>
                  <a:pt x="1195596" y="940878"/>
                </a:cubicBezTo>
                <a:cubicBezTo>
                  <a:pt x="1196140" y="919111"/>
                  <a:pt x="1212465" y="903330"/>
                  <a:pt x="1235321" y="903874"/>
                </a:cubicBezTo>
                <a:close/>
                <a:moveTo>
                  <a:pt x="1397486" y="901153"/>
                </a:moveTo>
                <a:cubicBezTo>
                  <a:pt x="1420885" y="901698"/>
                  <a:pt x="1437755" y="917479"/>
                  <a:pt x="1438299" y="942511"/>
                </a:cubicBezTo>
                <a:cubicBezTo>
                  <a:pt x="1437210" y="966999"/>
                  <a:pt x="1420341" y="983324"/>
                  <a:pt x="1396941" y="983324"/>
                </a:cubicBezTo>
                <a:cubicBezTo>
                  <a:pt x="1371909" y="983324"/>
                  <a:pt x="1355584" y="963190"/>
                  <a:pt x="1356128" y="941967"/>
                </a:cubicBezTo>
                <a:cubicBezTo>
                  <a:pt x="1356128" y="919655"/>
                  <a:pt x="1373542" y="900609"/>
                  <a:pt x="1397486" y="901153"/>
                </a:cubicBezTo>
                <a:close/>
                <a:moveTo>
                  <a:pt x="1560738" y="898977"/>
                </a:moveTo>
                <a:cubicBezTo>
                  <a:pt x="1584138" y="899521"/>
                  <a:pt x="1603728" y="917479"/>
                  <a:pt x="1603728" y="942511"/>
                </a:cubicBezTo>
                <a:cubicBezTo>
                  <a:pt x="1603728" y="966999"/>
                  <a:pt x="1581961" y="985501"/>
                  <a:pt x="1560738" y="985501"/>
                </a:cubicBezTo>
                <a:cubicBezTo>
                  <a:pt x="1537883" y="985501"/>
                  <a:pt x="1516660" y="963734"/>
                  <a:pt x="1517204" y="941423"/>
                </a:cubicBezTo>
                <a:cubicBezTo>
                  <a:pt x="1517748" y="919656"/>
                  <a:pt x="1535706" y="898977"/>
                  <a:pt x="1560738" y="898977"/>
                </a:cubicBezTo>
                <a:close/>
                <a:moveTo>
                  <a:pt x="1723990" y="897888"/>
                </a:moveTo>
                <a:cubicBezTo>
                  <a:pt x="1747934" y="897888"/>
                  <a:pt x="1769701" y="919111"/>
                  <a:pt x="1768069" y="942510"/>
                </a:cubicBezTo>
                <a:cubicBezTo>
                  <a:pt x="1770245" y="965366"/>
                  <a:pt x="1746302" y="987133"/>
                  <a:pt x="1723990" y="986589"/>
                </a:cubicBezTo>
                <a:cubicBezTo>
                  <a:pt x="1701679" y="986589"/>
                  <a:pt x="1679912" y="964278"/>
                  <a:pt x="1679912" y="941422"/>
                </a:cubicBezTo>
                <a:cubicBezTo>
                  <a:pt x="1680456" y="919655"/>
                  <a:pt x="1700047" y="897888"/>
                  <a:pt x="1723990" y="897888"/>
                </a:cubicBezTo>
                <a:close/>
                <a:moveTo>
                  <a:pt x="2050497" y="897344"/>
                </a:moveTo>
                <a:lnTo>
                  <a:pt x="2051041" y="897453"/>
                </a:lnTo>
                <a:lnTo>
                  <a:pt x="2051041" y="986917"/>
                </a:lnTo>
                <a:lnTo>
                  <a:pt x="2049952" y="987133"/>
                </a:lnTo>
                <a:cubicBezTo>
                  <a:pt x="2026553" y="987133"/>
                  <a:pt x="2004786" y="965366"/>
                  <a:pt x="2005330" y="941422"/>
                </a:cubicBezTo>
                <a:cubicBezTo>
                  <a:pt x="2005874" y="918023"/>
                  <a:pt x="2026009" y="897344"/>
                  <a:pt x="2050497" y="897344"/>
                </a:cubicBezTo>
                <a:close/>
                <a:moveTo>
                  <a:pt x="1887243" y="897344"/>
                </a:moveTo>
                <a:cubicBezTo>
                  <a:pt x="1910099" y="897344"/>
                  <a:pt x="1931866" y="916390"/>
                  <a:pt x="1931866" y="942511"/>
                </a:cubicBezTo>
                <a:cubicBezTo>
                  <a:pt x="1931866" y="965910"/>
                  <a:pt x="1910099" y="986589"/>
                  <a:pt x="1887243" y="986589"/>
                </a:cubicBezTo>
                <a:cubicBezTo>
                  <a:pt x="1864932" y="987133"/>
                  <a:pt x="1839900" y="965910"/>
                  <a:pt x="1843165" y="941422"/>
                </a:cubicBezTo>
                <a:cubicBezTo>
                  <a:pt x="1840444" y="918567"/>
                  <a:pt x="1863299" y="897344"/>
                  <a:pt x="1887243" y="897344"/>
                </a:cubicBezTo>
                <a:close/>
                <a:moveTo>
                  <a:pt x="172545" y="854354"/>
                </a:moveTo>
                <a:cubicBezTo>
                  <a:pt x="176899" y="854354"/>
                  <a:pt x="179619" y="855442"/>
                  <a:pt x="179619" y="860884"/>
                </a:cubicBezTo>
                <a:cubicBezTo>
                  <a:pt x="180164" y="864693"/>
                  <a:pt x="177987" y="866870"/>
                  <a:pt x="173634" y="866870"/>
                </a:cubicBezTo>
                <a:cubicBezTo>
                  <a:pt x="169824" y="866870"/>
                  <a:pt x="166559" y="866870"/>
                  <a:pt x="166015" y="861973"/>
                </a:cubicBezTo>
                <a:cubicBezTo>
                  <a:pt x="165471" y="857075"/>
                  <a:pt x="167103" y="854354"/>
                  <a:pt x="172545" y="854354"/>
                </a:cubicBezTo>
                <a:close/>
                <a:moveTo>
                  <a:pt x="336342" y="843471"/>
                </a:moveTo>
                <a:cubicBezTo>
                  <a:pt x="346681" y="844015"/>
                  <a:pt x="353211" y="849457"/>
                  <a:pt x="353211" y="860340"/>
                </a:cubicBezTo>
                <a:cubicBezTo>
                  <a:pt x="353211" y="872312"/>
                  <a:pt x="348858" y="876665"/>
                  <a:pt x="336886" y="877210"/>
                </a:cubicBezTo>
                <a:cubicBezTo>
                  <a:pt x="324370" y="877210"/>
                  <a:pt x="320561" y="872856"/>
                  <a:pt x="320017" y="860884"/>
                </a:cubicBezTo>
                <a:cubicBezTo>
                  <a:pt x="319473" y="851089"/>
                  <a:pt x="327635" y="842927"/>
                  <a:pt x="336342" y="843471"/>
                </a:cubicBezTo>
                <a:close/>
                <a:moveTo>
                  <a:pt x="500139" y="837485"/>
                </a:moveTo>
                <a:cubicBezTo>
                  <a:pt x="514832" y="837485"/>
                  <a:pt x="522994" y="846735"/>
                  <a:pt x="522994" y="861428"/>
                </a:cubicBezTo>
                <a:cubicBezTo>
                  <a:pt x="522994" y="876121"/>
                  <a:pt x="513743" y="884284"/>
                  <a:pt x="499595" y="884284"/>
                </a:cubicBezTo>
                <a:cubicBezTo>
                  <a:pt x="485446" y="883740"/>
                  <a:pt x="475651" y="875033"/>
                  <a:pt x="476739" y="860340"/>
                </a:cubicBezTo>
                <a:cubicBezTo>
                  <a:pt x="476195" y="842926"/>
                  <a:pt x="489256" y="836940"/>
                  <a:pt x="500139" y="837485"/>
                </a:cubicBezTo>
                <a:close/>
                <a:moveTo>
                  <a:pt x="662848" y="832587"/>
                </a:moveTo>
                <a:cubicBezTo>
                  <a:pt x="677541" y="832587"/>
                  <a:pt x="691689" y="842926"/>
                  <a:pt x="690057" y="860340"/>
                </a:cubicBezTo>
                <a:cubicBezTo>
                  <a:pt x="691689" y="876121"/>
                  <a:pt x="679718" y="888637"/>
                  <a:pt x="662848" y="888637"/>
                </a:cubicBezTo>
                <a:cubicBezTo>
                  <a:pt x="644890" y="888637"/>
                  <a:pt x="634551" y="874489"/>
                  <a:pt x="634551" y="861428"/>
                </a:cubicBezTo>
                <a:cubicBezTo>
                  <a:pt x="634551" y="842926"/>
                  <a:pt x="647611" y="832587"/>
                  <a:pt x="662848" y="832587"/>
                </a:cubicBezTo>
                <a:close/>
                <a:moveTo>
                  <a:pt x="826101" y="827146"/>
                </a:moveTo>
                <a:cubicBezTo>
                  <a:pt x="840249" y="826602"/>
                  <a:pt x="859840" y="843471"/>
                  <a:pt x="859295" y="860885"/>
                </a:cubicBezTo>
                <a:cubicBezTo>
                  <a:pt x="858751" y="875033"/>
                  <a:pt x="844603" y="894624"/>
                  <a:pt x="825556" y="892991"/>
                </a:cubicBezTo>
                <a:cubicBezTo>
                  <a:pt x="808687" y="894079"/>
                  <a:pt x="793450" y="877754"/>
                  <a:pt x="793450" y="860885"/>
                </a:cubicBezTo>
                <a:cubicBezTo>
                  <a:pt x="793994" y="842927"/>
                  <a:pt x="808143" y="828234"/>
                  <a:pt x="826101" y="827146"/>
                </a:cubicBezTo>
                <a:close/>
                <a:moveTo>
                  <a:pt x="988809" y="824424"/>
                </a:moveTo>
                <a:cubicBezTo>
                  <a:pt x="1010576" y="825512"/>
                  <a:pt x="1024180" y="839661"/>
                  <a:pt x="1025813" y="860339"/>
                </a:cubicBezTo>
                <a:cubicBezTo>
                  <a:pt x="1026901" y="878842"/>
                  <a:pt x="1008399" y="896799"/>
                  <a:pt x="989897" y="897344"/>
                </a:cubicBezTo>
                <a:cubicBezTo>
                  <a:pt x="971939" y="897344"/>
                  <a:pt x="953982" y="880474"/>
                  <a:pt x="953437" y="861972"/>
                </a:cubicBezTo>
                <a:cubicBezTo>
                  <a:pt x="951805" y="842926"/>
                  <a:pt x="969763" y="824968"/>
                  <a:pt x="988809" y="824424"/>
                </a:cubicBezTo>
                <a:close/>
                <a:moveTo>
                  <a:pt x="1153695" y="821704"/>
                </a:moveTo>
                <a:cubicBezTo>
                  <a:pt x="1175462" y="822248"/>
                  <a:pt x="1191243" y="839118"/>
                  <a:pt x="1191243" y="861429"/>
                </a:cubicBezTo>
                <a:cubicBezTo>
                  <a:pt x="1193964" y="882107"/>
                  <a:pt x="1169476" y="900610"/>
                  <a:pt x="1152606" y="899521"/>
                </a:cubicBezTo>
                <a:cubicBezTo>
                  <a:pt x="1130839" y="898433"/>
                  <a:pt x="1114514" y="882107"/>
                  <a:pt x="1114514" y="859252"/>
                </a:cubicBezTo>
                <a:cubicBezTo>
                  <a:pt x="1115058" y="837485"/>
                  <a:pt x="1131928" y="821704"/>
                  <a:pt x="1153695" y="821704"/>
                </a:cubicBezTo>
                <a:close/>
                <a:moveTo>
                  <a:pt x="1316403" y="818982"/>
                </a:moveTo>
                <a:cubicBezTo>
                  <a:pt x="1341979" y="820071"/>
                  <a:pt x="1356128" y="838573"/>
                  <a:pt x="1357216" y="860884"/>
                </a:cubicBezTo>
                <a:cubicBezTo>
                  <a:pt x="1356128" y="884828"/>
                  <a:pt x="1337626" y="901697"/>
                  <a:pt x="1315315" y="901697"/>
                </a:cubicBezTo>
                <a:cubicBezTo>
                  <a:pt x="1293003" y="901697"/>
                  <a:pt x="1273957" y="884284"/>
                  <a:pt x="1274501" y="860340"/>
                </a:cubicBezTo>
                <a:cubicBezTo>
                  <a:pt x="1275046" y="835852"/>
                  <a:pt x="1291915" y="818438"/>
                  <a:pt x="1316403" y="818982"/>
                </a:cubicBezTo>
                <a:close/>
                <a:moveTo>
                  <a:pt x="1479112" y="816806"/>
                </a:moveTo>
                <a:cubicBezTo>
                  <a:pt x="1501423" y="816806"/>
                  <a:pt x="1523190" y="835852"/>
                  <a:pt x="1522646" y="860340"/>
                </a:cubicBezTo>
                <a:cubicBezTo>
                  <a:pt x="1523735" y="885372"/>
                  <a:pt x="1499791" y="904419"/>
                  <a:pt x="1479656" y="904419"/>
                </a:cubicBezTo>
                <a:cubicBezTo>
                  <a:pt x="1457889" y="904419"/>
                  <a:pt x="1436122" y="883740"/>
                  <a:pt x="1435578" y="860884"/>
                </a:cubicBezTo>
                <a:cubicBezTo>
                  <a:pt x="1435578" y="838573"/>
                  <a:pt x="1455713" y="816806"/>
                  <a:pt x="1479112" y="816806"/>
                </a:cubicBezTo>
                <a:close/>
                <a:moveTo>
                  <a:pt x="1642909" y="815718"/>
                </a:moveTo>
                <a:cubicBezTo>
                  <a:pt x="1665764" y="816262"/>
                  <a:pt x="1686987" y="835852"/>
                  <a:pt x="1686987" y="860885"/>
                </a:cubicBezTo>
                <a:cubicBezTo>
                  <a:pt x="1686987" y="884284"/>
                  <a:pt x="1666308" y="906051"/>
                  <a:pt x="1641276" y="905507"/>
                </a:cubicBezTo>
                <a:cubicBezTo>
                  <a:pt x="1619509" y="905507"/>
                  <a:pt x="1595021" y="884284"/>
                  <a:pt x="1597742" y="860340"/>
                </a:cubicBezTo>
                <a:cubicBezTo>
                  <a:pt x="1595021" y="836941"/>
                  <a:pt x="1619509" y="815174"/>
                  <a:pt x="1642909" y="815718"/>
                </a:cubicBezTo>
                <a:close/>
                <a:moveTo>
                  <a:pt x="1806161" y="815173"/>
                </a:moveTo>
                <a:cubicBezTo>
                  <a:pt x="1832282" y="815717"/>
                  <a:pt x="1854593" y="836396"/>
                  <a:pt x="1852416" y="860884"/>
                </a:cubicBezTo>
                <a:cubicBezTo>
                  <a:pt x="1850240" y="885372"/>
                  <a:pt x="1837179" y="906050"/>
                  <a:pt x="1805617" y="906594"/>
                </a:cubicBezTo>
                <a:cubicBezTo>
                  <a:pt x="1776776" y="906594"/>
                  <a:pt x="1759362" y="885916"/>
                  <a:pt x="1759906" y="860884"/>
                </a:cubicBezTo>
                <a:cubicBezTo>
                  <a:pt x="1759906" y="834219"/>
                  <a:pt x="1776776" y="815717"/>
                  <a:pt x="1806161" y="815173"/>
                </a:cubicBezTo>
                <a:close/>
                <a:moveTo>
                  <a:pt x="1968326" y="812453"/>
                </a:moveTo>
                <a:cubicBezTo>
                  <a:pt x="1979754" y="812453"/>
                  <a:pt x="1991726" y="817351"/>
                  <a:pt x="2000977" y="826057"/>
                </a:cubicBezTo>
                <a:cubicBezTo>
                  <a:pt x="2010772" y="835308"/>
                  <a:pt x="2016214" y="847280"/>
                  <a:pt x="2015670" y="859796"/>
                </a:cubicBezTo>
                <a:cubicBezTo>
                  <a:pt x="2014581" y="884828"/>
                  <a:pt x="2000977" y="904963"/>
                  <a:pt x="1969415" y="907684"/>
                </a:cubicBezTo>
                <a:cubicBezTo>
                  <a:pt x="1942206" y="906051"/>
                  <a:pt x="1923704" y="890270"/>
                  <a:pt x="1922071" y="860885"/>
                </a:cubicBezTo>
                <a:cubicBezTo>
                  <a:pt x="1920983" y="836397"/>
                  <a:pt x="1943294" y="812453"/>
                  <a:pt x="1968326" y="812453"/>
                </a:cubicBezTo>
                <a:close/>
                <a:moveTo>
                  <a:pt x="255260" y="762932"/>
                </a:moveTo>
                <a:cubicBezTo>
                  <a:pt x="261790" y="763476"/>
                  <a:pt x="271041" y="773271"/>
                  <a:pt x="270497" y="779802"/>
                </a:cubicBezTo>
                <a:cubicBezTo>
                  <a:pt x="270497" y="786332"/>
                  <a:pt x="261246" y="795038"/>
                  <a:pt x="254172" y="795038"/>
                </a:cubicBezTo>
                <a:cubicBezTo>
                  <a:pt x="246553" y="795038"/>
                  <a:pt x="238391" y="786332"/>
                  <a:pt x="238935" y="778713"/>
                </a:cubicBezTo>
                <a:cubicBezTo>
                  <a:pt x="239479" y="771095"/>
                  <a:pt x="248186" y="762388"/>
                  <a:pt x="255260" y="762932"/>
                </a:cubicBezTo>
                <a:close/>
                <a:moveTo>
                  <a:pt x="416881" y="756402"/>
                </a:moveTo>
                <a:cubicBezTo>
                  <a:pt x="430485" y="756402"/>
                  <a:pt x="439736" y="765109"/>
                  <a:pt x="440280" y="778713"/>
                </a:cubicBezTo>
                <a:cubicBezTo>
                  <a:pt x="440280" y="791229"/>
                  <a:pt x="431573" y="801024"/>
                  <a:pt x="419057" y="801024"/>
                </a:cubicBezTo>
                <a:cubicBezTo>
                  <a:pt x="405997" y="801569"/>
                  <a:pt x="396202" y="792317"/>
                  <a:pt x="396202" y="779257"/>
                </a:cubicBezTo>
                <a:cubicBezTo>
                  <a:pt x="396202" y="766741"/>
                  <a:pt x="404909" y="756946"/>
                  <a:pt x="416881" y="756402"/>
                </a:cubicBezTo>
                <a:close/>
                <a:moveTo>
                  <a:pt x="581766" y="751505"/>
                </a:moveTo>
                <a:cubicBezTo>
                  <a:pt x="598091" y="752594"/>
                  <a:pt x="607887" y="762933"/>
                  <a:pt x="608975" y="779802"/>
                </a:cubicBezTo>
                <a:cubicBezTo>
                  <a:pt x="608975" y="792318"/>
                  <a:pt x="596459" y="808644"/>
                  <a:pt x="580678" y="806467"/>
                </a:cubicBezTo>
                <a:cubicBezTo>
                  <a:pt x="565985" y="808100"/>
                  <a:pt x="553469" y="792318"/>
                  <a:pt x="553469" y="778714"/>
                </a:cubicBezTo>
                <a:cubicBezTo>
                  <a:pt x="553469" y="764021"/>
                  <a:pt x="567618" y="750417"/>
                  <a:pt x="581766" y="751505"/>
                </a:cubicBezTo>
                <a:close/>
                <a:moveTo>
                  <a:pt x="746107" y="746607"/>
                </a:moveTo>
                <a:cubicBezTo>
                  <a:pt x="762432" y="747695"/>
                  <a:pt x="778213" y="765653"/>
                  <a:pt x="777125" y="780346"/>
                </a:cubicBezTo>
                <a:cubicBezTo>
                  <a:pt x="776581" y="795038"/>
                  <a:pt x="762432" y="811908"/>
                  <a:pt x="742842" y="811364"/>
                </a:cubicBezTo>
                <a:cubicBezTo>
                  <a:pt x="725428" y="810276"/>
                  <a:pt x="712368" y="795583"/>
                  <a:pt x="712368" y="778713"/>
                </a:cubicBezTo>
                <a:cubicBezTo>
                  <a:pt x="712368" y="760755"/>
                  <a:pt x="730870" y="745519"/>
                  <a:pt x="746107" y="746607"/>
                </a:cubicBezTo>
                <a:close/>
                <a:moveTo>
                  <a:pt x="907727" y="741710"/>
                </a:moveTo>
                <a:cubicBezTo>
                  <a:pt x="925684" y="741710"/>
                  <a:pt x="944187" y="760756"/>
                  <a:pt x="944187" y="778714"/>
                </a:cubicBezTo>
                <a:cubicBezTo>
                  <a:pt x="944187" y="796672"/>
                  <a:pt x="926229" y="815174"/>
                  <a:pt x="907727" y="815174"/>
                </a:cubicBezTo>
                <a:cubicBezTo>
                  <a:pt x="889225" y="815174"/>
                  <a:pt x="872899" y="798848"/>
                  <a:pt x="872355" y="779258"/>
                </a:cubicBezTo>
                <a:cubicBezTo>
                  <a:pt x="871811" y="759668"/>
                  <a:pt x="888136" y="742254"/>
                  <a:pt x="907727" y="741710"/>
                </a:cubicBezTo>
                <a:close/>
                <a:moveTo>
                  <a:pt x="1070979" y="740621"/>
                </a:moveTo>
                <a:cubicBezTo>
                  <a:pt x="1091114" y="737357"/>
                  <a:pt x="1110704" y="761300"/>
                  <a:pt x="1110160" y="779258"/>
                </a:cubicBezTo>
                <a:cubicBezTo>
                  <a:pt x="1110160" y="798304"/>
                  <a:pt x="1089481" y="817894"/>
                  <a:pt x="1070979" y="817894"/>
                </a:cubicBezTo>
                <a:cubicBezTo>
                  <a:pt x="1049757" y="817894"/>
                  <a:pt x="1031255" y="797216"/>
                  <a:pt x="1031799" y="778714"/>
                </a:cubicBezTo>
                <a:cubicBezTo>
                  <a:pt x="1033431" y="756947"/>
                  <a:pt x="1049212" y="740621"/>
                  <a:pt x="1070979" y="740621"/>
                </a:cubicBezTo>
                <a:close/>
                <a:moveTo>
                  <a:pt x="1233688" y="736268"/>
                </a:moveTo>
                <a:cubicBezTo>
                  <a:pt x="1254367" y="735723"/>
                  <a:pt x="1276134" y="756402"/>
                  <a:pt x="1276134" y="777625"/>
                </a:cubicBezTo>
                <a:cubicBezTo>
                  <a:pt x="1276134" y="801025"/>
                  <a:pt x="1258720" y="819526"/>
                  <a:pt x="1235320" y="820615"/>
                </a:cubicBezTo>
                <a:cubicBezTo>
                  <a:pt x="1211377" y="821159"/>
                  <a:pt x="1193419" y="802657"/>
                  <a:pt x="1192331" y="779258"/>
                </a:cubicBezTo>
                <a:cubicBezTo>
                  <a:pt x="1190698" y="758579"/>
                  <a:pt x="1213009" y="736812"/>
                  <a:pt x="1233688" y="736268"/>
                </a:cubicBezTo>
                <a:close/>
                <a:moveTo>
                  <a:pt x="1397485" y="735724"/>
                </a:moveTo>
                <a:cubicBezTo>
                  <a:pt x="1421973" y="734091"/>
                  <a:pt x="1441564" y="757491"/>
                  <a:pt x="1441019" y="779802"/>
                </a:cubicBezTo>
                <a:cubicBezTo>
                  <a:pt x="1441019" y="803746"/>
                  <a:pt x="1418708" y="823336"/>
                  <a:pt x="1396397" y="823336"/>
                </a:cubicBezTo>
                <a:cubicBezTo>
                  <a:pt x="1374630" y="823336"/>
                  <a:pt x="1352863" y="802113"/>
                  <a:pt x="1352863" y="779258"/>
                </a:cubicBezTo>
                <a:cubicBezTo>
                  <a:pt x="1353407" y="758579"/>
                  <a:pt x="1372453" y="733547"/>
                  <a:pt x="1397485" y="735724"/>
                </a:cubicBezTo>
                <a:close/>
                <a:moveTo>
                  <a:pt x="1562371" y="734636"/>
                </a:moveTo>
                <a:cubicBezTo>
                  <a:pt x="1586314" y="732459"/>
                  <a:pt x="1605905" y="754226"/>
                  <a:pt x="1605905" y="779802"/>
                </a:cubicBezTo>
                <a:cubicBezTo>
                  <a:pt x="1605361" y="805923"/>
                  <a:pt x="1585226" y="823881"/>
                  <a:pt x="1560194" y="823881"/>
                </a:cubicBezTo>
                <a:cubicBezTo>
                  <a:pt x="1535706" y="823881"/>
                  <a:pt x="1515027" y="803202"/>
                  <a:pt x="1515572" y="777626"/>
                </a:cubicBezTo>
                <a:cubicBezTo>
                  <a:pt x="1516116" y="755859"/>
                  <a:pt x="1535162" y="731371"/>
                  <a:pt x="1562371" y="734636"/>
                </a:cubicBezTo>
                <a:close/>
                <a:moveTo>
                  <a:pt x="1724535" y="730827"/>
                </a:moveTo>
                <a:cubicBezTo>
                  <a:pt x="1748478" y="731371"/>
                  <a:pt x="1772422" y="755314"/>
                  <a:pt x="1772422" y="779258"/>
                </a:cubicBezTo>
                <a:cubicBezTo>
                  <a:pt x="1771878" y="804290"/>
                  <a:pt x="1748478" y="826602"/>
                  <a:pt x="1723446" y="826602"/>
                </a:cubicBezTo>
                <a:cubicBezTo>
                  <a:pt x="1696238" y="823881"/>
                  <a:pt x="1677736" y="807011"/>
                  <a:pt x="1676647" y="778714"/>
                </a:cubicBezTo>
                <a:cubicBezTo>
                  <a:pt x="1676103" y="753138"/>
                  <a:pt x="1699503" y="730282"/>
                  <a:pt x="1724535" y="730827"/>
                </a:cubicBezTo>
                <a:close/>
                <a:moveTo>
                  <a:pt x="1886699" y="730826"/>
                </a:moveTo>
                <a:cubicBezTo>
                  <a:pt x="1914452" y="730826"/>
                  <a:pt x="1934587" y="749872"/>
                  <a:pt x="1935131" y="778713"/>
                </a:cubicBezTo>
                <a:cubicBezTo>
                  <a:pt x="1936219" y="804834"/>
                  <a:pt x="1916085" y="826601"/>
                  <a:pt x="1887244" y="827145"/>
                </a:cubicBezTo>
                <a:cubicBezTo>
                  <a:pt x="1860579" y="826601"/>
                  <a:pt x="1838812" y="805922"/>
                  <a:pt x="1838812" y="778713"/>
                </a:cubicBezTo>
                <a:cubicBezTo>
                  <a:pt x="1839356" y="750416"/>
                  <a:pt x="1860035" y="730282"/>
                  <a:pt x="1886699" y="730826"/>
                </a:cubicBezTo>
                <a:close/>
                <a:moveTo>
                  <a:pt x="2050496" y="730282"/>
                </a:moveTo>
                <a:lnTo>
                  <a:pt x="2051041" y="730396"/>
                </a:lnTo>
                <a:lnTo>
                  <a:pt x="2051041" y="826942"/>
                </a:lnTo>
                <a:lnTo>
                  <a:pt x="2049952" y="827145"/>
                </a:lnTo>
                <a:cubicBezTo>
                  <a:pt x="2023832" y="827145"/>
                  <a:pt x="2001521" y="804290"/>
                  <a:pt x="2002065" y="778169"/>
                </a:cubicBezTo>
                <a:cubicBezTo>
                  <a:pt x="2002609" y="751505"/>
                  <a:pt x="2024376" y="730282"/>
                  <a:pt x="2050496" y="730282"/>
                </a:cubicBezTo>
                <a:close/>
                <a:moveTo>
                  <a:pt x="173634" y="685660"/>
                </a:moveTo>
                <a:cubicBezTo>
                  <a:pt x="181253" y="685660"/>
                  <a:pt x="185062" y="690013"/>
                  <a:pt x="184518" y="698176"/>
                </a:cubicBezTo>
                <a:cubicBezTo>
                  <a:pt x="183973" y="705250"/>
                  <a:pt x="180164" y="709059"/>
                  <a:pt x="172546" y="709059"/>
                </a:cubicBezTo>
                <a:cubicBezTo>
                  <a:pt x="164383" y="709059"/>
                  <a:pt x="160574" y="705250"/>
                  <a:pt x="161118" y="697088"/>
                </a:cubicBezTo>
                <a:cubicBezTo>
                  <a:pt x="161662" y="688925"/>
                  <a:pt x="164927" y="685660"/>
                  <a:pt x="173634" y="685660"/>
                </a:cubicBezTo>
                <a:close/>
                <a:moveTo>
                  <a:pt x="335798" y="675320"/>
                </a:moveTo>
                <a:cubicBezTo>
                  <a:pt x="345593" y="675320"/>
                  <a:pt x="357565" y="685115"/>
                  <a:pt x="357565" y="696543"/>
                </a:cubicBezTo>
                <a:cubicBezTo>
                  <a:pt x="357565" y="707426"/>
                  <a:pt x="346682" y="718854"/>
                  <a:pt x="336342" y="718854"/>
                </a:cubicBezTo>
                <a:cubicBezTo>
                  <a:pt x="327091" y="718854"/>
                  <a:pt x="315664" y="707426"/>
                  <a:pt x="315120" y="697631"/>
                </a:cubicBezTo>
                <a:cubicBezTo>
                  <a:pt x="314575" y="687292"/>
                  <a:pt x="325459" y="675864"/>
                  <a:pt x="335798" y="675320"/>
                </a:cubicBezTo>
                <a:close/>
                <a:moveTo>
                  <a:pt x="499051" y="670423"/>
                </a:moveTo>
                <a:cubicBezTo>
                  <a:pt x="512111" y="669335"/>
                  <a:pt x="526804" y="684027"/>
                  <a:pt x="526804" y="697088"/>
                </a:cubicBezTo>
                <a:cubicBezTo>
                  <a:pt x="526804" y="711236"/>
                  <a:pt x="513744" y="724296"/>
                  <a:pt x="499595" y="724296"/>
                </a:cubicBezTo>
                <a:cubicBezTo>
                  <a:pt x="486535" y="724296"/>
                  <a:pt x="472930" y="711236"/>
                  <a:pt x="472930" y="697632"/>
                </a:cubicBezTo>
                <a:cubicBezTo>
                  <a:pt x="472386" y="684027"/>
                  <a:pt x="485446" y="670423"/>
                  <a:pt x="499051" y="670423"/>
                </a:cubicBezTo>
                <a:close/>
                <a:moveTo>
                  <a:pt x="662848" y="665525"/>
                </a:moveTo>
                <a:cubicBezTo>
                  <a:pt x="678629" y="665525"/>
                  <a:pt x="694410" y="681306"/>
                  <a:pt x="694954" y="697087"/>
                </a:cubicBezTo>
                <a:cubicBezTo>
                  <a:pt x="695499" y="712868"/>
                  <a:pt x="679173" y="729194"/>
                  <a:pt x="663392" y="729194"/>
                </a:cubicBezTo>
                <a:cubicBezTo>
                  <a:pt x="647611" y="729194"/>
                  <a:pt x="632374" y="713957"/>
                  <a:pt x="632374" y="698176"/>
                </a:cubicBezTo>
                <a:cubicBezTo>
                  <a:pt x="631286" y="681850"/>
                  <a:pt x="647067" y="665525"/>
                  <a:pt x="662848" y="665525"/>
                </a:cubicBezTo>
                <a:close/>
                <a:moveTo>
                  <a:pt x="825013" y="663349"/>
                </a:moveTo>
                <a:cubicBezTo>
                  <a:pt x="844603" y="662260"/>
                  <a:pt x="861472" y="676953"/>
                  <a:pt x="860384" y="697632"/>
                </a:cubicBezTo>
                <a:cubicBezTo>
                  <a:pt x="861472" y="716134"/>
                  <a:pt x="846780" y="731915"/>
                  <a:pt x="826101" y="731915"/>
                </a:cubicBezTo>
                <a:cubicBezTo>
                  <a:pt x="806511" y="731915"/>
                  <a:pt x="791818" y="719399"/>
                  <a:pt x="791818" y="698176"/>
                </a:cubicBezTo>
                <a:cubicBezTo>
                  <a:pt x="791818" y="676409"/>
                  <a:pt x="805967" y="663893"/>
                  <a:pt x="825013" y="663349"/>
                </a:cubicBezTo>
                <a:close/>
                <a:moveTo>
                  <a:pt x="988809" y="658995"/>
                </a:moveTo>
                <a:cubicBezTo>
                  <a:pt x="1008400" y="657362"/>
                  <a:pt x="1028534" y="679129"/>
                  <a:pt x="1027446" y="697087"/>
                </a:cubicBezTo>
                <a:cubicBezTo>
                  <a:pt x="1026902" y="718310"/>
                  <a:pt x="1010576" y="735723"/>
                  <a:pt x="989353" y="735723"/>
                </a:cubicBezTo>
                <a:cubicBezTo>
                  <a:pt x="968675" y="735723"/>
                  <a:pt x="950717" y="718310"/>
                  <a:pt x="950717" y="697631"/>
                </a:cubicBezTo>
                <a:cubicBezTo>
                  <a:pt x="950717" y="676408"/>
                  <a:pt x="968131" y="660627"/>
                  <a:pt x="988809" y="658995"/>
                </a:cubicBezTo>
                <a:close/>
                <a:moveTo>
                  <a:pt x="1152607" y="655729"/>
                </a:moveTo>
                <a:cubicBezTo>
                  <a:pt x="1173829" y="654097"/>
                  <a:pt x="1194508" y="675864"/>
                  <a:pt x="1195052" y="697087"/>
                </a:cubicBezTo>
                <a:cubicBezTo>
                  <a:pt x="1195596" y="717766"/>
                  <a:pt x="1173829" y="739533"/>
                  <a:pt x="1153151" y="739533"/>
                </a:cubicBezTo>
                <a:cubicBezTo>
                  <a:pt x="1132472" y="740077"/>
                  <a:pt x="1110705" y="718310"/>
                  <a:pt x="1110705" y="697631"/>
                </a:cubicBezTo>
                <a:cubicBezTo>
                  <a:pt x="1112882" y="674231"/>
                  <a:pt x="1127574" y="657362"/>
                  <a:pt x="1152607" y="655729"/>
                </a:cubicBezTo>
                <a:close/>
                <a:moveTo>
                  <a:pt x="1316948" y="653554"/>
                </a:moveTo>
                <a:cubicBezTo>
                  <a:pt x="1340347" y="654098"/>
                  <a:pt x="1359937" y="674777"/>
                  <a:pt x="1359937" y="697632"/>
                </a:cubicBezTo>
                <a:cubicBezTo>
                  <a:pt x="1359937" y="718855"/>
                  <a:pt x="1339803" y="743343"/>
                  <a:pt x="1315315" y="740622"/>
                </a:cubicBezTo>
                <a:cubicBezTo>
                  <a:pt x="1293004" y="742799"/>
                  <a:pt x="1271237" y="718311"/>
                  <a:pt x="1271781" y="696544"/>
                </a:cubicBezTo>
                <a:cubicBezTo>
                  <a:pt x="1271781" y="675321"/>
                  <a:pt x="1292460" y="653010"/>
                  <a:pt x="1316948" y="653554"/>
                </a:cubicBezTo>
                <a:close/>
                <a:moveTo>
                  <a:pt x="1479112" y="651921"/>
                </a:moveTo>
                <a:cubicBezTo>
                  <a:pt x="1506321" y="651377"/>
                  <a:pt x="1524823" y="669335"/>
                  <a:pt x="1524823" y="697088"/>
                </a:cubicBezTo>
                <a:cubicBezTo>
                  <a:pt x="1524823" y="722664"/>
                  <a:pt x="1506865" y="743343"/>
                  <a:pt x="1479112" y="742254"/>
                </a:cubicBezTo>
                <a:cubicBezTo>
                  <a:pt x="1450815" y="743343"/>
                  <a:pt x="1433401" y="721031"/>
                  <a:pt x="1433945" y="697088"/>
                </a:cubicBezTo>
                <a:cubicBezTo>
                  <a:pt x="1434490" y="670423"/>
                  <a:pt x="1451903" y="652465"/>
                  <a:pt x="1479112" y="651921"/>
                </a:cubicBezTo>
                <a:close/>
                <a:moveTo>
                  <a:pt x="1642909" y="649744"/>
                </a:moveTo>
                <a:cubicBezTo>
                  <a:pt x="1671750" y="650288"/>
                  <a:pt x="1690252" y="668790"/>
                  <a:pt x="1690796" y="697087"/>
                </a:cubicBezTo>
                <a:cubicBezTo>
                  <a:pt x="1691340" y="723752"/>
                  <a:pt x="1672294" y="743342"/>
                  <a:pt x="1642909" y="745519"/>
                </a:cubicBezTo>
                <a:cubicBezTo>
                  <a:pt x="1614067" y="743887"/>
                  <a:pt x="1594477" y="725384"/>
                  <a:pt x="1594477" y="697632"/>
                </a:cubicBezTo>
                <a:cubicBezTo>
                  <a:pt x="1594477" y="668790"/>
                  <a:pt x="1614611" y="649200"/>
                  <a:pt x="1642909" y="649744"/>
                </a:cubicBezTo>
                <a:close/>
                <a:moveTo>
                  <a:pt x="1805617" y="648112"/>
                </a:moveTo>
                <a:cubicBezTo>
                  <a:pt x="1829561" y="648112"/>
                  <a:pt x="1857314" y="672055"/>
                  <a:pt x="1854593" y="698176"/>
                </a:cubicBezTo>
                <a:cubicBezTo>
                  <a:pt x="1856770" y="719399"/>
                  <a:pt x="1832826" y="747151"/>
                  <a:pt x="1805073" y="746607"/>
                </a:cubicBezTo>
                <a:cubicBezTo>
                  <a:pt x="1779497" y="746063"/>
                  <a:pt x="1756097" y="721575"/>
                  <a:pt x="1756097" y="697087"/>
                </a:cubicBezTo>
                <a:cubicBezTo>
                  <a:pt x="1756097" y="670423"/>
                  <a:pt x="1782218" y="647567"/>
                  <a:pt x="1805617" y="648112"/>
                </a:cubicBezTo>
                <a:close/>
                <a:moveTo>
                  <a:pt x="1969414" y="647023"/>
                </a:moveTo>
                <a:cubicBezTo>
                  <a:pt x="1992814" y="647023"/>
                  <a:pt x="2020567" y="672055"/>
                  <a:pt x="2018934" y="698176"/>
                </a:cubicBezTo>
                <a:cubicBezTo>
                  <a:pt x="2017302" y="725384"/>
                  <a:pt x="1996623" y="746063"/>
                  <a:pt x="1968326" y="746063"/>
                </a:cubicBezTo>
                <a:cubicBezTo>
                  <a:pt x="1941661" y="748784"/>
                  <a:pt x="1919350" y="721031"/>
                  <a:pt x="1918806" y="697087"/>
                </a:cubicBezTo>
                <a:cubicBezTo>
                  <a:pt x="1918806" y="669878"/>
                  <a:pt x="1945471" y="647023"/>
                  <a:pt x="1969414" y="647023"/>
                </a:cubicBezTo>
                <a:close/>
                <a:moveTo>
                  <a:pt x="90919" y="606754"/>
                </a:moveTo>
                <a:cubicBezTo>
                  <a:pt x="94728" y="608386"/>
                  <a:pt x="99626" y="612195"/>
                  <a:pt x="99626" y="615460"/>
                </a:cubicBezTo>
                <a:cubicBezTo>
                  <a:pt x="100170" y="618181"/>
                  <a:pt x="95816" y="621990"/>
                  <a:pt x="92007" y="627976"/>
                </a:cubicBezTo>
                <a:cubicBezTo>
                  <a:pt x="87654" y="623079"/>
                  <a:pt x="84389" y="619814"/>
                  <a:pt x="82756" y="616005"/>
                </a:cubicBezTo>
                <a:cubicBezTo>
                  <a:pt x="81668" y="613284"/>
                  <a:pt x="88198" y="605665"/>
                  <a:pt x="90919" y="606754"/>
                </a:cubicBezTo>
                <a:close/>
                <a:moveTo>
                  <a:pt x="254172" y="598047"/>
                </a:moveTo>
                <a:cubicBezTo>
                  <a:pt x="265599" y="597503"/>
                  <a:pt x="273218" y="606210"/>
                  <a:pt x="272674" y="614917"/>
                </a:cubicBezTo>
                <a:cubicBezTo>
                  <a:pt x="272674" y="625800"/>
                  <a:pt x="266688" y="632874"/>
                  <a:pt x="255260" y="633419"/>
                </a:cubicBezTo>
                <a:cubicBezTo>
                  <a:pt x="244376" y="633963"/>
                  <a:pt x="237302" y="626889"/>
                  <a:pt x="236758" y="616005"/>
                </a:cubicBezTo>
                <a:cubicBezTo>
                  <a:pt x="236758" y="605122"/>
                  <a:pt x="243832" y="598047"/>
                  <a:pt x="254172" y="598047"/>
                </a:cubicBezTo>
                <a:close/>
                <a:moveTo>
                  <a:pt x="418513" y="590429"/>
                </a:moveTo>
                <a:cubicBezTo>
                  <a:pt x="431029" y="590429"/>
                  <a:pt x="442457" y="601857"/>
                  <a:pt x="443001" y="614917"/>
                </a:cubicBezTo>
                <a:cubicBezTo>
                  <a:pt x="443545" y="627977"/>
                  <a:pt x="432118" y="640493"/>
                  <a:pt x="419058" y="640493"/>
                </a:cubicBezTo>
                <a:cubicBezTo>
                  <a:pt x="404365" y="640493"/>
                  <a:pt x="394570" y="630698"/>
                  <a:pt x="392937" y="616005"/>
                </a:cubicBezTo>
                <a:cubicBezTo>
                  <a:pt x="391849" y="604033"/>
                  <a:pt x="405997" y="590429"/>
                  <a:pt x="418513" y="590429"/>
                </a:cubicBezTo>
                <a:close/>
                <a:moveTo>
                  <a:pt x="581222" y="587163"/>
                </a:moveTo>
                <a:cubicBezTo>
                  <a:pt x="600812" y="588252"/>
                  <a:pt x="610063" y="598047"/>
                  <a:pt x="610063" y="616549"/>
                </a:cubicBezTo>
                <a:cubicBezTo>
                  <a:pt x="610063" y="634507"/>
                  <a:pt x="599179" y="644846"/>
                  <a:pt x="580677" y="645390"/>
                </a:cubicBezTo>
                <a:cubicBezTo>
                  <a:pt x="565440" y="644846"/>
                  <a:pt x="551836" y="634507"/>
                  <a:pt x="551836" y="615461"/>
                </a:cubicBezTo>
                <a:cubicBezTo>
                  <a:pt x="551836" y="594782"/>
                  <a:pt x="567073" y="586075"/>
                  <a:pt x="581222" y="587163"/>
                </a:cubicBezTo>
                <a:close/>
                <a:moveTo>
                  <a:pt x="743930" y="582266"/>
                </a:moveTo>
                <a:cubicBezTo>
                  <a:pt x="761344" y="581178"/>
                  <a:pt x="779301" y="599136"/>
                  <a:pt x="779301" y="616005"/>
                </a:cubicBezTo>
                <a:cubicBezTo>
                  <a:pt x="779301" y="632874"/>
                  <a:pt x="762976" y="649744"/>
                  <a:pt x="745563" y="649744"/>
                </a:cubicBezTo>
                <a:cubicBezTo>
                  <a:pt x="728149" y="649200"/>
                  <a:pt x="710191" y="635595"/>
                  <a:pt x="711824" y="616549"/>
                </a:cubicBezTo>
                <a:cubicBezTo>
                  <a:pt x="711824" y="596415"/>
                  <a:pt x="724340" y="583355"/>
                  <a:pt x="743930" y="582266"/>
                </a:cubicBezTo>
                <a:close/>
                <a:moveTo>
                  <a:pt x="907183" y="577913"/>
                </a:moveTo>
                <a:cubicBezTo>
                  <a:pt x="927318" y="576825"/>
                  <a:pt x="947452" y="598592"/>
                  <a:pt x="945276" y="615461"/>
                </a:cubicBezTo>
                <a:cubicBezTo>
                  <a:pt x="945276" y="635596"/>
                  <a:pt x="927318" y="653554"/>
                  <a:pt x="907727" y="654098"/>
                </a:cubicBezTo>
                <a:cubicBezTo>
                  <a:pt x="890314" y="654642"/>
                  <a:pt x="869091" y="635052"/>
                  <a:pt x="869091" y="616006"/>
                </a:cubicBezTo>
                <a:cubicBezTo>
                  <a:pt x="869635" y="595871"/>
                  <a:pt x="887049" y="578457"/>
                  <a:pt x="907183" y="577913"/>
                </a:cubicBezTo>
                <a:close/>
                <a:moveTo>
                  <a:pt x="1069891" y="574648"/>
                </a:moveTo>
                <a:cubicBezTo>
                  <a:pt x="1092202" y="574648"/>
                  <a:pt x="1111793" y="589885"/>
                  <a:pt x="1111248" y="615461"/>
                </a:cubicBezTo>
                <a:cubicBezTo>
                  <a:pt x="1111793" y="639405"/>
                  <a:pt x="1093835" y="656274"/>
                  <a:pt x="1070435" y="656274"/>
                </a:cubicBezTo>
                <a:cubicBezTo>
                  <a:pt x="1045403" y="656274"/>
                  <a:pt x="1029622" y="635052"/>
                  <a:pt x="1029622" y="614917"/>
                </a:cubicBezTo>
                <a:cubicBezTo>
                  <a:pt x="1030166" y="593150"/>
                  <a:pt x="1046491" y="574648"/>
                  <a:pt x="1069891" y="574648"/>
                </a:cubicBezTo>
                <a:close/>
                <a:moveTo>
                  <a:pt x="1235321" y="572472"/>
                </a:moveTo>
                <a:cubicBezTo>
                  <a:pt x="1256543" y="572472"/>
                  <a:pt x="1279399" y="590973"/>
                  <a:pt x="1277222" y="616550"/>
                </a:cubicBezTo>
                <a:cubicBezTo>
                  <a:pt x="1278855" y="639949"/>
                  <a:pt x="1255455" y="660084"/>
                  <a:pt x="1233688" y="660084"/>
                </a:cubicBezTo>
                <a:cubicBezTo>
                  <a:pt x="1211377" y="660084"/>
                  <a:pt x="1189610" y="637773"/>
                  <a:pt x="1190154" y="614917"/>
                </a:cubicBezTo>
                <a:cubicBezTo>
                  <a:pt x="1190698" y="594783"/>
                  <a:pt x="1209200" y="571927"/>
                  <a:pt x="1235321" y="572472"/>
                </a:cubicBezTo>
                <a:close/>
                <a:moveTo>
                  <a:pt x="1397485" y="569206"/>
                </a:moveTo>
                <a:cubicBezTo>
                  <a:pt x="1423606" y="569750"/>
                  <a:pt x="1443196" y="587708"/>
                  <a:pt x="1443196" y="616005"/>
                </a:cubicBezTo>
                <a:cubicBezTo>
                  <a:pt x="1443196" y="642670"/>
                  <a:pt x="1424150" y="661716"/>
                  <a:pt x="1396941" y="661172"/>
                </a:cubicBezTo>
                <a:cubicBezTo>
                  <a:pt x="1369188" y="661172"/>
                  <a:pt x="1350686" y="638860"/>
                  <a:pt x="1351775" y="614373"/>
                </a:cubicBezTo>
                <a:cubicBezTo>
                  <a:pt x="1352319" y="587164"/>
                  <a:pt x="1371365" y="569206"/>
                  <a:pt x="1397485" y="569206"/>
                </a:cubicBezTo>
                <a:close/>
                <a:moveTo>
                  <a:pt x="1560738" y="567029"/>
                </a:moveTo>
                <a:cubicBezTo>
                  <a:pt x="1586859" y="567029"/>
                  <a:pt x="1608082" y="587708"/>
                  <a:pt x="1609714" y="615461"/>
                </a:cubicBezTo>
                <a:cubicBezTo>
                  <a:pt x="1608082" y="641581"/>
                  <a:pt x="1589580" y="663892"/>
                  <a:pt x="1561283" y="663892"/>
                </a:cubicBezTo>
                <a:cubicBezTo>
                  <a:pt x="1534074" y="663892"/>
                  <a:pt x="1512851" y="642669"/>
                  <a:pt x="1512851" y="616005"/>
                </a:cubicBezTo>
                <a:cubicBezTo>
                  <a:pt x="1512851" y="587163"/>
                  <a:pt x="1535706" y="567029"/>
                  <a:pt x="1560738" y="567029"/>
                </a:cubicBezTo>
                <a:close/>
                <a:moveTo>
                  <a:pt x="1725624" y="565397"/>
                </a:moveTo>
                <a:cubicBezTo>
                  <a:pt x="1747935" y="565941"/>
                  <a:pt x="1775144" y="590429"/>
                  <a:pt x="1774599" y="616005"/>
                </a:cubicBezTo>
                <a:cubicBezTo>
                  <a:pt x="1774055" y="638317"/>
                  <a:pt x="1751744" y="668246"/>
                  <a:pt x="1723447" y="664981"/>
                </a:cubicBezTo>
                <a:cubicBezTo>
                  <a:pt x="1700592" y="667158"/>
                  <a:pt x="1674471" y="643758"/>
                  <a:pt x="1674471" y="615461"/>
                </a:cubicBezTo>
                <a:cubicBezTo>
                  <a:pt x="1674471" y="588797"/>
                  <a:pt x="1700592" y="565397"/>
                  <a:pt x="1725624" y="565397"/>
                </a:cubicBezTo>
                <a:close/>
                <a:moveTo>
                  <a:pt x="1886699" y="564853"/>
                </a:moveTo>
                <a:cubicBezTo>
                  <a:pt x="1914996" y="564309"/>
                  <a:pt x="1938396" y="589341"/>
                  <a:pt x="1938396" y="614917"/>
                </a:cubicBezTo>
                <a:cubicBezTo>
                  <a:pt x="1938396" y="640493"/>
                  <a:pt x="1917717" y="667702"/>
                  <a:pt x="1887787" y="665525"/>
                </a:cubicBezTo>
                <a:cubicBezTo>
                  <a:pt x="1860034" y="667702"/>
                  <a:pt x="1837723" y="644302"/>
                  <a:pt x="1837179" y="615461"/>
                </a:cubicBezTo>
                <a:cubicBezTo>
                  <a:pt x="1837179" y="586620"/>
                  <a:pt x="1861667" y="565397"/>
                  <a:pt x="1886699" y="564853"/>
                </a:cubicBezTo>
                <a:close/>
                <a:moveTo>
                  <a:pt x="2050496" y="564852"/>
                </a:moveTo>
                <a:lnTo>
                  <a:pt x="2051041" y="564962"/>
                </a:lnTo>
                <a:lnTo>
                  <a:pt x="2051041" y="665899"/>
                </a:lnTo>
                <a:lnTo>
                  <a:pt x="2049952" y="666069"/>
                </a:lnTo>
                <a:cubicBezTo>
                  <a:pt x="2018934" y="667157"/>
                  <a:pt x="1999344" y="642669"/>
                  <a:pt x="1999344" y="615460"/>
                </a:cubicBezTo>
                <a:cubicBezTo>
                  <a:pt x="1999344" y="587163"/>
                  <a:pt x="2021655" y="564852"/>
                  <a:pt x="2050496" y="564852"/>
                </a:cubicBezTo>
                <a:close/>
                <a:moveTo>
                  <a:pt x="173090" y="517509"/>
                </a:moveTo>
                <a:cubicBezTo>
                  <a:pt x="181252" y="517509"/>
                  <a:pt x="189415" y="525672"/>
                  <a:pt x="189959" y="533834"/>
                </a:cubicBezTo>
                <a:cubicBezTo>
                  <a:pt x="189959" y="542541"/>
                  <a:pt x="182341" y="550160"/>
                  <a:pt x="173634" y="550160"/>
                </a:cubicBezTo>
                <a:cubicBezTo>
                  <a:pt x="165471" y="550160"/>
                  <a:pt x="157853" y="543085"/>
                  <a:pt x="157308" y="534923"/>
                </a:cubicBezTo>
                <a:cubicBezTo>
                  <a:pt x="156764" y="526216"/>
                  <a:pt x="164383" y="518053"/>
                  <a:pt x="173090" y="517509"/>
                </a:cubicBezTo>
                <a:close/>
                <a:moveTo>
                  <a:pt x="335798" y="511523"/>
                </a:moveTo>
                <a:cubicBezTo>
                  <a:pt x="349947" y="512067"/>
                  <a:pt x="357565" y="519686"/>
                  <a:pt x="358654" y="533834"/>
                </a:cubicBezTo>
                <a:cubicBezTo>
                  <a:pt x="359742" y="547439"/>
                  <a:pt x="348314" y="557778"/>
                  <a:pt x="336343" y="556689"/>
                </a:cubicBezTo>
                <a:cubicBezTo>
                  <a:pt x="324371" y="558322"/>
                  <a:pt x="312943" y="545806"/>
                  <a:pt x="312943" y="534378"/>
                </a:cubicBezTo>
                <a:cubicBezTo>
                  <a:pt x="312943" y="522951"/>
                  <a:pt x="322738" y="510979"/>
                  <a:pt x="335798" y="511523"/>
                </a:cubicBezTo>
                <a:close/>
                <a:moveTo>
                  <a:pt x="500139" y="506626"/>
                </a:moveTo>
                <a:cubicBezTo>
                  <a:pt x="517553" y="507170"/>
                  <a:pt x="527892" y="517509"/>
                  <a:pt x="527348" y="535467"/>
                </a:cubicBezTo>
                <a:cubicBezTo>
                  <a:pt x="526804" y="552880"/>
                  <a:pt x="515920" y="562131"/>
                  <a:pt x="497963" y="561587"/>
                </a:cubicBezTo>
                <a:cubicBezTo>
                  <a:pt x="481093" y="561043"/>
                  <a:pt x="472386" y="550704"/>
                  <a:pt x="471842" y="533290"/>
                </a:cubicBezTo>
                <a:cubicBezTo>
                  <a:pt x="471298" y="516965"/>
                  <a:pt x="485447" y="506081"/>
                  <a:pt x="500139" y="506626"/>
                </a:cubicBezTo>
                <a:close/>
                <a:moveTo>
                  <a:pt x="662304" y="500639"/>
                </a:moveTo>
                <a:cubicBezTo>
                  <a:pt x="677540" y="497919"/>
                  <a:pt x="696587" y="518597"/>
                  <a:pt x="696042" y="533290"/>
                </a:cubicBezTo>
                <a:cubicBezTo>
                  <a:pt x="694954" y="551792"/>
                  <a:pt x="681894" y="565396"/>
                  <a:pt x="663392" y="566485"/>
                </a:cubicBezTo>
                <a:cubicBezTo>
                  <a:pt x="643802" y="567573"/>
                  <a:pt x="629653" y="549615"/>
                  <a:pt x="630197" y="534378"/>
                </a:cubicBezTo>
                <a:cubicBezTo>
                  <a:pt x="630741" y="515876"/>
                  <a:pt x="644346" y="501184"/>
                  <a:pt x="662304" y="500639"/>
                </a:cubicBezTo>
                <a:close/>
                <a:moveTo>
                  <a:pt x="825557" y="496830"/>
                </a:moveTo>
                <a:cubicBezTo>
                  <a:pt x="846780" y="496286"/>
                  <a:pt x="862561" y="513700"/>
                  <a:pt x="863649" y="534923"/>
                </a:cubicBezTo>
                <a:cubicBezTo>
                  <a:pt x="862017" y="556690"/>
                  <a:pt x="845147" y="571927"/>
                  <a:pt x="825557" y="571383"/>
                </a:cubicBezTo>
                <a:cubicBezTo>
                  <a:pt x="805422" y="570838"/>
                  <a:pt x="788553" y="555057"/>
                  <a:pt x="788553" y="534379"/>
                </a:cubicBezTo>
                <a:cubicBezTo>
                  <a:pt x="788553" y="514244"/>
                  <a:pt x="804334" y="497375"/>
                  <a:pt x="825557" y="496830"/>
                </a:cubicBezTo>
                <a:close/>
                <a:moveTo>
                  <a:pt x="989898" y="494110"/>
                </a:moveTo>
                <a:cubicBezTo>
                  <a:pt x="1012209" y="494654"/>
                  <a:pt x="1029622" y="513156"/>
                  <a:pt x="1029078" y="534923"/>
                </a:cubicBezTo>
                <a:cubicBezTo>
                  <a:pt x="1028534" y="556146"/>
                  <a:pt x="1010576" y="574104"/>
                  <a:pt x="989353" y="574104"/>
                </a:cubicBezTo>
                <a:cubicBezTo>
                  <a:pt x="969763" y="574648"/>
                  <a:pt x="947452" y="556690"/>
                  <a:pt x="949629" y="533835"/>
                </a:cubicBezTo>
                <a:cubicBezTo>
                  <a:pt x="947996" y="512068"/>
                  <a:pt x="968675" y="494110"/>
                  <a:pt x="989898" y="494110"/>
                </a:cubicBezTo>
                <a:close/>
                <a:moveTo>
                  <a:pt x="1152062" y="490301"/>
                </a:moveTo>
                <a:cubicBezTo>
                  <a:pt x="1174917" y="490301"/>
                  <a:pt x="1196140" y="509347"/>
                  <a:pt x="1196140" y="533835"/>
                </a:cubicBezTo>
                <a:cubicBezTo>
                  <a:pt x="1197228" y="558867"/>
                  <a:pt x="1173829" y="577913"/>
                  <a:pt x="1152606" y="577369"/>
                </a:cubicBezTo>
                <a:cubicBezTo>
                  <a:pt x="1130839" y="577369"/>
                  <a:pt x="1109616" y="556690"/>
                  <a:pt x="1109072" y="534379"/>
                </a:cubicBezTo>
                <a:cubicBezTo>
                  <a:pt x="1108528" y="510980"/>
                  <a:pt x="1128662" y="490301"/>
                  <a:pt x="1152062" y="490301"/>
                </a:cubicBezTo>
                <a:close/>
                <a:moveTo>
                  <a:pt x="1316947" y="489212"/>
                </a:moveTo>
                <a:cubicBezTo>
                  <a:pt x="1343612" y="489756"/>
                  <a:pt x="1361570" y="510435"/>
                  <a:pt x="1361570" y="534923"/>
                </a:cubicBezTo>
                <a:cubicBezTo>
                  <a:pt x="1361570" y="560499"/>
                  <a:pt x="1341980" y="580090"/>
                  <a:pt x="1315859" y="580090"/>
                </a:cubicBezTo>
                <a:cubicBezTo>
                  <a:pt x="1291915" y="580090"/>
                  <a:pt x="1269060" y="560499"/>
                  <a:pt x="1270693" y="533835"/>
                </a:cubicBezTo>
                <a:cubicBezTo>
                  <a:pt x="1269604" y="508258"/>
                  <a:pt x="1291371" y="488124"/>
                  <a:pt x="1316947" y="489212"/>
                </a:cubicBezTo>
                <a:close/>
                <a:moveTo>
                  <a:pt x="1479112" y="484315"/>
                </a:moveTo>
                <a:cubicBezTo>
                  <a:pt x="1503599" y="484315"/>
                  <a:pt x="1528087" y="508259"/>
                  <a:pt x="1528087" y="533835"/>
                </a:cubicBezTo>
                <a:cubicBezTo>
                  <a:pt x="1528087" y="558867"/>
                  <a:pt x="1506865" y="582267"/>
                  <a:pt x="1479656" y="582267"/>
                </a:cubicBezTo>
                <a:cubicBezTo>
                  <a:pt x="1453535" y="582267"/>
                  <a:pt x="1431224" y="560500"/>
                  <a:pt x="1431224" y="533835"/>
                </a:cubicBezTo>
                <a:cubicBezTo>
                  <a:pt x="1430680" y="506626"/>
                  <a:pt x="1454624" y="485403"/>
                  <a:pt x="1479112" y="484315"/>
                </a:cubicBezTo>
                <a:close/>
                <a:moveTo>
                  <a:pt x="1643452" y="484314"/>
                </a:moveTo>
                <a:cubicBezTo>
                  <a:pt x="1667396" y="481049"/>
                  <a:pt x="1693517" y="509891"/>
                  <a:pt x="1692973" y="534923"/>
                </a:cubicBezTo>
                <a:cubicBezTo>
                  <a:pt x="1692428" y="558867"/>
                  <a:pt x="1669573" y="584987"/>
                  <a:pt x="1641276" y="583898"/>
                </a:cubicBezTo>
                <a:cubicBezTo>
                  <a:pt x="1616788" y="583354"/>
                  <a:pt x="1592300" y="562676"/>
                  <a:pt x="1592300" y="532202"/>
                </a:cubicBezTo>
                <a:cubicBezTo>
                  <a:pt x="1592300" y="509891"/>
                  <a:pt x="1615155" y="481049"/>
                  <a:pt x="1643452" y="484314"/>
                </a:cubicBezTo>
                <a:close/>
                <a:moveTo>
                  <a:pt x="1806162" y="481594"/>
                </a:moveTo>
                <a:cubicBezTo>
                  <a:pt x="1839901" y="484859"/>
                  <a:pt x="1858947" y="504993"/>
                  <a:pt x="1857858" y="536011"/>
                </a:cubicBezTo>
                <a:cubicBezTo>
                  <a:pt x="1855682" y="568662"/>
                  <a:pt x="1834459" y="584987"/>
                  <a:pt x="1803441" y="586075"/>
                </a:cubicBezTo>
                <a:cubicBezTo>
                  <a:pt x="1775144" y="584443"/>
                  <a:pt x="1751744" y="559955"/>
                  <a:pt x="1753377" y="533290"/>
                </a:cubicBezTo>
                <a:cubicBezTo>
                  <a:pt x="1755009" y="504993"/>
                  <a:pt x="1780041" y="479417"/>
                  <a:pt x="1806162" y="481594"/>
                </a:cubicBezTo>
                <a:close/>
                <a:moveTo>
                  <a:pt x="1968326" y="480505"/>
                </a:moveTo>
                <a:cubicBezTo>
                  <a:pt x="1998256" y="483226"/>
                  <a:pt x="2020023" y="501728"/>
                  <a:pt x="2022200" y="534379"/>
                </a:cubicBezTo>
                <a:cubicBezTo>
                  <a:pt x="2023832" y="560499"/>
                  <a:pt x="1996079" y="588252"/>
                  <a:pt x="1969415" y="588252"/>
                </a:cubicBezTo>
                <a:cubicBezTo>
                  <a:pt x="1943294" y="588796"/>
                  <a:pt x="1916085" y="561587"/>
                  <a:pt x="1915541" y="534923"/>
                </a:cubicBezTo>
                <a:cubicBezTo>
                  <a:pt x="1914453" y="508258"/>
                  <a:pt x="1941117" y="480505"/>
                  <a:pt x="1968326" y="480505"/>
                </a:cubicBezTo>
                <a:close/>
                <a:moveTo>
                  <a:pt x="91464" y="440780"/>
                </a:moveTo>
                <a:cubicBezTo>
                  <a:pt x="99082" y="440780"/>
                  <a:pt x="102347" y="443501"/>
                  <a:pt x="102891" y="451664"/>
                </a:cubicBezTo>
                <a:cubicBezTo>
                  <a:pt x="102891" y="460915"/>
                  <a:pt x="100171" y="464179"/>
                  <a:pt x="92008" y="464179"/>
                </a:cubicBezTo>
                <a:cubicBezTo>
                  <a:pt x="83301" y="464179"/>
                  <a:pt x="80036" y="461459"/>
                  <a:pt x="80036" y="452752"/>
                </a:cubicBezTo>
                <a:cubicBezTo>
                  <a:pt x="80036" y="444045"/>
                  <a:pt x="83301" y="440780"/>
                  <a:pt x="91464" y="440780"/>
                </a:cubicBezTo>
                <a:close/>
                <a:moveTo>
                  <a:pt x="254172" y="430441"/>
                </a:moveTo>
                <a:cubicBezTo>
                  <a:pt x="263967" y="430441"/>
                  <a:pt x="276483" y="440236"/>
                  <a:pt x="275939" y="452208"/>
                </a:cubicBezTo>
                <a:cubicBezTo>
                  <a:pt x="275939" y="463092"/>
                  <a:pt x="265600" y="473975"/>
                  <a:pt x="254716" y="473975"/>
                </a:cubicBezTo>
                <a:cubicBezTo>
                  <a:pt x="244377" y="473975"/>
                  <a:pt x="232949" y="463092"/>
                  <a:pt x="232405" y="452752"/>
                </a:cubicBezTo>
                <a:cubicBezTo>
                  <a:pt x="232405" y="442413"/>
                  <a:pt x="243833" y="430985"/>
                  <a:pt x="254172" y="430441"/>
                </a:cubicBezTo>
                <a:close/>
                <a:moveTo>
                  <a:pt x="417969" y="424999"/>
                </a:moveTo>
                <a:cubicBezTo>
                  <a:pt x="432118" y="424999"/>
                  <a:pt x="444634" y="438059"/>
                  <a:pt x="444634" y="452752"/>
                </a:cubicBezTo>
                <a:cubicBezTo>
                  <a:pt x="445178" y="464180"/>
                  <a:pt x="432662" y="481049"/>
                  <a:pt x="417425" y="479417"/>
                </a:cubicBezTo>
                <a:cubicBezTo>
                  <a:pt x="405453" y="481049"/>
                  <a:pt x="389672" y="465268"/>
                  <a:pt x="390760" y="452208"/>
                </a:cubicBezTo>
                <a:cubicBezTo>
                  <a:pt x="391849" y="437515"/>
                  <a:pt x="403276" y="424999"/>
                  <a:pt x="417969" y="424999"/>
                </a:cubicBezTo>
                <a:close/>
                <a:moveTo>
                  <a:pt x="580677" y="419558"/>
                </a:moveTo>
                <a:cubicBezTo>
                  <a:pt x="596458" y="419013"/>
                  <a:pt x="612783" y="434795"/>
                  <a:pt x="612783" y="452208"/>
                </a:cubicBezTo>
                <a:cubicBezTo>
                  <a:pt x="612783" y="469622"/>
                  <a:pt x="599723" y="483226"/>
                  <a:pt x="581221" y="484315"/>
                </a:cubicBezTo>
                <a:cubicBezTo>
                  <a:pt x="561087" y="482138"/>
                  <a:pt x="549659" y="470710"/>
                  <a:pt x="549115" y="452208"/>
                </a:cubicBezTo>
                <a:cubicBezTo>
                  <a:pt x="548571" y="433162"/>
                  <a:pt x="564352" y="420102"/>
                  <a:pt x="580677" y="419558"/>
                </a:cubicBezTo>
                <a:close/>
                <a:moveTo>
                  <a:pt x="743931" y="415748"/>
                </a:moveTo>
                <a:cubicBezTo>
                  <a:pt x="761888" y="414660"/>
                  <a:pt x="779846" y="432618"/>
                  <a:pt x="780390" y="452208"/>
                </a:cubicBezTo>
                <a:cubicBezTo>
                  <a:pt x="780934" y="471254"/>
                  <a:pt x="764065" y="488668"/>
                  <a:pt x="744475" y="489212"/>
                </a:cubicBezTo>
                <a:cubicBezTo>
                  <a:pt x="727061" y="489212"/>
                  <a:pt x="709103" y="472342"/>
                  <a:pt x="708559" y="453840"/>
                </a:cubicBezTo>
                <a:cubicBezTo>
                  <a:pt x="707471" y="435883"/>
                  <a:pt x="725428" y="416836"/>
                  <a:pt x="743931" y="415748"/>
                </a:cubicBezTo>
                <a:close/>
                <a:moveTo>
                  <a:pt x="908271" y="414116"/>
                </a:moveTo>
                <a:cubicBezTo>
                  <a:pt x="927861" y="411395"/>
                  <a:pt x="946907" y="431529"/>
                  <a:pt x="946363" y="453296"/>
                </a:cubicBezTo>
                <a:cubicBezTo>
                  <a:pt x="946363" y="473975"/>
                  <a:pt x="927317" y="491933"/>
                  <a:pt x="906638" y="491933"/>
                </a:cubicBezTo>
                <a:cubicBezTo>
                  <a:pt x="887048" y="491933"/>
                  <a:pt x="866913" y="473431"/>
                  <a:pt x="868546" y="452208"/>
                </a:cubicBezTo>
                <a:cubicBezTo>
                  <a:pt x="870179" y="428808"/>
                  <a:pt x="884871" y="413571"/>
                  <a:pt x="908271" y="414116"/>
                </a:cubicBezTo>
                <a:close/>
                <a:moveTo>
                  <a:pt x="1072068" y="409218"/>
                </a:moveTo>
                <a:cubicBezTo>
                  <a:pt x="1097100" y="410307"/>
                  <a:pt x="1113970" y="427720"/>
                  <a:pt x="1113970" y="452752"/>
                </a:cubicBezTo>
                <a:cubicBezTo>
                  <a:pt x="1113970" y="478329"/>
                  <a:pt x="1092203" y="495198"/>
                  <a:pt x="1070436" y="495198"/>
                </a:cubicBezTo>
                <a:cubicBezTo>
                  <a:pt x="1048124" y="494654"/>
                  <a:pt x="1027446" y="475063"/>
                  <a:pt x="1028534" y="451120"/>
                </a:cubicBezTo>
                <a:cubicBezTo>
                  <a:pt x="1029622" y="427720"/>
                  <a:pt x="1048669" y="408130"/>
                  <a:pt x="1072068" y="409218"/>
                </a:cubicBezTo>
                <a:close/>
                <a:moveTo>
                  <a:pt x="1235865" y="408130"/>
                </a:moveTo>
                <a:cubicBezTo>
                  <a:pt x="1258721" y="405953"/>
                  <a:pt x="1279400" y="427176"/>
                  <a:pt x="1279400" y="453296"/>
                </a:cubicBezTo>
                <a:cubicBezTo>
                  <a:pt x="1278855" y="478328"/>
                  <a:pt x="1258177" y="497374"/>
                  <a:pt x="1233689" y="497374"/>
                </a:cubicBezTo>
                <a:cubicBezTo>
                  <a:pt x="1209745" y="496830"/>
                  <a:pt x="1189066" y="476151"/>
                  <a:pt x="1189611" y="451664"/>
                </a:cubicBezTo>
                <a:cubicBezTo>
                  <a:pt x="1189611" y="429352"/>
                  <a:pt x="1209201" y="404864"/>
                  <a:pt x="1235865" y="408130"/>
                </a:cubicBezTo>
                <a:close/>
                <a:moveTo>
                  <a:pt x="1396941" y="403776"/>
                </a:moveTo>
                <a:cubicBezTo>
                  <a:pt x="1425238" y="403232"/>
                  <a:pt x="1445373" y="423911"/>
                  <a:pt x="1446461" y="450575"/>
                </a:cubicBezTo>
                <a:cubicBezTo>
                  <a:pt x="1447005" y="476696"/>
                  <a:pt x="1426327" y="500096"/>
                  <a:pt x="1399118" y="500640"/>
                </a:cubicBezTo>
                <a:cubicBezTo>
                  <a:pt x="1372453" y="501184"/>
                  <a:pt x="1349598" y="479961"/>
                  <a:pt x="1349598" y="453296"/>
                </a:cubicBezTo>
                <a:cubicBezTo>
                  <a:pt x="1349598" y="424999"/>
                  <a:pt x="1370277" y="404865"/>
                  <a:pt x="1396941" y="403776"/>
                </a:cubicBezTo>
                <a:close/>
                <a:moveTo>
                  <a:pt x="1560738" y="402144"/>
                </a:moveTo>
                <a:cubicBezTo>
                  <a:pt x="1588491" y="402144"/>
                  <a:pt x="1611347" y="427176"/>
                  <a:pt x="1611347" y="453297"/>
                </a:cubicBezTo>
                <a:cubicBezTo>
                  <a:pt x="1610803" y="476152"/>
                  <a:pt x="1590668" y="502817"/>
                  <a:pt x="1560194" y="502272"/>
                </a:cubicBezTo>
                <a:cubicBezTo>
                  <a:pt x="1534074" y="501728"/>
                  <a:pt x="1508498" y="479961"/>
                  <a:pt x="1511218" y="451664"/>
                </a:cubicBezTo>
                <a:cubicBezTo>
                  <a:pt x="1508498" y="425544"/>
                  <a:pt x="1534618" y="402144"/>
                  <a:pt x="1560738" y="402144"/>
                </a:cubicBezTo>
                <a:close/>
                <a:moveTo>
                  <a:pt x="1723991" y="399423"/>
                </a:moveTo>
                <a:cubicBezTo>
                  <a:pt x="1756097" y="402688"/>
                  <a:pt x="1777320" y="422278"/>
                  <a:pt x="1776776" y="452752"/>
                </a:cubicBezTo>
                <a:cubicBezTo>
                  <a:pt x="1776232" y="483226"/>
                  <a:pt x="1757730" y="501728"/>
                  <a:pt x="1725079" y="504993"/>
                </a:cubicBezTo>
                <a:cubicBezTo>
                  <a:pt x="1697870" y="507714"/>
                  <a:pt x="1670117" y="479961"/>
                  <a:pt x="1671750" y="452752"/>
                </a:cubicBezTo>
                <a:cubicBezTo>
                  <a:pt x="1673382" y="420102"/>
                  <a:pt x="1692428" y="403232"/>
                  <a:pt x="1723991" y="399423"/>
                </a:cubicBezTo>
                <a:close/>
                <a:moveTo>
                  <a:pt x="2051040" y="398335"/>
                </a:moveTo>
                <a:lnTo>
                  <a:pt x="2051041" y="398335"/>
                </a:lnTo>
                <a:lnTo>
                  <a:pt x="2051041" y="506936"/>
                </a:lnTo>
                <a:lnTo>
                  <a:pt x="2049952" y="507170"/>
                </a:lnTo>
                <a:cubicBezTo>
                  <a:pt x="2020566" y="506626"/>
                  <a:pt x="1995534" y="481593"/>
                  <a:pt x="1995534" y="452208"/>
                </a:cubicBezTo>
                <a:cubicBezTo>
                  <a:pt x="1996078" y="424455"/>
                  <a:pt x="2021655" y="397246"/>
                  <a:pt x="2051040" y="398335"/>
                </a:cubicBezTo>
                <a:close/>
                <a:moveTo>
                  <a:pt x="1888332" y="398335"/>
                </a:moveTo>
                <a:cubicBezTo>
                  <a:pt x="1915541" y="398879"/>
                  <a:pt x="1941661" y="423911"/>
                  <a:pt x="1941661" y="452208"/>
                </a:cubicBezTo>
                <a:cubicBezTo>
                  <a:pt x="1941661" y="481594"/>
                  <a:pt x="1916085" y="507170"/>
                  <a:pt x="1886699" y="506082"/>
                </a:cubicBezTo>
                <a:cubicBezTo>
                  <a:pt x="1857314" y="505538"/>
                  <a:pt x="1833914" y="481594"/>
                  <a:pt x="1833370" y="452208"/>
                </a:cubicBezTo>
                <a:cubicBezTo>
                  <a:pt x="1833370" y="423911"/>
                  <a:pt x="1860035" y="398335"/>
                  <a:pt x="1888332" y="398335"/>
                </a:cubicBezTo>
                <a:close/>
                <a:moveTo>
                  <a:pt x="12014" y="364052"/>
                </a:moveTo>
                <a:cubicBezTo>
                  <a:pt x="13102" y="365140"/>
                  <a:pt x="15279" y="367317"/>
                  <a:pt x="15823" y="370038"/>
                </a:cubicBezTo>
                <a:cubicBezTo>
                  <a:pt x="16911" y="374391"/>
                  <a:pt x="14191" y="377656"/>
                  <a:pt x="9293" y="377656"/>
                </a:cubicBezTo>
                <a:cubicBezTo>
                  <a:pt x="4940" y="377656"/>
                  <a:pt x="3307" y="374936"/>
                  <a:pt x="3307" y="371126"/>
                </a:cubicBezTo>
                <a:cubicBezTo>
                  <a:pt x="3307" y="367317"/>
                  <a:pt x="4940" y="364052"/>
                  <a:pt x="12014" y="364052"/>
                </a:cubicBezTo>
                <a:close/>
                <a:moveTo>
                  <a:pt x="172545" y="353713"/>
                </a:moveTo>
                <a:cubicBezTo>
                  <a:pt x="184517" y="353713"/>
                  <a:pt x="190503" y="359154"/>
                  <a:pt x="190503" y="370582"/>
                </a:cubicBezTo>
                <a:cubicBezTo>
                  <a:pt x="190503" y="381466"/>
                  <a:pt x="184517" y="387996"/>
                  <a:pt x="173090" y="387996"/>
                </a:cubicBezTo>
                <a:cubicBezTo>
                  <a:pt x="163839" y="388540"/>
                  <a:pt x="155676" y="381466"/>
                  <a:pt x="155676" y="371126"/>
                </a:cubicBezTo>
                <a:cubicBezTo>
                  <a:pt x="155676" y="362419"/>
                  <a:pt x="161662" y="352080"/>
                  <a:pt x="172545" y="353713"/>
                </a:cubicBezTo>
                <a:close/>
                <a:moveTo>
                  <a:pt x="336886" y="345550"/>
                </a:moveTo>
                <a:cubicBezTo>
                  <a:pt x="350490" y="346094"/>
                  <a:pt x="362462" y="358610"/>
                  <a:pt x="361374" y="371670"/>
                </a:cubicBezTo>
                <a:cubicBezTo>
                  <a:pt x="360286" y="385275"/>
                  <a:pt x="348858" y="395614"/>
                  <a:pt x="335798" y="395070"/>
                </a:cubicBezTo>
                <a:cubicBezTo>
                  <a:pt x="319472" y="394526"/>
                  <a:pt x="311854" y="381466"/>
                  <a:pt x="311854" y="370038"/>
                </a:cubicBezTo>
                <a:cubicBezTo>
                  <a:pt x="311854" y="356978"/>
                  <a:pt x="324370" y="345550"/>
                  <a:pt x="336886" y="345550"/>
                </a:cubicBezTo>
                <a:close/>
                <a:moveTo>
                  <a:pt x="499596" y="342284"/>
                </a:moveTo>
                <a:cubicBezTo>
                  <a:pt x="518642" y="341196"/>
                  <a:pt x="528437" y="354256"/>
                  <a:pt x="528437" y="370582"/>
                </a:cubicBezTo>
                <a:cubicBezTo>
                  <a:pt x="528437" y="386363"/>
                  <a:pt x="518642" y="399967"/>
                  <a:pt x="499051" y="399423"/>
                </a:cubicBezTo>
                <a:cubicBezTo>
                  <a:pt x="481094" y="399423"/>
                  <a:pt x="470210" y="387995"/>
                  <a:pt x="470210" y="370037"/>
                </a:cubicBezTo>
                <a:cubicBezTo>
                  <a:pt x="470754" y="352624"/>
                  <a:pt x="481638" y="341740"/>
                  <a:pt x="499596" y="342284"/>
                </a:cubicBezTo>
                <a:close/>
                <a:moveTo>
                  <a:pt x="663392" y="337387"/>
                </a:moveTo>
                <a:cubicBezTo>
                  <a:pt x="680262" y="337387"/>
                  <a:pt x="697675" y="354801"/>
                  <a:pt x="697131" y="371126"/>
                </a:cubicBezTo>
                <a:cubicBezTo>
                  <a:pt x="696043" y="390172"/>
                  <a:pt x="682982" y="404321"/>
                  <a:pt x="662304" y="404321"/>
                </a:cubicBezTo>
                <a:cubicBezTo>
                  <a:pt x="643258" y="405953"/>
                  <a:pt x="629109" y="389084"/>
                  <a:pt x="629109" y="371126"/>
                </a:cubicBezTo>
                <a:cubicBezTo>
                  <a:pt x="629109" y="352624"/>
                  <a:pt x="645434" y="337387"/>
                  <a:pt x="663392" y="337387"/>
                </a:cubicBezTo>
                <a:close/>
                <a:moveTo>
                  <a:pt x="825556" y="332489"/>
                </a:moveTo>
                <a:cubicBezTo>
                  <a:pt x="847323" y="333577"/>
                  <a:pt x="864193" y="349358"/>
                  <a:pt x="864737" y="370037"/>
                </a:cubicBezTo>
                <a:cubicBezTo>
                  <a:pt x="864193" y="391260"/>
                  <a:pt x="847323" y="409218"/>
                  <a:pt x="826645" y="409218"/>
                </a:cubicBezTo>
                <a:cubicBezTo>
                  <a:pt x="808687" y="412483"/>
                  <a:pt x="788008" y="387995"/>
                  <a:pt x="787464" y="371126"/>
                </a:cubicBezTo>
                <a:cubicBezTo>
                  <a:pt x="787464" y="353712"/>
                  <a:pt x="808687" y="331945"/>
                  <a:pt x="825556" y="332489"/>
                </a:cubicBezTo>
                <a:close/>
                <a:moveTo>
                  <a:pt x="989898" y="328680"/>
                </a:moveTo>
                <a:cubicBezTo>
                  <a:pt x="1013297" y="329224"/>
                  <a:pt x="1030167" y="347182"/>
                  <a:pt x="1031255" y="371126"/>
                </a:cubicBezTo>
                <a:cubicBezTo>
                  <a:pt x="1029623" y="396702"/>
                  <a:pt x="1010576" y="413027"/>
                  <a:pt x="989354" y="413027"/>
                </a:cubicBezTo>
                <a:cubicBezTo>
                  <a:pt x="964866" y="412483"/>
                  <a:pt x="946908" y="393981"/>
                  <a:pt x="947452" y="370037"/>
                </a:cubicBezTo>
                <a:cubicBezTo>
                  <a:pt x="947996" y="346094"/>
                  <a:pt x="964866" y="328680"/>
                  <a:pt x="989898" y="328680"/>
                </a:cubicBezTo>
                <a:close/>
                <a:moveTo>
                  <a:pt x="1153150" y="326504"/>
                </a:moveTo>
                <a:cubicBezTo>
                  <a:pt x="1177094" y="326504"/>
                  <a:pt x="1197228" y="347727"/>
                  <a:pt x="1197228" y="370582"/>
                </a:cubicBezTo>
                <a:cubicBezTo>
                  <a:pt x="1197228" y="392894"/>
                  <a:pt x="1176550" y="417925"/>
                  <a:pt x="1152606" y="414661"/>
                </a:cubicBezTo>
                <a:cubicBezTo>
                  <a:pt x="1130295" y="417925"/>
                  <a:pt x="1107984" y="393982"/>
                  <a:pt x="1108528" y="370038"/>
                </a:cubicBezTo>
                <a:cubicBezTo>
                  <a:pt x="1109072" y="347727"/>
                  <a:pt x="1129751" y="326504"/>
                  <a:pt x="1153150" y="326504"/>
                </a:cubicBezTo>
                <a:close/>
                <a:moveTo>
                  <a:pt x="1317492" y="323239"/>
                </a:moveTo>
                <a:cubicBezTo>
                  <a:pt x="1341979" y="322151"/>
                  <a:pt x="1367012" y="348271"/>
                  <a:pt x="1364835" y="372215"/>
                </a:cubicBezTo>
                <a:cubicBezTo>
                  <a:pt x="1361026" y="399968"/>
                  <a:pt x="1344700" y="416837"/>
                  <a:pt x="1314771" y="419014"/>
                </a:cubicBezTo>
                <a:cubicBezTo>
                  <a:pt x="1286474" y="415205"/>
                  <a:pt x="1267972" y="398879"/>
                  <a:pt x="1268516" y="370582"/>
                </a:cubicBezTo>
                <a:cubicBezTo>
                  <a:pt x="1268516" y="341197"/>
                  <a:pt x="1288650" y="324327"/>
                  <a:pt x="1317492" y="323239"/>
                </a:cubicBezTo>
                <a:close/>
                <a:moveTo>
                  <a:pt x="1479112" y="320517"/>
                </a:moveTo>
                <a:cubicBezTo>
                  <a:pt x="1503600" y="319973"/>
                  <a:pt x="1530265" y="343917"/>
                  <a:pt x="1529720" y="371670"/>
                </a:cubicBezTo>
                <a:cubicBezTo>
                  <a:pt x="1528632" y="395069"/>
                  <a:pt x="1506321" y="423366"/>
                  <a:pt x="1478568" y="420101"/>
                </a:cubicBezTo>
                <a:cubicBezTo>
                  <a:pt x="1452447" y="422822"/>
                  <a:pt x="1429592" y="397246"/>
                  <a:pt x="1429592" y="370037"/>
                </a:cubicBezTo>
                <a:cubicBezTo>
                  <a:pt x="1429592" y="342284"/>
                  <a:pt x="1455713" y="320517"/>
                  <a:pt x="1479112" y="320517"/>
                </a:cubicBezTo>
                <a:close/>
                <a:moveTo>
                  <a:pt x="1642364" y="318341"/>
                </a:moveTo>
                <a:cubicBezTo>
                  <a:pt x="1670661" y="318341"/>
                  <a:pt x="1692973" y="339020"/>
                  <a:pt x="1695694" y="370582"/>
                </a:cubicBezTo>
                <a:cubicBezTo>
                  <a:pt x="1696238" y="397791"/>
                  <a:pt x="1671206" y="423367"/>
                  <a:pt x="1643453" y="424455"/>
                </a:cubicBezTo>
                <a:cubicBezTo>
                  <a:pt x="1616788" y="425544"/>
                  <a:pt x="1589035" y="398335"/>
                  <a:pt x="1589035" y="371670"/>
                </a:cubicBezTo>
                <a:cubicBezTo>
                  <a:pt x="1589035" y="345006"/>
                  <a:pt x="1615155" y="317797"/>
                  <a:pt x="1642364" y="318341"/>
                </a:cubicBezTo>
                <a:close/>
                <a:moveTo>
                  <a:pt x="90919" y="273718"/>
                </a:moveTo>
                <a:cubicBezTo>
                  <a:pt x="96361" y="273174"/>
                  <a:pt x="106156" y="282425"/>
                  <a:pt x="106700" y="288411"/>
                </a:cubicBezTo>
                <a:cubicBezTo>
                  <a:pt x="106700" y="294941"/>
                  <a:pt x="97993" y="303648"/>
                  <a:pt x="91463" y="303648"/>
                </a:cubicBezTo>
                <a:cubicBezTo>
                  <a:pt x="84933" y="303648"/>
                  <a:pt x="76226" y="294941"/>
                  <a:pt x="76770" y="288411"/>
                </a:cubicBezTo>
                <a:cubicBezTo>
                  <a:pt x="76770" y="283513"/>
                  <a:pt x="86021" y="274262"/>
                  <a:pt x="90919" y="273718"/>
                </a:cubicBezTo>
                <a:close/>
                <a:moveTo>
                  <a:pt x="254716" y="267733"/>
                </a:moveTo>
                <a:cubicBezTo>
                  <a:pt x="267776" y="267733"/>
                  <a:pt x="276483" y="276440"/>
                  <a:pt x="276483" y="288956"/>
                </a:cubicBezTo>
                <a:cubicBezTo>
                  <a:pt x="276483" y="301472"/>
                  <a:pt x="266688" y="311811"/>
                  <a:pt x="254172" y="311811"/>
                </a:cubicBezTo>
                <a:cubicBezTo>
                  <a:pt x="243289" y="311811"/>
                  <a:pt x="232405" y="300384"/>
                  <a:pt x="232405" y="289500"/>
                </a:cubicBezTo>
                <a:cubicBezTo>
                  <a:pt x="232405" y="276984"/>
                  <a:pt x="242744" y="267733"/>
                  <a:pt x="254716" y="267733"/>
                </a:cubicBezTo>
                <a:close/>
                <a:moveTo>
                  <a:pt x="1941117" y="263202"/>
                </a:moveTo>
                <a:cubicBezTo>
                  <a:pt x="1937852" y="261570"/>
                  <a:pt x="1936219" y="263202"/>
                  <a:pt x="1936219" y="266467"/>
                </a:cubicBezTo>
                <a:cubicBezTo>
                  <a:pt x="1936763" y="268644"/>
                  <a:pt x="1937852" y="270276"/>
                  <a:pt x="1938396" y="272453"/>
                </a:cubicBezTo>
                <a:cubicBezTo>
                  <a:pt x="1944382" y="290955"/>
                  <a:pt x="1943838" y="308913"/>
                  <a:pt x="1932954" y="325782"/>
                </a:cubicBezTo>
                <a:cubicBezTo>
                  <a:pt x="1931866" y="327415"/>
                  <a:pt x="1931866" y="329047"/>
                  <a:pt x="1930777" y="331224"/>
                </a:cubicBezTo>
                <a:cubicBezTo>
                  <a:pt x="1932410" y="331224"/>
                  <a:pt x="1935131" y="331224"/>
                  <a:pt x="1936219" y="330136"/>
                </a:cubicBezTo>
                <a:cubicBezTo>
                  <a:pt x="1945470" y="323061"/>
                  <a:pt x="1955265" y="320885"/>
                  <a:pt x="1966693" y="320340"/>
                </a:cubicBezTo>
                <a:cubicBezTo>
                  <a:pt x="1978121" y="319796"/>
                  <a:pt x="1989004" y="323061"/>
                  <a:pt x="1998799" y="328503"/>
                </a:cubicBezTo>
                <a:cubicBezTo>
                  <a:pt x="2000432" y="329047"/>
                  <a:pt x="2001520" y="329592"/>
                  <a:pt x="2003153" y="330136"/>
                </a:cubicBezTo>
                <a:cubicBezTo>
                  <a:pt x="2002609" y="328503"/>
                  <a:pt x="2002609" y="326326"/>
                  <a:pt x="2001520" y="324694"/>
                </a:cubicBezTo>
                <a:cubicBezTo>
                  <a:pt x="1999344" y="319796"/>
                  <a:pt x="1995534" y="314899"/>
                  <a:pt x="1994446" y="309457"/>
                </a:cubicBezTo>
                <a:cubicBezTo>
                  <a:pt x="1992269" y="295308"/>
                  <a:pt x="1990093" y="281160"/>
                  <a:pt x="1998255" y="267555"/>
                </a:cubicBezTo>
                <a:cubicBezTo>
                  <a:pt x="2000432" y="267555"/>
                  <a:pt x="2000432" y="265923"/>
                  <a:pt x="2000976" y="263746"/>
                </a:cubicBezTo>
                <a:cubicBezTo>
                  <a:pt x="1998799" y="263746"/>
                  <a:pt x="1996623" y="262658"/>
                  <a:pt x="1995534" y="263746"/>
                </a:cubicBezTo>
                <a:cubicBezTo>
                  <a:pt x="1977577" y="272997"/>
                  <a:pt x="1959075" y="272997"/>
                  <a:pt x="1941117" y="263202"/>
                </a:cubicBezTo>
                <a:close/>
                <a:moveTo>
                  <a:pt x="417425" y="262291"/>
                </a:moveTo>
                <a:cubicBezTo>
                  <a:pt x="434839" y="262291"/>
                  <a:pt x="445178" y="272086"/>
                  <a:pt x="445178" y="288956"/>
                </a:cubicBezTo>
                <a:cubicBezTo>
                  <a:pt x="445178" y="305825"/>
                  <a:pt x="434839" y="316164"/>
                  <a:pt x="417969" y="317253"/>
                </a:cubicBezTo>
                <a:cubicBezTo>
                  <a:pt x="404909" y="317797"/>
                  <a:pt x="389672" y="306369"/>
                  <a:pt x="390216" y="290044"/>
                </a:cubicBezTo>
                <a:cubicBezTo>
                  <a:pt x="391305" y="272086"/>
                  <a:pt x="400011" y="262291"/>
                  <a:pt x="417425" y="262291"/>
                </a:cubicBezTo>
                <a:close/>
                <a:moveTo>
                  <a:pt x="580678" y="256304"/>
                </a:moveTo>
                <a:cubicBezTo>
                  <a:pt x="596459" y="255760"/>
                  <a:pt x="616049" y="273174"/>
                  <a:pt x="613872" y="288955"/>
                </a:cubicBezTo>
                <a:cubicBezTo>
                  <a:pt x="615505" y="304736"/>
                  <a:pt x="598635" y="322150"/>
                  <a:pt x="581222" y="322150"/>
                </a:cubicBezTo>
                <a:cubicBezTo>
                  <a:pt x="564352" y="322150"/>
                  <a:pt x="548571" y="308001"/>
                  <a:pt x="548027" y="289499"/>
                </a:cubicBezTo>
                <a:cubicBezTo>
                  <a:pt x="547483" y="272086"/>
                  <a:pt x="565441" y="256849"/>
                  <a:pt x="580678" y="256304"/>
                </a:cubicBezTo>
                <a:close/>
                <a:moveTo>
                  <a:pt x="743930" y="251951"/>
                </a:moveTo>
                <a:cubicBezTo>
                  <a:pt x="764609" y="251951"/>
                  <a:pt x="782566" y="268820"/>
                  <a:pt x="782022" y="289499"/>
                </a:cubicBezTo>
                <a:cubicBezTo>
                  <a:pt x="781478" y="311266"/>
                  <a:pt x="765153" y="326503"/>
                  <a:pt x="744474" y="326503"/>
                </a:cubicBezTo>
                <a:cubicBezTo>
                  <a:pt x="723795" y="326503"/>
                  <a:pt x="708014" y="311266"/>
                  <a:pt x="707470" y="289499"/>
                </a:cubicBezTo>
                <a:cubicBezTo>
                  <a:pt x="706926" y="271541"/>
                  <a:pt x="722163" y="252495"/>
                  <a:pt x="743930" y="251951"/>
                </a:cubicBezTo>
                <a:close/>
                <a:moveTo>
                  <a:pt x="907183" y="249775"/>
                </a:moveTo>
                <a:cubicBezTo>
                  <a:pt x="929494" y="249775"/>
                  <a:pt x="946908" y="263924"/>
                  <a:pt x="947452" y="289500"/>
                </a:cubicBezTo>
                <a:cubicBezTo>
                  <a:pt x="947996" y="311811"/>
                  <a:pt x="931127" y="330313"/>
                  <a:pt x="908271" y="329225"/>
                </a:cubicBezTo>
                <a:cubicBezTo>
                  <a:pt x="885960" y="330857"/>
                  <a:pt x="868002" y="312355"/>
                  <a:pt x="867458" y="290044"/>
                </a:cubicBezTo>
                <a:cubicBezTo>
                  <a:pt x="867458" y="266100"/>
                  <a:pt x="884872" y="249775"/>
                  <a:pt x="907183" y="249775"/>
                </a:cubicBezTo>
                <a:close/>
                <a:moveTo>
                  <a:pt x="1070435" y="245965"/>
                </a:moveTo>
                <a:cubicBezTo>
                  <a:pt x="1093291" y="245421"/>
                  <a:pt x="1116146" y="264467"/>
                  <a:pt x="1114513" y="290043"/>
                </a:cubicBezTo>
                <a:cubicBezTo>
                  <a:pt x="1115602" y="312899"/>
                  <a:pt x="1092202" y="334122"/>
                  <a:pt x="1069347" y="333578"/>
                </a:cubicBezTo>
                <a:cubicBezTo>
                  <a:pt x="1047036" y="333034"/>
                  <a:pt x="1026357" y="311266"/>
                  <a:pt x="1026357" y="288955"/>
                </a:cubicBezTo>
                <a:cubicBezTo>
                  <a:pt x="1026901" y="268276"/>
                  <a:pt x="1045403" y="245965"/>
                  <a:pt x="1070435" y="245965"/>
                </a:cubicBezTo>
                <a:close/>
                <a:moveTo>
                  <a:pt x="1233689" y="241613"/>
                </a:moveTo>
                <a:cubicBezTo>
                  <a:pt x="1257632" y="241068"/>
                  <a:pt x="1281032" y="263924"/>
                  <a:pt x="1282120" y="288412"/>
                </a:cubicBezTo>
                <a:cubicBezTo>
                  <a:pt x="1282665" y="312900"/>
                  <a:pt x="1260898" y="336299"/>
                  <a:pt x="1235321" y="335755"/>
                </a:cubicBezTo>
                <a:cubicBezTo>
                  <a:pt x="1206480" y="335211"/>
                  <a:pt x="1190155" y="318886"/>
                  <a:pt x="1187434" y="289500"/>
                </a:cubicBezTo>
                <a:cubicBezTo>
                  <a:pt x="1184713" y="266100"/>
                  <a:pt x="1208657" y="242701"/>
                  <a:pt x="1233689" y="241613"/>
                </a:cubicBezTo>
                <a:close/>
                <a:moveTo>
                  <a:pt x="1397485" y="238891"/>
                </a:moveTo>
                <a:cubicBezTo>
                  <a:pt x="1421973" y="237259"/>
                  <a:pt x="1448638" y="264467"/>
                  <a:pt x="1448094" y="288955"/>
                </a:cubicBezTo>
                <a:cubicBezTo>
                  <a:pt x="1447005" y="312355"/>
                  <a:pt x="1424150" y="341196"/>
                  <a:pt x="1398029" y="338475"/>
                </a:cubicBezTo>
                <a:cubicBezTo>
                  <a:pt x="1372453" y="340652"/>
                  <a:pt x="1347421" y="315620"/>
                  <a:pt x="1348509" y="289499"/>
                </a:cubicBezTo>
                <a:cubicBezTo>
                  <a:pt x="1349598" y="261202"/>
                  <a:pt x="1369732" y="240524"/>
                  <a:pt x="1397485" y="238891"/>
                </a:cubicBezTo>
                <a:close/>
                <a:moveTo>
                  <a:pt x="1559650" y="237258"/>
                </a:moveTo>
                <a:cubicBezTo>
                  <a:pt x="1590668" y="236170"/>
                  <a:pt x="1611891" y="259570"/>
                  <a:pt x="1613523" y="288955"/>
                </a:cubicBezTo>
                <a:cubicBezTo>
                  <a:pt x="1613523" y="316164"/>
                  <a:pt x="1587403" y="342829"/>
                  <a:pt x="1560738" y="342829"/>
                </a:cubicBezTo>
                <a:cubicBezTo>
                  <a:pt x="1534618" y="342829"/>
                  <a:pt x="1505776" y="315620"/>
                  <a:pt x="1507953" y="289499"/>
                </a:cubicBezTo>
                <a:cubicBezTo>
                  <a:pt x="1510130" y="261202"/>
                  <a:pt x="1526455" y="238347"/>
                  <a:pt x="1559650" y="237258"/>
                </a:cubicBezTo>
                <a:close/>
                <a:moveTo>
                  <a:pt x="9837" y="198078"/>
                </a:moveTo>
                <a:cubicBezTo>
                  <a:pt x="14190" y="198078"/>
                  <a:pt x="19632" y="202976"/>
                  <a:pt x="19632" y="207873"/>
                </a:cubicBezTo>
                <a:cubicBezTo>
                  <a:pt x="19632" y="212227"/>
                  <a:pt x="14190" y="217668"/>
                  <a:pt x="10381" y="218213"/>
                </a:cubicBezTo>
                <a:cubicBezTo>
                  <a:pt x="5483" y="218757"/>
                  <a:pt x="-503" y="212771"/>
                  <a:pt x="42" y="207873"/>
                </a:cubicBezTo>
                <a:cubicBezTo>
                  <a:pt x="42" y="202976"/>
                  <a:pt x="5483" y="198078"/>
                  <a:pt x="9837" y="198078"/>
                </a:cubicBezTo>
                <a:close/>
                <a:moveTo>
                  <a:pt x="173090" y="187739"/>
                </a:moveTo>
                <a:cubicBezTo>
                  <a:pt x="183429" y="188283"/>
                  <a:pt x="192136" y="196990"/>
                  <a:pt x="192136" y="207329"/>
                </a:cubicBezTo>
                <a:cubicBezTo>
                  <a:pt x="192136" y="217669"/>
                  <a:pt x="182341" y="228008"/>
                  <a:pt x="172546" y="227464"/>
                </a:cubicBezTo>
                <a:cubicBezTo>
                  <a:pt x="163839" y="226920"/>
                  <a:pt x="154588" y="217669"/>
                  <a:pt x="154044" y="208418"/>
                </a:cubicBezTo>
                <a:cubicBezTo>
                  <a:pt x="153500" y="198078"/>
                  <a:pt x="162751" y="187739"/>
                  <a:pt x="173090" y="187739"/>
                </a:cubicBezTo>
                <a:close/>
                <a:moveTo>
                  <a:pt x="336887" y="182297"/>
                </a:moveTo>
                <a:cubicBezTo>
                  <a:pt x="350491" y="182841"/>
                  <a:pt x="361919" y="191548"/>
                  <a:pt x="363007" y="207329"/>
                </a:cubicBezTo>
                <a:cubicBezTo>
                  <a:pt x="363551" y="219845"/>
                  <a:pt x="349947" y="233449"/>
                  <a:pt x="336887" y="233994"/>
                </a:cubicBezTo>
                <a:cubicBezTo>
                  <a:pt x="324371" y="233994"/>
                  <a:pt x="311311" y="221478"/>
                  <a:pt x="310766" y="208961"/>
                </a:cubicBezTo>
                <a:cubicBezTo>
                  <a:pt x="310222" y="195357"/>
                  <a:pt x="323282" y="181753"/>
                  <a:pt x="336887" y="182297"/>
                </a:cubicBezTo>
                <a:close/>
                <a:moveTo>
                  <a:pt x="1856225" y="180487"/>
                </a:moveTo>
                <a:cubicBezTo>
                  <a:pt x="1856225" y="182664"/>
                  <a:pt x="1855137" y="184841"/>
                  <a:pt x="1855681" y="185929"/>
                </a:cubicBezTo>
                <a:cubicBezTo>
                  <a:pt x="1863844" y="206064"/>
                  <a:pt x="1863844" y="226198"/>
                  <a:pt x="1851872" y="244700"/>
                </a:cubicBezTo>
                <a:cubicBezTo>
                  <a:pt x="1851328" y="245788"/>
                  <a:pt x="1851328" y="246877"/>
                  <a:pt x="1851328" y="247965"/>
                </a:cubicBezTo>
                <a:cubicBezTo>
                  <a:pt x="1852416" y="247965"/>
                  <a:pt x="1854049" y="247965"/>
                  <a:pt x="1854593" y="247421"/>
                </a:cubicBezTo>
                <a:cubicBezTo>
                  <a:pt x="1868197" y="237082"/>
                  <a:pt x="1883434" y="237082"/>
                  <a:pt x="1899215" y="238714"/>
                </a:cubicBezTo>
                <a:cubicBezTo>
                  <a:pt x="1904113" y="239258"/>
                  <a:pt x="1909010" y="241979"/>
                  <a:pt x="1913908" y="243067"/>
                </a:cubicBezTo>
                <a:cubicBezTo>
                  <a:pt x="1915541" y="243612"/>
                  <a:pt x="1917173" y="242523"/>
                  <a:pt x="1918806" y="242523"/>
                </a:cubicBezTo>
                <a:cubicBezTo>
                  <a:pt x="1918806" y="240891"/>
                  <a:pt x="1918806" y="239258"/>
                  <a:pt x="1918261" y="238170"/>
                </a:cubicBezTo>
                <a:cubicBezTo>
                  <a:pt x="1908466" y="220756"/>
                  <a:pt x="1910099" y="203887"/>
                  <a:pt x="1917173" y="185929"/>
                </a:cubicBezTo>
                <a:cubicBezTo>
                  <a:pt x="1917717" y="184297"/>
                  <a:pt x="1917717" y="183208"/>
                  <a:pt x="1918261" y="181576"/>
                </a:cubicBezTo>
                <a:cubicBezTo>
                  <a:pt x="1916629" y="182120"/>
                  <a:pt x="1914996" y="182120"/>
                  <a:pt x="1913908" y="182664"/>
                </a:cubicBezTo>
                <a:cubicBezTo>
                  <a:pt x="1895950" y="189738"/>
                  <a:pt x="1877992" y="190827"/>
                  <a:pt x="1860579" y="180487"/>
                </a:cubicBezTo>
                <a:cubicBezTo>
                  <a:pt x="1858946" y="181031"/>
                  <a:pt x="1857858" y="181031"/>
                  <a:pt x="1856225" y="180487"/>
                </a:cubicBezTo>
                <a:close/>
                <a:moveTo>
                  <a:pt x="499595" y="175767"/>
                </a:moveTo>
                <a:cubicBezTo>
                  <a:pt x="514832" y="175767"/>
                  <a:pt x="531702" y="193181"/>
                  <a:pt x="531158" y="207874"/>
                </a:cubicBezTo>
                <a:cubicBezTo>
                  <a:pt x="530613" y="223110"/>
                  <a:pt x="513744" y="239980"/>
                  <a:pt x="498507" y="238347"/>
                </a:cubicBezTo>
                <a:cubicBezTo>
                  <a:pt x="479461" y="236715"/>
                  <a:pt x="469666" y="224743"/>
                  <a:pt x="468033" y="207329"/>
                </a:cubicBezTo>
                <a:cubicBezTo>
                  <a:pt x="466945" y="192636"/>
                  <a:pt x="484903" y="175767"/>
                  <a:pt x="499595" y="175767"/>
                </a:cubicBezTo>
                <a:close/>
                <a:moveTo>
                  <a:pt x="662304" y="173046"/>
                </a:moveTo>
                <a:cubicBezTo>
                  <a:pt x="683527" y="171958"/>
                  <a:pt x="698220" y="189916"/>
                  <a:pt x="697676" y="207873"/>
                </a:cubicBezTo>
                <a:cubicBezTo>
                  <a:pt x="697131" y="227464"/>
                  <a:pt x="684615" y="243245"/>
                  <a:pt x="662304" y="242156"/>
                </a:cubicBezTo>
                <a:cubicBezTo>
                  <a:pt x="639993" y="241612"/>
                  <a:pt x="628565" y="229096"/>
                  <a:pt x="628021" y="207873"/>
                </a:cubicBezTo>
                <a:cubicBezTo>
                  <a:pt x="628021" y="187739"/>
                  <a:pt x="642714" y="172502"/>
                  <a:pt x="662304" y="173046"/>
                </a:cubicBezTo>
                <a:close/>
                <a:moveTo>
                  <a:pt x="826645" y="168148"/>
                </a:moveTo>
                <a:cubicBezTo>
                  <a:pt x="844602" y="168148"/>
                  <a:pt x="867458" y="187194"/>
                  <a:pt x="864737" y="207329"/>
                </a:cubicBezTo>
                <a:cubicBezTo>
                  <a:pt x="867458" y="229096"/>
                  <a:pt x="844058" y="247054"/>
                  <a:pt x="826100" y="247054"/>
                </a:cubicBezTo>
                <a:cubicBezTo>
                  <a:pt x="808687" y="247054"/>
                  <a:pt x="787464" y="228552"/>
                  <a:pt x="787464" y="207873"/>
                </a:cubicBezTo>
                <a:cubicBezTo>
                  <a:pt x="787464" y="187194"/>
                  <a:pt x="807054" y="168148"/>
                  <a:pt x="826645" y="168148"/>
                </a:cubicBezTo>
                <a:close/>
                <a:moveTo>
                  <a:pt x="987721" y="164883"/>
                </a:moveTo>
                <a:cubicBezTo>
                  <a:pt x="1012209" y="164339"/>
                  <a:pt x="1030711" y="181753"/>
                  <a:pt x="1031799" y="207329"/>
                </a:cubicBezTo>
                <a:cubicBezTo>
                  <a:pt x="1031255" y="232361"/>
                  <a:pt x="1011665" y="250319"/>
                  <a:pt x="988809" y="250319"/>
                </a:cubicBezTo>
                <a:cubicBezTo>
                  <a:pt x="965954" y="250319"/>
                  <a:pt x="946364" y="231273"/>
                  <a:pt x="945819" y="208417"/>
                </a:cubicBezTo>
                <a:cubicBezTo>
                  <a:pt x="945275" y="185018"/>
                  <a:pt x="962689" y="165428"/>
                  <a:pt x="987721" y="164883"/>
                </a:cubicBezTo>
                <a:close/>
                <a:moveTo>
                  <a:pt x="1153150" y="162707"/>
                </a:moveTo>
                <a:cubicBezTo>
                  <a:pt x="1177638" y="161619"/>
                  <a:pt x="1197772" y="180665"/>
                  <a:pt x="1197772" y="207874"/>
                </a:cubicBezTo>
                <a:cubicBezTo>
                  <a:pt x="1197772" y="235083"/>
                  <a:pt x="1176005" y="253584"/>
                  <a:pt x="1151517" y="253584"/>
                </a:cubicBezTo>
                <a:cubicBezTo>
                  <a:pt x="1128118" y="253040"/>
                  <a:pt x="1106895" y="234538"/>
                  <a:pt x="1107439" y="207329"/>
                </a:cubicBezTo>
                <a:cubicBezTo>
                  <a:pt x="1107983" y="179576"/>
                  <a:pt x="1129206" y="161075"/>
                  <a:pt x="1153150" y="162707"/>
                </a:cubicBezTo>
                <a:close/>
                <a:moveTo>
                  <a:pt x="1315315" y="158353"/>
                </a:moveTo>
                <a:cubicBezTo>
                  <a:pt x="1341435" y="156177"/>
                  <a:pt x="1365923" y="184474"/>
                  <a:pt x="1365379" y="206785"/>
                </a:cubicBezTo>
                <a:cubicBezTo>
                  <a:pt x="1365379" y="229640"/>
                  <a:pt x="1344156" y="256849"/>
                  <a:pt x="1315859" y="256305"/>
                </a:cubicBezTo>
                <a:cubicBezTo>
                  <a:pt x="1290283" y="256305"/>
                  <a:pt x="1267427" y="233994"/>
                  <a:pt x="1266883" y="207873"/>
                </a:cubicBezTo>
                <a:cubicBezTo>
                  <a:pt x="1265795" y="181209"/>
                  <a:pt x="1292460" y="157265"/>
                  <a:pt x="1315315" y="158353"/>
                </a:cubicBezTo>
                <a:close/>
                <a:moveTo>
                  <a:pt x="1478567" y="156721"/>
                </a:moveTo>
                <a:cubicBezTo>
                  <a:pt x="1510129" y="156721"/>
                  <a:pt x="1530264" y="180665"/>
                  <a:pt x="1529720" y="207329"/>
                </a:cubicBezTo>
                <a:cubicBezTo>
                  <a:pt x="1530264" y="236715"/>
                  <a:pt x="1510129" y="258482"/>
                  <a:pt x="1478567" y="258482"/>
                </a:cubicBezTo>
                <a:cubicBezTo>
                  <a:pt x="1449182" y="257938"/>
                  <a:pt x="1428503" y="238892"/>
                  <a:pt x="1427959" y="207874"/>
                </a:cubicBezTo>
                <a:cubicBezTo>
                  <a:pt x="1427415" y="179576"/>
                  <a:pt x="1447549" y="156721"/>
                  <a:pt x="1478567" y="156721"/>
                </a:cubicBezTo>
                <a:close/>
                <a:moveTo>
                  <a:pt x="1644541" y="153456"/>
                </a:moveTo>
                <a:cubicBezTo>
                  <a:pt x="1672294" y="154544"/>
                  <a:pt x="1697870" y="180665"/>
                  <a:pt x="1697326" y="209506"/>
                </a:cubicBezTo>
                <a:cubicBezTo>
                  <a:pt x="1696782" y="238347"/>
                  <a:pt x="1669573" y="263924"/>
                  <a:pt x="1641276" y="262835"/>
                </a:cubicBezTo>
                <a:cubicBezTo>
                  <a:pt x="1612979" y="261203"/>
                  <a:pt x="1587402" y="236715"/>
                  <a:pt x="1587947" y="206785"/>
                </a:cubicBezTo>
                <a:cubicBezTo>
                  <a:pt x="1587947" y="180121"/>
                  <a:pt x="1613523" y="152368"/>
                  <a:pt x="1644541" y="153456"/>
                </a:cubicBezTo>
                <a:close/>
                <a:moveTo>
                  <a:pt x="91463" y="109922"/>
                </a:moveTo>
                <a:cubicBezTo>
                  <a:pt x="97993" y="109922"/>
                  <a:pt x="107244" y="119173"/>
                  <a:pt x="107244" y="126247"/>
                </a:cubicBezTo>
                <a:cubicBezTo>
                  <a:pt x="107788" y="132777"/>
                  <a:pt x="98537" y="142028"/>
                  <a:pt x="91463" y="142028"/>
                </a:cubicBezTo>
                <a:cubicBezTo>
                  <a:pt x="83845" y="142028"/>
                  <a:pt x="75682" y="133866"/>
                  <a:pt x="75682" y="126247"/>
                </a:cubicBezTo>
                <a:cubicBezTo>
                  <a:pt x="75682" y="118629"/>
                  <a:pt x="84389" y="109922"/>
                  <a:pt x="91463" y="109922"/>
                </a:cubicBezTo>
                <a:close/>
                <a:moveTo>
                  <a:pt x="1942341" y="104915"/>
                </a:moveTo>
                <a:cubicBezTo>
                  <a:pt x="1941389" y="105799"/>
                  <a:pt x="1941389" y="107840"/>
                  <a:pt x="1942205" y="111377"/>
                </a:cubicBezTo>
                <a:cubicBezTo>
                  <a:pt x="1943294" y="118451"/>
                  <a:pt x="1944926" y="124437"/>
                  <a:pt x="1946559" y="131511"/>
                </a:cubicBezTo>
                <a:cubicBezTo>
                  <a:pt x="1944382" y="139674"/>
                  <a:pt x="1941661" y="148381"/>
                  <a:pt x="1939484" y="157088"/>
                </a:cubicBezTo>
                <a:cubicBezTo>
                  <a:pt x="1939484" y="158176"/>
                  <a:pt x="1941117" y="160353"/>
                  <a:pt x="1941117" y="160353"/>
                </a:cubicBezTo>
                <a:cubicBezTo>
                  <a:pt x="1955810" y="154367"/>
                  <a:pt x="1971046" y="150558"/>
                  <a:pt x="1986828" y="157088"/>
                </a:cubicBezTo>
                <a:cubicBezTo>
                  <a:pt x="1987372" y="157088"/>
                  <a:pt x="1987916" y="157088"/>
                  <a:pt x="1987916" y="157088"/>
                </a:cubicBezTo>
                <a:cubicBezTo>
                  <a:pt x="1994990" y="157632"/>
                  <a:pt x="1996623" y="155999"/>
                  <a:pt x="1993902" y="150013"/>
                </a:cubicBezTo>
                <a:cubicBezTo>
                  <a:pt x="1988460" y="136409"/>
                  <a:pt x="1988460" y="123349"/>
                  <a:pt x="1993902" y="109744"/>
                </a:cubicBezTo>
                <a:cubicBezTo>
                  <a:pt x="1995534" y="105935"/>
                  <a:pt x="1994446" y="103214"/>
                  <a:pt x="1989004" y="105391"/>
                </a:cubicBezTo>
                <a:cubicBezTo>
                  <a:pt x="1975400" y="109744"/>
                  <a:pt x="1961796" y="109744"/>
                  <a:pt x="1948191" y="105391"/>
                </a:cubicBezTo>
                <a:cubicBezTo>
                  <a:pt x="1945198" y="104303"/>
                  <a:pt x="1943294" y="104031"/>
                  <a:pt x="1942341" y="104915"/>
                </a:cubicBezTo>
                <a:close/>
                <a:moveTo>
                  <a:pt x="255804" y="103392"/>
                </a:moveTo>
                <a:cubicBezTo>
                  <a:pt x="269409" y="103392"/>
                  <a:pt x="277571" y="112643"/>
                  <a:pt x="277571" y="126791"/>
                </a:cubicBezTo>
                <a:cubicBezTo>
                  <a:pt x="277027" y="139852"/>
                  <a:pt x="267776" y="148558"/>
                  <a:pt x="254172" y="148014"/>
                </a:cubicBezTo>
                <a:cubicBezTo>
                  <a:pt x="241112" y="148014"/>
                  <a:pt x="231861" y="138763"/>
                  <a:pt x="232405" y="125159"/>
                </a:cubicBezTo>
                <a:cubicBezTo>
                  <a:pt x="232405" y="112099"/>
                  <a:pt x="242200" y="102848"/>
                  <a:pt x="255804" y="103392"/>
                </a:cubicBezTo>
                <a:close/>
                <a:moveTo>
                  <a:pt x="1773511" y="99405"/>
                </a:moveTo>
                <a:cubicBezTo>
                  <a:pt x="1773511" y="102126"/>
                  <a:pt x="1772966" y="104303"/>
                  <a:pt x="1773511" y="107023"/>
                </a:cubicBezTo>
                <a:cubicBezTo>
                  <a:pt x="1776232" y="114098"/>
                  <a:pt x="1778408" y="121716"/>
                  <a:pt x="1780585" y="130423"/>
                </a:cubicBezTo>
                <a:cubicBezTo>
                  <a:pt x="1778408" y="139130"/>
                  <a:pt x="1775687" y="147293"/>
                  <a:pt x="1773511" y="155999"/>
                </a:cubicBezTo>
                <a:cubicBezTo>
                  <a:pt x="1772966" y="157632"/>
                  <a:pt x="1772966" y="160897"/>
                  <a:pt x="1774055" y="161985"/>
                </a:cubicBezTo>
                <a:cubicBezTo>
                  <a:pt x="1775143" y="163074"/>
                  <a:pt x="1778408" y="163074"/>
                  <a:pt x="1780041" y="162529"/>
                </a:cubicBezTo>
                <a:cubicBezTo>
                  <a:pt x="1789836" y="155455"/>
                  <a:pt x="1800719" y="157632"/>
                  <a:pt x="1811059" y="157632"/>
                </a:cubicBezTo>
                <a:cubicBezTo>
                  <a:pt x="1817589" y="157632"/>
                  <a:pt x="1824119" y="156543"/>
                  <a:pt x="1829561" y="161985"/>
                </a:cubicBezTo>
                <a:cubicBezTo>
                  <a:pt x="1830649" y="163074"/>
                  <a:pt x="1834458" y="161985"/>
                  <a:pt x="1836635" y="161985"/>
                </a:cubicBezTo>
                <a:cubicBezTo>
                  <a:pt x="1835547" y="160353"/>
                  <a:pt x="1835002" y="158720"/>
                  <a:pt x="1833914" y="157088"/>
                </a:cubicBezTo>
                <a:cubicBezTo>
                  <a:pt x="1826840" y="139674"/>
                  <a:pt x="1826296" y="121716"/>
                  <a:pt x="1834458" y="104303"/>
                </a:cubicBezTo>
                <a:cubicBezTo>
                  <a:pt x="1835002" y="102670"/>
                  <a:pt x="1835547" y="101038"/>
                  <a:pt x="1835547" y="99405"/>
                </a:cubicBezTo>
                <a:cubicBezTo>
                  <a:pt x="1833914" y="99949"/>
                  <a:pt x="1832282" y="99949"/>
                  <a:pt x="1831193" y="101038"/>
                </a:cubicBezTo>
                <a:cubicBezTo>
                  <a:pt x="1814324" y="109200"/>
                  <a:pt x="1797454" y="109200"/>
                  <a:pt x="1780041" y="101582"/>
                </a:cubicBezTo>
                <a:cubicBezTo>
                  <a:pt x="1777864" y="100493"/>
                  <a:pt x="1775687" y="100493"/>
                  <a:pt x="1773511" y="99405"/>
                </a:cubicBezTo>
                <a:close/>
                <a:moveTo>
                  <a:pt x="417424" y="97950"/>
                </a:moveTo>
                <a:cubicBezTo>
                  <a:pt x="435382" y="97950"/>
                  <a:pt x="445721" y="108289"/>
                  <a:pt x="445721" y="126247"/>
                </a:cubicBezTo>
                <a:cubicBezTo>
                  <a:pt x="445721" y="143661"/>
                  <a:pt x="435382" y="153456"/>
                  <a:pt x="417424" y="153456"/>
                </a:cubicBezTo>
                <a:cubicBezTo>
                  <a:pt x="402187" y="155088"/>
                  <a:pt x="389127" y="141484"/>
                  <a:pt x="390215" y="125159"/>
                </a:cubicBezTo>
                <a:cubicBezTo>
                  <a:pt x="391304" y="107745"/>
                  <a:pt x="400555" y="97950"/>
                  <a:pt x="417424" y="97950"/>
                </a:cubicBezTo>
                <a:close/>
                <a:moveTo>
                  <a:pt x="580677" y="92508"/>
                </a:moveTo>
                <a:cubicBezTo>
                  <a:pt x="599724" y="92508"/>
                  <a:pt x="613328" y="106112"/>
                  <a:pt x="614960" y="125159"/>
                </a:cubicBezTo>
                <a:cubicBezTo>
                  <a:pt x="616049" y="141484"/>
                  <a:pt x="598091" y="161618"/>
                  <a:pt x="581766" y="158353"/>
                </a:cubicBezTo>
                <a:cubicBezTo>
                  <a:pt x="561631" y="158353"/>
                  <a:pt x="548571" y="145293"/>
                  <a:pt x="548571" y="125703"/>
                </a:cubicBezTo>
                <a:cubicBezTo>
                  <a:pt x="548571" y="106657"/>
                  <a:pt x="562175" y="92508"/>
                  <a:pt x="580677" y="92508"/>
                </a:cubicBezTo>
                <a:close/>
                <a:moveTo>
                  <a:pt x="745019" y="88154"/>
                </a:moveTo>
                <a:cubicBezTo>
                  <a:pt x="763521" y="87610"/>
                  <a:pt x="783111" y="107745"/>
                  <a:pt x="782567" y="126791"/>
                </a:cubicBezTo>
                <a:cubicBezTo>
                  <a:pt x="782023" y="147469"/>
                  <a:pt x="761344" y="164339"/>
                  <a:pt x="743930" y="164339"/>
                </a:cubicBezTo>
                <a:cubicBezTo>
                  <a:pt x="723796" y="163795"/>
                  <a:pt x="705838" y="144204"/>
                  <a:pt x="706382" y="125702"/>
                </a:cubicBezTo>
                <a:cubicBezTo>
                  <a:pt x="706926" y="109377"/>
                  <a:pt x="723252" y="87066"/>
                  <a:pt x="745019" y="88154"/>
                </a:cubicBezTo>
                <a:close/>
                <a:moveTo>
                  <a:pt x="1685898" y="84712"/>
                </a:moveTo>
                <a:lnTo>
                  <a:pt x="1685681" y="85147"/>
                </a:lnTo>
                <a:lnTo>
                  <a:pt x="1685354" y="85256"/>
                </a:lnTo>
                <a:cubicBezTo>
                  <a:pt x="1685354" y="85256"/>
                  <a:pt x="1685898" y="84712"/>
                  <a:pt x="1685898" y="84712"/>
                </a:cubicBezTo>
                <a:close/>
                <a:moveTo>
                  <a:pt x="907183" y="84345"/>
                </a:moveTo>
                <a:cubicBezTo>
                  <a:pt x="916978" y="84345"/>
                  <a:pt x="926773" y="87610"/>
                  <a:pt x="934935" y="95228"/>
                </a:cubicBezTo>
                <a:cubicBezTo>
                  <a:pt x="944187" y="103935"/>
                  <a:pt x="946907" y="114819"/>
                  <a:pt x="949628" y="125158"/>
                </a:cubicBezTo>
                <a:cubicBezTo>
                  <a:pt x="946907" y="150190"/>
                  <a:pt x="932759" y="166515"/>
                  <a:pt x="908271" y="167060"/>
                </a:cubicBezTo>
                <a:cubicBezTo>
                  <a:pt x="884871" y="167604"/>
                  <a:pt x="867458" y="150734"/>
                  <a:pt x="866369" y="125702"/>
                </a:cubicBezTo>
                <a:cubicBezTo>
                  <a:pt x="865825" y="103935"/>
                  <a:pt x="884871" y="83801"/>
                  <a:pt x="907183" y="84345"/>
                </a:cubicBezTo>
                <a:close/>
                <a:moveTo>
                  <a:pt x="1070979" y="82169"/>
                </a:moveTo>
                <a:cubicBezTo>
                  <a:pt x="1095467" y="79448"/>
                  <a:pt x="1115602" y="103936"/>
                  <a:pt x="1115602" y="126247"/>
                </a:cubicBezTo>
                <a:cubicBezTo>
                  <a:pt x="1115602" y="148014"/>
                  <a:pt x="1094923" y="170325"/>
                  <a:pt x="1071524" y="170325"/>
                </a:cubicBezTo>
                <a:cubicBezTo>
                  <a:pt x="1047580" y="170325"/>
                  <a:pt x="1026357" y="148558"/>
                  <a:pt x="1026357" y="125703"/>
                </a:cubicBezTo>
                <a:cubicBezTo>
                  <a:pt x="1026357" y="103936"/>
                  <a:pt x="1047036" y="79448"/>
                  <a:pt x="1070979" y="82169"/>
                </a:cubicBezTo>
                <a:close/>
                <a:moveTo>
                  <a:pt x="1684811" y="82168"/>
                </a:moveTo>
                <a:cubicBezTo>
                  <a:pt x="1684811" y="82168"/>
                  <a:pt x="1684266" y="82713"/>
                  <a:pt x="1684266" y="82713"/>
                </a:cubicBezTo>
                <a:lnTo>
                  <a:pt x="1684469" y="82365"/>
                </a:lnTo>
                <a:close/>
                <a:moveTo>
                  <a:pt x="1234777" y="78360"/>
                </a:moveTo>
                <a:cubicBezTo>
                  <a:pt x="1259809" y="76727"/>
                  <a:pt x="1284297" y="101759"/>
                  <a:pt x="1282664" y="126791"/>
                </a:cubicBezTo>
                <a:cubicBezTo>
                  <a:pt x="1280487" y="152912"/>
                  <a:pt x="1264162" y="171958"/>
                  <a:pt x="1234232" y="174135"/>
                </a:cubicBezTo>
                <a:cubicBezTo>
                  <a:pt x="1205935" y="172502"/>
                  <a:pt x="1186345" y="153456"/>
                  <a:pt x="1186889" y="126791"/>
                </a:cubicBezTo>
                <a:cubicBezTo>
                  <a:pt x="1187433" y="96318"/>
                  <a:pt x="1207024" y="79992"/>
                  <a:pt x="1234777" y="78360"/>
                </a:cubicBezTo>
                <a:close/>
                <a:moveTo>
                  <a:pt x="1398574" y="76182"/>
                </a:moveTo>
                <a:cubicBezTo>
                  <a:pt x="1424150" y="74006"/>
                  <a:pt x="1448638" y="99582"/>
                  <a:pt x="1448094" y="127335"/>
                </a:cubicBezTo>
                <a:cubicBezTo>
                  <a:pt x="1447549" y="151823"/>
                  <a:pt x="1426327" y="176311"/>
                  <a:pt x="1396941" y="175766"/>
                </a:cubicBezTo>
                <a:cubicBezTo>
                  <a:pt x="1367011" y="175222"/>
                  <a:pt x="1347421" y="151278"/>
                  <a:pt x="1347421" y="125702"/>
                </a:cubicBezTo>
                <a:cubicBezTo>
                  <a:pt x="1347421" y="99038"/>
                  <a:pt x="1369732" y="74006"/>
                  <a:pt x="1398574" y="76182"/>
                </a:cubicBezTo>
                <a:close/>
                <a:moveTo>
                  <a:pt x="1561282" y="72373"/>
                </a:moveTo>
                <a:cubicBezTo>
                  <a:pt x="1588491" y="72373"/>
                  <a:pt x="1614611" y="96861"/>
                  <a:pt x="1614611" y="126247"/>
                </a:cubicBezTo>
                <a:cubicBezTo>
                  <a:pt x="1614067" y="155632"/>
                  <a:pt x="1590667" y="180120"/>
                  <a:pt x="1560738" y="179576"/>
                </a:cubicBezTo>
                <a:cubicBezTo>
                  <a:pt x="1530808" y="179576"/>
                  <a:pt x="1507953" y="156176"/>
                  <a:pt x="1507409" y="126247"/>
                </a:cubicBezTo>
                <a:cubicBezTo>
                  <a:pt x="1506864" y="96861"/>
                  <a:pt x="1532441" y="72373"/>
                  <a:pt x="1561282" y="72373"/>
                </a:cubicBezTo>
                <a:close/>
                <a:moveTo>
                  <a:pt x="10381" y="33737"/>
                </a:moveTo>
                <a:cubicBezTo>
                  <a:pt x="15822" y="33737"/>
                  <a:pt x="20720" y="39179"/>
                  <a:pt x="20720" y="45165"/>
                </a:cubicBezTo>
                <a:cubicBezTo>
                  <a:pt x="20176" y="50606"/>
                  <a:pt x="14734" y="55504"/>
                  <a:pt x="9292" y="54960"/>
                </a:cubicBezTo>
                <a:cubicBezTo>
                  <a:pt x="4395" y="54416"/>
                  <a:pt x="41" y="49518"/>
                  <a:pt x="41" y="44621"/>
                </a:cubicBezTo>
                <a:cubicBezTo>
                  <a:pt x="-503" y="38635"/>
                  <a:pt x="4395" y="33737"/>
                  <a:pt x="10381" y="33737"/>
                </a:cubicBezTo>
                <a:close/>
                <a:moveTo>
                  <a:pt x="172546" y="23942"/>
                </a:moveTo>
                <a:cubicBezTo>
                  <a:pt x="181796" y="22854"/>
                  <a:pt x="193224" y="34826"/>
                  <a:pt x="193224" y="44621"/>
                </a:cubicBezTo>
                <a:cubicBezTo>
                  <a:pt x="193224" y="53872"/>
                  <a:pt x="182341" y="64755"/>
                  <a:pt x="173090" y="64755"/>
                </a:cubicBezTo>
                <a:cubicBezTo>
                  <a:pt x="164383" y="64755"/>
                  <a:pt x="152411" y="52784"/>
                  <a:pt x="152411" y="44621"/>
                </a:cubicBezTo>
                <a:cubicBezTo>
                  <a:pt x="152411" y="36458"/>
                  <a:pt x="164927" y="24486"/>
                  <a:pt x="172546" y="23942"/>
                </a:cubicBezTo>
                <a:close/>
                <a:moveTo>
                  <a:pt x="1861123" y="22132"/>
                </a:moveTo>
                <a:cubicBezTo>
                  <a:pt x="1861123" y="26485"/>
                  <a:pt x="1860035" y="31383"/>
                  <a:pt x="1861123" y="35737"/>
                </a:cubicBezTo>
                <a:cubicBezTo>
                  <a:pt x="1863844" y="44443"/>
                  <a:pt x="1864932" y="52606"/>
                  <a:pt x="1861123" y="61313"/>
                </a:cubicBezTo>
                <a:cubicBezTo>
                  <a:pt x="1860035" y="64034"/>
                  <a:pt x="1860035" y="67299"/>
                  <a:pt x="1858946" y="72740"/>
                </a:cubicBezTo>
                <a:cubicBezTo>
                  <a:pt x="1858402" y="76550"/>
                  <a:pt x="1861123" y="77638"/>
                  <a:pt x="1866021" y="76550"/>
                </a:cubicBezTo>
                <a:cubicBezTo>
                  <a:pt x="1868741" y="76006"/>
                  <a:pt x="1871462" y="76006"/>
                  <a:pt x="1873639" y="74917"/>
                </a:cubicBezTo>
                <a:cubicBezTo>
                  <a:pt x="1882346" y="71108"/>
                  <a:pt x="1891053" y="71108"/>
                  <a:pt x="1900304" y="74373"/>
                </a:cubicBezTo>
                <a:cubicBezTo>
                  <a:pt x="1902480" y="75461"/>
                  <a:pt x="1905201" y="76006"/>
                  <a:pt x="1907922" y="76006"/>
                </a:cubicBezTo>
                <a:cubicBezTo>
                  <a:pt x="1912276" y="76550"/>
                  <a:pt x="1914996" y="75461"/>
                  <a:pt x="1912820" y="70020"/>
                </a:cubicBezTo>
                <a:cubicBezTo>
                  <a:pt x="1907378" y="55871"/>
                  <a:pt x="1906834" y="41178"/>
                  <a:pt x="1912820" y="27030"/>
                </a:cubicBezTo>
                <a:cubicBezTo>
                  <a:pt x="1914996" y="22132"/>
                  <a:pt x="1911731" y="21588"/>
                  <a:pt x="1908466" y="22132"/>
                </a:cubicBezTo>
                <a:cubicBezTo>
                  <a:pt x="1906290" y="22676"/>
                  <a:pt x="1904657" y="24309"/>
                  <a:pt x="1902480" y="24309"/>
                </a:cubicBezTo>
                <a:cubicBezTo>
                  <a:pt x="1892685" y="24309"/>
                  <a:pt x="1882890" y="24853"/>
                  <a:pt x="1873095" y="24309"/>
                </a:cubicBezTo>
                <a:cubicBezTo>
                  <a:pt x="1868741" y="24309"/>
                  <a:pt x="1864932" y="22676"/>
                  <a:pt x="1861123" y="22132"/>
                </a:cubicBezTo>
                <a:close/>
                <a:moveTo>
                  <a:pt x="336886" y="17412"/>
                </a:moveTo>
                <a:cubicBezTo>
                  <a:pt x="347770" y="17412"/>
                  <a:pt x="363551" y="31016"/>
                  <a:pt x="363007" y="44077"/>
                </a:cubicBezTo>
                <a:cubicBezTo>
                  <a:pt x="363007" y="57681"/>
                  <a:pt x="350491" y="70741"/>
                  <a:pt x="337431" y="71285"/>
                </a:cubicBezTo>
                <a:cubicBezTo>
                  <a:pt x="324370" y="71830"/>
                  <a:pt x="310766" y="58769"/>
                  <a:pt x="310222" y="45165"/>
                </a:cubicBezTo>
                <a:cubicBezTo>
                  <a:pt x="309678" y="31016"/>
                  <a:pt x="323282" y="17956"/>
                  <a:pt x="336886" y="17412"/>
                </a:cubicBezTo>
                <a:close/>
                <a:moveTo>
                  <a:pt x="498507" y="13059"/>
                </a:moveTo>
                <a:cubicBezTo>
                  <a:pt x="514832" y="11970"/>
                  <a:pt x="531702" y="28296"/>
                  <a:pt x="531702" y="44621"/>
                </a:cubicBezTo>
                <a:cubicBezTo>
                  <a:pt x="531702" y="60402"/>
                  <a:pt x="515376" y="76183"/>
                  <a:pt x="499595" y="76727"/>
                </a:cubicBezTo>
                <a:cubicBezTo>
                  <a:pt x="483270" y="76727"/>
                  <a:pt x="467489" y="61490"/>
                  <a:pt x="467489" y="45165"/>
                </a:cubicBezTo>
                <a:cubicBezTo>
                  <a:pt x="467489" y="28840"/>
                  <a:pt x="482182" y="13059"/>
                  <a:pt x="498507" y="13059"/>
                </a:cubicBezTo>
                <a:close/>
                <a:moveTo>
                  <a:pt x="662303" y="7616"/>
                </a:moveTo>
                <a:cubicBezTo>
                  <a:pt x="680805" y="7072"/>
                  <a:pt x="698763" y="25030"/>
                  <a:pt x="698763" y="44076"/>
                </a:cubicBezTo>
                <a:cubicBezTo>
                  <a:pt x="698763" y="62578"/>
                  <a:pt x="680261" y="81624"/>
                  <a:pt x="662303" y="81080"/>
                </a:cubicBezTo>
                <a:cubicBezTo>
                  <a:pt x="644346" y="80536"/>
                  <a:pt x="626932" y="62578"/>
                  <a:pt x="626932" y="44076"/>
                </a:cubicBezTo>
                <a:cubicBezTo>
                  <a:pt x="626932" y="25574"/>
                  <a:pt x="643257" y="8160"/>
                  <a:pt x="662303" y="7616"/>
                </a:cubicBezTo>
                <a:close/>
                <a:moveTo>
                  <a:pt x="825557" y="5440"/>
                </a:moveTo>
                <a:cubicBezTo>
                  <a:pt x="847868" y="5440"/>
                  <a:pt x="865281" y="23942"/>
                  <a:pt x="865281" y="44621"/>
                </a:cubicBezTo>
                <a:cubicBezTo>
                  <a:pt x="865281" y="63667"/>
                  <a:pt x="847324" y="85978"/>
                  <a:pt x="826101" y="83257"/>
                </a:cubicBezTo>
                <a:cubicBezTo>
                  <a:pt x="805422" y="85978"/>
                  <a:pt x="786920" y="64211"/>
                  <a:pt x="786920" y="44621"/>
                </a:cubicBezTo>
                <a:cubicBezTo>
                  <a:pt x="786920" y="22854"/>
                  <a:pt x="805422" y="5440"/>
                  <a:pt x="825557" y="5440"/>
                </a:cubicBezTo>
                <a:close/>
                <a:moveTo>
                  <a:pt x="989353" y="1086"/>
                </a:moveTo>
                <a:cubicBezTo>
                  <a:pt x="1013297" y="1086"/>
                  <a:pt x="1032343" y="21220"/>
                  <a:pt x="1032343" y="43532"/>
                </a:cubicBezTo>
                <a:cubicBezTo>
                  <a:pt x="1032887" y="66931"/>
                  <a:pt x="1012753" y="88698"/>
                  <a:pt x="989897" y="87610"/>
                </a:cubicBezTo>
                <a:cubicBezTo>
                  <a:pt x="967042" y="88698"/>
                  <a:pt x="945819" y="65843"/>
                  <a:pt x="945819" y="44620"/>
                </a:cubicBezTo>
                <a:cubicBezTo>
                  <a:pt x="945819" y="23941"/>
                  <a:pt x="964321" y="1086"/>
                  <a:pt x="989353" y="1086"/>
                </a:cubicBezTo>
                <a:close/>
                <a:moveTo>
                  <a:pt x="1614056" y="0"/>
                </a:moveTo>
                <a:lnTo>
                  <a:pt x="1675529" y="0"/>
                </a:lnTo>
                <a:lnTo>
                  <a:pt x="1682905" y="4720"/>
                </a:lnTo>
                <a:lnTo>
                  <a:pt x="1933639" y="4720"/>
                </a:lnTo>
                <a:cubicBezTo>
                  <a:pt x="1966059" y="4720"/>
                  <a:pt x="1995409" y="17861"/>
                  <a:pt x="2016655" y="39107"/>
                </a:cubicBezTo>
                <a:lnTo>
                  <a:pt x="2028934" y="57318"/>
                </a:lnTo>
                <a:lnTo>
                  <a:pt x="2026008" y="71108"/>
                </a:lnTo>
                <a:cubicBezTo>
                  <a:pt x="2023832" y="74917"/>
                  <a:pt x="2026552" y="77094"/>
                  <a:pt x="2030906" y="75461"/>
                </a:cubicBezTo>
                <a:lnTo>
                  <a:pt x="2039929" y="73627"/>
                </a:lnTo>
                <a:lnTo>
                  <a:pt x="2041815" y="76424"/>
                </a:lnTo>
                <a:cubicBezTo>
                  <a:pt x="2047756" y="90470"/>
                  <a:pt x="2051041" y="105912"/>
                  <a:pt x="2051041" y="122122"/>
                </a:cubicBezTo>
                <a:lnTo>
                  <a:pt x="2051041" y="186473"/>
                </a:lnTo>
                <a:lnTo>
                  <a:pt x="2029818" y="186473"/>
                </a:lnTo>
                <a:cubicBezTo>
                  <a:pt x="2023832" y="184297"/>
                  <a:pt x="2022743" y="185929"/>
                  <a:pt x="2023287" y="192459"/>
                </a:cubicBezTo>
                <a:cubicBezTo>
                  <a:pt x="2023287" y="193548"/>
                  <a:pt x="2023287" y="195180"/>
                  <a:pt x="2023832" y="196268"/>
                </a:cubicBezTo>
                <a:cubicBezTo>
                  <a:pt x="2028185" y="210961"/>
                  <a:pt x="2026008" y="225110"/>
                  <a:pt x="2019478" y="239258"/>
                </a:cubicBezTo>
                <a:cubicBezTo>
                  <a:pt x="2018934" y="240347"/>
                  <a:pt x="2019478" y="241979"/>
                  <a:pt x="2020022" y="242523"/>
                </a:cubicBezTo>
                <a:cubicBezTo>
                  <a:pt x="2020566" y="243067"/>
                  <a:pt x="2022743" y="243612"/>
                  <a:pt x="2023287" y="243067"/>
                </a:cubicBezTo>
                <a:cubicBezTo>
                  <a:pt x="2032266" y="238986"/>
                  <a:pt x="2041245" y="237082"/>
                  <a:pt x="2050224" y="237150"/>
                </a:cubicBezTo>
                <a:lnTo>
                  <a:pt x="2051041" y="237329"/>
                </a:lnTo>
                <a:lnTo>
                  <a:pt x="2051041" y="348996"/>
                </a:lnTo>
                <a:lnTo>
                  <a:pt x="2036552" y="347754"/>
                </a:lnTo>
                <a:cubicBezTo>
                  <a:pt x="2031178" y="346733"/>
                  <a:pt x="2026009" y="344829"/>
                  <a:pt x="2021111" y="341019"/>
                </a:cubicBezTo>
                <a:cubicBezTo>
                  <a:pt x="2020022" y="339931"/>
                  <a:pt x="2018390" y="339387"/>
                  <a:pt x="2016757" y="338842"/>
                </a:cubicBezTo>
                <a:cubicBezTo>
                  <a:pt x="2016757" y="340475"/>
                  <a:pt x="2016757" y="343196"/>
                  <a:pt x="2017301" y="344284"/>
                </a:cubicBezTo>
                <a:cubicBezTo>
                  <a:pt x="2022743" y="354079"/>
                  <a:pt x="2026008" y="364419"/>
                  <a:pt x="2025464" y="376391"/>
                </a:cubicBezTo>
                <a:cubicBezTo>
                  <a:pt x="2024376" y="398702"/>
                  <a:pt x="2014580" y="413939"/>
                  <a:pt x="1994446" y="424278"/>
                </a:cubicBezTo>
                <a:cubicBezTo>
                  <a:pt x="1972135" y="435706"/>
                  <a:pt x="1950912" y="431352"/>
                  <a:pt x="1933498" y="416115"/>
                </a:cubicBezTo>
                <a:cubicBezTo>
                  <a:pt x="1917173" y="401967"/>
                  <a:pt x="1908466" y="378567"/>
                  <a:pt x="1920438" y="352447"/>
                </a:cubicBezTo>
                <a:cubicBezTo>
                  <a:pt x="1922615" y="348093"/>
                  <a:pt x="1923703" y="343196"/>
                  <a:pt x="1925336" y="338298"/>
                </a:cubicBezTo>
                <a:cubicBezTo>
                  <a:pt x="1920982" y="339931"/>
                  <a:pt x="1916085" y="341563"/>
                  <a:pt x="1911731" y="343196"/>
                </a:cubicBezTo>
                <a:cubicBezTo>
                  <a:pt x="1907378" y="344828"/>
                  <a:pt x="1903024" y="347005"/>
                  <a:pt x="1898671" y="347005"/>
                </a:cubicBezTo>
                <a:cubicBezTo>
                  <a:pt x="1882890" y="348638"/>
                  <a:pt x="1867653" y="348638"/>
                  <a:pt x="1854593" y="336666"/>
                </a:cubicBezTo>
                <a:lnTo>
                  <a:pt x="1847690" y="333480"/>
                </a:lnTo>
                <a:lnTo>
                  <a:pt x="1852961" y="344461"/>
                </a:lnTo>
                <a:cubicBezTo>
                  <a:pt x="1868742" y="372214"/>
                  <a:pt x="1855137" y="408674"/>
                  <a:pt x="1826840" y="420646"/>
                </a:cubicBezTo>
                <a:cubicBezTo>
                  <a:pt x="1803441" y="430985"/>
                  <a:pt x="1777864" y="422278"/>
                  <a:pt x="1765893" y="408130"/>
                </a:cubicBezTo>
                <a:cubicBezTo>
                  <a:pt x="1749567" y="388539"/>
                  <a:pt x="1744126" y="368405"/>
                  <a:pt x="1759362" y="342829"/>
                </a:cubicBezTo>
                <a:cubicBezTo>
                  <a:pt x="1771199" y="322422"/>
                  <a:pt x="1795584" y="313341"/>
                  <a:pt x="1815991" y="317193"/>
                </a:cubicBezTo>
                <a:cubicBezTo>
                  <a:pt x="1822793" y="318477"/>
                  <a:pt x="1829153" y="321198"/>
                  <a:pt x="1834459" y="325415"/>
                </a:cubicBezTo>
                <a:lnTo>
                  <a:pt x="1845023" y="330169"/>
                </a:lnTo>
                <a:lnTo>
                  <a:pt x="1840444" y="321429"/>
                </a:lnTo>
                <a:cubicBezTo>
                  <a:pt x="1831193" y="306736"/>
                  <a:pt x="1832282" y="290955"/>
                  <a:pt x="1834458" y="275174"/>
                </a:cubicBezTo>
                <a:cubicBezTo>
                  <a:pt x="1835002" y="269732"/>
                  <a:pt x="1838812" y="265379"/>
                  <a:pt x="1840988" y="259937"/>
                </a:cubicBezTo>
                <a:cubicBezTo>
                  <a:pt x="1841533" y="258849"/>
                  <a:pt x="1842077" y="257216"/>
                  <a:pt x="1842077" y="255584"/>
                </a:cubicBezTo>
                <a:cubicBezTo>
                  <a:pt x="1840444" y="256128"/>
                  <a:pt x="1838812" y="256672"/>
                  <a:pt x="1837723" y="257216"/>
                </a:cubicBezTo>
                <a:cubicBezTo>
                  <a:pt x="1831193" y="259937"/>
                  <a:pt x="1824663" y="263746"/>
                  <a:pt x="1817589" y="264834"/>
                </a:cubicBezTo>
                <a:cubicBezTo>
                  <a:pt x="1799631" y="268100"/>
                  <a:pt x="1782762" y="264290"/>
                  <a:pt x="1768069" y="251774"/>
                </a:cubicBezTo>
                <a:lnTo>
                  <a:pt x="1764740" y="250110"/>
                </a:lnTo>
                <a:lnTo>
                  <a:pt x="1773510" y="267189"/>
                </a:lnTo>
                <a:cubicBezTo>
                  <a:pt x="1786571" y="292765"/>
                  <a:pt x="1773510" y="323239"/>
                  <a:pt x="1750655" y="336843"/>
                </a:cubicBezTo>
                <a:cubicBezTo>
                  <a:pt x="1721270" y="354257"/>
                  <a:pt x="1685354" y="337388"/>
                  <a:pt x="1673926" y="310723"/>
                </a:cubicBezTo>
                <a:cubicBezTo>
                  <a:pt x="1664675" y="289500"/>
                  <a:pt x="1669029" y="271542"/>
                  <a:pt x="1681545" y="254673"/>
                </a:cubicBezTo>
                <a:cubicBezTo>
                  <a:pt x="1694605" y="237803"/>
                  <a:pt x="1712563" y="231817"/>
                  <a:pt x="1733786" y="235083"/>
                </a:cubicBezTo>
                <a:cubicBezTo>
                  <a:pt x="1739771" y="236171"/>
                  <a:pt x="1745757" y="239980"/>
                  <a:pt x="1751743" y="242157"/>
                </a:cubicBezTo>
                <a:lnTo>
                  <a:pt x="1762506" y="246769"/>
                </a:lnTo>
                <a:lnTo>
                  <a:pt x="1757185" y="236537"/>
                </a:lnTo>
                <a:cubicBezTo>
                  <a:pt x="1747934" y="219668"/>
                  <a:pt x="1747390" y="203343"/>
                  <a:pt x="1756097" y="185929"/>
                </a:cubicBezTo>
                <a:cubicBezTo>
                  <a:pt x="1757185" y="183752"/>
                  <a:pt x="1756641" y="180487"/>
                  <a:pt x="1757185" y="177766"/>
                </a:cubicBezTo>
                <a:cubicBezTo>
                  <a:pt x="1754464" y="177766"/>
                  <a:pt x="1751199" y="177222"/>
                  <a:pt x="1749023" y="178311"/>
                </a:cubicBezTo>
                <a:cubicBezTo>
                  <a:pt x="1722358" y="193003"/>
                  <a:pt x="1688075" y="178855"/>
                  <a:pt x="1676103" y="154911"/>
                </a:cubicBezTo>
                <a:cubicBezTo>
                  <a:pt x="1665220" y="133688"/>
                  <a:pt x="1667396" y="113554"/>
                  <a:pt x="1681001" y="94507"/>
                </a:cubicBezTo>
                <a:lnTo>
                  <a:pt x="1685681" y="85147"/>
                </a:lnTo>
                <a:lnTo>
                  <a:pt x="1693517" y="82536"/>
                </a:lnTo>
                <a:cubicBezTo>
                  <a:pt x="1710930" y="71108"/>
                  <a:pt x="1728888" y="71108"/>
                  <a:pt x="1747934" y="77638"/>
                </a:cubicBezTo>
                <a:cubicBezTo>
                  <a:pt x="1750655" y="78726"/>
                  <a:pt x="1753920" y="78726"/>
                  <a:pt x="1756641" y="79271"/>
                </a:cubicBezTo>
                <a:cubicBezTo>
                  <a:pt x="1756097" y="76550"/>
                  <a:pt x="1755553" y="74373"/>
                  <a:pt x="1754464" y="71652"/>
                </a:cubicBezTo>
                <a:cubicBezTo>
                  <a:pt x="1753920" y="70564"/>
                  <a:pt x="1753376" y="69475"/>
                  <a:pt x="1752832" y="68387"/>
                </a:cubicBezTo>
                <a:cubicBezTo>
                  <a:pt x="1747934" y="52062"/>
                  <a:pt x="1747390" y="35737"/>
                  <a:pt x="1756097" y="20500"/>
                </a:cubicBezTo>
                <a:cubicBezTo>
                  <a:pt x="1756641" y="19411"/>
                  <a:pt x="1757185" y="16690"/>
                  <a:pt x="1756641" y="16146"/>
                </a:cubicBezTo>
                <a:cubicBezTo>
                  <a:pt x="1755553" y="15058"/>
                  <a:pt x="1753376" y="14514"/>
                  <a:pt x="1751744" y="15058"/>
                </a:cubicBezTo>
                <a:cubicBezTo>
                  <a:pt x="1747934" y="16146"/>
                  <a:pt x="1744669" y="19411"/>
                  <a:pt x="1741404" y="19955"/>
                </a:cubicBezTo>
                <a:cubicBezTo>
                  <a:pt x="1724535" y="21588"/>
                  <a:pt x="1707121" y="23765"/>
                  <a:pt x="1691884" y="11249"/>
                </a:cubicBezTo>
                <a:lnTo>
                  <a:pt x="1685645" y="8369"/>
                </a:lnTo>
                <a:lnTo>
                  <a:pt x="1688620" y="14691"/>
                </a:lnTo>
                <a:cubicBezTo>
                  <a:pt x="1700048" y="32648"/>
                  <a:pt x="1700048" y="50606"/>
                  <a:pt x="1691885" y="69652"/>
                </a:cubicBezTo>
                <a:lnTo>
                  <a:pt x="1684469" y="82365"/>
                </a:lnTo>
                <a:lnTo>
                  <a:pt x="1663044" y="94684"/>
                </a:lnTo>
                <a:cubicBezTo>
                  <a:pt x="1651072" y="101759"/>
                  <a:pt x="1638556" y="100126"/>
                  <a:pt x="1626584" y="96861"/>
                </a:cubicBezTo>
                <a:cubicBezTo>
                  <a:pt x="1608082" y="91419"/>
                  <a:pt x="1595566" y="78359"/>
                  <a:pt x="1590124" y="60401"/>
                </a:cubicBezTo>
                <a:cubicBezTo>
                  <a:pt x="1586315" y="48974"/>
                  <a:pt x="1586315" y="37002"/>
                  <a:pt x="1591757" y="25030"/>
                </a:cubicBezTo>
                <a:close/>
                <a:moveTo>
                  <a:pt x="1460066" y="0"/>
                </a:moveTo>
                <a:lnTo>
                  <a:pt x="1498513" y="0"/>
                </a:lnTo>
                <a:lnTo>
                  <a:pt x="1517204" y="8092"/>
                </a:lnTo>
                <a:cubicBezTo>
                  <a:pt x="1526183" y="17411"/>
                  <a:pt x="1531352" y="30199"/>
                  <a:pt x="1531896" y="45164"/>
                </a:cubicBezTo>
                <a:cubicBezTo>
                  <a:pt x="1532985" y="71829"/>
                  <a:pt x="1505776" y="97949"/>
                  <a:pt x="1479111" y="97949"/>
                </a:cubicBezTo>
                <a:cubicBezTo>
                  <a:pt x="1451902" y="97949"/>
                  <a:pt x="1425238" y="71829"/>
                  <a:pt x="1426870" y="45164"/>
                </a:cubicBezTo>
                <a:cubicBezTo>
                  <a:pt x="1427687" y="29655"/>
                  <a:pt x="1432720" y="16867"/>
                  <a:pt x="1441631" y="7684"/>
                </a:cubicBezTo>
                <a:close/>
                <a:moveTo>
                  <a:pt x="1296749" y="0"/>
                </a:moveTo>
                <a:lnTo>
                  <a:pt x="1335755" y="0"/>
                </a:lnTo>
                <a:lnTo>
                  <a:pt x="1350278" y="10270"/>
                </a:lnTo>
                <a:cubicBezTo>
                  <a:pt x="1359937" y="19861"/>
                  <a:pt x="1366467" y="32649"/>
                  <a:pt x="1365923" y="45165"/>
                </a:cubicBezTo>
                <a:cubicBezTo>
                  <a:pt x="1364291" y="71829"/>
                  <a:pt x="1343068" y="93052"/>
                  <a:pt x="1315315" y="93052"/>
                </a:cubicBezTo>
                <a:cubicBezTo>
                  <a:pt x="1290283" y="95229"/>
                  <a:pt x="1266339" y="69109"/>
                  <a:pt x="1266339" y="44076"/>
                </a:cubicBezTo>
                <a:cubicBezTo>
                  <a:pt x="1266339" y="30472"/>
                  <a:pt x="1273141" y="18228"/>
                  <a:pt x="1282732" y="9317"/>
                </a:cubicBezTo>
                <a:close/>
                <a:moveTo>
                  <a:pt x="1148085" y="0"/>
                </a:moveTo>
                <a:lnTo>
                  <a:pt x="1161802" y="0"/>
                </a:lnTo>
                <a:lnTo>
                  <a:pt x="1169637" y="1315"/>
                </a:lnTo>
                <a:cubicBezTo>
                  <a:pt x="1186447" y="8432"/>
                  <a:pt x="1199813" y="26798"/>
                  <a:pt x="1199405" y="45164"/>
                </a:cubicBezTo>
                <a:cubicBezTo>
                  <a:pt x="1198861" y="69652"/>
                  <a:pt x="1175462" y="93596"/>
                  <a:pt x="1151518" y="91419"/>
                </a:cubicBezTo>
                <a:cubicBezTo>
                  <a:pt x="1123765" y="88154"/>
                  <a:pt x="1109072" y="72373"/>
                  <a:pt x="1105807" y="44620"/>
                </a:cubicBezTo>
                <a:cubicBezTo>
                  <a:pt x="1107440" y="30472"/>
                  <a:pt x="1111657" y="19588"/>
                  <a:pt x="1119139" y="11902"/>
                </a:cubicBezTo>
                <a:close/>
              </a:path>
            </a:pathLst>
          </a:custGeom>
          <a:solidFill>
            <a:srgbClr val="9AA8C5">
              <a:alpha val="17000"/>
            </a:srgbClr>
          </a:solidFill>
          <a:ln w="5432" cap="flat">
            <a:noFill/>
            <a:prstDash val="solid"/>
            <a:miter/>
          </a:ln>
        </p:spPr>
        <p:txBody>
          <a:bodyPr rtlCol="0" anchor="ctr"/>
          <a:lstStyle/>
          <a:p>
            <a:endParaRPr lang="en-IN"/>
          </a:p>
        </p:txBody>
      </p:sp>
      <p:sp>
        <p:nvSpPr>
          <p:cNvPr id="7" name="Title 11">
            <a:extLst>
              <a:ext uri="{FF2B5EF4-FFF2-40B4-BE49-F238E27FC236}">
                <a16:creationId xmlns:a16="http://schemas.microsoft.com/office/drawing/2014/main" id="{6FC780B6-C0E4-8E40-A1A2-1720BE0E65A5}"/>
              </a:ext>
            </a:extLst>
          </p:cNvPr>
          <p:cNvSpPr>
            <a:spLocks noGrp="1"/>
          </p:cNvSpPr>
          <p:nvPr>
            <p:ph type="title" hasCustomPrompt="1"/>
          </p:nvPr>
        </p:nvSpPr>
        <p:spPr>
          <a:xfrm>
            <a:off x="374011" y="185817"/>
            <a:ext cx="10515600" cy="608663"/>
          </a:xfrm>
          <a:prstGeom prst="rect">
            <a:avLst/>
          </a:prstGeom>
        </p:spPr>
        <p:txBody>
          <a:bodyPr/>
          <a:lstStyle>
            <a:lvl1pPr>
              <a:defRPr sz="2600" b="1">
                <a:solidFill>
                  <a:srgbClr val="334D8B"/>
                </a:solidFill>
                <a:latin typeface="+mn-lt"/>
              </a:defRPr>
            </a:lvl1pPr>
          </a:lstStyle>
          <a:p>
            <a:r>
              <a:rPr lang="en-US"/>
              <a:t>Write your Heading here</a:t>
            </a:r>
          </a:p>
        </p:txBody>
      </p:sp>
      <p:sp>
        <p:nvSpPr>
          <p:cNvPr id="13" name="Chart Placeholder 12">
            <a:extLst>
              <a:ext uri="{FF2B5EF4-FFF2-40B4-BE49-F238E27FC236}">
                <a16:creationId xmlns:a16="http://schemas.microsoft.com/office/drawing/2014/main" id="{06CDE94D-758F-ED49-B473-C1EB67784FD8}"/>
              </a:ext>
            </a:extLst>
          </p:cNvPr>
          <p:cNvSpPr>
            <a:spLocks noGrp="1"/>
          </p:cNvSpPr>
          <p:nvPr>
            <p:ph type="chart" sz="quarter" idx="13"/>
          </p:nvPr>
        </p:nvSpPr>
        <p:spPr>
          <a:xfrm>
            <a:off x="6122349" y="1328531"/>
            <a:ext cx="4767262" cy="4452596"/>
          </a:xfrm>
          <a:prstGeom prst="rect">
            <a:avLst/>
          </a:prstGeom>
          <a:ln>
            <a:solidFill>
              <a:schemeClr val="bg1">
                <a:lumMod val="85000"/>
                <a:alpha val="39059"/>
              </a:schemeClr>
            </a:solidFill>
          </a:ln>
        </p:spPr>
        <p:txBody>
          <a:bodyPr/>
          <a:lstStyle/>
          <a:p>
            <a:r>
              <a:rPr lang="en-US"/>
              <a:t>Click icon to add chart</a:t>
            </a:r>
            <a:endParaRPr lang="en-GB"/>
          </a:p>
        </p:txBody>
      </p:sp>
      <p:sp>
        <p:nvSpPr>
          <p:cNvPr id="14" name="Text Placeholder 3">
            <a:extLst>
              <a:ext uri="{FF2B5EF4-FFF2-40B4-BE49-F238E27FC236}">
                <a16:creationId xmlns:a16="http://schemas.microsoft.com/office/drawing/2014/main" id="{12ABF4BD-ED98-634B-98A9-AB97EFA168DA}"/>
              </a:ext>
            </a:extLst>
          </p:cNvPr>
          <p:cNvSpPr>
            <a:spLocks noGrp="1"/>
          </p:cNvSpPr>
          <p:nvPr>
            <p:ph type="body" sz="half" idx="2"/>
          </p:nvPr>
        </p:nvSpPr>
        <p:spPr>
          <a:xfrm>
            <a:off x="389061" y="1328531"/>
            <a:ext cx="5561165" cy="4452596"/>
          </a:xfrm>
          <a:prstGeom prst="rect">
            <a:avLst/>
          </a:prstGeom>
        </p:spPr>
        <p:txBody>
          <a:bodyPr/>
          <a:lstStyle>
            <a:lvl1pPr marL="285750" indent="-285750">
              <a:buClr>
                <a:srgbClr val="17BEB7"/>
              </a:buClr>
              <a:buFont typeface="Wingdings" pitchFamily="2" charset="2"/>
              <a:buChar char="§"/>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12" name="Slide Number Placeholder 5">
            <a:extLst>
              <a:ext uri="{FF2B5EF4-FFF2-40B4-BE49-F238E27FC236}">
                <a16:creationId xmlns:a16="http://schemas.microsoft.com/office/drawing/2014/main" id="{B8B82130-E5AE-41D2-9115-77E456824332}"/>
              </a:ext>
            </a:extLst>
          </p:cNvPr>
          <p:cNvSpPr txBox="1">
            <a:spLocks/>
          </p:cNvSpPr>
          <p:nvPr userDrawn="1"/>
        </p:nvSpPr>
        <p:spPr>
          <a:xfrm>
            <a:off x="11373135" y="6506785"/>
            <a:ext cx="609600" cy="261610"/>
          </a:xfrm>
          <a:prstGeom prst="rect">
            <a:avLst/>
          </a:prstGeom>
          <a:noFill/>
        </p:spPr>
        <p:txBody>
          <a:bodyPr>
            <a:spAutoFit/>
          </a:bodyPr>
          <a:lstStyle>
            <a:defPPr>
              <a:defRPr lang="en-US"/>
            </a:defPPr>
            <a:lvl1pPr marL="0" algn="ctr" defTabSz="914400" rtl="0" eaLnBrk="1" latinLnBrk="0" hangingPunct="1">
              <a:defRPr lang="en-US" sz="1800" kern="1200" smtClean="0">
                <a:solidFill>
                  <a:schemeClr val="bg1"/>
                </a:solidFill>
                <a:latin typeface="Tahoma" pitchFamily="34" charset="0"/>
                <a:ea typeface="Tahoma" pitchFamily="34" charset="0"/>
                <a:cs typeface="Tahoma"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fld id="{3413C1ED-5599-4BB6-878F-244F2E6B8E4A}" type="slidenum">
              <a:rPr lang="en-IN" sz="1100">
                <a:solidFill>
                  <a:prstClr val="black">
                    <a:lumMod val="50000"/>
                    <a:lumOff val="50000"/>
                  </a:prstClr>
                </a:solidFill>
              </a:rPr>
              <a:pPr fontAlgn="auto">
                <a:spcBef>
                  <a:spcPts val="0"/>
                </a:spcBef>
                <a:spcAft>
                  <a:spcPts val="0"/>
                </a:spcAft>
                <a:defRPr/>
              </a:pPr>
              <a:t>‹#›</a:t>
            </a:fld>
            <a:endParaRPr lang="en-IN" sz="1100">
              <a:solidFill>
                <a:prstClr val="black">
                  <a:lumMod val="50000"/>
                  <a:lumOff val="50000"/>
                </a:prstClr>
              </a:solidFill>
            </a:endParaRPr>
          </a:p>
        </p:txBody>
      </p:sp>
      <p:pic>
        <p:nvPicPr>
          <p:cNvPr id="15" name="Picture 14">
            <a:extLst>
              <a:ext uri="{FF2B5EF4-FFF2-40B4-BE49-F238E27FC236}">
                <a16:creationId xmlns:a16="http://schemas.microsoft.com/office/drawing/2014/main" id="{27E6217D-F8A0-458B-9180-273D16BE1BFC}"/>
              </a:ext>
            </a:extLst>
          </p:cNvPr>
          <p:cNvPicPr>
            <a:picLocks noChangeAspect="1"/>
          </p:cNvPicPr>
          <p:nvPr userDrawn="1"/>
        </p:nvPicPr>
        <p:blipFill>
          <a:blip r:embed="rId2"/>
          <a:stretch>
            <a:fillRect/>
          </a:stretch>
        </p:blipFill>
        <p:spPr>
          <a:xfrm>
            <a:off x="464908" y="6506785"/>
            <a:ext cx="1148260" cy="138938"/>
          </a:xfrm>
          <a:prstGeom prst="rect">
            <a:avLst/>
          </a:prstGeom>
        </p:spPr>
      </p:pic>
    </p:spTree>
    <p:extLst>
      <p:ext uri="{BB962C8B-B14F-4D97-AF65-F5344CB8AC3E}">
        <p14:creationId xmlns:p14="http://schemas.microsoft.com/office/powerpoint/2010/main" val="301862929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3_Title Slid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37B175F-EE15-4BF8-A755-0A7CE4BB5AAC}"/>
              </a:ext>
            </a:extLst>
          </p:cNvPr>
          <p:cNvGraphicFramePr>
            <a:graphicFrameLocks noChangeAspect="1"/>
          </p:cNvGraphicFramePr>
          <p:nvPr>
            <p:custDataLst>
              <p:tags r:id="rId1"/>
            </p:custDataLst>
            <p:extLst>
              <p:ext uri="{D42A27DB-BD31-4B8C-83A1-F6EECF244321}">
                <p14:modId xmlns:p14="http://schemas.microsoft.com/office/powerpoint/2010/main" val="24168487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0" imgH="393" progId="TCLayout.ActiveDocument.1">
                  <p:embed/>
                </p:oleObj>
              </mc:Choice>
              <mc:Fallback>
                <p:oleObj name="think-cell Slide" r:id="rId3" imgW="400" imgH="393" progId="TCLayout.ActiveDocument.1">
                  <p:embed/>
                  <p:pic>
                    <p:nvPicPr>
                      <p:cNvPr id="6" name="Object 5" hidden="1">
                        <a:extLst>
                          <a:ext uri="{FF2B5EF4-FFF2-40B4-BE49-F238E27FC236}">
                            <a16:creationId xmlns:a16="http://schemas.microsoft.com/office/drawing/2014/main" id="{537B175F-EE15-4BF8-A755-0A7CE4BB5AA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1" name="Title 11">
            <a:extLst>
              <a:ext uri="{FF2B5EF4-FFF2-40B4-BE49-F238E27FC236}">
                <a16:creationId xmlns:a16="http://schemas.microsoft.com/office/drawing/2014/main" id="{DDA87447-1017-4301-A6CE-4D2A98BB0C96}"/>
              </a:ext>
            </a:extLst>
          </p:cNvPr>
          <p:cNvSpPr>
            <a:spLocks noGrp="1"/>
          </p:cNvSpPr>
          <p:nvPr>
            <p:ph type="title" hasCustomPrompt="1"/>
          </p:nvPr>
        </p:nvSpPr>
        <p:spPr>
          <a:xfrm>
            <a:off x="464908" y="185817"/>
            <a:ext cx="10515600" cy="608663"/>
          </a:xfrm>
          <a:prstGeom prst="rect">
            <a:avLst/>
          </a:prstGeom>
        </p:spPr>
        <p:txBody>
          <a:bodyPr vert="horz" lIns="0" tIns="0" rIns="0" bIns="0" rtlCol="0" anchor="ctr">
            <a:normAutofit/>
          </a:bodyPr>
          <a:lstStyle>
            <a:lvl1pPr>
              <a:defRPr lang="en-US" sz="2600" dirty="0">
                <a:solidFill>
                  <a:srgbClr val="334D8B"/>
                </a:solidFill>
              </a:defRPr>
            </a:lvl1pPr>
          </a:lstStyle>
          <a:p>
            <a:pPr lvl="0"/>
            <a:r>
              <a:rPr lang="en-US"/>
              <a:t>Write your Heading here</a:t>
            </a:r>
          </a:p>
        </p:txBody>
      </p:sp>
      <p:sp>
        <p:nvSpPr>
          <p:cNvPr id="10" name="Freeform 315">
            <a:extLst>
              <a:ext uri="{FF2B5EF4-FFF2-40B4-BE49-F238E27FC236}">
                <a16:creationId xmlns:a16="http://schemas.microsoft.com/office/drawing/2014/main" id="{7BEAA25E-0284-2E44-8BCE-51D8C95735DB}"/>
              </a:ext>
            </a:extLst>
          </p:cNvPr>
          <p:cNvSpPr>
            <a:spLocks/>
          </p:cNvSpPr>
          <p:nvPr/>
        </p:nvSpPr>
        <p:spPr bwMode="auto">
          <a:xfrm>
            <a:off x="4624683" y="4545266"/>
            <a:ext cx="1403507" cy="1701715"/>
          </a:xfrm>
          <a:custGeom>
            <a:avLst/>
            <a:gdLst>
              <a:gd name="T0" fmla="*/ 0 w 1386"/>
              <a:gd name="T1" fmla="*/ 399 h 1616"/>
              <a:gd name="T2" fmla="*/ 692 w 1386"/>
              <a:gd name="T3" fmla="*/ 0 h 1616"/>
              <a:gd name="T4" fmla="*/ 1386 w 1386"/>
              <a:gd name="T5" fmla="*/ 399 h 1616"/>
              <a:gd name="T6" fmla="*/ 1386 w 1386"/>
              <a:gd name="T7" fmla="*/ 1216 h 1616"/>
              <a:gd name="T8" fmla="*/ 692 w 1386"/>
              <a:gd name="T9" fmla="*/ 1616 h 1616"/>
              <a:gd name="T10" fmla="*/ 0 w 1386"/>
              <a:gd name="T11" fmla="*/ 1216 h 1616"/>
              <a:gd name="T12" fmla="*/ 0 w 1386"/>
              <a:gd name="T13" fmla="*/ 399 h 1616"/>
            </a:gdLst>
            <a:ahLst/>
            <a:cxnLst>
              <a:cxn ang="0">
                <a:pos x="T0" y="T1"/>
              </a:cxn>
              <a:cxn ang="0">
                <a:pos x="T2" y="T3"/>
              </a:cxn>
              <a:cxn ang="0">
                <a:pos x="T4" y="T5"/>
              </a:cxn>
              <a:cxn ang="0">
                <a:pos x="T6" y="T7"/>
              </a:cxn>
              <a:cxn ang="0">
                <a:pos x="T8" y="T9"/>
              </a:cxn>
              <a:cxn ang="0">
                <a:pos x="T10" y="T11"/>
              </a:cxn>
              <a:cxn ang="0">
                <a:pos x="T12" y="T13"/>
              </a:cxn>
            </a:cxnLst>
            <a:rect l="0" t="0" r="r" b="b"/>
            <a:pathLst>
              <a:path w="1386" h="1616">
                <a:moveTo>
                  <a:pt x="0" y="399"/>
                </a:moveTo>
                <a:lnTo>
                  <a:pt x="692" y="0"/>
                </a:lnTo>
                <a:lnTo>
                  <a:pt x="1386" y="399"/>
                </a:lnTo>
                <a:lnTo>
                  <a:pt x="1386" y="1216"/>
                </a:lnTo>
                <a:lnTo>
                  <a:pt x="692" y="1616"/>
                </a:lnTo>
                <a:lnTo>
                  <a:pt x="0" y="1216"/>
                </a:lnTo>
                <a:lnTo>
                  <a:pt x="0" y="399"/>
                </a:lnTo>
                <a:close/>
              </a:path>
            </a:pathLst>
          </a:custGeom>
          <a:solidFill>
            <a:srgbClr val="17BEB7"/>
          </a:solidFill>
          <a:ln>
            <a:noFill/>
          </a:ln>
        </p:spPr>
        <p:txBody>
          <a:bodyPr vert="horz" wrap="square" lIns="82296" tIns="41148" rIns="82296" bIns="41148" numCol="1" anchor="t" anchorCtr="0" compatLnSpc="1">
            <a:prstTxWarp prst="textNoShape">
              <a:avLst/>
            </a:prstTxWarp>
          </a:bodyPr>
          <a:lstStyle/>
          <a:p>
            <a:endParaRPr lang="en-US" sz="1620"/>
          </a:p>
        </p:txBody>
      </p:sp>
      <p:sp>
        <p:nvSpPr>
          <p:cNvPr id="11" name="Freeform 314">
            <a:extLst>
              <a:ext uri="{FF2B5EF4-FFF2-40B4-BE49-F238E27FC236}">
                <a16:creationId xmlns:a16="http://schemas.microsoft.com/office/drawing/2014/main" id="{E4719400-453D-C14D-A656-93251F9EA990}"/>
              </a:ext>
            </a:extLst>
          </p:cNvPr>
          <p:cNvSpPr>
            <a:spLocks/>
          </p:cNvSpPr>
          <p:nvPr/>
        </p:nvSpPr>
        <p:spPr bwMode="auto">
          <a:xfrm>
            <a:off x="6155782" y="1777046"/>
            <a:ext cx="1403507" cy="1701715"/>
          </a:xfrm>
          <a:custGeom>
            <a:avLst/>
            <a:gdLst>
              <a:gd name="T0" fmla="*/ 0 w 1385"/>
              <a:gd name="T1" fmla="*/ 400 h 1616"/>
              <a:gd name="T2" fmla="*/ 693 w 1385"/>
              <a:gd name="T3" fmla="*/ 0 h 1616"/>
              <a:gd name="T4" fmla="*/ 1385 w 1385"/>
              <a:gd name="T5" fmla="*/ 400 h 1616"/>
              <a:gd name="T6" fmla="*/ 1385 w 1385"/>
              <a:gd name="T7" fmla="*/ 1218 h 1616"/>
              <a:gd name="T8" fmla="*/ 693 w 1385"/>
              <a:gd name="T9" fmla="*/ 1616 h 1616"/>
              <a:gd name="T10" fmla="*/ 0 w 1385"/>
              <a:gd name="T11" fmla="*/ 1216 h 1616"/>
              <a:gd name="T12" fmla="*/ 0 w 1385"/>
              <a:gd name="T13" fmla="*/ 400 h 1616"/>
            </a:gdLst>
            <a:ahLst/>
            <a:cxnLst>
              <a:cxn ang="0">
                <a:pos x="T0" y="T1"/>
              </a:cxn>
              <a:cxn ang="0">
                <a:pos x="T2" y="T3"/>
              </a:cxn>
              <a:cxn ang="0">
                <a:pos x="T4" y="T5"/>
              </a:cxn>
              <a:cxn ang="0">
                <a:pos x="T6" y="T7"/>
              </a:cxn>
              <a:cxn ang="0">
                <a:pos x="T8" y="T9"/>
              </a:cxn>
              <a:cxn ang="0">
                <a:pos x="T10" y="T11"/>
              </a:cxn>
              <a:cxn ang="0">
                <a:pos x="T12" y="T13"/>
              </a:cxn>
            </a:cxnLst>
            <a:rect l="0" t="0" r="r" b="b"/>
            <a:pathLst>
              <a:path w="1385" h="1616">
                <a:moveTo>
                  <a:pt x="0" y="400"/>
                </a:moveTo>
                <a:lnTo>
                  <a:pt x="693" y="0"/>
                </a:lnTo>
                <a:lnTo>
                  <a:pt x="1385" y="400"/>
                </a:lnTo>
                <a:lnTo>
                  <a:pt x="1385" y="1218"/>
                </a:lnTo>
                <a:lnTo>
                  <a:pt x="693" y="1616"/>
                </a:lnTo>
                <a:lnTo>
                  <a:pt x="0" y="1216"/>
                </a:lnTo>
                <a:lnTo>
                  <a:pt x="0" y="400"/>
                </a:lnTo>
                <a:close/>
              </a:path>
            </a:pathLst>
          </a:custGeom>
          <a:solidFill>
            <a:srgbClr val="17BEB7"/>
          </a:solidFill>
          <a:ln>
            <a:noFill/>
          </a:ln>
        </p:spPr>
        <p:txBody>
          <a:bodyPr vert="horz" wrap="square" lIns="82296" tIns="41148" rIns="82296" bIns="41148" numCol="1" anchor="t" anchorCtr="0" compatLnSpc="1">
            <a:prstTxWarp prst="textNoShape">
              <a:avLst/>
            </a:prstTxWarp>
          </a:bodyPr>
          <a:lstStyle/>
          <a:p>
            <a:endParaRPr lang="en-US" sz="1620"/>
          </a:p>
        </p:txBody>
      </p:sp>
      <p:sp>
        <p:nvSpPr>
          <p:cNvPr id="12" name="Freeform 317">
            <a:extLst>
              <a:ext uri="{FF2B5EF4-FFF2-40B4-BE49-F238E27FC236}">
                <a16:creationId xmlns:a16="http://schemas.microsoft.com/office/drawing/2014/main" id="{2754B6A8-46F3-4A40-A577-8FB65FF77D7F}"/>
              </a:ext>
            </a:extLst>
          </p:cNvPr>
          <p:cNvSpPr>
            <a:spLocks/>
          </p:cNvSpPr>
          <p:nvPr/>
        </p:nvSpPr>
        <p:spPr bwMode="auto">
          <a:xfrm>
            <a:off x="6918900" y="3186824"/>
            <a:ext cx="1403507" cy="1704879"/>
          </a:xfrm>
          <a:custGeom>
            <a:avLst/>
            <a:gdLst>
              <a:gd name="T0" fmla="*/ 0 w 1386"/>
              <a:gd name="T1" fmla="*/ 400 h 1615"/>
              <a:gd name="T2" fmla="*/ 694 w 1386"/>
              <a:gd name="T3" fmla="*/ 0 h 1615"/>
              <a:gd name="T4" fmla="*/ 1386 w 1386"/>
              <a:gd name="T5" fmla="*/ 400 h 1615"/>
              <a:gd name="T6" fmla="*/ 1386 w 1386"/>
              <a:gd name="T7" fmla="*/ 1215 h 1615"/>
              <a:gd name="T8" fmla="*/ 694 w 1386"/>
              <a:gd name="T9" fmla="*/ 1615 h 1615"/>
              <a:gd name="T10" fmla="*/ 0 w 1386"/>
              <a:gd name="T11" fmla="*/ 1215 h 1615"/>
              <a:gd name="T12" fmla="*/ 0 w 1386"/>
              <a:gd name="T13" fmla="*/ 400 h 1615"/>
            </a:gdLst>
            <a:ahLst/>
            <a:cxnLst>
              <a:cxn ang="0">
                <a:pos x="T0" y="T1"/>
              </a:cxn>
              <a:cxn ang="0">
                <a:pos x="T2" y="T3"/>
              </a:cxn>
              <a:cxn ang="0">
                <a:pos x="T4" y="T5"/>
              </a:cxn>
              <a:cxn ang="0">
                <a:pos x="T6" y="T7"/>
              </a:cxn>
              <a:cxn ang="0">
                <a:pos x="T8" y="T9"/>
              </a:cxn>
              <a:cxn ang="0">
                <a:pos x="T10" y="T11"/>
              </a:cxn>
              <a:cxn ang="0">
                <a:pos x="T12" y="T13"/>
              </a:cxn>
            </a:cxnLst>
            <a:rect l="0" t="0" r="r" b="b"/>
            <a:pathLst>
              <a:path w="1386" h="1615">
                <a:moveTo>
                  <a:pt x="0" y="400"/>
                </a:moveTo>
                <a:lnTo>
                  <a:pt x="694" y="0"/>
                </a:lnTo>
                <a:lnTo>
                  <a:pt x="1386" y="400"/>
                </a:lnTo>
                <a:lnTo>
                  <a:pt x="1386" y="1215"/>
                </a:lnTo>
                <a:lnTo>
                  <a:pt x="694" y="1615"/>
                </a:lnTo>
                <a:lnTo>
                  <a:pt x="0" y="1215"/>
                </a:lnTo>
                <a:lnTo>
                  <a:pt x="0" y="400"/>
                </a:lnTo>
                <a:close/>
              </a:path>
            </a:pathLst>
          </a:custGeom>
          <a:solidFill>
            <a:srgbClr val="9AA8C5"/>
          </a:solidFill>
          <a:ln>
            <a:noFill/>
          </a:ln>
        </p:spPr>
        <p:txBody>
          <a:bodyPr vert="horz" wrap="square" lIns="82296" tIns="41148" rIns="82296" bIns="41148" numCol="1" anchor="t" anchorCtr="0" compatLnSpc="1">
            <a:prstTxWarp prst="textNoShape">
              <a:avLst/>
            </a:prstTxWarp>
          </a:bodyPr>
          <a:lstStyle/>
          <a:p>
            <a:endParaRPr lang="en-US" sz="1620"/>
          </a:p>
        </p:txBody>
      </p:sp>
      <p:sp>
        <p:nvSpPr>
          <p:cNvPr id="13" name="Freeform 313">
            <a:extLst>
              <a:ext uri="{FF2B5EF4-FFF2-40B4-BE49-F238E27FC236}">
                <a16:creationId xmlns:a16="http://schemas.microsoft.com/office/drawing/2014/main" id="{968F7987-CBD5-7740-BBCC-650D793BB949}"/>
              </a:ext>
            </a:extLst>
          </p:cNvPr>
          <p:cNvSpPr>
            <a:spLocks/>
          </p:cNvSpPr>
          <p:nvPr/>
        </p:nvSpPr>
        <p:spPr bwMode="auto">
          <a:xfrm>
            <a:off x="4624683" y="1793421"/>
            <a:ext cx="1403507" cy="1701715"/>
          </a:xfrm>
          <a:custGeom>
            <a:avLst/>
            <a:gdLst>
              <a:gd name="T0" fmla="*/ 0 w 1386"/>
              <a:gd name="T1" fmla="*/ 400 h 1616"/>
              <a:gd name="T2" fmla="*/ 692 w 1386"/>
              <a:gd name="T3" fmla="*/ 0 h 1616"/>
              <a:gd name="T4" fmla="*/ 1386 w 1386"/>
              <a:gd name="T5" fmla="*/ 400 h 1616"/>
              <a:gd name="T6" fmla="*/ 1386 w 1386"/>
              <a:gd name="T7" fmla="*/ 1218 h 1616"/>
              <a:gd name="T8" fmla="*/ 692 w 1386"/>
              <a:gd name="T9" fmla="*/ 1616 h 1616"/>
              <a:gd name="T10" fmla="*/ 0 w 1386"/>
              <a:gd name="T11" fmla="*/ 1216 h 1616"/>
              <a:gd name="T12" fmla="*/ 0 w 1386"/>
              <a:gd name="T13" fmla="*/ 400 h 1616"/>
            </a:gdLst>
            <a:ahLst/>
            <a:cxnLst>
              <a:cxn ang="0">
                <a:pos x="T0" y="T1"/>
              </a:cxn>
              <a:cxn ang="0">
                <a:pos x="T2" y="T3"/>
              </a:cxn>
              <a:cxn ang="0">
                <a:pos x="T4" y="T5"/>
              </a:cxn>
              <a:cxn ang="0">
                <a:pos x="T6" y="T7"/>
              </a:cxn>
              <a:cxn ang="0">
                <a:pos x="T8" y="T9"/>
              </a:cxn>
              <a:cxn ang="0">
                <a:pos x="T10" y="T11"/>
              </a:cxn>
              <a:cxn ang="0">
                <a:pos x="T12" y="T13"/>
              </a:cxn>
            </a:cxnLst>
            <a:rect l="0" t="0" r="r" b="b"/>
            <a:pathLst>
              <a:path w="1386" h="1616">
                <a:moveTo>
                  <a:pt x="0" y="400"/>
                </a:moveTo>
                <a:lnTo>
                  <a:pt x="692" y="0"/>
                </a:lnTo>
                <a:lnTo>
                  <a:pt x="1386" y="400"/>
                </a:lnTo>
                <a:lnTo>
                  <a:pt x="1386" y="1218"/>
                </a:lnTo>
                <a:lnTo>
                  <a:pt x="692" y="1616"/>
                </a:lnTo>
                <a:lnTo>
                  <a:pt x="0" y="1216"/>
                </a:lnTo>
                <a:lnTo>
                  <a:pt x="0" y="400"/>
                </a:lnTo>
                <a:close/>
              </a:path>
            </a:pathLst>
          </a:custGeom>
          <a:solidFill>
            <a:srgbClr val="46AAC5"/>
          </a:solidFill>
          <a:ln>
            <a:noFill/>
          </a:ln>
        </p:spPr>
        <p:txBody>
          <a:bodyPr vert="horz" wrap="square" lIns="82296" tIns="41148" rIns="82296" bIns="41148" numCol="1" anchor="t" anchorCtr="0" compatLnSpc="1">
            <a:prstTxWarp prst="textNoShape">
              <a:avLst/>
            </a:prstTxWarp>
          </a:bodyPr>
          <a:lstStyle/>
          <a:p>
            <a:endParaRPr lang="en-US" sz="1620"/>
          </a:p>
        </p:txBody>
      </p:sp>
      <p:sp>
        <p:nvSpPr>
          <p:cNvPr id="14" name="Freeform 316">
            <a:extLst>
              <a:ext uri="{FF2B5EF4-FFF2-40B4-BE49-F238E27FC236}">
                <a16:creationId xmlns:a16="http://schemas.microsoft.com/office/drawing/2014/main" id="{38B1C37B-FBE4-BE48-A4C1-1ECD6E281893}"/>
              </a:ext>
            </a:extLst>
          </p:cNvPr>
          <p:cNvSpPr>
            <a:spLocks/>
          </p:cNvSpPr>
          <p:nvPr/>
        </p:nvSpPr>
        <p:spPr bwMode="auto">
          <a:xfrm>
            <a:off x="6155782" y="4545266"/>
            <a:ext cx="1403507" cy="1701715"/>
          </a:xfrm>
          <a:custGeom>
            <a:avLst/>
            <a:gdLst>
              <a:gd name="T0" fmla="*/ 0 w 1385"/>
              <a:gd name="T1" fmla="*/ 399 h 1616"/>
              <a:gd name="T2" fmla="*/ 693 w 1385"/>
              <a:gd name="T3" fmla="*/ 0 h 1616"/>
              <a:gd name="T4" fmla="*/ 1385 w 1385"/>
              <a:gd name="T5" fmla="*/ 399 h 1616"/>
              <a:gd name="T6" fmla="*/ 1385 w 1385"/>
              <a:gd name="T7" fmla="*/ 1216 h 1616"/>
              <a:gd name="T8" fmla="*/ 693 w 1385"/>
              <a:gd name="T9" fmla="*/ 1616 h 1616"/>
              <a:gd name="T10" fmla="*/ 0 w 1385"/>
              <a:gd name="T11" fmla="*/ 1216 h 1616"/>
              <a:gd name="T12" fmla="*/ 0 w 1385"/>
              <a:gd name="T13" fmla="*/ 399 h 1616"/>
            </a:gdLst>
            <a:ahLst/>
            <a:cxnLst>
              <a:cxn ang="0">
                <a:pos x="T0" y="T1"/>
              </a:cxn>
              <a:cxn ang="0">
                <a:pos x="T2" y="T3"/>
              </a:cxn>
              <a:cxn ang="0">
                <a:pos x="T4" y="T5"/>
              </a:cxn>
              <a:cxn ang="0">
                <a:pos x="T6" y="T7"/>
              </a:cxn>
              <a:cxn ang="0">
                <a:pos x="T8" y="T9"/>
              </a:cxn>
              <a:cxn ang="0">
                <a:pos x="T10" y="T11"/>
              </a:cxn>
              <a:cxn ang="0">
                <a:pos x="T12" y="T13"/>
              </a:cxn>
            </a:cxnLst>
            <a:rect l="0" t="0" r="r" b="b"/>
            <a:pathLst>
              <a:path w="1385" h="1616">
                <a:moveTo>
                  <a:pt x="0" y="399"/>
                </a:moveTo>
                <a:lnTo>
                  <a:pt x="693" y="0"/>
                </a:lnTo>
                <a:lnTo>
                  <a:pt x="1385" y="399"/>
                </a:lnTo>
                <a:lnTo>
                  <a:pt x="1385" y="1216"/>
                </a:lnTo>
                <a:lnTo>
                  <a:pt x="693" y="1616"/>
                </a:lnTo>
                <a:lnTo>
                  <a:pt x="0" y="1216"/>
                </a:lnTo>
                <a:lnTo>
                  <a:pt x="0" y="399"/>
                </a:lnTo>
                <a:close/>
              </a:path>
            </a:pathLst>
          </a:custGeom>
          <a:solidFill>
            <a:srgbClr val="46AAC5"/>
          </a:solidFill>
          <a:ln>
            <a:noFill/>
          </a:ln>
        </p:spPr>
        <p:txBody>
          <a:bodyPr vert="horz" wrap="square" lIns="82296" tIns="41148" rIns="82296" bIns="41148" numCol="1" anchor="t" anchorCtr="0" compatLnSpc="1">
            <a:prstTxWarp prst="textNoShape">
              <a:avLst/>
            </a:prstTxWarp>
          </a:bodyPr>
          <a:lstStyle/>
          <a:p>
            <a:endParaRPr lang="en-US" sz="1620"/>
          </a:p>
        </p:txBody>
      </p:sp>
      <p:sp>
        <p:nvSpPr>
          <p:cNvPr id="15" name="Freeform 318">
            <a:extLst>
              <a:ext uri="{FF2B5EF4-FFF2-40B4-BE49-F238E27FC236}">
                <a16:creationId xmlns:a16="http://schemas.microsoft.com/office/drawing/2014/main" id="{FBFB7C19-0905-9646-85AC-9471DCEB5C47}"/>
              </a:ext>
            </a:extLst>
          </p:cNvPr>
          <p:cNvSpPr>
            <a:spLocks/>
          </p:cNvSpPr>
          <p:nvPr/>
        </p:nvSpPr>
        <p:spPr bwMode="auto">
          <a:xfrm>
            <a:off x="3871286" y="3172506"/>
            <a:ext cx="1403507" cy="1704879"/>
          </a:xfrm>
          <a:custGeom>
            <a:avLst/>
            <a:gdLst>
              <a:gd name="T0" fmla="*/ 0 w 1387"/>
              <a:gd name="T1" fmla="*/ 400 h 1615"/>
              <a:gd name="T2" fmla="*/ 694 w 1387"/>
              <a:gd name="T3" fmla="*/ 0 h 1615"/>
              <a:gd name="T4" fmla="*/ 1387 w 1387"/>
              <a:gd name="T5" fmla="*/ 400 h 1615"/>
              <a:gd name="T6" fmla="*/ 1387 w 1387"/>
              <a:gd name="T7" fmla="*/ 1215 h 1615"/>
              <a:gd name="T8" fmla="*/ 694 w 1387"/>
              <a:gd name="T9" fmla="*/ 1615 h 1615"/>
              <a:gd name="T10" fmla="*/ 0 w 1387"/>
              <a:gd name="T11" fmla="*/ 1215 h 1615"/>
              <a:gd name="T12" fmla="*/ 0 w 1387"/>
              <a:gd name="T13" fmla="*/ 400 h 1615"/>
            </a:gdLst>
            <a:ahLst/>
            <a:cxnLst>
              <a:cxn ang="0">
                <a:pos x="T0" y="T1"/>
              </a:cxn>
              <a:cxn ang="0">
                <a:pos x="T2" y="T3"/>
              </a:cxn>
              <a:cxn ang="0">
                <a:pos x="T4" y="T5"/>
              </a:cxn>
              <a:cxn ang="0">
                <a:pos x="T6" y="T7"/>
              </a:cxn>
              <a:cxn ang="0">
                <a:pos x="T8" y="T9"/>
              </a:cxn>
              <a:cxn ang="0">
                <a:pos x="T10" y="T11"/>
              </a:cxn>
              <a:cxn ang="0">
                <a:pos x="T12" y="T13"/>
              </a:cxn>
            </a:cxnLst>
            <a:rect l="0" t="0" r="r" b="b"/>
            <a:pathLst>
              <a:path w="1387" h="1615">
                <a:moveTo>
                  <a:pt x="0" y="400"/>
                </a:moveTo>
                <a:lnTo>
                  <a:pt x="694" y="0"/>
                </a:lnTo>
                <a:lnTo>
                  <a:pt x="1387" y="400"/>
                </a:lnTo>
                <a:lnTo>
                  <a:pt x="1387" y="1215"/>
                </a:lnTo>
                <a:lnTo>
                  <a:pt x="694" y="1615"/>
                </a:lnTo>
                <a:lnTo>
                  <a:pt x="0" y="1215"/>
                </a:lnTo>
                <a:lnTo>
                  <a:pt x="0" y="400"/>
                </a:lnTo>
                <a:close/>
              </a:path>
            </a:pathLst>
          </a:custGeom>
          <a:solidFill>
            <a:srgbClr val="9AA8C5"/>
          </a:solidFill>
          <a:ln>
            <a:noFill/>
          </a:ln>
        </p:spPr>
        <p:txBody>
          <a:bodyPr vert="horz" wrap="square" lIns="82296" tIns="41148" rIns="82296" bIns="41148" numCol="1" anchor="t" anchorCtr="0" compatLnSpc="1">
            <a:prstTxWarp prst="textNoShape">
              <a:avLst/>
            </a:prstTxWarp>
          </a:bodyPr>
          <a:lstStyle/>
          <a:p>
            <a:endParaRPr lang="en-US" sz="1620"/>
          </a:p>
        </p:txBody>
      </p:sp>
      <p:sp>
        <p:nvSpPr>
          <p:cNvPr id="16" name="Freeform 319">
            <a:extLst>
              <a:ext uri="{FF2B5EF4-FFF2-40B4-BE49-F238E27FC236}">
                <a16:creationId xmlns:a16="http://schemas.microsoft.com/office/drawing/2014/main" id="{865BEDBB-488E-174D-97ED-4FE96EBB9AF1}"/>
              </a:ext>
            </a:extLst>
          </p:cNvPr>
          <p:cNvSpPr>
            <a:spLocks/>
          </p:cNvSpPr>
          <p:nvPr/>
        </p:nvSpPr>
        <p:spPr bwMode="auto">
          <a:xfrm>
            <a:off x="5080367" y="3017516"/>
            <a:ext cx="1932100" cy="2011692"/>
          </a:xfrm>
          <a:custGeom>
            <a:avLst/>
            <a:gdLst>
              <a:gd name="T0" fmla="*/ 1908 w 1910"/>
              <a:gd name="T1" fmla="*/ 1003 h 1908"/>
              <a:gd name="T2" fmla="*/ 1880 w 1910"/>
              <a:gd name="T3" fmla="*/ 1193 h 1908"/>
              <a:gd name="T4" fmla="*/ 1815 w 1910"/>
              <a:gd name="T5" fmla="*/ 1367 h 1908"/>
              <a:gd name="T6" fmla="*/ 1720 w 1910"/>
              <a:gd name="T7" fmla="*/ 1525 h 1908"/>
              <a:gd name="T8" fmla="*/ 1596 w 1910"/>
              <a:gd name="T9" fmla="*/ 1660 h 1908"/>
              <a:gd name="T10" fmla="*/ 1449 w 1910"/>
              <a:gd name="T11" fmla="*/ 1770 h 1908"/>
              <a:gd name="T12" fmla="*/ 1284 w 1910"/>
              <a:gd name="T13" fmla="*/ 1850 h 1908"/>
              <a:gd name="T14" fmla="*/ 1099 w 1910"/>
              <a:gd name="T15" fmla="*/ 1898 h 1908"/>
              <a:gd name="T16" fmla="*/ 954 w 1910"/>
              <a:gd name="T17" fmla="*/ 1908 h 1908"/>
              <a:gd name="T18" fmla="*/ 809 w 1910"/>
              <a:gd name="T19" fmla="*/ 1898 h 1908"/>
              <a:gd name="T20" fmla="*/ 626 w 1910"/>
              <a:gd name="T21" fmla="*/ 1850 h 1908"/>
              <a:gd name="T22" fmla="*/ 459 w 1910"/>
              <a:gd name="T23" fmla="*/ 1770 h 1908"/>
              <a:gd name="T24" fmla="*/ 312 w 1910"/>
              <a:gd name="T25" fmla="*/ 1660 h 1908"/>
              <a:gd name="T26" fmla="*/ 190 w 1910"/>
              <a:gd name="T27" fmla="*/ 1525 h 1908"/>
              <a:gd name="T28" fmla="*/ 93 w 1910"/>
              <a:gd name="T29" fmla="*/ 1367 h 1908"/>
              <a:gd name="T30" fmla="*/ 30 w 1910"/>
              <a:gd name="T31" fmla="*/ 1193 h 1908"/>
              <a:gd name="T32" fmla="*/ 1 w 1910"/>
              <a:gd name="T33" fmla="*/ 1003 h 1908"/>
              <a:gd name="T34" fmla="*/ 1 w 1910"/>
              <a:gd name="T35" fmla="*/ 905 h 1908"/>
              <a:gd name="T36" fmla="*/ 30 w 1910"/>
              <a:gd name="T37" fmla="*/ 715 h 1908"/>
              <a:gd name="T38" fmla="*/ 93 w 1910"/>
              <a:gd name="T39" fmla="*/ 539 h 1908"/>
              <a:gd name="T40" fmla="*/ 190 w 1910"/>
              <a:gd name="T41" fmla="*/ 383 h 1908"/>
              <a:gd name="T42" fmla="*/ 312 w 1910"/>
              <a:gd name="T43" fmla="*/ 247 h 1908"/>
              <a:gd name="T44" fmla="*/ 459 w 1910"/>
              <a:gd name="T45" fmla="*/ 137 h 1908"/>
              <a:gd name="T46" fmla="*/ 626 w 1910"/>
              <a:gd name="T47" fmla="*/ 57 h 1908"/>
              <a:gd name="T48" fmla="*/ 809 w 1910"/>
              <a:gd name="T49" fmla="*/ 10 h 1908"/>
              <a:gd name="T50" fmla="*/ 954 w 1910"/>
              <a:gd name="T51" fmla="*/ 0 h 1908"/>
              <a:gd name="T52" fmla="*/ 1099 w 1910"/>
              <a:gd name="T53" fmla="*/ 10 h 1908"/>
              <a:gd name="T54" fmla="*/ 1284 w 1910"/>
              <a:gd name="T55" fmla="*/ 57 h 1908"/>
              <a:gd name="T56" fmla="*/ 1449 w 1910"/>
              <a:gd name="T57" fmla="*/ 137 h 1908"/>
              <a:gd name="T58" fmla="*/ 1596 w 1910"/>
              <a:gd name="T59" fmla="*/ 247 h 1908"/>
              <a:gd name="T60" fmla="*/ 1720 w 1910"/>
              <a:gd name="T61" fmla="*/ 383 h 1908"/>
              <a:gd name="T62" fmla="*/ 1815 w 1910"/>
              <a:gd name="T63" fmla="*/ 539 h 1908"/>
              <a:gd name="T64" fmla="*/ 1880 w 1910"/>
              <a:gd name="T65" fmla="*/ 715 h 1908"/>
              <a:gd name="T66" fmla="*/ 1908 w 1910"/>
              <a:gd name="T67" fmla="*/ 905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910" h="1908">
                <a:moveTo>
                  <a:pt x="1910" y="954"/>
                </a:moveTo>
                <a:lnTo>
                  <a:pt x="1908" y="1003"/>
                </a:lnTo>
                <a:lnTo>
                  <a:pt x="1898" y="1099"/>
                </a:lnTo>
                <a:lnTo>
                  <a:pt x="1880" y="1193"/>
                </a:lnTo>
                <a:lnTo>
                  <a:pt x="1852" y="1282"/>
                </a:lnTo>
                <a:lnTo>
                  <a:pt x="1815" y="1367"/>
                </a:lnTo>
                <a:lnTo>
                  <a:pt x="1772" y="1449"/>
                </a:lnTo>
                <a:lnTo>
                  <a:pt x="1720" y="1525"/>
                </a:lnTo>
                <a:lnTo>
                  <a:pt x="1661" y="1595"/>
                </a:lnTo>
                <a:lnTo>
                  <a:pt x="1596" y="1660"/>
                </a:lnTo>
                <a:lnTo>
                  <a:pt x="1526" y="1718"/>
                </a:lnTo>
                <a:lnTo>
                  <a:pt x="1449" y="1770"/>
                </a:lnTo>
                <a:lnTo>
                  <a:pt x="1369" y="1814"/>
                </a:lnTo>
                <a:lnTo>
                  <a:pt x="1284" y="1850"/>
                </a:lnTo>
                <a:lnTo>
                  <a:pt x="1193" y="1877"/>
                </a:lnTo>
                <a:lnTo>
                  <a:pt x="1099" y="1898"/>
                </a:lnTo>
                <a:lnTo>
                  <a:pt x="1004" y="1906"/>
                </a:lnTo>
                <a:lnTo>
                  <a:pt x="954" y="1908"/>
                </a:lnTo>
                <a:lnTo>
                  <a:pt x="905" y="1906"/>
                </a:lnTo>
                <a:lnTo>
                  <a:pt x="809" y="1898"/>
                </a:lnTo>
                <a:lnTo>
                  <a:pt x="717" y="1877"/>
                </a:lnTo>
                <a:lnTo>
                  <a:pt x="626" y="1850"/>
                </a:lnTo>
                <a:lnTo>
                  <a:pt x="541" y="1814"/>
                </a:lnTo>
                <a:lnTo>
                  <a:pt x="459" y="1770"/>
                </a:lnTo>
                <a:lnTo>
                  <a:pt x="383" y="1718"/>
                </a:lnTo>
                <a:lnTo>
                  <a:pt x="312" y="1660"/>
                </a:lnTo>
                <a:lnTo>
                  <a:pt x="247" y="1595"/>
                </a:lnTo>
                <a:lnTo>
                  <a:pt x="190" y="1525"/>
                </a:lnTo>
                <a:lnTo>
                  <a:pt x="138" y="1449"/>
                </a:lnTo>
                <a:lnTo>
                  <a:pt x="93" y="1367"/>
                </a:lnTo>
                <a:lnTo>
                  <a:pt x="57" y="1282"/>
                </a:lnTo>
                <a:lnTo>
                  <a:pt x="30" y="1193"/>
                </a:lnTo>
                <a:lnTo>
                  <a:pt x="11" y="1099"/>
                </a:lnTo>
                <a:lnTo>
                  <a:pt x="1" y="1003"/>
                </a:lnTo>
                <a:lnTo>
                  <a:pt x="0" y="954"/>
                </a:lnTo>
                <a:lnTo>
                  <a:pt x="1" y="905"/>
                </a:lnTo>
                <a:lnTo>
                  <a:pt x="11" y="808"/>
                </a:lnTo>
                <a:lnTo>
                  <a:pt x="30" y="715"/>
                </a:lnTo>
                <a:lnTo>
                  <a:pt x="57" y="626"/>
                </a:lnTo>
                <a:lnTo>
                  <a:pt x="93" y="539"/>
                </a:lnTo>
                <a:lnTo>
                  <a:pt x="138" y="459"/>
                </a:lnTo>
                <a:lnTo>
                  <a:pt x="190" y="383"/>
                </a:lnTo>
                <a:lnTo>
                  <a:pt x="247" y="312"/>
                </a:lnTo>
                <a:lnTo>
                  <a:pt x="312" y="247"/>
                </a:lnTo>
                <a:lnTo>
                  <a:pt x="383" y="188"/>
                </a:lnTo>
                <a:lnTo>
                  <a:pt x="459" y="137"/>
                </a:lnTo>
                <a:lnTo>
                  <a:pt x="541" y="93"/>
                </a:lnTo>
                <a:lnTo>
                  <a:pt x="626" y="57"/>
                </a:lnTo>
                <a:lnTo>
                  <a:pt x="717" y="29"/>
                </a:lnTo>
                <a:lnTo>
                  <a:pt x="809" y="10"/>
                </a:lnTo>
                <a:lnTo>
                  <a:pt x="905" y="0"/>
                </a:lnTo>
                <a:lnTo>
                  <a:pt x="954" y="0"/>
                </a:lnTo>
                <a:lnTo>
                  <a:pt x="1004" y="0"/>
                </a:lnTo>
                <a:lnTo>
                  <a:pt x="1099" y="10"/>
                </a:lnTo>
                <a:lnTo>
                  <a:pt x="1193" y="29"/>
                </a:lnTo>
                <a:lnTo>
                  <a:pt x="1284" y="57"/>
                </a:lnTo>
                <a:lnTo>
                  <a:pt x="1369" y="93"/>
                </a:lnTo>
                <a:lnTo>
                  <a:pt x="1449" y="137"/>
                </a:lnTo>
                <a:lnTo>
                  <a:pt x="1526" y="188"/>
                </a:lnTo>
                <a:lnTo>
                  <a:pt x="1596" y="247"/>
                </a:lnTo>
                <a:lnTo>
                  <a:pt x="1661" y="312"/>
                </a:lnTo>
                <a:lnTo>
                  <a:pt x="1720" y="383"/>
                </a:lnTo>
                <a:lnTo>
                  <a:pt x="1772" y="459"/>
                </a:lnTo>
                <a:lnTo>
                  <a:pt x="1815" y="539"/>
                </a:lnTo>
                <a:lnTo>
                  <a:pt x="1852" y="626"/>
                </a:lnTo>
                <a:lnTo>
                  <a:pt x="1880" y="715"/>
                </a:lnTo>
                <a:lnTo>
                  <a:pt x="1898" y="808"/>
                </a:lnTo>
                <a:lnTo>
                  <a:pt x="1908" y="905"/>
                </a:lnTo>
                <a:lnTo>
                  <a:pt x="1910" y="954"/>
                </a:ln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96" tIns="41148" rIns="82296" bIns="41148" numCol="1" anchor="t" anchorCtr="0" compatLnSpc="1">
            <a:prstTxWarp prst="textNoShape">
              <a:avLst/>
            </a:prstTxWarp>
          </a:bodyPr>
          <a:lstStyle/>
          <a:p>
            <a:endParaRPr lang="en-US" sz="1620"/>
          </a:p>
        </p:txBody>
      </p:sp>
      <p:sp>
        <p:nvSpPr>
          <p:cNvPr id="17" name="Freeform 320">
            <a:extLst>
              <a:ext uri="{FF2B5EF4-FFF2-40B4-BE49-F238E27FC236}">
                <a16:creationId xmlns:a16="http://schemas.microsoft.com/office/drawing/2014/main" id="{BD37D8E0-298F-864B-8DAB-3448DF6840B6}"/>
              </a:ext>
            </a:extLst>
          </p:cNvPr>
          <p:cNvSpPr>
            <a:spLocks/>
          </p:cNvSpPr>
          <p:nvPr/>
        </p:nvSpPr>
        <p:spPr bwMode="auto">
          <a:xfrm>
            <a:off x="5170043" y="3104551"/>
            <a:ext cx="1750131" cy="1822226"/>
          </a:xfrm>
          <a:custGeom>
            <a:avLst/>
            <a:gdLst>
              <a:gd name="T0" fmla="*/ 1386 w 1386"/>
              <a:gd name="T1" fmla="*/ 694 h 1386"/>
              <a:gd name="T2" fmla="*/ 1383 w 1386"/>
              <a:gd name="T3" fmla="*/ 764 h 1386"/>
              <a:gd name="T4" fmla="*/ 1356 w 1386"/>
              <a:gd name="T5" fmla="*/ 900 h 1386"/>
              <a:gd name="T6" fmla="*/ 1304 w 1386"/>
              <a:gd name="T7" fmla="*/ 1025 h 1386"/>
              <a:gd name="T8" fmla="*/ 1229 w 1386"/>
              <a:gd name="T9" fmla="*/ 1136 h 1386"/>
              <a:gd name="T10" fmla="*/ 1134 w 1386"/>
              <a:gd name="T11" fmla="*/ 1229 h 1386"/>
              <a:gd name="T12" fmla="*/ 1023 w 1386"/>
              <a:gd name="T13" fmla="*/ 1304 h 1386"/>
              <a:gd name="T14" fmla="*/ 899 w 1386"/>
              <a:gd name="T15" fmla="*/ 1356 h 1386"/>
              <a:gd name="T16" fmla="*/ 764 w 1386"/>
              <a:gd name="T17" fmla="*/ 1384 h 1386"/>
              <a:gd name="T18" fmla="*/ 692 w 1386"/>
              <a:gd name="T19" fmla="*/ 1386 h 1386"/>
              <a:gd name="T20" fmla="*/ 621 w 1386"/>
              <a:gd name="T21" fmla="*/ 1384 h 1386"/>
              <a:gd name="T22" fmla="*/ 486 w 1386"/>
              <a:gd name="T23" fmla="*/ 1356 h 1386"/>
              <a:gd name="T24" fmla="*/ 361 w 1386"/>
              <a:gd name="T25" fmla="*/ 1304 h 1386"/>
              <a:gd name="T26" fmla="*/ 252 w 1386"/>
              <a:gd name="T27" fmla="*/ 1229 h 1386"/>
              <a:gd name="T28" fmla="*/ 157 w 1386"/>
              <a:gd name="T29" fmla="*/ 1136 h 1386"/>
              <a:gd name="T30" fmla="*/ 82 w 1386"/>
              <a:gd name="T31" fmla="*/ 1025 h 1386"/>
              <a:gd name="T32" fmla="*/ 30 w 1386"/>
              <a:gd name="T33" fmla="*/ 900 h 1386"/>
              <a:gd name="T34" fmla="*/ 1 w 1386"/>
              <a:gd name="T35" fmla="*/ 764 h 1386"/>
              <a:gd name="T36" fmla="*/ 0 w 1386"/>
              <a:gd name="T37" fmla="*/ 694 h 1386"/>
              <a:gd name="T38" fmla="*/ 1 w 1386"/>
              <a:gd name="T39" fmla="*/ 622 h 1386"/>
              <a:gd name="T40" fmla="*/ 30 w 1386"/>
              <a:gd name="T41" fmla="*/ 487 h 1386"/>
              <a:gd name="T42" fmla="*/ 82 w 1386"/>
              <a:gd name="T43" fmla="*/ 363 h 1386"/>
              <a:gd name="T44" fmla="*/ 157 w 1386"/>
              <a:gd name="T45" fmla="*/ 252 h 1386"/>
              <a:gd name="T46" fmla="*/ 252 w 1386"/>
              <a:gd name="T47" fmla="*/ 159 h 1386"/>
              <a:gd name="T48" fmla="*/ 361 w 1386"/>
              <a:gd name="T49" fmla="*/ 84 h 1386"/>
              <a:gd name="T50" fmla="*/ 486 w 1386"/>
              <a:gd name="T51" fmla="*/ 31 h 1386"/>
              <a:gd name="T52" fmla="*/ 621 w 1386"/>
              <a:gd name="T53" fmla="*/ 3 h 1386"/>
              <a:gd name="T54" fmla="*/ 692 w 1386"/>
              <a:gd name="T55" fmla="*/ 0 h 1386"/>
              <a:gd name="T56" fmla="*/ 764 w 1386"/>
              <a:gd name="T57" fmla="*/ 3 h 1386"/>
              <a:gd name="T58" fmla="*/ 899 w 1386"/>
              <a:gd name="T59" fmla="*/ 31 h 1386"/>
              <a:gd name="T60" fmla="*/ 1023 w 1386"/>
              <a:gd name="T61" fmla="*/ 84 h 1386"/>
              <a:gd name="T62" fmla="*/ 1134 w 1386"/>
              <a:gd name="T63" fmla="*/ 159 h 1386"/>
              <a:gd name="T64" fmla="*/ 1229 w 1386"/>
              <a:gd name="T65" fmla="*/ 252 h 1386"/>
              <a:gd name="T66" fmla="*/ 1304 w 1386"/>
              <a:gd name="T67" fmla="*/ 363 h 1386"/>
              <a:gd name="T68" fmla="*/ 1356 w 1386"/>
              <a:gd name="T69" fmla="*/ 487 h 1386"/>
              <a:gd name="T70" fmla="*/ 1383 w 1386"/>
              <a:gd name="T71" fmla="*/ 622 h 1386"/>
              <a:gd name="T72" fmla="*/ 1386 w 1386"/>
              <a:gd name="T73" fmla="*/ 694 h 1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386" h="1386">
                <a:moveTo>
                  <a:pt x="1386" y="694"/>
                </a:moveTo>
                <a:lnTo>
                  <a:pt x="1383" y="764"/>
                </a:lnTo>
                <a:lnTo>
                  <a:pt x="1356" y="900"/>
                </a:lnTo>
                <a:lnTo>
                  <a:pt x="1304" y="1025"/>
                </a:lnTo>
                <a:lnTo>
                  <a:pt x="1229" y="1136"/>
                </a:lnTo>
                <a:lnTo>
                  <a:pt x="1134" y="1229"/>
                </a:lnTo>
                <a:lnTo>
                  <a:pt x="1023" y="1304"/>
                </a:lnTo>
                <a:lnTo>
                  <a:pt x="899" y="1356"/>
                </a:lnTo>
                <a:lnTo>
                  <a:pt x="764" y="1384"/>
                </a:lnTo>
                <a:lnTo>
                  <a:pt x="692" y="1386"/>
                </a:lnTo>
                <a:lnTo>
                  <a:pt x="621" y="1384"/>
                </a:lnTo>
                <a:lnTo>
                  <a:pt x="486" y="1356"/>
                </a:lnTo>
                <a:lnTo>
                  <a:pt x="361" y="1304"/>
                </a:lnTo>
                <a:lnTo>
                  <a:pt x="252" y="1229"/>
                </a:lnTo>
                <a:lnTo>
                  <a:pt x="157" y="1136"/>
                </a:lnTo>
                <a:lnTo>
                  <a:pt x="82" y="1025"/>
                </a:lnTo>
                <a:lnTo>
                  <a:pt x="30" y="900"/>
                </a:lnTo>
                <a:lnTo>
                  <a:pt x="1" y="764"/>
                </a:lnTo>
                <a:lnTo>
                  <a:pt x="0" y="694"/>
                </a:lnTo>
                <a:lnTo>
                  <a:pt x="1" y="622"/>
                </a:lnTo>
                <a:lnTo>
                  <a:pt x="30" y="487"/>
                </a:lnTo>
                <a:lnTo>
                  <a:pt x="82" y="363"/>
                </a:lnTo>
                <a:lnTo>
                  <a:pt x="157" y="252"/>
                </a:lnTo>
                <a:lnTo>
                  <a:pt x="252" y="159"/>
                </a:lnTo>
                <a:lnTo>
                  <a:pt x="361" y="84"/>
                </a:lnTo>
                <a:lnTo>
                  <a:pt x="486" y="31"/>
                </a:lnTo>
                <a:lnTo>
                  <a:pt x="621" y="3"/>
                </a:lnTo>
                <a:lnTo>
                  <a:pt x="692" y="0"/>
                </a:lnTo>
                <a:lnTo>
                  <a:pt x="764" y="3"/>
                </a:lnTo>
                <a:lnTo>
                  <a:pt x="899" y="31"/>
                </a:lnTo>
                <a:lnTo>
                  <a:pt x="1023" y="84"/>
                </a:lnTo>
                <a:lnTo>
                  <a:pt x="1134" y="159"/>
                </a:lnTo>
                <a:lnTo>
                  <a:pt x="1229" y="252"/>
                </a:lnTo>
                <a:lnTo>
                  <a:pt x="1304" y="363"/>
                </a:lnTo>
                <a:lnTo>
                  <a:pt x="1356" y="487"/>
                </a:lnTo>
                <a:lnTo>
                  <a:pt x="1383" y="622"/>
                </a:lnTo>
                <a:lnTo>
                  <a:pt x="1386" y="694"/>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96" tIns="41148" rIns="82296" bIns="41148" numCol="1" anchor="ctr" anchorCtr="0" compatLnSpc="1">
            <a:prstTxWarp prst="textNoShape">
              <a:avLst/>
            </a:prstTxWarp>
          </a:bodyPr>
          <a:lstStyle/>
          <a:p>
            <a:pPr algn="ctr"/>
            <a:endParaRPr lang="en-US" sz="2520"/>
          </a:p>
        </p:txBody>
      </p:sp>
      <p:sp>
        <p:nvSpPr>
          <p:cNvPr id="3" name="Picture Placeholder 2">
            <a:extLst>
              <a:ext uri="{FF2B5EF4-FFF2-40B4-BE49-F238E27FC236}">
                <a16:creationId xmlns:a16="http://schemas.microsoft.com/office/drawing/2014/main" id="{5AE87989-1E6A-514C-A375-912AEC661F33}"/>
              </a:ext>
            </a:extLst>
          </p:cNvPr>
          <p:cNvSpPr>
            <a:spLocks noGrp="1" noChangeAspect="1"/>
          </p:cNvSpPr>
          <p:nvPr>
            <p:ph type="pic" sz="quarter" idx="10" hasCustomPrompt="1"/>
          </p:nvPr>
        </p:nvSpPr>
        <p:spPr>
          <a:xfrm>
            <a:off x="4800279" y="2123617"/>
            <a:ext cx="1041323" cy="1041323"/>
          </a:xfrm>
          <a:prstGeom prst="ellipse">
            <a:avLst/>
          </a:prstGeom>
          <a:noFill/>
        </p:spPr>
        <p:txBody>
          <a:bodyPr anchor="ctr">
            <a:normAutofit/>
          </a:bodyPr>
          <a:lstStyle>
            <a:lvl1pPr marL="0" indent="0" algn="ctr">
              <a:buNone/>
              <a:defRPr sz="2000"/>
            </a:lvl1pPr>
          </a:lstStyle>
          <a:p>
            <a:r>
              <a:rPr lang="en-GB"/>
              <a:t>Icon</a:t>
            </a:r>
          </a:p>
        </p:txBody>
      </p:sp>
      <p:sp>
        <p:nvSpPr>
          <p:cNvPr id="49" name="Picture Placeholder 2">
            <a:extLst>
              <a:ext uri="{FF2B5EF4-FFF2-40B4-BE49-F238E27FC236}">
                <a16:creationId xmlns:a16="http://schemas.microsoft.com/office/drawing/2014/main" id="{07707041-A62C-AB47-8ABC-46A42AD3ABB7}"/>
              </a:ext>
            </a:extLst>
          </p:cNvPr>
          <p:cNvSpPr>
            <a:spLocks noGrp="1" noChangeAspect="1"/>
          </p:cNvSpPr>
          <p:nvPr>
            <p:ph type="pic" sz="quarter" idx="11" hasCustomPrompt="1"/>
          </p:nvPr>
        </p:nvSpPr>
        <p:spPr>
          <a:xfrm>
            <a:off x="6378356" y="2079372"/>
            <a:ext cx="1041323" cy="1041323"/>
          </a:xfrm>
          <a:prstGeom prst="ellipse">
            <a:avLst/>
          </a:prstGeom>
          <a:noFill/>
        </p:spPr>
        <p:txBody>
          <a:bodyPr anchor="ctr">
            <a:normAutofit/>
          </a:bodyPr>
          <a:lstStyle>
            <a:lvl1pPr marL="0" indent="0" algn="ctr">
              <a:buNone/>
              <a:defRPr sz="2000"/>
            </a:lvl1pPr>
          </a:lstStyle>
          <a:p>
            <a:r>
              <a:rPr lang="en-GB"/>
              <a:t>Icon</a:t>
            </a:r>
          </a:p>
        </p:txBody>
      </p:sp>
      <p:sp>
        <p:nvSpPr>
          <p:cNvPr id="50" name="Picture Placeholder 2">
            <a:extLst>
              <a:ext uri="{FF2B5EF4-FFF2-40B4-BE49-F238E27FC236}">
                <a16:creationId xmlns:a16="http://schemas.microsoft.com/office/drawing/2014/main" id="{A6AE4AA7-EC0F-6E45-953C-61A34D91C6ED}"/>
              </a:ext>
            </a:extLst>
          </p:cNvPr>
          <p:cNvSpPr>
            <a:spLocks noGrp="1" noChangeAspect="1"/>
          </p:cNvSpPr>
          <p:nvPr>
            <p:ph type="pic" sz="quarter" idx="12" hasCustomPrompt="1"/>
          </p:nvPr>
        </p:nvSpPr>
        <p:spPr>
          <a:xfrm>
            <a:off x="7042033" y="3539462"/>
            <a:ext cx="1041323" cy="1041323"/>
          </a:xfrm>
          <a:prstGeom prst="ellipse">
            <a:avLst/>
          </a:prstGeom>
          <a:noFill/>
        </p:spPr>
        <p:txBody>
          <a:bodyPr anchor="ctr">
            <a:normAutofit/>
          </a:bodyPr>
          <a:lstStyle>
            <a:lvl1pPr marL="0" indent="0" algn="ctr">
              <a:buNone/>
              <a:defRPr sz="2000"/>
            </a:lvl1pPr>
          </a:lstStyle>
          <a:p>
            <a:r>
              <a:rPr lang="en-GB"/>
              <a:t>Icon</a:t>
            </a:r>
          </a:p>
        </p:txBody>
      </p:sp>
      <p:sp>
        <p:nvSpPr>
          <p:cNvPr id="51" name="Picture Placeholder 2">
            <a:extLst>
              <a:ext uri="{FF2B5EF4-FFF2-40B4-BE49-F238E27FC236}">
                <a16:creationId xmlns:a16="http://schemas.microsoft.com/office/drawing/2014/main" id="{A21D1631-AC79-CF4A-A21F-0CB35A6B20D3}"/>
              </a:ext>
            </a:extLst>
          </p:cNvPr>
          <p:cNvSpPr>
            <a:spLocks noGrp="1" noChangeAspect="1"/>
          </p:cNvSpPr>
          <p:nvPr>
            <p:ph type="pic" sz="quarter" idx="13" hasCustomPrompt="1"/>
          </p:nvPr>
        </p:nvSpPr>
        <p:spPr>
          <a:xfrm>
            <a:off x="6348858" y="4866817"/>
            <a:ext cx="1041323" cy="1041323"/>
          </a:xfrm>
          <a:prstGeom prst="ellipse">
            <a:avLst/>
          </a:prstGeom>
          <a:noFill/>
        </p:spPr>
        <p:txBody>
          <a:bodyPr anchor="ctr">
            <a:normAutofit/>
          </a:bodyPr>
          <a:lstStyle>
            <a:lvl1pPr marL="0" indent="0" algn="ctr">
              <a:buNone/>
              <a:defRPr sz="2000"/>
            </a:lvl1pPr>
          </a:lstStyle>
          <a:p>
            <a:r>
              <a:rPr lang="en-GB"/>
              <a:t>Icon</a:t>
            </a:r>
          </a:p>
        </p:txBody>
      </p:sp>
      <p:sp>
        <p:nvSpPr>
          <p:cNvPr id="52" name="Picture Placeholder 2">
            <a:extLst>
              <a:ext uri="{FF2B5EF4-FFF2-40B4-BE49-F238E27FC236}">
                <a16:creationId xmlns:a16="http://schemas.microsoft.com/office/drawing/2014/main" id="{58CD840D-8E27-A547-846A-6860F330D0A1}"/>
              </a:ext>
            </a:extLst>
          </p:cNvPr>
          <p:cNvSpPr>
            <a:spLocks noGrp="1" noChangeAspect="1"/>
          </p:cNvSpPr>
          <p:nvPr>
            <p:ph type="pic" sz="quarter" idx="14" hasCustomPrompt="1"/>
          </p:nvPr>
        </p:nvSpPr>
        <p:spPr>
          <a:xfrm>
            <a:off x="4815026" y="4970056"/>
            <a:ext cx="1041323" cy="1041323"/>
          </a:xfrm>
          <a:prstGeom prst="ellipse">
            <a:avLst/>
          </a:prstGeom>
          <a:noFill/>
        </p:spPr>
        <p:txBody>
          <a:bodyPr anchor="ctr">
            <a:normAutofit/>
          </a:bodyPr>
          <a:lstStyle>
            <a:lvl1pPr marL="0" indent="0" algn="ctr">
              <a:buNone/>
              <a:defRPr sz="2000"/>
            </a:lvl1pPr>
          </a:lstStyle>
          <a:p>
            <a:r>
              <a:rPr lang="en-GB"/>
              <a:t>Icon</a:t>
            </a:r>
          </a:p>
        </p:txBody>
      </p:sp>
      <p:sp>
        <p:nvSpPr>
          <p:cNvPr id="53" name="Picture Placeholder 2">
            <a:extLst>
              <a:ext uri="{FF2B5EF4-FFF2-40B4-BE49-F238E27FC236}">
                <a16:creationId xmlns:a16="http://schemas.microsoft.com/office/drawing/2014/main" id="{86C1D323-065C-7E4C-A2CE-EB3211B28818}"/>
              </a:ext>
            </a:extLst>
          </p:cNvPr>
          <p:cNvSpPr>
            <a:spLocks noGrp="1" noChangeAspect="1"/>
          </p:cNvSpPr>
          <p:nvPr>
            <p:ph type="pic" sz="quarter" idx="15" hasCustomPrompt="1"/>
          </p:nvPr>
        </p:nvSpPr>
        <p:spPr>
          <a:xfrm>
            <a:off x="4018613" y="3509966"/>
            <a:ext cx="1041323" cy="1041323"/>
          </a:xfrm>
          <a:prstGeom prst="ellipse">
            <a:avLst/>
          </a:prstGeom>
          <a:noFill/>
        </p:spPr>
        <p:txBody>
          <a:bodyPr anchor="ctr">
            <a:normAutofit/>
          </a:bodyPr>
          <a:lstStyle>
            <a:lvl1pPr marL="0" indent="0" algn="ctr">
              <a:buNone/>
              <a:defRPr sz="2000"/>
            </a:lvl1pPr>
          </a:lstStyle>
          <a:p>
            <a:r>
              <a:rPr lang="en-GB"/>
              <a:t>Icon</a:t>
            </a:r>
          </a:p>
        </p:txBody>
      </p:sp>
      <p:sp>
        <p:nvSpPr>
          <p:cNvPr id="22" name="Text Placeholder 2">
            <a:extLst>
              <a:ext uri="{FF2B5EF4-FFF2-40B4-BE49-F238E27FC236}">
                <a16:creationId xmlns:a16="http://schemas.microsoft.com/office/drawing/2014/main" id="{7D06E406-A496-DE41-B241-3AF97C26FA89}"/>
              </a:ext>
            </a:extLst>
          </p:cNvPr>
          <p:cNvSpPr>
            <a:spLocks noGrp="1"/>
          </p:cNvSpPr>
          <p:nvPr>
            <p:ph type="body" idx="16"/>
          </p:nvPr>
        </p:nvSpPr>
        <p:spPr>
          <a:xfrm>
            <a:off x="7827320" y="2094937"/>
            <a:ext cx="2702074" cy="249471"/>
          </a:xfrm>
          <a:prstGeom prst="rect">
            <a:avLst/>
          </a:prstGeom>
        </p:spPr>
        <p:txBody>
          <a:bodyPr>
            <a:noAutofit/>
          </a:bodyPr>
          <a:lstStyle>
            <a:lvl1pPr marL="0" indent="0">
              <a:buNone/>
              <a:defRPr sz="1400" b="1">
                <a:solidFill>
                  <a:schemeClr val="accent2"/>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23" name="Text Placeholder 2">
            <a:extLst>
              <a:ext uri="{FF2B5EF4-FFF2-40B4-BE49-F238E27FC236}">
                <a16:creationId xmlns:a16="http://schemas.microsoft.com/office/drawing/2014/main" id="{EB2A06B5-58B8-B64B-94EF-2F0A66B0CA51}"/>
              </a:ext>
            </a:extLst>
          </p:cNvPr>
          <p:cNvSpPr>
            <a:spLocks noGrp="1"/>
          </p:cNvSpPr>
          <p:nvPr>
            <p:ph type="body" idx="17"/>
          </p:nvPr>
        </p:nvSpPr>
        <p:spPr>
          <a:xfrm>
            <a:off x="7827320" y="2390537"/>
            <a:ext cx="2702074" cy="249471"/>
          </a:xfrm>
          <a:prstGeom prst="rect">
            <a:avLst/>
          </a:prstGeom>
        </p:spPr>
        <p:txBody>
          <a:bodyPr>
            <a:noAutofit/>
          </a:bodyPr>
          <a:lstStyle>
            <a:lvl1pPr marL="0" indent="0">
              <a:buNone/>
              <a:defRPr sz="1200" b="1">
                <a:solidFill>
                  <a:schemeClr val="tx1">
                    <a:tint val="75000"/>
                  </a:schemeClr>
                </a:solidFill>
                <a:latin typeface="+mj-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24" name="Text Placeholder 2">
            <a:extLst>
              <a:ext uri="{FF2B5EF4-FFF2-40B4-BE49-F238E27FC236}">
                <a16:creationId xmlns:a16="http://schemas.microsoft.com/office/drawing/2014/main" id="{67429710-AF13-ED44-B041-E612D82757B8}"/>
              </a:ext>
            </a:extLst>
          </p:cNvPr>
          <p:cNvSpPr>
            <a:spLocks noGrp="1"/>
          </p:cNvSpPr>
          <p:nvPr>
            <p:ph type="body" idx="18"/>
          </p:nvPr>
        </p:nvSpPr>
        <p:spPr>
          <a:xfrm>
            <a:off x="8597829" y="3663839"/>
            <a:ext cx="2702074" cy="249471"/>
          </a:xfrm>
          <a:prstGeom prst="rect">
            <a:avLst/>
          </a:prstGeom>
        </p:spPr>
        <p:txBody>
          <a:bodyPr>
            <a:noAutofit/>
          </a:bodyPr>
          <a:lstStyle>
            <a:lvl1pPr marL="0" indent="0">
              <a:buNone/>
              <a:defRPr sz="1400" b="1">
                <a:solidFill>
                  <a:schemeClr val="accent2"/>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25" name="Text Placeholder 2">
            <a:extLst>
              <a:ext uri="{FF2B5EF4-FFF2-40B4-BE49-F238E27FC236}">
                <a16:creationId xmlns:a16="http://schemas.microsoft.com/office/drawing/2014/main" id="{E398D6A6-54F2-134D-9F39-754A836A31DF}"/>
              </a:ext>
            </a:extLst>
          </p:cNvPr>
          <p:cNvSpPr>
            <a:spLocks noGrp="1"/>
          </p:cNvSpPr>
          <p:nvPr>
            <p:ph type="body" idx="19"/>
          </p:nvPr>
        </p:nvSpPr>
        <p:spPr>
          <a:xfrm>
            <a:off x="8597829" y="3959439"/>
            <a:ext cx="2702074" cy="249471"/>
          </a:xfrm>
          <a:prstGeom prst="rect">
            <a:avLst/>
          </a:prstGeom>
        </p:spPr>
        <p:txBody>
          <a:bodyPr>
            <a:noAutofit/>
          </a:bodyPr>
          <a:lstStyle>
            <a:lvl1pPr marL="0" indent="0">
              <a:buNone/>
              <a:defRPr sz="1200" b="1">
                <a:solidFill>
                  <a:schemeClr val="tx1">
                    <a:tint val="75000"/>
                  </a:schemeClr>
                </a:solidFill>
                <a:latin typeface="+mj-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26" name="Text Placeholder 2">
            <a:extLst>
              <a:ext uri="{FF2B5EF4-FFF2-40B4-BE49-F238E27FC236}">
                <a16:creationId xmlns:a16="http://schemas.microsoft.com/office/drawing/2014/main" id="{47F734D1-FBC3-3146-8353-C5BE3E27254C}"/>
              </a:ext>
            </a:extLst>
          </p:cNvPr>
          <p:cNvSpPr>
            <a:spLocks noGrp="1"/>
          </p:cNvSpPr>
          <p:nvPr>
            <p:ph type="body" idx="20"/>
          </p:nvPr>
        </p:nvSpPr>
        <p:spPr>
          <a:xfrm>
            <a:off x="7827320" y="5114967"/>
            <a:ext cx="2702074" cy="249471"/>
          </a:xfrm>
          <a:prstGeom prst="rect">
            <a:avLst/>
          </a:prstGeom>
        </p:spPr>
        <p:txBody>
          <a:bodyPr>
            <a:noAutofit/>
          </a:bodyPr>
          <a:lstStyle>
            <a:lvl1pPr marL="0" indent="0">
              <a:buNone/>
              <a:defRPr sz="1400" b="1">
                <a:solidFill>
                  <a:schemeClr val="accent2"/>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27" name="Text Placeholder 2">
            <a:extLst>
              <a:ext uri="{FF2B5EF4-FFF2-40B4-BE49-F238E27FC236}">
                <a16:creationId xmlns:a16="http://schemas.microsoft.com/office/drawing/2014/main" id="{603EC48F-2377-EF4F-82E9-CC6693051E84}"/>
              </a:ext>
            </a:extLst>
          </p:cNvPr>
          <p:cNvSpPr>
            <a:spLocks noGrp="1"/>
          </p:cNvSpPr>
          <p:nvPr>
            <p:ph type="body" idx="21"/>
          </p:nvPr>
        </p:nvSpPr>
        <p:spPr>
          <a:xfrm>
            <a:off x="7827320" y="5410567"/>
            <a:ext cx="2702074" cy="249471"/>
          </a:xfrm>
          <a:prstGeom prst="rect">
            <a:avLst/>
          </a:prstGeom>
        </p:spPr>
        <p:txBody>
          <a:bodyPr>
            <a:noAutofit/>
          </a:bodyPr>
          <a:lstStyle>
            <a:lvl1pPr marL="0" indent="0">
              <a:buNone/>
              <a:defRPr sz="1200" b="1">
                <a:solidFill>
                  <a:schemeClr val="tx1">
                    <a:tint val="75000"/>
                  </a:schemeClr>
                </a:solidFill>
                <a:latin typeface="+mj-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28" name="Text Placeholder 2">
            <a:extLst>
              <a:ext uri="{FF2B5EF4-FFF2-40B4-BE49-F238E27FC236}">
                <a16:creationId xmlns:a16="http://schemas.microsoft.com/office/drawing/2014/main" id="{2F06B242-A63C-5344-8FB7-D0F6EEC45FA7}"/>
              </a:ext>
            </a:extLst>
          </p:cNvPr>
          <p:cNvSpPr>
            <a:spLocks noGrp="1"/>
          </p:cNvSpPr>
          <p:nvPr>
            <p:ph type="body" idx="22"/>
          </p:nvPr>
        </p:nvSpPr>
        <p:spPr>
          <a:xfrm>
            <a:off x="1663420" y="5114967"/>
            <a:ext cx="2702074" cy="249471"/>
          </a:xfrm>
          <a:prstGeom prst="rect">
            <a:avLst/>
          </a:prstGeom>
        </p:spPr>
        <p:txBody>
          <a:bodyPr>
            <a:noAutofit/>
          </a:bodyPr>
          <a:lstStyle>
            <a:lvl1pPr marL="0" indent="0" algn="r">
              <a:buNone/>
              <a:defRPr sz="1400" b="1">
                <a:solidFill>
                  <a:schemeClr val="accent2"/>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29" name="Text Placeholder 2">
            <a:extLst>
              <a:ext uri="{FF2B5EF4-FFF2-40B4-BE49-F238E27FC236}">
                <a16:creationId xmlns:a16="http://schemas.microsoft.com/office/drawing/2014/main" id="{9AAF1397-C7ED-5F4C-A97B-9F7A01CEE114}"/>
              </a:ext>
            </a:extLst>
          </p:cNvPr>
          <p:cNvSpPr>
            <a:spLocks noGrp="1"/>
          </p:cNvSpPr>
          <p:nvPr>
            <p:ph type="body" idx="23"/>
          </p:nvPr>
        </p:nvSpPr>
        <p:spPr>
          <a:xfrm>
            <a:off x="1663420" y="5410567"/>
            <a:ext cx="2702074" cy="249471"/>
          </a:xfrm>
          <a:prstGeom prst="rect">
            <a:avLst/>
          </a:prstGeom>
        </p:spPr>
        <p:txBody>
          <a:bodyPr>
            <a:noAutofit/>
          </a:bodyPr>
          <a:lstStyle>
            <a:lvl1pPr marL="0" indent="0" algn="r">
              <a:buNone/>
              <a:defRPr sz="1200" b="1">
                <a:solidFill>
                  <a:schemeClr val="tx1">
                    <a:tint val="75000"/>
                  </a:schemeClr>
                </a:solidFill>
                <a:latin typeface="+mj-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30" name="Text Placeholder 2">
            <a:extLst>
              <a:ext uri="{FF2B5EF4-FFF2-40B4-BE49-F238E27FC236}">
                <a16:creationId xmlns:a16="http://schemas.microsoft.com/office/drawing/2014/main" id="{C9A60DCD-1331-B147-AA00-5A0711BCA23C}"/>
              </a:ext>
            </a:extLst>
          </p:cNvPr>
          <p:cNvSpPr>
            <a:spLocks noGrp="1"/>
          </p:cNvSpPr>
          <p:nvPr>
            <p:ph type="body" idx="24"/>
          </p:nvPr>
        </p:nvSpPr>
        <p:spPr>
          <a:xfrm>
            <a:off x="911649" y="3663839"/>
            <a:ext cx="2702074" cy="249471"/>
          </a:xfrm>
          <a:prstGeom prst="rect">
            <a:avLst/>
          </a:prstGeom>
        </p:spPr>
        <p:txBody>
          <a:bodyPr>
            <a:noAutofit/>
          </a:bodyPr>
          <a:lstStyle>
            <a:lvl1pPr marL="0" indent="0" algn="r">
              <a:buNone/>
              <a:defRPr sz="1400" b="1">
                <a:solidFill>
                  <a:schemeClr val="accent2"/>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31" name="Text Placeholder 2">
            <a:extLst>
              <a:ext uri="{FF2B5EF4-FFF2-40B4-BE49-F238E27FC236}">
                <a16:creationId xmlns:a16="http://schemas.microsoft.com/office/drawing/2014/main" id="{BDA42A16-E0B2-864A-80DF-2F538D5EAB6B}"/>
              </a:ext>
            </a:extLst>
          </p:cNvPr>
          <p:cNvSpPr>
            <a:spLocks noGrp="1"/>
          </p:cNvSpPr>
          <p:nvPr>
            <p:ph type="body" idx="25"/>
          </p:nvPr>
        </p:nvSpPr>
        <p:spPr>
          <a:xfrm>
            <a:off x="911649" y="3959439"/>
            <a:ext cx="2702074" cy="249471"/>
          </a:xfrm>
          <a:prstGeom prst="rect">
            <a:avLst/>
          </a:prstGeom>
        </p:spPr>
        <p:txBody>
          <a:bodyPr>
            <a:noAutofit/>
          </a:bodyPr>
          <a:lstStyle>
            <a:lvl1pPr marL="0" indent="0" algn="r">
              <a:buNone/>
              <a:defRPr sz="1200" b="1">
                <a:solidFill>
                  <a:schemeClr val="tx1">
                    <a:tint val="75000"/>
                  </a:schemeClr>
                </a:solidFill>
                <a:latin typeface="+mj-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32" name="Text Placeholder 2">
            <a:extLst>
              <a:ext uri="{FF2B5EF4-FFF2-40B4-BE49-F238E27FC236}">
                <a16:creationId xmlns:a16="http://schemas.microsoft.com/office/drawing/2014/main" id="{6BE65B95-FAFE-AF4E-AB72-D6B94B1560AE}"/>
              </a:ext>
            </a:extLst>
          </p:cNvPr>
          <p:cNvSpPr>
            <a:spLocks noGrp="1"/>
          </p:cNvSpPr>
          <p:nvPr>
            <p:ph type="body" idx="26"/>
          </p:nvPr>
        </p:nvSpPr>
        <p:spPr>
          <a:xfrm>
            <a:off x="1663420" y="2094937"/>
            <a:ext cx="2702074" cy="249471"/>
          </a:xfrm>
          <a:prstGeom prst="rect">
            <a:avLst/>
          </a:prstGeom>
        </p:spPr>
        <p:txBody>
          <a:bodyPr>
            <a:noAutofit/>
          </a:bodyPr>
          <a:lstStyle>
            <a:lvl1pPr marL="0" indent="0" algn="r">
              <a:buNone/>
              <a:defRPr sz="1400" b="1">
                <a:solidFill>
                  <a:schemeClr val="accent2"/>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33" name="Text Placeholder 2">
            <a:extLst>
              <a:ext uri="{FF2B5EF4-FFF2-40B4-BE49-F238E27FC236}">
                <a16:creationId xmlns:a16="http://schemas.microsoft.com/office/drawing/2014/main" id="{CE24CAA5-8D93-5949-9B55-4707BE2CF972}"/>
              </a:ext>
            </a:extLst>
          </p:cNvPr>
          <p:cNvSpPr>
            <a:spLocks noGrp="1"/>
          </p:cNvSpPr>
          <p:nvPr>
            <p:ph type="body" idx="27"/>
          </p:nvPr>
        </p:nvSpPr>
        <p:spPr>
          <a:xfrm>
            <a:off x="1663420" y="2390537"/>
            <a:ext cx="2702074" cy="249471"/>
          </a:xfrm>
          <a:prstGeom prst="rect">
            <a:avLst/>
          </a:prstGeom>
        </p:spPr>
        <p:txBody>
          <a:bodyPr>
            <a:noAutofit/>
          </a:bodyPr>
          <a:lstStyle>
            <a:lvl1pPr marL="0" indent="0" algn="r">
              <a:buNone/>
              <a:defRPr sz="1200" b="1">
                <a:solidFill>
                  <a:schemeClr val="tx1">
                    <a:tint val="75000"/>
                  </a:schemeClr>
                </a:solidFill>
                <a:latin typeface="+mj-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Text Placeholder 3">
            <a:extLst>
              <a:ext uri="{FF2B5EF4-FFF2-40B4-BE49-F238E27FC236}">
                <a16:creationId xmlns:a16="http://schemas.microsoft.com/office/drawing/2014/main" id="{0D24A3DD-4738-1E47-93FF-704B99451BE0}"/>
              </a:ext>
            </a:extLst>
          </p:cNvPr>
          <p:cNvSpPr>
            <a:spLocks noGrp="1"/>
          </p:cNvSpPr>
          <p:nvPr>
            <p:ph type="body" sz="quarter" idx="28" hasCustomPrompt="1"/>
          </p:nvPr>
        </p:nvSpPr>
        <p:spPr>
          <a:xfrm>
            <a:off x="397661" y="1100465"/>
            <a:ext cx="10491950" cy="553957"/>
          </a:xfrm>
          <a:prstGeom prst="rect">
            <a:avLst/>
          </a:prstGeom>
        </p:spPr>
        <p:txBody>
          <a:bodyPr/>
          <a:lstStyle>
            <a:lvl1pPr>
              <a:defRPr sz="1600" b="1">
                <a:solidFill>
                  <a:srgbClr val="004582"/>
                </a:solidFill>
              </a:defRPr>
            </a:lvl1pPr>
          </a:lstStyle>
          <a:p>
            <a:pPr lvl="0"/>
            <a:r>
              <a:rPr lang="en-GB"/>
              <a:t>Write your Subheading here</a:t>
            </a:r>
          </a:p>
        </p:txBody>
      </p:sp>
      <p:sp>
        <p:nvSpPr>
          <p:cNvPr id="36" name="Slide Number Placeholder 5">
            <a:extLst>
              <a:ext uri="{FF2B5EF4-FFF2-40B4-BE49-F238E27FC236}">
                <a16:creationId xmlns:a16="http://schemas.microsoft.com/office/drawing/2014/main" id="{C089A417-F593-4735-98F8-06A9CD3341F4}"/>
              </a:ext>
            </a:extLst>
          </p:cNvPr>
          <p:cNvSpPr txBox="1">
            <a:spLocks/>
          </p:cNvSpPr>
          <p:nvPr userDrawn="1"/>
        </p:nvSpPr>
        <p:spPr>
          <a:xfrm>
            <a:off x="11373135" y="6506785"/>
            <a:ext cx="609600" cy="261610"/>
          </a:xfrm>
          <a:prstGeom prst="rect">
            <a:avLst/>
          </a:prstGeom>
          <a:noFill/>
        </p:spPr>
        <p:txBody>
          <a:bodyPr>
            <a:spAutoFit/>
          </a:bodyPr>
          <a:lstStyle>
            <a:defPPr>
              <a:defRPr lang="en-US"/>
            </a:defPPr>
            <a:lvl1pPr marL="0" algn="ctr" defTabSz="914400" rtl="0" eaLnBrk="1" latinLnBrk="0" hangingPunct="1">
              <a:defRPr lang="en-US" sz="1800" kern="1200" smtClean="0">
                <a:solidFill>
                  <a:schemeClr val="bg1"/>
                </a:solidFill>
                <a:latin typeface="Tahoma" pitchFamily="34" charset="0"/>
                <a:ea typeface="Tahoma" pitchFamily="34" charset="0"/>
                <a:cs typeface="Tahoma"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fld id="{3413C1ED-5599-4BB6-878F-244F2E6B8E4A}" type="slidenum">
              <a:rPr lang="en-IN" sz="1100">
                <a:solidFill>
                  <a:prstClr val="black">
                    <a:lumMod val="50000"/>
                    <a:lumOff val="50000"/>
                  </a:prstClr>
                </a:solidFill>
              </a:rPr>
              <a:pPr fontAlgn="auto">
                <a:spcBef>
                  <a:spcPts val="0"/>
                </a:spcBef>
                <a:spcAft>
                  <a:spcPts val="0"/>
                </a:spcAft>
                <a:defRPr/>
              </a:pPr>
              <a:t>‹#›</a:t>
            </a:fld>
            <a:endParaRPr lang="en-IN" sz="1100">
              <a:solidFill>
                <a:prstClr val="black">
                  <a:lumMod val="50000"/>
                  <a:lumOff val="50000"/>
                </a:prstClr>
              </a:solidFill>
            </a:endParaRPr>
          </a:p>
        </p:txBody>
      </p:sp>
      <p:pic>
        <p:nvPicPr>
          <p:cNvPr id="37" name="Picture 36">
            <a:extLst>
              <a:ext uri="{FF2B5EF4-FFF2-40B4-BE49-F238E27FC236}">
                <a16:creationId xmlns:a16="http://schemas.microsoft.com/office/drawing/2014/main" id="{2ADC9E94-C8E3-497C-8C01-F1228F3F200F}"/>
              </a:ext>
            </a:extLst>
          </p:cNvPr>
          <p:cNvPicPr>
            <a:picLocks noChangeAspect="1"/>
          </p:cNvPicPr>
          <p:nvPr userDrawn="1"/>
        </p:nvPicPr>
        <p:blipFill>
          <a:blip r:embed="rId5"/>
          <a:stretch>
            <a:fillRect/>
          </a:stretch>
        </p:blipFill>
        <p:spPr>
          <a:xfrm>
            <a:off x="464908" y="6506785"/>
            <a:ext cx="1148260" cy="138938"/>
          </a:xfrm>
          <a:prstGeom prst="rect">
            <a:avLst/>
          </a:prstGeom>
        </p:spPr>
      </p:pic>
      <p:sp>
        <p:nvSpPr>
          <p:cNvPr id="38" name="Freeform: Shape 14">
            <a:extLst>
              <a:ext uri="{FF2B5EF4-FFF2-40B4-BE49-F238E27FC236}">
                <a16:creationId xmlns:a16="http://schemas.microsoft.com/office/drawing/2014/main" id="{7195300A-5400-4FD6-AAC4-81F2E3D35856}"/>
              </a:ext>
            </a:extLst>
          </p:cNvPr>
          <p:cNvSpPr/>
          <p:nvPr userDrawn="1"/>
        </p:nvSpPr>
        <p:spPr>
          <a:xfrm rot="5400000" flipH="1">
            <a:off x="10650813" y="-6388"/>
            <a:ext cx="1528833" cy="1553542"/>
          </a:xfrm>
          <a:custGeom>
            <a:avLst/>
            <a:gdLst>
              <a:gd name="connsiteX0" fmla="*/ 2051041 w 2051041"/>
              <a:gd name="connsiteY0" fmla="*/ 2080382 h 2084191"/>
              <a:gd name="connsiteX1" fmla="*/ 2051041 w 2051041"/>
              <a:gd name="connsiteY1" fmla="*/ 2083967 h 2084191"/>
              <a:gd name="connsiteX2" fmla="*/ 2047231 w 2051041"/>
              <a:gd name="connsiteY2" fmla="*/ 2084191 h 2084191"/>
              <a:gd name="connsiteX3" fmla="*/ 2045599 w 2051041"/>
              <a:gd name="connsiteY3" fmla="*/ 2081470 h 2084191"/>
              <a:gd name="connsiteX4" fmla="*/ 1478568 w 2051041"/>
              <a:gd name="connsiteY4" fmla="*/ 1997668 h 2084191"/>
              <a:gd name="connsiteX5" fmla="*/ 1484554 w 2051041"/>
              <a:gd name="connsiteY5" fmla="*/ 2004743 h 2084191"/>
              <a:gd name="connsiteX6" fmla="*/ 1478568 w 2051041"/>
              <a:gd name="connsiteY6" fmla="*/ 2009096 h 2084191"/>
              <a:gd name="connsiteX7" fmla="*/ 1473126 w 2051041"/>
              <a:gd name="connsiteY7" fmla="*/ 2003654 h 2084191"/>
              <a:gd name="connsiteX8" fmla="*/ 1478568 w 2051041"/>
              <a:gd name="connsiteY8" fmla="*/ 1997668 h 2084191"/>
              <a:gd name="connsiteX9" fmla="*/ 1641820 w 2051041"/>
              <a:gd name="connsiteY9" fmla="*/ 1993859 h 2084191"/>
              <a:gd name="connsiteX10" fmla="*/ 1652160 w 2051041"/>
              <a:gd name="connsiteY10" fmla="*/ 2003654 h 2084191"/>
              <a:gd name="connsiteX11" fmla="*/ 1641820 w 2051041"/>
              <a:gd name="connsiteY11" fmla="*/ 2013449 h 2084191"/>
              <a:gd name="connsiteX12" fmla="*/ 1632025 w 2051041"/>
              <a:gd name="connsiteY12" fmla="*/ 2003654 h 2084191"/>
              <a:gd name="connsiteX13" fmla="*/ 1641820 w 2051041"/>
              <a:gd name="connsiteY13" fmla="*/ 1993859 h 2084191"/>
              <a:gd name="connsiteX14" fmla="*/ 1969414 w 2051041"/>
              <a:gd name="connsiteY14" fmla="*/ 1992226 h 2084191"/>
              <a:gd name="connsiteX15" fmla="*/ 1979753 w 2051041"/>
              <a:gd name="connsiteY15" fmla="*/ 2003654 h 2084191"/>
              <a:gd name="connsiteX16" fmla="*/ 1968325 w 2051041"/>
              <a:gd name="connsiteY16" fmla="*/ 2014537 h 2084191"/>
              <a:gd name="connsiteX17" fmla="*/ 1957986 w 2051041"/>
              <a:gd name="connsiteY17" fmla="*/ 2003110 h 2084191"/>
              <a:gd name="connsiteX18" fmla="*/ 1969414 w 2051041"/>
              <a:gd name="connsiteY18" fmla="*/ 1992226 h 2084191"/>
              <a:gd name="connsiteX19" fmla="*/ 1805073 w 2051041"/>
              <a:gd name="connsiteY19" fmla="*/ 1992226 h 2084191"/>
              <a:gd name="connsiteX20" fmla="*/ 1815956 w 2051041"/>
              <a:gd name="connsiteY20" fmla="*/ 2002565 h 2084191"/>
              <a:gd name="connsiteX21" fmla="*/ 1805073 w 2051041"/>
              <a:gd name="connsiteY21" fmla="*/ 2014537 h 2084191"/>
              <a:gd name="connsiteX22" fmla="*/ 1794189 w 2051041"/>
              <a:gd name="connsiteY22" fmla="*/ 2004198 h 2084191"/>
              <a:gd name="connsiteX23" fmla="*/ 1805073 w 2051041"/>
              <a:gd name="connsiteY23" fmla="*/ 1992226 h 2084191"/>
              <a:gd name="connsiteX24" fmla="*/ 1234233 w 2051041"/>
              <a:gd name="connsiteY24" fmla="*/ 1916042 h 2084191"/>
              <a:gd name="connsiteX25" fmla="*/ 1240219 w 2051041"/>
              <a:gd name="connsiteY25" fmla="*/ 1923660 h 2084191"/>
              <a:gd name="connsiteX26" fmla="*/ 1236953 w 2051041"/>
              <a:gd name="connsiteY26" fmla="*/ 1926381 h 2084191"/>
              <a:gd name="connsiteX27" fmla="*/ 1229335 w 2051041"/>
              <a:gd name="connsiteY27" fmla="*/ 1918762 h 2084191"/>
              <a:gd name="connsiteX28" fmla="*/ 1234233 w 2051041"/>
              <a:gd name="connsiteY28" fmla="*/ 1916042 h 2084191"/>
              <a:gd name="connsiteX29" fmla="*/ 1397486 w 2051041"/>
              <a:gd name="connsiteY29" fmla="*/ 1911144 h 2084191"/>
              <a:gd name="connsiteX30" fmla="*/ 1408369 w 2051041"/>
              <a:gd name="connsiteY30" fmla="*/ 1921483 h 2084191"/>
              <a:gd name="connsiteX31" fmla="*/ 1399118 w 2051041"/>
              <a:gd name="connsiteY31" fmla="*/ 1931823 h 2084191"/>
              <a:gd name="connsiteX32" fmla="*/ 1387146 w 2051041"/>
              <a:gd name="connsiteY32" fmla="*/ 1922028 h 2084191"/>
              <a:gd name="connsiteX33" fmla="*/ 1397486 w 2051041"/>
              <a:gd name="connsiteY33" fmla="*/ 1911144 h 2084191"/>
              <a:gd name="connsiteX34" fmla="*/ 1560194 w 2051041"/>
              <a:gd name="connsiteY34" fmla="*/ 1906790 h 2084191"/>
              <a:gd name="connsiteX35" fmla="*/ 1574342 w 2051041"/>
              <a:gd name="connsiteY35" fmla="*/ 1921482 h 2084191"/>
              <a:gd name="connsiteX36" fmla="*/ 1560738 w 2051041"/>
              <a:gd name="connsiteY36" fmla="*/ 1935631 h 2084191"/>
              <a:gd name="connsiteX37" fmla="*/ 1547134 w 2051041"/>
              <a:gd name="connsiteY37" fmla="*/ 1922027 h 2084191"/>
              <a:gd name="connsiteX38" fmla="*/ 1560194 w 2051041"/>
              <a:gd name="connsiteY38" fmla="*/ 1906790 h 2084191"/>
              <a:gd name="connsiteX39" fmla="*/ 2049952 w 2051041"/>
              <a:gd name="connsiteY39" fmla="*/ 1905702 h 2084191"/>
              <a:gd name="connsiteX40" fmla="*/ 2051041 w 2051041"/>
              <a:gd name="connsiteY40" fmla="*/ 1906027 h 2084191"/>
              <a:gd name="connsiteX41" fmla="*/ 2051041 w 2051041"/>
              <a:gd name="connsiteY41" fmla="*/ 1938133 h 2084191"/>
              <a:gd name="connsiteX42" fmla="*/ 2050496 w 2051041"/>
              <a:gd name="connsiteY42" fmla="*/ 1938353 h 2084191"/>
              <a:gd name="connsiteX43" fmla="*/ 2034171 w 2051041"/>
              <a:gd name="connsiteY43" fmla="*/ 1922572 h 2084191"/>
              <a:gd name="connsiteX44" fmla="*/ 2049952 w 2051041"/>
              <a:gd name="connsiteY44" fmla="*/ 1905702 h 2084191"/>
              <a:gd name="connsiteX45" fmla="*/ 1723447 w 2051041"/>
              <a:gd name="connsiteY45" fmla="*/ 1905702 h 2084191"/>
              <a:gd name="connsiteX46" fmla="*/ 1739772 w 2051041"/>
              <a:gd name="connsiteY46" fmla="*/ 1920939 h 2084191"/>
              <a:gd name="connsiteX47" fmla="*/ 1724535 w 2051041"/>
              <a:gd name="connsiteY47" fmla="*/ 1937264 h 2084191"/>
              <a:gd name="connsiteX48" fmla="*/ 1708210 w 2051041"/>
              <a:gd name="connsiteY48" fmla="*/ 1922027 h 2084191"/>
              <a:gd name="connsiteX49" fmla="*/ 1723447 w 2051041"/>
              <a:gd name="connsiteY49" fmla="*/ 1905702 h 2084191"/>
              <a:gd name="connsiteX50" fmla="*/ 1887787 w 2051041"/>
              <a:gd name="connsiteY50" fmla="*/ 1905158 h 2084191"/>
              <a:gd name="connsiteX51" fmla="*/ 1904113 w 2051041"/>
              <a:gd name="connsiteY51" fmla="*/ 1922028 h 2084191"/>
              <a:gd name="connsiteX52" fmla="*/ 1886699 w 2051041"/>
              <a:gd name="connsiteY52" fmla="*/ 1937809 h 2084191"/>
              <a:gd name="connsiteX53" fmla="*/ 1870918 w 2051041"/>
              <a:gd name="connsiteY53" fmla="*/ 1921483 h 2084191"/>
              <a:gd name="connsiteX54" fmla="*/ 1887787 w 2051041"/>
              <a:gd name="connsiteY54" fmla="*/ 1905158 h 2084191"/>
              <a:gd name="connsiteX55" fmla="*/ 1152606 w 2051041"/>
              <a:gd name="connsiteY55" fmla="*/ 1831693 h 2084191"/>
              <a:gd name="connsiteX56" fmla="*/ 1161313 w 2051041"/>
              <a:gd name="connsiteY56" fmla="*/ 1839312 h 2084191"/>
              <a:gd name="connsiteX57" fmla="*/ 1153694 w 2051041"/>
              <a:gd name="connsiteY57" fmla="*/ 1852916 h 2084191"/>
              <a:gd name="connsiteX58" fmla="*/ 1144988 w 2051041"/>
              <a:gd name="connsiteY58" fmla="*/ 1841489 h 2084191"/>
              <a:gd name="connsiteX59" fmla="*/ 1152606 w 2051041"/>
              <a:gd name="connsiteY59" fmla="*/ 1831693 h 2084191"/>
              <a:gd name="connsiteX60" fmla="*/ 1315315 w 2051041"/>
              <a:gd name="connsiteY60" fmla="*/ 1825708 h 2084191"/>
              <a:gd name="connsiteX61" fmla="*/ 1330552 w 2051041"/>
              <a:gd name="connsiteY61" fmla="*/ 1840401 h 2084191"/>
              <a:gd name="connsiteX62" fmla="*/ 1316404 w 2051041"/>
              <a:gd name="connsiteY62" fmla="*/ 1854549 h 2084191"/>
              <a:gd name="connsiteX63" fmla="*/ 1301711 w 2051041"/>
              <a:gd name="connsiteY63" fmla="*/ 1840945 h 2084191"/>
              <a:gd name="connsiteX64" fmla="*/ 1315315 w 2051041"/>
              <a:gd name="connsiteY64" fmla="*/ 1825708 h 2084191"/>
              <a:gd name="connsiteX65" fmla="*/ 1479656 w 2051041"/>
              <a:gd name="connsiteY65" fmla="*/ 1822987 h 2084191"/>
              <a:gd name="connsiteX66" fmla="*/ 1495981 w 2051041"/>
              <a:gd name="connsiteY66" fmla="*/ 1840401 h 2084191"/>
              <a:gd name="connsiteX67" fmla="*/ 1478567 w 2051041"/>
              <a:gd name="connsiteY67" fmla="*/ 1856182 h 2084191"/>
              <a:gd name="connsiteX68" fmla="*/ 1462242 w 2051041"/>
              <a:gd name="connsiteY68" fmla="*/ 1839312 h 2084191"/>
              <a:gd name="connsiteX69" fmla="*/ 1479656 w 2051041"/>
              <a:gd name="connsiteY69" fmla="*/ 1822987 h 2084191"/>
              <a:gd name="connsiteX70" fmla="*/ 1642365 w 2051041"/>
              <a:gd name="connsiteY70" fmla="*/ 1821355 h 2084191"/>
              <a:gd name="connsiteX71" fmla="*/ 1660867 w 2051041"/>
              <a:gd name="connsiteY71" fmla="*/ 1840401 h 2084191"/>
              <a:gd name="connsiteX72" fmla="*/ 1642365 w 2051041"/>
              <a:gd name="connsiteY72" fmla="*/ 1857270 h 2084191"/>
              <a:gd name="connsiteX73" fmla="*/ 1624407 w 2051041"/>
              <a:gd name="connsiteY73" fmla="*/ 1839857 h 2084191"/>
              <a:gd name="connsiteX74" fmla="*/ 1642365 w 2051041"/>
              <a:gd name="connsiteY74" fmla="*/ 1821355 h 2084191"/>
              <a:gd name="connsiteX75" fmla="*/ 1806162 w 2051041"/>
              <a:gd name="connsiteY75" fmla="*/ 1819723 h 2084191"/>
              <a:gd name="connsiteX76" fmla="*/ 1826840 w 2051041"/>
              <a:gd name="connsiteY76" fmla="*/ 1840945 h 2084191"/>
              <a:gd name="connsiteX77" fmla="*/ 1804529 w 2051041"/>
              <a:gd name="connsiteY77" fmla="*/ 1861080 h 2084191"/>
              <a:gd name="connsiteX78" fmla="*/ 1784395 w 2051041"/>
              <a:gd name="connsiteY78" fmla="*/ 1839313 h 2084191"/>
              <a:gd name="connsiteX79" fmla="*/ 1806162 w 2051041"/>
              <a:gd name="connsiteY79" fmla="*/ 1819723 h 2084191"/>
              <a:gd name="connsiteX80" fmla="*/ 1968870 w 2051041"/>
              <a:gd name="connsiteY80" fmla="*/ 1819178 h 2084191"/>
              <a:gd name="connsiteX81" fmla="*/ 1990093 w 2051041"/>
              <a:gd name="connsiteY81" fmla="*/ 1840401 h 2084191"/>
              <a:gd name="connsiteX82" fmla="*/ 1968870 w 2051041"/>
              <a:gd name="connsiteY82" fmla="*/ 1861624 h 2084191"/>
              <a:gd name="connsiteX83" fmla="*/ 1947647 w 2051041"/>
              <a:gd name="connsiteY83" fmla="*/ 1840401 h 2084191"/>
              <a:gd name="connsiteX84" fmla="*/ 1968870 w 2051041"/>
              <a:gd name="connsiteY84" fmla="*/ 1819178 h 2084191"/>
              <a:gd name="connsiteX85" fmla="*/ 1070436 w 2051041"/>
              <a:gd name="connsiteY85" fmla="*/ 1747347 h 2084191"/>
              <a:gd name="connsiteX86" fmla="*/ 1081863 w 2051041"/>
              <a:gd name="connsiteY86" fmla="*/ 1758231 h 2084191"/>
              <a:gd name="connsiteX87" fmla="*/ 1070980 w 2051041"/>
              <a:gd name="connsiteY87" fmla="*/ 1769658 h 2084191"/>
              <a:gd name="connsiteX88" fmla="*/ 1059552 w 2051041"/>
              <a:gd name="connsiteY88" fmla="*/ 1758775 h 2084191"/>
              <a:gd name="connsiteX89" fmla="*/ 1070436 w 2051041"/>
              <a:gd name="connsiteY89" fmla="*/ 1747347 h 2084191"/>
              <a:gd name="connsiteX90" fmla="*/ 1233688 w 2051041"/>
              <a:gd name="connsiteY90" fmla="*/ 1742449 h 2084191"/>
              <a:gd name="connsiteX91" fmla="*/ 1250558 w 2051041"/>
              <a:gd name="connsiteY91" fmla="*/ 1758774 h 2084191"/>
              <a:gd name="connsiteX92" fmla="*/ 1233688 w 2051041"/>
              <a:gd name="connsiteY92" fmla="*/ 1775099 h 2084191"/>
              <a:gd name="connsiteX93" fmla="*/ 1217907 w 2051041"/>
              <a:gd name="connsiteY93" fmla="*/ 1759318 h 2084191"/>
              <a:gd name="connsiteX94" fmla="*/ 1233688 w 2051041"/>
              <a:gd name="connsiteY94" fmla="*/ 1742449 h 2084191"/>
              <a:gd name="connsiteX95" fmla="*/ 1399662 w 2051041"/>
              <a:gd name="connsiteY95" fmla="*/ 1739728 h 2084191"/>
              <a:gd name="connsiteX96" fmla="*/ 1417076 w 2051041"/>
              <a:gd name="connsiteY96" fmla="*/ 1760407 h 2084191"/>
              <a:gd name="connsiteX97" fmla="*/ 1396941 w 2051041"/>
              <a:gd name="connsiteY97" fmla="*/ 1779453 h 2084191"/>
              <a:gd name="connsiteX98" fmla="*/ 1377895 w 2051041"/>
              <a:gd name="connsiteY98" fmla="*/ 1757686 h 2084191"/>
              <a:gd name="connsiteX99" fmla="*/ 1399662 w 2051041"/>
              <a:gd name="connsiteY99" fmla="*/ 1739728 h 2084191"/>
              <a:gd name="connsiteX100" fmla="*/ 1723991 w 2051041"/>
              <a:gd name="connsiteY100" fmla="*/ 1735919 h 2084191"/>
              <a:gd name="connsiteX101" fmla="*/ 1746847 w 2051041"/>
              <a:gd name="connsiteY101" fmla="*/ 1758774 h 2084191"/>
              <a:gd name="connsiteX102" fmla="*/ 1723991 w 2051041"/>
              <a:gd name="connsiteY102" fmla="*/ 1781086 h 2084191"/>
              <a:gd name="connsiteX103" fmla="*/ 1701680 w 2051041"/>
              <a:gd name="connsiteY103" fmla="*/ 1758774 h 2084191"/>
              <a:gd name="connsiteX104" fmla="*/ 1723991 w 2051041"/>
              <a:gd name="connsiteY104" fmla="*/ 1735919 h 2084191"/>
              <a:gd name="connsiteX105" fmla="*/ 1560194 w 2051041"/>
              <a:gd name="connsiteY105" fmla="*/ 1735919 h 2084191"/>
              <a:gd name="connsiteX106" fmla="*/ 1582505 w 2051041"/>
              <a:gd name="connsiteY106" fmla="*/ 1758230 h 2084191"/>
              <a:gd name="connsiteX107" fmla="*/ 1560738 w 2051041"/>
              <a:gd name="connsiteY107" fmla="*/ 1779997 h 2084191"/>
              <a:gd name="connsiteX108" fmla="*/ 1538427 w 2051041"/>
              <a:gd name="connsiteY108" fmla="*/ 1758230 h 2084191"/>
              <a:gd name="connsiteX109" fmla="*/ 1560194 w 2051041"/>
              <a:gd name="connsiteY109" fmla="*/ 1735919 h 2084191"/>
              <a:gd name="connsiteX110" fmla="*/ 2051041 w 2051041"/>
              <a:gd name="connsiteY110" fmla="*/ 1734831 h 2084191"/>
              <a:gd name="connsiteX111" fmla="*/ 2051041 w 2051041"/>
              <a:gd name="connsiteY111" fmla="*/ 1781438 h 2084191"/>
              <a:gd name="connsiteX112" fmla="*/ 2050496 w 2051041"/>
              <a:gd name="connsiteY112" fmla="*/ 1781630 h 2084191"/>
              <a:gd name="connsiteX113" fmla="*/ 2027097 w 2051041"/>
              <a:gd name="connsiteY113" fmla="*/ 1758775 h 2084191"/>
              <a:gd name="connsiteX114" fmla="*/ 2051041 w 2051041"/>
              <a:gd name="connsiteY114" fmla="*/ 1734831 h 2084191"/>
              <a:gd name="connsiteX115" fmla="*/ 1887788 w 2051041"/>
              <a:gd name="connsiteY115" fmla="*/ 1734831 h 2084191"/>
              <a:gd name="connsiteX116" fmla="*/ 1910099 w 2051041"/>
              <a:gd name="connsiteY116" fmla="*/ 1758775 h 2084191"/>
              <a:gd name="connsiteX117" fmla="*/ 1886699 w 2051041"/>
              <a:gd name="connsiteY117" fmla="*/ 1781086 h 2084191"/>
              <a:gd name="connsiteX118" fmla="*/ 1863844 w 2051041"/>
              <a:gd name="connsiteY118" fmla="*/ 1757687 h 2084191"/>
              <a:gd name="connsiteX119" fmla="*/ 1887788 w 2051041"/>
              <a:gd name="connsiteY119" fmla="*/ 1734831 h 2084191"/>
              <a:gd name="connsiteX120" fmla="*/ 826100 w 2051041"/>
              <a:gd name="connsiteY120" fmla="*/ 1671706 h 2084191"/>
              <a:gd name="connsiteX121" fmla="*/ 832086 w 2051041"/>
              <a:gd name="connsiteY121" fmla="*/ 1677692 h 2084191"/>
              <a:gd name="connsiteX122" fmla="*/ 825556 w 2051041"/>
              <a:gd name="connsiteY122" fmla="*/ 1683134 h 2084191"/>
              <a:gd name="connsiteX123" fmla="*/ 820658 w 2051041"/>
              <a:gd name="connsiteY123" fmla="*/ 1676603 h 2084191"/>
              <a:gd name="connsiteX124" fmla="*/ 826100 w 2051041"/>
              <a:gd name="connsiteY124" fmla="*/ 1671706 h 2084191"/>
              <a:gd name="connsiteX125" fmla="*/ 989354 w 2051041"/>
              <a:gd name="connsiteY125" fmla="*/ 1661912 h 2084191"/>
              <a:gd name="connsiteX126" fmla="*/ 1004046 w 2051041"/>
              <a:gd name="connsiteY126" fmla="*/ 1676604 h 2084191"/>
              <a:gd name="connsiteX127" fmla="*/ 989354 w 2051041"/>
              <a:gd name="connsiteY127" fmla="*/ 1690209 h 2084191"/>
              <a:gd name="connsiteX128" fmla="*/ 975205 w 2051041"/>
              <a:gd name="connsiteY128" fmla="*/ 1677693 h 2084191"/>
              <a:gd name="connsiteX129" fmla="*/ 989354 w 2051041"/>
              <a:gd name="connsiteY129" fmla="*/ 1661912 h 2084191"/>
              <a:gd name="connsiteX130" fmla="*/ 1153151 w 2051041"/>
              <a:gd name="connsiteY130" fmla="*/ 1659734 h 2084191"/>
              <a:gd name="connsiteX131" fmla="*/ 1170564 w 2051041"/>
              <a:gd name="connsiteY131" fmla="*/ 1677692 h 2084191"/>
              <a:gd name="connsiteX132" fmla="*/ 1152062 w 2051041"/>
              <a:gd name="connsiteY132" fmla="*/ 1694562 h 2084191"/>
              <a:gd name="connsiteX133" fmla="*/ 1135737 w 2051041"/>
              <a:gd name="connsiteY133" fmla="*/ 1677148 h 2084191"/>
              <a:gd name="connsiteX134" fmla="*/ 1153151 w 2051041"/>
              <a:gd name="connsiteY134" fmla="*/ 1659734 h 2084191"/>
              <a:gd name="connsiteX135" fmla="*/ 1315315 w 2051041"/>
              <a:gd name="connsiteY135" fmla="*/ 1655381 h 2084191"/>
              <a:gd name="connsiteX136" fmla="*/ 1337082 w 2051041"/>
              <a:gd name="connsiteY136" fmla="*/ 1676603 h 2084191"/>
              <a:gd name="connsiteX137" fmla="*/ 1315315 w 2051041"/>
              <a:gd name="connsiteY137" fmla="*/ 1698915 h 2084191"/>
              <a:gd name="connsiteX138" fmla="*/ 1294092 w 2051041"/>
              <a:gd name="connsiteY138" fmla="*/ 1677148 h 2084191"/>
              <a:gd name="connsiteX139" fmla="*/ 1315315 w 2051041"/>
              <a:gd name="connsiteY139" fmla="*/ 1655381 h 2084191"/>
              <a:gd name="connsiteX140" fmla="*/ 1479111 w 2051041"/>
              <a:gd name="connsiteY140" fmla="*/ 1654293 h 2084191"/>
              <a:gd name="connsiteX141" fmla="*/ 1501967 w 2051041"/>
              <a:gd name="connsiteY141" fmla="*/ 1677692 h 2084191"/>
              <a:gd name="connsiteX142" fmla="*/ 1479111 w 2051041"/>
              <a:gd name="connsiteY142" fmla="*/ 1700548 h 2084191"/>
              <a:gd name="connsiteX143" fmla="*/ 1455712 w 2051041"/>
              <a:gd name="connsiteY143" fmla="*/ 1676604 h 2084191"/>
              <a:gd name="connsiteX144" fmla="*/ 1479111 w 2051041"/>
              <a:gd name="connsiteY144" fmla="*/ 1654293 h 2084191"/>
              <a:gd name="connsiteX145" fmla="*/ 1643452 w 2051041"/>
              <a:gd name="connsiteY145" fmla="*/ 1650483 h 2084191"/>
              <a:gd name="connsiteX146" fmla="*/ 1668484 w 2051041"/>
              <a:gd name="connsiteY146" fmla="*/ 1676603 h 2084191"/>
              <a:gd name="connsiteX147" fmla="*/ 1643452 w 2051041"/>
              <a:gd name="connsiteY147" fmla="*/ 1703268 h 2084191"/>
              <a:gd name="connsiteX148" fmla="*/ 1617332 w 2051041"/>
              <a:gd name="connsiteY148" fmla="*/ 1677692 h 2084191"/>
              <a:gd name="connsiteX149" fmla="*/ 1643452 w 2051041"/>
              <a:gd name="connsiteY149" fmla="*/ 1650483 h 2084191"/>
              <a:gd name="connsiteX150" fmla="*/ 1968326 w 2051041"/>
              <a:gd name="connsiteY150" fmla="*/ 1649940 h 2084191"/>
              <a:gd name="connsiteX151" fmla="*/ 1995535 w 2051041"/>
              <a:gd name="connsiteY151" fmla="*/ 1676604 h 2084191"/>
              <a:gd name="connsiteX152" fmla="*/ 1968870 w 2051041"/>
              <a:gd name="connsiteY152" fmla="*/ 1704357 h 2084191"/>
              <a:gd name="connsiteX153" fmla="*/ 1941661 w 2051041"/>
              <a:gd name="connsiteY153" fmla="*/ 1677148 h 2084191"/>
              <a:gd name="connsiteX154" fmla="*/ 1968326 w 2051041"/>
              <a:gd name="connsiteY154" fmla="*/ 1649940 h 2084191"/>
              <a:gd name="connsiteX155" fmla="*/ 1805617 w 2051041"/>
              <a:gd name="connsiteY155" fmla="*/ 1649939 h 2084191"/>
              <a:gd name="connsiteX156" fmla="*/ 1832826 w 2051041"/>
              <a:gd name="connsiteY156" fmla="*/ 1677148 h 2084191"/>
              <a:gd name="connsiteX157" fmla="*/ 1805073 w 2051041"/>
              <a:gd name="connsiteY157" fmla="*/ 1704357 h 2084191"/>
              <a:gd name="connsiteX158" fmla="*/ 1778409 w 2051041"/>
              <a:gd name="connsiteY158" fmla="*/ 1677148 h 2084191"/>
              <a:gd name="connsiteX159" fmla="*/ 1805617 w 2051041"/>
              <a:gd name="connsiteY159" fmla="*/ 1649939 h 2084191"/>
              <a:gd name="connsiteX160" fmla="*/ 744474 w 2051041"/>
              <a:gd name="connsiteY160" fmla="*/ 1588992 h 2084191"/>
              <a:gd name="connsiteX161" fmla="*/ 751004 w 2051041"/>
              <a:gd name="connsiteY161" fmla="*/ 1594978 h 2084191"/>
              <a:gd name="connsiteX162" fmla="*/ 745562 w 2051041"/>
              <a:gd name="connsiteY162" fmla="*/ 1602052 h 2084191"/>
              <a:gd name="connsiteX163" fmla="*/ 738488 w 2051041"/>
              <a:gd name="connsiteY163" fmla="*/ 1594978 h 2084191"/>
              <a:gd name="connsiteX164" fmla="*/ 744474 w 2051041"/>
              <a:gd name="connsiteY164" fmla="*/ 1588992 h 2084191"/>
              <a:gd name="connsiteX165" fmla="*/ 907183 w 2051041"/>
              <a:gd name="connsiteY165" fmla="*/ 1579741 h 2084191"/>
              <a:gd name="connsiteX166" fmla="*/ 923508 w 2051041"/>
              <a:gd name="connsiteY166" fmla="*/ 1594978 h 2084191"/>
              <a:gd name="connsiteX167" fmla="*/ 908815 w 2051041"/>
              <a:gd name="connsiteY167" fmla="*/ 1610759 h 2084191"/>
              <a:gd name="connsiteX168" fmla="*/ 892490 w 2051041"/>
              <a:gd name="connsiteY168" fmla="*/ 1595522 h 2084191"/>
              <a:gd name="connsiteX169" fmla="*/ 907183 w 2051041"/>
              <a:gd name="connsiteY169" fmla="*/ 1579741 h 2084191"/>
              <a:gd name="connsiteX170" fmla="*/ 1071524 w 2051041"/>
              <a:gd name="connsiteY170" fmla="*/ 1574843 h 2084191"/>
              <a:gd name="connsiteX171" fmla="*/ 1091114 w 2051041"/>
              <a:gd name="connsiteY171" fmla="*/ 1595522 h 2084191"/>
              <a:gd name="connsiteX172" fmla="*/ 1070980 w 2051041"/>
              <a:gd name="connsiteY172" fmla="*/ 1615656 h 2084191"/>
              <a:gd name="connsiteX173" fmla="*/ 1050301 w 2051041"/>
              <a:gd name="connsiteY173" fmla="*/ 1595522 h 2084191"/>
              <a:gd name="connsiteX174" fmla="*/ 1071524 w 2051041"/>
              <a:gd name="connsiteY174" fmla="*/ 1574843 h 2084191"/>
              <a:gd name="connsiteX175" fmla="*/ 1233688 w 2051041"/>
              <a:gd name="connsiteY175" fmla="*/ 1573210 h 2084191"/>
              <a:gd name="connsiteX176" fmla="*/ 1256544 w 2051041"/>
              <a:gd name="connsiteY176" fmla="*/ 1595522 h 2084191"/>
              <a:gd name="connsiteX177" fmla="*/ 1233688 w 2051041"/>
              <a:gd name="connsiteY177" fmla="*/ 1618377 h 2084191"/>
              <a:gd name="connsiteX178" fmla="*/ 1211377 w 2051041"/>
              <a:gd name="connsiteY178" fmla="*/ 1596610 h 2084191"/>
              <a:gd name="connsiteX179" fmla="*/ 1233688 w 2051041"/>
              <a:gd name="connsiteY179" fmla="*/ 1573210 h 2084191"/>
              <a:gd name="connsiteX180" fmla="*/ 1398030 w 2051041"/>
              <a:gd name="connsiteY180" fmla="*/ 1569402 h 2084191"/>
              <a:gd name="connsiteX181" fmla="*/ 1423062 w 2051041"/>
              <a:gd name="connsiteY181" fmla="*/ 1595522 h 2084191"/>
              <a:gd name="connsiteX182" fmla="*/ 1397485 w 2051041"/>
              <a:gd name="connsiteY182" fmla="*/ 1621099 h 2084191"/>
              <a:gd name="connsiteX183" fmla="*/ 1371365 w 2051041"/>
              <a:gd name="connsiteY183" fmla="*/ 1595522 h 2084191"/>
              <a:gd name="connsiteX184" fmla="*/ 1398030 w 2051041"/>
              <a:gd name="connsiteY184" fmla="*/ 1569402 h 2084191"/>
              <a:gd name="connsiteX185" fmla="*/ 1560194 w 2051041"/>
              <a:gd name="connsiteY185" fmla="*/ 1568313 h 2084191"/>
              <a:gd name="connsiteX186" fmla="*/ 1587947 w 2051041"/>
              <a:gd name="connsiteY186" fmla="*/ 1594433 h 2084191"/>
              <a:gd name="connsiteX187" fmla="*/ 1560194 w 2051041"/>
              <a:gd name="connsiteY187" fmla="*/ 1622730 h 2084191"/>
              <a:gd name="connsiteX188" fmla="*/ 1532985 w 2051041"/>
              <a:gd name="connsiteY188" fmla="*/ 1594977 h 2084191"/>
              <a:gd name="connsiteX189" fmla="*/ 1560194 w 2051041"/>
              <a:gd name="connsiteY189" fmla="*/ 1568313 h 2084191"/>
              <a:gd name="connsiteX190" fmla="*/ 1887244 w 2051041"/>
              <a:gd name="connsiteY190" fmla="*/ 1567225 h 2084191"/>
              <a:gd name="connsiteX191" fmla="*/ 1915541 w 2051041"/>
              <a:gd name="connsiteY191" fmla="*/ 1594978 h 2084191"/>
              <a:gd name="connsiteX192" fmla="*/ 1886699 w 2051041"/>
              <a:gd name="connsiteY192" fmla="*/ 1623819 h 2084191"/>
              <a:gd name="connsiteX193" fmla="*/ 1858947 w 2051041"/>
              <a:gd name="connsiteY193" fmla="*/ 1594978 h 2084191"/>
              <a:gd name="connsiteX194" fmla="*/ 1887244 w 2051041"/>
              <a:gd name="connsiteY194" fmla="*/ 1567225 h 2084191"/>
              <a:gd name="connsiteX195" fmla="*/ 1724535 w 2051041"/>
              <a:gd name="connsiteY195" fmla="*/ 1567225 h 2084191"/>
              <a:gd name="connsiteX196" fmla="*/ 1752288 w 2051041"/>
              <a:gd name="connsiteY196" fmla="*/ 1594978 h 2084191"/>
              <a:gd name="connsiteX197" fmla="*/ 1724535 w 2051041"/>
              <a:gd name="connsiteY197" fmla="*/ 1623275 h 2084191"/>
              <a:gd name="connsiteX198" fmla="*/ 1696238 w 2051041"/>
              <a:gd name="connsiteY198" fmla="*/ 1594978 h 2084191"/>
              <a:gd name="connsiteX199" fmla="*/ 1724535 w 2051041"/>
              <a:gd name="connsiteY199" fmla="*/ 1567225 h 2084191"/>
              <a:gd name="connsiteX200" fmla="*/ 2050496 w 2051041"/>
              <a:gd name="connsiteY200" fmla="*/ 1566680 h 2084191"/>
              <a:gd name="connsiteX201" fmla="*/ 2051041 w 2051041"/>
              <a:gd name="connsiteY201" fmla="*/ 1566888 h 2084191"/>
              <a:gd name="connsiteX202" fmla="*/ 2051041 w 2051041"/>
              <a:gd name="connsiteY202" fmla="*/ 1623794 h 2084191"/>
              <a:gd name="connsiteX203" fmla="*/ 2049408 w 2051041"/>
              <a:gd name="connsiteY203" fmla="*/ 1624363 h 2084191"/>
              <a:gd name="connsiteX204" fmla="*/ 2021655 w 2051041"/>
              <a:gd name="connsiteY204" fmla="*/ 1594977 h 2084191"/>
              <a:gd name="connsiteX205" fmla="*/ 2050496 w 2051041"/>
              <a:gd name="connsiteY205" fmla="*/ 1566680 h 2084191"/>
              <a:gd name="connsiteX206" fmla="*/ 663392 w 2051041"/>
              <a:gd name="connsiteY206" fmla="*/ 1505188 h 2084191"/>
              <a:gd name="connsiteX207" fmla="*/ 674819 w 2051041"/>
              <a:gd name="connsiteY207" fmla="*/ 1513895 h 2084191"/>
              <a:gd name="connsiteX208" fmla="*/ 662848 w 2051041"/>
              <a:gd name="connsiteY208" fmla="*/ 1522058 h 2084191"/>
              <a:gd name="connsiteX209" fmla="*/ 654685 w 2051041"/>
              <a:gd name="connsiteY209" fmla="*/ 1513351 h 2084191"/>
              <a:gd name="connsiteX210" fmla="*/ 663392 w 2051041"/>
              <a:gd name="connsiteY210" fmla="*/ 1505188 h 2084191"/>
              <a:gd name="connsiteX211" fmla="*/ 826101 w 2051041"/>
              <a:gd name="connsiteY211" fmla="*/ 1497570 h 2084191"/>
              <a:gd name="connsiteX212" fmla="*/ 842970 w 2051041"/>
              <a:gd name="connsiteY212" fmla="*/ 1513351 h 2084191"/>
              <a:gd name="connsiteX213" fmla="*/ 826645 w 2051041"/>
              <a:gd name="connsiteY213" fmla="*/ 1529676 h 2084191"/>
              <a:gd name="connsiteX214" fmla="*/ 810319 w 2051041"/>
              <a:gd name="connsiteY214" fmla="*/ 1514983 h 2084191"/>
              <a:gd name="connsiteX215" fmla="*/ 826101 w 2051041"/>
              <a:gd name="connsiteY215" fmla="*/ 1497570 h 2084191"/>
              <a:gd name="connsiteX216" fmla="*/ 988265 w 2051041"/>
              <a:gd name="connsiteY216" fmla="*/ 1492128 h 2084191"/>
              <a:gd name="connsiteX217" fmla="*/ 1010577 w 2051041"/>
              <a:gd name="connsiteY217" fmla="*/ 1513351 h 2084191"/>
              <a:gd name="connsiteX218" fmla="*/ 989354 w 2051041"/>
              <a:gd name="connsiteY218" fmla="*/ 1534574 h 2084191"/>
              <a:gd name="connsiteX219" fmla="*/ 968131 w 2051041"/>
              <a:gd name="connsiteY219" fmla="*/ 1513895 h 2084191"/>
              <a:gd name="connsiteX220" fmla="*/ 988265 w 2051041"/>
              <a:gd name="connsiteY220" fmla="*/ 1492128 h 2084191"/>
              <a:gd name="connsiteX221" fmla="*/ 1152606 w 2051041"/>
              <a:gd name="connsiteY221" fmla="*/ 1490496 h 2084191"/>
              <a:gd name="connsiteX222" fmla="*/ 1176006 w 2051041"/>
              <a:gd name="connsiteY222" fmla="*/ 1513351 h 2084191"/>
              <a:gd name="connsiteX223" fmla="*/ 1152606 w 2051041"/>
              <a:gd name="connsiteY223" fmla="*/ 1537839 h 2084191"/>
              <a:gd name="connsiteX224" fmla="*/ 1129207 w 2051041"/>
              <a:gd name="connsiteY224" fmla="*/ 1514984 h 2084191"/>
              <a:gd name="connsiteX225" fmla="*/ 1152606 w 2051041"/>
              <a:gd name="connsiteY225" fmla="*/ 1490496 h 2084191"/>
              <a:gd name="connsiteX226" fmla="*/ 1316403 w 2051041"/>
              <a:gd name="connsiteY226" fmla="*/ 1487231 h 2084191"/>
              <a:gd name="connsiteX227" fmla="*/ 1342523 w 2051041"/>
              <a:gd name="connsiteY227" fmla="*/ 1513896 h 2084191"/>
              <a:gd name="connsiteX228" fmla="*/ 1315314 w 2051041"/>
              <a:gd name="connsiteY228" fmla="*/ 1540560 h 2084191"/>
              <a:gd name="connsiteX229" fmla="*/ 1288650 w 2051041"/>
              <a:gd name="connsiteY229" fmla="*/ 1513896 h 2084191"/>
              <a:gd name="connsiteX230" fmla="*/ 1316403 w 2051041"/>
              <a:gd name="connsiteY230" fmla="*/ 1487231 h 2084191"/>
              <a:gd name="connsiteX231" fmla="*/ 1479656 w 2051041"/>
              <a:gd name="connsiteY231" fmla="*/ 1485054 h 2084191"/>
              <a:gd name="connsiteX232" fmla="*/ 1507409 w 2051041"/>
              <a:gd name="connsiteY232" fmla="*/ 1513895 h 2084191"/>
              <a:gd name="connsiteX233" fmla="*/ 1479112 w 2051041"/>
              <a:gd name="connsiteY233" fmla="*/ 1541648 h 2084191"/>
              <a:gd name="connsiteX234" fmla="*/ 1451359 w 2051041"/>
              <a:gd name="connsiteY234" fmla="*/ 1513351 h 2084191"/>
              <a:gd name="connsiteX235" fmla="*/ 1479656 w 2051041"/>
              <a:gd name="connsiteY235" fmla="*/ 1485054 h 2084191"/>
              <a:gd name="connsiteX236" fmla="*/ 1641820 w 2051041"/>
              <a:gd name="connsiteY236" fmla="*/ 1482334 h 2084191"/>
              <a:gd name="connsiteX237" fmla="*/ 1673382 w 2051041"/>
              <a:gd name="connsiteY237" fmla="*/ 1512807 h 2084191"/>
              <a:gd name="connsiteX238" fmla="*/ 1642909 w 2051041"/>
              <a:gd name="connsiteY238" fmla="*/ 1544370 h 2084191"/>
              <a:gd name="connsiteX239" fmla="*/ 1612435 w 2051041"/>
              <a:gd name="connsiteY239" fmla="*/ 1513351 h 2084191"/>
              <a:gd name="connsiteX240" fmla="*/ 1641820 w 2051041"/>
              <a:gd name="connsiteY240" fmla="*/ 1482334 h 2084191"/>
              <a:gd name="connsiteX241" fmla="*/ 1804529 w 2051041"/>
              <a:gd name="connsiteY241" fmla="*/ 1481788 h 2084191"/>
              <a:gd name="connsiteX242" fmla="*/ 1837180 w 2051041"/>
              <a:gd name="connsiteY242" fmla="*/ 1513351 h 2084191"/>
              <a:gd name="connsiteX243" fmla="*/ 1805617 w 2051041"/>
              <a:gd name="connsiteY243" fmla="*/ 1545457 h 2084191"/>
              <a:gd name="connsiteX244" fmla="*/ 1773511 w 2051041"/>
              <a:gd name="connsiteY244" fmla="*/ 1514983 h 2084191"/>
              <a:gd name="connsiteX245" fmla="*/ 1804529 w 2051041"/>
              <a:gd name="connsiteY245" fmla="*/ 1481788 h 2084191"/>
              <a:gd name="connsiteX246" fmla="*/ 1968870 w 2051041"/>
              <a:gd name="connsiteY246" fmla="*/ 1480700 h 2084191"/>
              <a:gd name="connsiteX247" fmla="*/ 2000977 w 2051041"/>
              <a:gd name="connsiteY247" fmla="*/ 1513351 h 2084191"/>
              <a:gd name="connsiteX248" fmla="*/ 1968870 w 2051041"/>
              <a:gd name="connsiteY248" fmla="*/ 1545457 h 2084191"/>
              <a:gd name="connsiteX249" fmla="*/ 1936764 w 2051041"/>
              <a:gd name="connsiteY249" fmla="*/ 1513351 h 2084191"/>
              <a:gd name="connsiteX250" fmla="*/ 1968870 w 2051041"/>
              <a:gd name="connsiteY250" fmla="*/ 1480700 h 2084191"/>
              <a:gd name="connsiteX251" fmla="*/ 581221 w 2051041"/>
              <a:gd name="connsiteY251" fmla="*/ 1423562 h 2084191"/>
              <a:gd name="connsiteX252" fmla="*/ 588840 w 2051041"/>
              <a:gd name="connsiteY252" fmla="*/ 1431725 h 2084191"/>
              <a:gd name="connsiteX253" fmla="*/ 581765 w 2051041"/>
              <a:gd name="connsiteY253" fmla="*/ 1443153 h 2084191"/>
              <a:gd name="connsiteX254" fmla="*/ 573059 w 2051041"/>
              <a:gd name="connsiteY254" fmla="*/ 1432813 h 2084191"/>
              <a:gd name="connsiteX255" fmla="*/ 581221 w 2051041"/>
              <a:gd name="connsiteY255" fmla="*/ 1423562 h 2084191"/>
              <a:gd name="connsiteX256" fmla="*/ 745562 w 2051041"/>
              <a:gd name="connsiteY256" fmla="*/ 1414855 h 2084191"/>
              <a:gd name="connsiteX257" fmla="*/ 761344 w 2051041"/>
              <a:gd name="connsiteY257" fmla="*/ 1432269 h 2084191"/>
              <a:gd name="connsiteX258" fmla="*/ 745018 w 2051041"/>
              <a:gd name="connsiteY258" fmla="*/ 1448050 h 2084191"/>
              <a:gd name="connsiteX259" fmla="*/ 728693 w 2051041"/>
              <a:gd name="connsiteY259" fmla="*/ 1431725 h 2084191"/>
              <a:gd name="connsiteX260" fmla="*/ 745562 w 2051041"/>
              <a:gd name="connsiteY260" fmla="*/ 1414855 h 2084191"/>
              <a:gd name="connsiteX261" fmla="*/ 908815 w 2051041"/>
              <a:gd name="connsiteY261" fmla="*/ 1409958 h 2084191"/>
              <a:gd name="connsiteX262" fmla="*/ 930038 w 2051041"/>
              <a:gd name="connsiteY262" fmla="*/ 1431725 h 2084191"/>
              <a:gd name="connsiteX263" fmla="*/ 907183 w 2051041"/>
              <a:gd name="connsiteY263" fmla="*/ 1453492 h 2084191"/>
              <a:gd name="connsiteX264" fmla="*/ 885960 w 2051041"/>
              <a:gd name="connsiteY264" fmla="*/ 1431725 h 2084191"/>
              <a:gd name="connsiteX265" fmla="*/ 908815 w 2051041"/>
              <a:gd name="connsiteY265" fmla="*/ 1409958 h 2084191"/>
              <a:gd name="connsiteX266" fmla="*/ 1070436 w 2051041"/>
              <a:gd name="connsiteY266" fmla="*/ 1406693 h 2084191"/>
              <a:gd name="connsiteX267" fmla="*/ 1096012 w 2051041"/>
              <a:gd name="connsiteY267" fmla="*/ 1432269 h 2084191"/>
              <a:gd name="connsiteX268" fmla="*/ 1070436 w 2051041"/>
              <a:gd name="connsiteY268" fmla="*/ 1457846 h 2084191"/>
              <a:gd name="connsiteX269" fmla="*/ 1045404 w 2051041"/>
              <a:gd name="connsiteY269" fmla="*/ 1431181 h 2084191"/>
              <a:gd name="connsiteX270" fmla="*/ 1070436 w 2051041"/>
              <a:gd name="connsiteY270" fmla="*/ 1406693 h 2084191"/>
              <a:gd name="connsiteX271" fmla="*/ 1235865 w 2051041"/>
              <a:gd name="connsiteY271" fmla="*/ 1404516 h 2084191"/>
              <a:gd name="connsiteX272" fmla="*/ 1261986 w 2051041"/>
              <a:gd name="connsiteY272" fmla="*/ 1433358 h 2084191"/>
              <a:gd name="connsiteX273" fmla="*/ 1233689 w 2051041"/>
              <a:gd name="connsiteY273" fmla="*/ 1459478 h 2084191"/>
              <a:gd name="connsiteX274" fmla="*/ 1206480 w 2051041"/>
              <a:gd name="connsiteY274" fmla="*/ 1432269 h 2084191"/>
              <a:gd name="connsiteX275" fmla="*/ 1235865 w 2051041"/>
              <a:gd name="connsiteY275" fmla="*/ 1404516 h 2084191"/>
              <a:gd name="connsiteX276" fmla="*/ 1397485 w 2051041"/>
              <a:gd name="connsiteY276" fmla="*/ 1400162 h 2084191"/>
              <a:gd name="connsiteX277" fmla="*/ 1427959 w 2051041"/>
              <a:gd name="connsiteY277" fmla="*/ 1431724 h 2084191"/>
              <a:gd name="connsiteX278" fmla="*/ 1398029 w 2051041"/>
              <a:gd name="connsiteY278" fmla="*/ 1463287 h 2084191"/>
              <a:gd name="connsiteX279" fmla="*/ 1366467 w 2051041"/>
              <a:gd name="connsiteY279" fmla="*/ 1432813 h 2084191"/>
              <a:gd name="connsiteX280" fmla="*/ 1397485 w 2051041"/>
              <a:gd name="connsiteY280" fmla="*/ 1400162 h 2084191"/>
              <a:gd name="connsiteX281" fmla="*/ 1561282 w 2051041"/>
              <a:gd name="connsiteY281" fmla="*/ 1399618 h 2084191"/>
              <a:gd name="connsiteX282" fmla="*/ 1593388 w 2051041"/>
              <a:gd name="connsiteY282" fmla="*/ 1432269 h 2084191"/>
              <a:gd name="connsiteX283" fmla="*/ 1560738 w 2051041"/>
              <a:gd name="connsiteY283" fmla="*/ 1464375 h 2084191"/>
              <a:gd name="connsiteX284" fmla="*/ 1528631 w 2051041"/>
              <a:gd name="connsiteY284" fmla="*/ 1432813 h 2084191"/>
              <a:gd name="connsiteX285" fmla="*/ 1561282 w 2051041"/>
              <a:gd name="connsiteY285" fmla="*/ 1399618 h 2084191"/>
              <a:gd name="connsiteX286" fmla="*/ 1723446 w 2051041"/>
              <a:gd name="connsiteY286" fmla="*/ 1399074 h 2084191"/>
              <a:gd name="connsiteX287" fmla="*/ 1757185 w 2051041"/>
              <a:gd name="connsiteY287" fmla="*/ 1432269 h 2084191"/>
              <a:gd name="connsiteX288" fmla="*/ 1723991 w 2051041"/>
              <a:gd name="connsiteY288" fmla="*/ 1465464 h 2084191"/>
              <a:gd name="connsiteX289" fmla="*/ 1691340 w 2051041"/>
              <a:gd name="connsiteY289" fmla="*/ 1433357 h 2084191"/>
              <a:gd name="connsiteX290" fmla="*/ 1723446 w 2051041"/>
              <a:gd name="connsiteY290" fmla="*/ 1399074 h 2084191"/>
              <a:gd name="connsiteX291" fmla="*/ 1886700 w 2051041"/>
              <a:gd name="connsiteY291" fmla="*/ 1398530 h 2084191"/>
              <a:gd name="connsiteX292" fmla="*/ 1920439 w 2051041"/>
              <a:gd name="connsiteY292" fmla="*/ 1432269 h 2084191"/>
              <a:gd name="connsiteX293" fmla="*/ 1887788 w 2051041"/>
              <a:gd name="connsiteY293" fmla="*/ 1464920 h 2084191"/>
              <a:gd name="connsiteX294" fmla="*/ 1854049 w 2051041"/>
              <a:gd name="connsiteY294" fmla="*/ 1433358 h 2084191"/>
              <a:gd name="connsiteX295" fmla="*/ 1886700 w 2051041"/>
              <a:gd name="connsiteY295" fmla="*/ 1398530 h 2084191"/>
              <a:gd name="connsiteX296" fmla="*/ 2051041 w 2051041"/>
              <a:gd name="connsiteY296" fmla="*/ 1398217 h 2084191"/>
              <a:gd name="connsiteX297" fmla="*/ 2051041 w 2051041"/>
              <a:gd name="connsiteY297" fmla="*/ 1464535 h 2084191"/>
              <a:gd name="connsiteX298" fmla="*/ 2049953 w 2051041"/>
              <a:gd name="connsiteY298" fmla="*/ 1464920 h 2084191"/>
              <a:gd name="connsiteX299" fmla="*/ 2017302 w 2051041"/>
              <a:gd name="connsiteY299" fmla="*/ 1431725 h 2084191"/>
              <a:gd name="connsiteX300" fmla="*/ 2027709 w 2051041"/>
              <a:gd name="connsiteY300" fmla="*/ 1408121 h 2084191"/>
              <a:gd name="connsiteX301" fmla="*/ 500139 w 2051041"/>
              <a:gd name="connsiteY301" fmla="*/ 1341936 h 2084191"/>
              <a:gd name="connsiteX302" fmla="*/ 511023 w 2051041"/>
              <a:gd name="connsiteY302" fmla="*/ 1350643 h 2084191"/>
              <a:gd name="connsiteX303" fmla="*/ 499595 w 2051041"/>
              <a:gd name="connsiteY303" fmla="*/ 1358261 h 2084191"/>
              <a:gd name="connsiteX304" fmla="*/ 491432 w 2051041"/>
              <a:gd name="connsiteY304" fmla="*/ 1349010 h 2084191"/>
              <a:gd name="connsiteX305" fmla="*/ 500139 w 2051041"/>
              <a:gd name="connsiteY305" fmla="*/ 1341936 h 2084191"/>
              <a:gd name="connsiteX306" fmla="*/ 662848 w 2051041"/>
              <a:gd name="connsiteY306" fmla="*/ 1333773 h 2084191"/>
              <a:gd name="connsiteX307" fmla="*/ 679173 w 2051041"/>
              <a:gd name="connsiteY307" fmla="*/ 1350643 h 2084191"/>
              <a:gd name="connsiteX308" fmla="*/ 662848 w 2051041"/>
              <a:gd name="connsiteY308" fmla="*/ 1366424 h 2084191"/>
              <a:gd name="connsiteX309" fmla="*/ 647067 w 2051041"/>
              <a:gd name="connsiteY309" fmla="*/ 1350098 h 2084191"/>
              <a:gd name="connsiteX310" fmla="*/ 662848 w 2051041"/>
              <a:gd name="connsiteY310" fmla="*/ 1333773 h 2084191"/>
              <a:gd name="connsiteX311" fmla="*/ 826645 w 2051041"/>
              <a:gd name="connsiteY311" fmla="*/ 1328331 h 2084191"/>
              <a:gd name="connsiteX312" fmla="*/ 847868 w 2051041"/>
              <a:gd name="connsiteY312" fmla="*/ 1350642 h 2084191"/>
              <a:gd name="connsiteX313" fmla="*/ 825556 w 2051041"/>
              <a:gd name="connsiteY313" fmla="*/ 1372409 h 2084191"/>
              <a:gd name="connsiteX314" fmla="*/ 804334 w 2051041"/>
              <a:gd name="connsiteY314" fmla="*/ 1349554 h 2084191"/>
              <a:gd name="connsiteX315" fmla="*/ 826645 w 2051041"/>
              <a:gd name="connsiteY315" fmla="*/ 1328331 h 2084191"/>
              <a:gd name="connsiteX316" fmla="*/ 989353 w 2051041"/>
              <a:gd name="connsiteY316" fmla="*/ 1323978 h 2084191"/>
              <a:gd name="connsiteX317" fmla="*/ 1015473 w 2051041"/>
              <a:gd name="connsiteY317" fmla="*/ 1350098 h 2084191"/>
              <a:gd name="connsiteX318" fmla="*/ 989353 w 2051041"/>
              <a:gd name="connsiteY318" fmla="*/ 1376763 h 2084191"/>
              <a:gd name="connsiteX319" fmla="*/ 963777 w 2051041"/>
              <a:gd name="connsiteY319" fmla="*/ 1350642 h 2084191"/>
              <a:gd name="connsiteX320" fmla="*/ 989353 w 2051041"/>
              <a:gd name="connsiteY320" fmla="*/ 1323978 h 2084191"/>
              <a:gd name="connsiteX321" fmla="*/ 1152606 w 2051041"/>
              <a:gd name="connsiteY321" fmla="*/ 1322889 h 2084191"/>
              <a:gd name="connsiteX322" fmla="*/ 1181447 w 2051041"/>
              <a:gd name="connsiteY322" fmla="*/ 1350098 h 2084191"/>
              <a:gd name="connsiteX323" fmla="*/ 1152606 w 2051041"/>
              <a:gd name="connsiteY323" fmla="*/ 1379483 h 2084191"/>
              <a:gd name="connsiteX324" fmla="*/ 1124853 w 2051041"/>
              <a:gd name="connsiteY324" fmla="*/ 1350642 h 2084191"/>
              <a:gd name="connsiteX325" fmla="*/ 1152606 w 2051041"/>
              <a:gd name="connsiteY325" fmla="*/ 1322889 h 2084191"/>
              <a:gd name="connsiteX326" fmla="*/ 1315315 w 2051041"/>
              <a:gd name="connsiteY326" fmla="*/ 1318536 h 2084191"/>
              <a:gd name="connsiteX327" fmla="*/ 1347966 w 2051041"/>
              <a:gd name="connsiteY327" fmla="*/ 1350098 h 2084191"/>
              <a:gd name="connsiteX328" fmla="*/ 1315315 w 2051041"/>
              <a:gd name="connsiteY328" fmla="*/ 1381661 h 2084191"/>
              <a:gd name="connsiteX329" fmla="*/ 1284297 w 2051041"/>
              <a:gd name="connsiteY329" fmla="*/ 1350098 h 2084191"/>
              <a:gd name="connsiteX330" fmla="*/ 1315315 w 2051041"/>
              <a:gd name="connsiteY330" fmla="*/ 1318536 h 2084191"/>
              <a:gd name="connsiteX331" fmla="*/ 1480744 w 2051041"/>
              <a:gd name="connsiteY331" fmla="*/ 1317448 h 2084191"/>
              <a:gd name="connsiteX332" fmla="*/ 1512306 w 2051041"/>
              <a:gd name="connsiteY332" fmla="*/ 1351731 h 2084191"/>
              <a:gd name="connsiteX333" fmla="*/ 1477479 w 2051041"/>
              <a:gd name="connsiteY333" fmla="*/ 1383293 h 2084191"/>
              <a:gd name="connsiteX334" fmla="*/ 1446461 w 2051041"/>
              <a:gd name="connsiteY334" fmla="*/ 1349554 h 2084191"/>
              <a:gd name="connsiteX335" fmla="*/ 1480744 w 2051041"/>
              <a:gd name="connsiteY335" fmla="*/ 1317448 h 2084191"/>
              <a:gd name="connsiteX336" fmla="*/ 1642908 w 2051041"/>
              <a:gd name="connsiteY336" fmla="*/ 1315815 h 2084191"/>
              <a:gd name="connsiteX337" fmla="*/ 1676647 w 2051041"/>
              <a:gd name="connsiteY337" fmla="*/ 1351731 h 2084191"/>
              <a:gd name="connsiteX338" fmla="*/ 1640732 w 2051041"/>
              <a:gd name="connsiteY338" fmla="*/ 1383837 h 2084191"/>
              <a:gd name="connsiteX339" fmla="*/ 1608081 w 2051041"/>
              <a:gd name="connsiteY339" fmla="*/ 1349554 h 2084191"/>
              <a:gd name="connsiteX340" fmla="*/ 1642908 w 2051041"/>
              <a:gd name="connsiteY340" fmla="*/ 1315815 h 2084191"/>
              <a:gd name="connsiteX341" fmla="*/ 1968870 w 2051041"/>
              <a:gd name="connsiteY341" fmla="*/ 1314183 h 2084191"/>
              <a:gd name="connsiteX342" fmla="*/ 2005329 w 2051041"/>
              <a:gd name="connsiteY342" fmla="*/ 1351187 h 2084191"/>
              <a:gd name="connsiteX343" fmla="*/ 1967781 w 2051041"/>
              <a:gd name="connsiteY343" fmla="*/ 1388191 h 2084191"/>
              <a:gd name="connsiteX344" fmla="*/ 1931866 w 2051041"/>
              <a:gd name="connsiteY344" fmla="*/ 1350098 h 2084191"/>
              <a:gd name="connsiteX345" fmla="*/ 1968870 w 2051041"/>
              <a:gd name="connsiteY345" fmla="*/ 1314183 h 2084191"/>
              <a:gd name="connsiteX346" fmla="*/ 1806161 w 2051041"/>
              <a:gd name="connsiteY346" fmla="*/ 1313639 h 2084191"/>
              <a:gd name="connsiteX347" fmla="*/ 1841533 w 2051041"/>
              <a:gd name="connsiteY347" fmla="*/ 1351187 h 2084191"/>
              <a:gd name="connsiteX348" fmla="*/ 1830105 w 2051041"/>
              <a:gd name="connsiteY348" fmla="*/ 1376763 h 2084191"/>
              <a:gd name="connsiteX349" fmla="*/ 1803984 w 2051041"/>
              <a:gd name="connsiteY349" fmla="*/ 1387102 h 2084191"/>
              <a:gd name="connsiteX350" fmla="*/ 1768613 w 2051041"/>
              <a:gd name="connsiteY350" fmla="*/ 1350098 h 2084191"/>
              <a:gd name="connsiteX351" fmla="*/ 1806161 w 2051041"/>
              <a:gd name="connsiteY351" fmla="*/ 1313639 h 2084191"/>
              <a:gd name="connsiteX352" fmla="*/ 419057 w 2051041"/>
              <a:gd name="connsiteY352" fmla="*/ 1262486 h 2084191"/>
              <a:gd name="connsiteX353" fmla="*/ 424499 w 2051041"/>
              <a:gd name="connsiteY353" fmla="*/ 1269016 h 2084191"/>
              <a:gd name="connsiteX354" fmla="*/ 417969 w 2051041"/>
              <a:gd name="connsiteY354" fmla="*/ 1278811 h 2084191"/>
              <a:gd name="connsiteX355" fmla="*/ 411983 w 2051041"/>
              <a:gd name="connsiteY355" fmla="*/ 1269016 h 2084191"/>
              <a:gd name="connsiteX356" fmla="*/ 419057 w 2051041"/>
              <a:gd name="connsiteY356" fmla="*/ 1262486 h 2084191"/>
              <a:gd name="connsiteX357" fmla="*/ 581221 w 2051041"/>
              <a:gd name="connsiteY357" fmla="*/ 1252147 h 2084191"/>
              <a:gd name="connsiteX358" fmla="*/ 597547 w 2051041"/>
              <a:gd name="connsiteY358" fmla="*/ 1269017 h 2084191"/>
              <a:gd name="connsiteX359" fmla="*/ 580133 w 2051041"/>
              <a:gd name="connsiteY359" fmla="*/ 1284254 h 2084191"/>
              <a:gd name="connsiteX360" fmla="*/ 564896 w 2051041"/>
              <a:gd name="connsiteY360" fmla="*/ 1268472 h 2084191"/>
              <a:gd name="connsiteX361" fmla="*/ 581221 w 2051041"/>
              <a:gd name="connsiteY361" fmla="*/ 1252147 h 2084191"/>
              <a:gd name="connsiteX362" fmla="*/ 745018 w 2051041"/>
              <a:gd name="connsiteY362" fmla="*/ 1246705 h 2084191"/>
              <a:gd name="connsiteX363" fmla="*/ 766241 w 2051041"/>
              <a:gd name="connsiteY363" fmla="*/ 1269560 h 2084191"/>
              <a:gd name="connsiteX364" fmla="*/ 744474 w 2051041"/>
              <a:gd name="connsiteY364" fmla="*/ 1290783 h 2084191"/>
              <a:gd name="connsiteX365" fmla="*/ 722707 w 2051041"/>
              <a:gd name="connsiteY365" fmla="*/ 1267928 h 2084191"/>
              <a:gd name="connsiteX366" fmla="*/ 745018 w 2051041"/>
              <a:gd name="connsiteY366" fmla="*/ 1246705 h 2084191"/>
              <a:gd name="connsiteX367" fmla="*/ 907727 w 2051041"/>
              <a:gd name="connsiteY367" fmla="*/ 1241807 h 2084191"/>
              <a:gd name="connsiteX368" fmla="*/ 933847 w 2051041"/>
              <a:gd name="connsiteY368" fmla="*/ 1269016 h 2084191"/>
              <a:gd name="connsiteX369" fmla="*/ 907183 w 2051041"/>
              <a:gd name="connsiteY369" fmla="*/ 1295136 h 2084191"/>
              <a:gd name="connsiteX370" fmla="*/ 880518 w 2051041"/>
              <a:gd name="connsiteY370" fmla="*/ 1267927 h 2084191"/>
              <a:gd name="connsiteX371" fmla="*/ 907727 w 2051041"/>
              <a:gd name="connsiteY371" fmla="*/ 1241807 h 2084191"/>
              <a:gd name="connsiteX372" fmla="*/ 1070979 w 2051041"/>
              <a:gd name="connsiteY372" fmla="*/ 1240719 h 2084191"/>
              <a:gd name="connsiteX373" fmla="*/ 1099821 w 2051041"/>
              <a:gd name="connsiteY373" fmla="*/ 1268472 h 2084191"/>
              <a:gd name="connsiteX374" fmla="*/ 1070435 w 2051041"/>
              <a:gd name="connsiteY374" fmla="*/ 1297858 h 2084191"/>
              <a:gd name="connsiteX375" fmla="*/ 1042138 w 2051041"/>
              <a:gd name="connsiteY375" fmla="*/ 1269560 h 2084191"/>
              <a:gd name="connsiteX376" fmla="*/ 1070979 w 2051041"/>
              <a:gd name="connsiteY376" fmla="*/ 1240719 h 2084191"/>
              <a:gd name="connsiteX377" fmla="*/ 1234233 w 2051041"/>
              <a:gd name="connsiteY377" fmla="*/ 1235821 h 2084191"/>
              <a:gd name="connsiteX378" fmla="*/ 1266883 w 2051041"/>
              <a:gd name="connsiteY378" fmla="*/ 1269016 h 2084191"/>
              <a:gd name="connsiteX379" fmla="*/ 1234233 w 2051041"/>
              <a:gd name="connsiteY379" fmla="*/ 1300578 h 2084191"/>
              <a:gd name="connsiteX380" fmla="*/ 1201582 w 2051041"/>
              <a:gd name="connsiteY380" fmla="*/ 1267383 h 2084191"/>
              <a:gd name="connsiteX381" fmla="*/ 1234233 w 2051041"/>
              <a:gd name="connsiteY381" fmla="*/ 1235821 h 2084191"/>
              <a:gd name="connsiteX382" fmla="*/ 1396397 w 2051041"/>
              <a:gd name="connsiteY382" fmla="*/ 1234733 h 2084191"/>
              <a:gd name="connsiteX383" fmla="*/ 1431224 w 2051041"/>
              <a:gd name="connsiteY383" fmla="*/ 1268472 h 2084191"/>
              <a:gd name="connsiteX384" fmla="*/ 1396941 w 2051041"/>
              <a:gd name="connsiteY384" fmla="*/ 1302755 h 2084191"/>
              <a:gd name="connsiteX385" fmla="*/ 1363746 w 2051041"/>
              <a:gd name="connsiteY385" fmla="*/ 1269016 h 2084191"/>
              <a:gd name="connsiteX386" fmla="*/ 1396397 w 2051041"/>
              <a:gd name="connsiteY386" fmla="*/ 1234733 h 2084191"/>
              <a:gd name="connsiteX387" fmla="*/ 1559649 w 2051041"/>
              <a:gd name="connsiteY387" fmla="*/ 1232557 h 2084191"/>
              <a:gd name="connsiteX388" fmla="*/ 1597742 w 2051041"/>
              <a:gd name="connsiteY388" fmla="*/ 1268472 h 2084191"/>
              <a:gd name="connsiteX389" fmla="*/ 1561826 w 2051041"/>
              <a:gd name="connsiteY389" fmla="*/ 1305476 h 2084191"/>
              <a:gd name="connsiteX390" fmla="*/ 1523734 w 2051041"/>
              <a:gd name="connsiteY390" fmla="*/ 1269561 h 2084191"/>
              <a:gd name="connsiteX391" fmla="*/ 1559649 w 2051041"/>
              <a:gd name="connsiteY391" fmla="*/ 1232557 h 2084191"/>
              <a:gd name="connsiteX392" fmla="*/ 1723990 w 2051041"/>
              <a:gd name="connsiteY392" fmla="*/ 1231468 h 2084191"/>
              <a:gd name="connsiteX393" fmla="*/ 1762083 w 2051041"/>
              <a:gd name="connsiteY393" fmla="*/ 1268472 h 2084191"/>
              <a:gd name="connsiteX394" fmla="*/ 1724535 w 2051041"/>
              <a:gd name="connsiteY394" fmla="*/ 1307109 h 2084191"/>
              <a:gd name="connsiteX395" fmla="*/ 1686442 w 2051041"/>
              <a:gd name="connsiteY395" fmla="*/ 1270105 h 2084191"/>
              <a:gd name="connsiteX396" fmla="*/ 1723990 w 2051041"/>
              <a:gd name="connsiteY396" fmla="*/ 1231468 h 2084191"/>
              <a:gd name="connsiteX397" fmla="*/ 1888332 w 2051041"/>
              <a:gd name="connsiteY397" fmla="*/ 1230924 h 2084191"/>
              <a:gd name="connsiteX398" fmla="*/ 1925336 w 2051041"/>
              <a:gd name="connsiteY398" fmla="*/ 1269561 h 2084191"/>
              <a:gd name="connsiteX399" fmla="*/ 1887243 w 2051041"/>
              <a:gd name="connsiteY399" fmla="*/ 1307653 h 2084191"/>
              <a:gd name="connsiteX400" fmla="*/ 1849151 w 2051041"/>
              <a:gd name="connsiteY400" fmla="*/ 1267928 h 2084191"/>
              <a:gd name="connsiteX401" fmla="*/ 1888332 w 2051041"/>
              <a:gd name="connsiteY401" fmla="*/ 1230924 h 2084191"/>
              <a:gd name="connsiteX402" fmla="*/ 2049952 w 2051041"/>
              <a:gd name="connsiteY402" fmla="*/ 1230380 h 2084191"/>
              <a:gd name="connsiteX403" fmla="*/ 2051041 w 2051041"/>
              <a:gd name="connsiteY403" fmla="*/ 1230805 h 2084191"/>
              <a:gd name="connsiteX404" fmla="*/ 2051041 w 2051041"/>
              <a:gd name="connsiteY404" fmla="*/ 1307109 h 2084191"/>
              <a:gd name="connsiteX405" fmla="*/ 2012404 w 2051041"/>
              <a:gd name="connsiteY405" fmla="*/ 1268472 h 2084191"/>
              <a:gd name="connsiteX406" fmla="*/ 2049952 w 2051041"/>
              <a:gd name="connsiteY406" fmla="*/ 1230380 h 2084191"/>
              <a:gd name="connsiteX407" fmla="*/ 337431 w 2051041"/>
              <a:gd name="connsiteY407" fmla="*/ 1181404 h 2084191"/>
              <a:gd name="connsiteX408" fmla="*/ 345050 w 2051041"/>
              <a:gd name="connsiteY408" fmla="*/ 1187934 h 2084191"/>
              <a:gd name="connsiteX409" fmla="*/ 336343 w 2051041"/>
              <a:gd name="connsiteY409" fmla="*/ 1192288 h 2084191"/>
              <a:gd name="connsiteX410" fmla="*/ 330901 w 2051041"/>
              <a:gd name="connsiteY410" fmla="*/ 1185758 h 2084191"/>
              <a:gd name="connsiteX411" fmla="*/ 337431 w 2051041"/>
              <a:gd name="connsiteY411" fmla="*/ 1181404 h 2084191"/>
              <a:gd name="connsiteX412" fmla="*/ 499051 w 2051041"/>
              <a:gd name="connsiteY412" fmla="*/ 1171065 h 2084191"/>
              <a:gd name="connsiteX413" fmla="*/ 516465 w 2051041"/>
              <a:gd name="connsiteY413" fmla="*/ 1187390 h 2084191"/>
              <a:gd name="connsiteX414" fmla="*/ 500140 w 2051041"/>
              <a:gd name="connsiteY414" fmla="*/ 1202627 h 2084191"/>
              <a:gd name="connsiteX415" fmla="*/ 483814 w 2051041"/>
              <a:gd name="connsiteY415" fmla="*/ 1187390 h 2084191"/>
              <a:gd name="connsiteX416" fmla="*/ 499051 w 2051041"/>
              <a:gd name="connsiteY416" fmla="*/ 1171065 h 2084191"/>
              <a:gd name="connsiteX417" fmla="*/ 662848 w 2051041"/>
              <a:gd name="connsiteY417" fmla="*/ 1165623 h 2084191"/>
              <a:gd name="connsiteX418" fmla="*/ 684615 w 2051041"/>
              <a:gd name="connsiteY418" fmla="*/ 1187390 h 2084191"/>
              <a:gd name="connsiteX419" fmla="*/ 662848 w 2051041"/>
              <a:gd name="connsiteY419" fmla="*/ 1209157 h 2084191"/>
              <a:gd name="connsiteX420" fmla="*/ 641081 w 2051041"/>
              <a:gd name="connsiteY420" fmla="*/ 1186846 h 2084191"/>
              <a:gd name="connsiteX421" fmla="*/ 662848 w 2051041"/>
              <a:gd name="connsiteY421" fmla="*/ 1165623 h 2084191"/>
              <a:gd name="connsiteX422" fmla="*/ 825556 w 2051041"/>
              <a:gd name="connsiteY422" fmla="*/ 1160725 h 2084191"/>
              <a:gd name="connsiteX423" fmla="*/ 852765 w 2051041"/>
              <a:gd name="connsiteY423" fmla="*/ 1186846 h 2084191"/>
              <a:gd name="connsiteX424" fmla="*/ 826645 w 2051041"/>
              <a:gd name="connsiteY424" fmla="*/ 1213511 h 2084191"/>
              <a:gd name="connsiteX425" fmla="*/ 798892 w 2051041"/>
              <a:gd name="connsiteY425" fmla="*/ 1188479 h 2084191"/>
              <a:gd name="connsiteX426" fmla="*/ 825556 w 2051041"/>
              <a:gd name="connsiteY426" fmla="*/ 1160725 h 2084191"/>
              <a:gd name="connsiteX427" fmla="*/ 989353 w 2051041"/>
              <a:gd name="connsiteY427" fmla="*/ 1158004 h 2084191"/>
              <a:gd name="connsiteX428" fmla="*/ 1018195 w 2051041"/>
              <a:gd name="connsiteY428" fmla="*/ 1187934 h 2084191"/>
              <a:gd name="connsiteX429" fmla="*/ 988809 w 2051041"/>
              <a:gd name="connsiteY429" fmla="*/ 1216775 h 2084191"/>
              <a:gd name="connsiteX430" fmla="*/ 959968 w 2051041"/>
              <a:gd name="connsiteY430" fmla="*/ 1187934 h 2084191"/>
              <a:gd name="connsiteX431" fmla="*/ 989353 w 2051041"/>
              <a:gd name="connsiteY431" fmla="*/ 1158004 h 2084191"/>
              <a:gd name="connsiteX432" fmla="*/ 1152062 w 2051041"/>
              <a:gd name="connsiteY432" fmla="*/ 1153651 h 2084191"/>
              <a:gd name="connsiteX433" fmla="*/ 1185801 w 2051041"/>
              <a:gd name="connsiteY433" fmla="*/ 1186301 h 2084191"/>
              <a:gd name="connsiteX434" fmla="*/ 1153150 w 2051041"/>
              <a:gd name="connsiteY434" fmla="*/ 1219496 h 2084191"/>
              <a:gd name="connsiteX435" fmla="*/ 1119956 w 2051041"/>
              <a:gd name="connsiteY435" fmla="*/ 1187390 h 2084191"/>
              <a:gd name="connsiteX436" fmla="*/ 1152062 w 2051041"/>
              <a:gd name="connsiteY436" fmla="*/ 1153651 h 2084191"/>
              <a:gd name="connsiteX437" fmla="*/ 1315315 w 2051041"/>
              <a:gd name="connsiteY437" fmla="*/ 1152018 h 2084191"/>
              <a:gd name="connsiteX438" fmla="*/ 1351230 w 2051041"/>
              <a:gd name="connsiteY438" fmla="*/ 1186845 h 2084191"/>
              <a:gd name="connsiteX439" fmla="*/ 1315859 w 2051041"/>
              <a:gd name="connsiteY439" fmla="*/ 1221673 h 2084191"/>
              <a:gd name="connsiteX440" fmla="*/ 1281576 w 2051041"/>
              <a:gd name="connsiteY440" fmla="*/ 1187390 h 2084191"/>
              <a:gd name="connsiteX441" fmla="*/ 1315315 w 2051041"/>
              <a:gd name="connsiteY441" fmla="*/ 1152018 h 2084191"/>
              <a:gd name="connsiteX442" fmla="*/ 1479656 w 2051041"/>
              <a:gd name="connsiteY442" fmla="*/ 1149298 h 2084191"/>
              <a:gd name="connsiteX443" fmla="*/ 1516660 w 2051041"/>
              <a:gd name="connsiteY443" fmla="*/ 1188479 h 2084191"/>
              <a:gd name="connsiteX444" fmla="*/ 1478023 w 2051041"/>
              <a:gd name="connsiteY444" fmla="*/ 1224394 h 2084191"/>
              <a:gd name="connsiteX445" fmla="*/ 1441563 w 2051041"/>
              <a:gd name="connsiteY445" fmla="*/ 1185758 h 2084191"/>
              <a:gd name="connsiteX446" fmla="*/ 1479656 w 2051041"/>
              <a:gd name="connsiteY446" fmla="*/ 1149298 h 2084191"/>
              <a:gd name="connsiteX447" fmla="*/ 1642365 w 2051041"/>
              <a:gd name="connsiteY447" fmla="*/ 1148209 h 2084191"/>
              <a:gd name="connsiteX448" fmla="*/ 1681001 w 2051041"/>
              <a:gd name="connsiteY448" fmla="*/ 1187390 h 2084191"/>
              <a:gd name="connsiteX449" fmla="*/ 1641821 w 2051041"/>
              <a:gd name="connsiteY449" fmla="*/ 1226026 h 2084191"/>
              <a:gd name="connsiteX450" fmla="*/ 1603728 w 2051041"/>
              <a:gd name="connsiteY450" fmla="*/ 1186846 h 2084191"/>
              <a:gd name="connsiteX451" fmla="*/ 1642365 w 2051041"/>
              <a:gd name="connsiteY451" fmla="*/ 1148209 h 2084191"/>
              <a:gd name="connsiteX452" fmla="*/ 1969414 w 2051041"/>
              <a:gd name="connsiteY452" fmla="*/ 1147665 h 2084191"/>
              <a:gd name="connsiteX453" fmla="*/ 2009139 w 2051041"/>
              <a:gd name="connsiteY453" fmla="*/ 1187934 h 2084191"/>
              <a:gd name="connsiteX454" fmla="*/ 1968870 w 2051041"/>
              <a:gd name="connsiteY454" fmla="*/ 1227114 h 2084191"/>
              <a:gd name="connsiteX455" fmla="*/ 1929145 w 2051041"/>
              <a:gd name="connsiteY455" fmla="*/ 1186301 h 2084191"/>
              <a:gd name="connsiteX456" fmla="*/ 1969414 w 2051041"/>
              <a:gd name="connsiteY456" fmla="*/ 1147665 h 2084191"/>
              <a:gd name="connsiteX457" fmla="*/ 1805617 w 2051041"/>
              <a:gd name="connsiteY457" fmla="*/ 1147665 h 2084191"/>
              <a:gd name="connsiteX458" fmla="*/ 1844798 w 2051041"/>
              <a:gd name="connsiteY458" fmla="*/ 1187934 h 2084191"/>
              <a:gd name="connsiteX459" fmla="*/ 1805073 w 2051041"/>
              <a:gd name="connsiteY459" fmla="*/ 1226571 h 2084191"/>
              <a:gd name="connsiteX460" fmla="*/ 1766981 w 2051041"/>
              <a:gd name="connsiteY460" fmla="*/ 1186845 h 2084191"/>
              <a:gd name="connsiteX461" fmla="*/ 1805617 w 2051041"/>
              <a:gd name="connsiteY461" fmla="*/ 1147665 h 2084191"/>
              <a:gd name="connsiteX462" fmla="*/ 417425 w 2051041"/>
              <a:gd name="connsiteY462" fmla="*/ 1090527 h 2084191"/>
              <a:gd name="connsiteX463" fmla="*/ 432662 w 2051041"/>
              <a:gd name="connsiteY463" fmla="*/ 1105764 h 2084191"/>
              <a:gd name="connsiteX464" fmla="*/ 417969 w 2051041"/>
              <a:gd name="connsiteY464" fmla="*/ 1120457 h 2084191"/>
              <a:gd name="connsiteX465" fmla="*/ 402732 w 2051041"/>
              <a:gd name="connsiteY465" fmla="*/ 1105219 h 2084191"/>
              <a:gd name="connsiteX466" fmla="*/ 417425 w 2051041"/>
              <a:gd name="connsiteY466" fmla="*/ 1090527 h 2084191"/>
              <a:gd name="connsiteX467" fmla="*/ 580677 w 2051041"/>
              <a:gd name="connsiteY467" fmla="*/ 1083996 h 2084191"/>
              <a:gd name="connsiteX468" fmla="*/ 602444 w 2051041"/>
              <a:gd name="connsiteY468" fmla="*/ 1105219 h 2084191"/>
              <a:gd name="connsiteX469" fmla="*/ 581221 w 2051041"/>
              <a:gd name="connsiteY469" fmla="*/ 1127530 h 2084191"/>
              <a:gd name="connsiteX470" fmla="*/ 558910 w 2051041"/>
              <a:gd name="connsiteY470" fmla="*/ 1105219 h 2084191"/>
              <a:gd name="connsiteX471" fmla="*/ 580677 w 2051041"/>
              <a:gd name="connsiteY471" fmla="*/ 1083996 h 2084191"/>
              <a:gd name="connsiteX472" fmla="*/ 743386 w 2051041"/>
              <a:gd name="connsiteY472" fmla="*/ 1079099 h 2084191"/>
              <a:gd name="connsiteX473" fmla="*/ 770595 w 2051041"/>
              <a:gd name="connsiteY473" fmla="*/ 1105219 h 2084191"/>
              <a:gd name="connsiteX474" fmla="*/ 745019 w 2051041"/>
              <a:gd name="connsiteY474" fmla="*/ 1132428 h 2084191"/>
              <a:gd name="connsiteX475" fmla="*/ 717810 w 2051041"/>
              <a:gd name="connsiteY475" fmla="*/ 1106308 h 2084191"/>
              <a:gd name="connsiteX476" fmla="*/ 743386 w 2051041"/>
              <a:gd name="connsiteY476" fmla="*/ 1079099 h 2084191"/>
              <a:gd name="connsiteX477" fmla="*/ 907727 w 2051041"/>
              <a:gd name="connsiteY477" fmla="*/ 1076378 h 2084191"/>
              <a:gd name="connsiteX478" fmla="*/ 937112 w 2051041"/>
              <a:gd name="connsiteY478" fmla="*/ 1105219 h 2084191"/>
              <a:gd name="connsiteX479" fmla="*/ 908271 w 2051041"/>
              <a:gd name="connsiteY479" fmla="*/ 1134061 h 2084191"/>
              <a:gd name="connsiteX480" fmla="*/ 878885 w 2051041"/>
              <a:gd name="connsiteY480" fmla="*/ 1105764 h 2084191"/>
              <a:gd name="connsiteX481" fmla="*/ 907727 w 2051041"/>
              <a:gd name="connsiteY481" fmla="*/ 1076378 h 2084191"/>
              <a:gd name="connsiteX482" fmla="*/ 1071524 w 2051041"/>
              <a:gd name="connsiteY482" fmla="*/ 1072569 h 2084191"/>
              <a:gd name="connsiteX483" fmla="*/ 1104174 w 2051041"/>
              <a:gd name="connsiteY483" fmla="*/ 1105220 h 2084191"/>
              <a:gd name="connsiteX484" fmla="*/ 1070435 w 2051041"/>
              <a:gd name="connsiteY484" fmla="*/ 1137870 h 2084191"/>
              <a:gd name="connsiteX485" fmla="*/ 1038329 w 2051041"/>
              <a:gd name="connsiteY485" fmla="*/ 1105764 h 2084191"/>
              <a:gd name="connsiteX486" fmla="*/ 1071524 w 2051041"/>
              <a:gd name="connsiteY486" fmla="*/ 1072569 h 2084191"/>
              <a:gd name="connsiteX487" fmla="*/ 1235865 w 2051041"/>
              <a:gd name="connsiteY487" fmla="*/ 1068760 h 2084191"/>
              <a:gd name="connsiteX488" fmla="*/ 1271237 w 2051041"/>
              <a:gd name="connsiteY488" fmla="*/ 1106852 h 2084191"/>
              <a:gd name="connsiteX489" fmla="*/ 1234777 w 2051041"/>
              <a:gd name="connsiteY489" fmla="*/ 1142223 h 2084191"/>
              <a:gd name="connsiteX490" fmla="*/ 1198861 w 2051041"/>
              <a:gd name="connsiteY490" fmla="*/ 1105219 h 2084191"/>
              <a:gd name="connsiteX491" fmla="*/ 1235865 w 2051041"/>
              <a:gd name="connsiteY491" fmla="*/ 1068760 h 2084191"/>
              <a:gd name="connsiteX492" fmla="*/ 1396397 w 2051041"/>
              <a:gd name="connsiteY492" fmla="*/ 1067127 h 2084191"/>
              <a:gd name="connsiteX493" fmla="*/ 1435578 w 2051041"/>
              <a:gd name="connsiteY493" fmla="*/ 1105219 h 2084191"/>
              <a:gd name="connsiteX494" fmla="*/ 1396941 w 2051041"/>
              <a:gd name="connsiteY494" fmla="*/ 1143856 h 2084191"/>
              <a:gd name="connsiteX495" fmla="*/ 1358849 w 2051041"/>
              <a:gd name="connsiteY495" fmla="*/ 1105763 h 2084191"/>
              <a:gd name="connsiteX496" fmla="*/ 1396397 w 2051041"/>
              <a:gd name="connsiteY496" fmla="*/ 1067127 h 2084191"/>
              <a:gd name="connsiteX497" fmla="*/ 1560738 w 2051041"/>
              <a:gd name="connsiteY497" fmla="*/ 1066582 h 2084191"/>
              <a:gd name="connsiteX498" fmla="*/ 1599919 w 2051041"/>
              <a:gd name="connsiteY498" fmla="*/ 1105763 h 2084191"/>
              <a:gd name="connsiteX499" fmla="*/ 1560738 w 2051041"/>
              <a:gd name="connsiteY499" fmla="*/ 1144400 h 2084191"/>
              <a:gd name="connsiteX500" fmla="*/ 1521013 w 2051041"/>
              <a:gd name="connsiteY500" fmla="*/ 1105763 h 2084191"/>
              <a:gd name="connsiteX501" fmla="*/ 1560738 w 2051041"/>
              <a:gd name="connsiteY501" fmla="*/ 1066582 h 2084191"/>
              <a:gd name="connsiteX502" fmla="*/ 1723447 w 2051041"/>
              <a:gd name="connsiteY502" fmla="*/ 1064406 h 2084191"/>
              <a:gd name="connsiteX503" fmla="*/ 1764260 w 2051041"/>
              <a:gd name="connsiteY503" fmla="*/ 1104675 h 2084191"/>
              <a:gd name="connsiteX504" fmla="*/ 1724535 w 2051041"/>
              <a:gd name="connsiteY504" fmla="*/ 1146032 h 2084191"/>
              <a:gd name="connsiteX505" fmla="*/ 1683178 w 2051041"/>
              <a:gd name="connsiteY505" fmla="*/ 1105764 h 2084191"/>
              <a:gd name="connsiteX506" fmla="*/ 1723447 w 2051041"/>
              <a:gd name="connsiteY506" fmla="*/ 1064406 h 2084191"/>
              <a:gd name="connsiteX507" fmla="*/ 2051041 w 2051041"/>
              <a:gd name="connsiteY507" fmla="*/ 1063318 h 2084191"/>
              <a:gd name="connsiteX508" fmla="*/ 2051041 w 2051041"/>
              <a:gd name="connsiteY508" fmla="*/ 1147740 h 2084191"/>
              <a:gd name="connsiteX509" fmla="*/ 2049952 w 2051041"/>
              <a:gd name="connsiteY509" fmla="*/ 1148210 h 2084191"/>
              <a:gd name="connsiteX510" fmla="*/ 2008051 w 2051041"/>
              <a:gd name="connsiteY510" fmla="*/ 1105764 h 2084191"/>
              <a:gd name="connsiteX511" fmla="*/ 2051041 w 2051041"/>
              <a:gd name="connsiteY511" fmla="*/ 1063318 h 2084191"/>
              <a:gd name="connsiteX512" fmla="*/ 1887787 w 2051041"/>
              <a:gd name="connsiteY512" fmla="*/ 1062773 h 2084191"/>
              <a:gd name="connsiteX513" fmla="*/ 1929145 w 2051041"/>
              <a:gd name="connsiteY513" fmla="*/ 1105763 h 2084191"/>
              <a:gd name="connsiteX514" fmla="*/ 1886699 w 2051041"/>
              <a:gd name="connsiteY514" fmla="*/ 1147665 h 2084191"/>
              <a:gd name="connsiteX515" fmla="*/ 1844798 w 2051041"/>
              <a:gd name="connsiteY515" fmla="*/ 1105219 h 2084191"/>
              <a:gd name="connsiteX516" fmla="*/ 1887787 w 2051041"/>
              <a:gd name="connsiteY516" fmla="*/ 1062773 h 2084191"/>
              <a:gd name="connsiteX517" fmla="*/ 335798 w 2051041"/>
              <a:gd name="connsiteY517" fmla="*/ 1011621 h 2084191"/>
              <a:gd name="connsiteX518" fmla="*/ 348314 w 2051041"/>
              <a:gd name="connsiteY518" fmla="*/ 1023049 h 2084191"/>
              <a:gd name="connsiteX519" fmla="*/ 336886 w 2051041"/>
              <a:gd name="connsiteY519" fmla="*/ 1036109 h 2084191"/>
              <a:gd name="connsiteX520" fmla="*/ 324370 w 2051041"/>
              <a:gd name="connsiteY520" fmla="*/ 1024681 h 2084191"/>
              <a:gd name="connsiteX521" fmla="*/ 335798 w 2051041"/>
              <a:gd name="connsiteY521" fmla="*/ 1011621 h 2084191"/>
              <a:gd name="connsiteX522" fmla="*/ 499051 w 2051041"/>
              <a:gd name="connsiteY522" fmla="*/ 1002914 h 2084191"/>
              <a:gd name="connsiteX523" fmla="*/ 520818 w 2051041"/>
              <a:gd name="connsiteY523" fmla="*/ 1024137 h 2084191"/>
              <a:gd name="connsiteX524" fmla="*/ 499595 w 2051041"/>
              <a:gd name="connsiteY524" fmla="*/ 1045360 h 2084191"/>
              <a:gd name="connsiteX525" fmla="*/ 478372 w 2051041"/>
              <a:gd name="connsiteY525" fmla="*/ 1024137 h 2084191"/>
              <a:gd name="connsiteX526" fmla="*/ 499051 w 2051041"/>
              <a:gd name="connsiteY526" fmla="*/ 1002914 h 2084191"/>
              <a:gd name="connsiteX527" fmla="*/ 663392 w 2051041"/>
              <a:gd name="connsiteY527" fmla="*/ 997473 h 2084191"/>
              <a:gd name="connsiteX528" fmla="*/ 688424 w 2051041"/>
              <a:gd name="connsiteY528" fmla="*/ 1024138 h 2084191"/>
              <a:gd name="connsiteX529" fmla="*/ 661759 w 2051041"/>
              <a:gd name="connsiteY529" fmla="*/ 1050258 h 2084191"/>
              <a:gd name="connsiteX530" fmla="*/ 636727 w 2051041"/>
              <a:gd name="connsiteY530" fmla="*/ 1023593 h 2084191"/>
              <a:gd name="connsiteX531" fmla="*/ 663392 w 2051041"/>
              <a:gd name="connsiteY531" fmla="*/ 997473 h 2084191"/>
              <a:gd name="connsiteX532" fmla="*/ 826645 w 2051041"/>
              <a:gd name="connsiteY532" fmla="*/ 995840 h 2084191"/>
              <a:gd name="connsiteX533" fmla="*/ 854942 w 2051041"/>
              <a:gd name="connsiteY533" fmla="*/ 1024137 h 2084191"/>
              <a:gd name="connsiteX534" fmla="*/ 825557 w 2051041"/>
              <a:gd name="connsiteY534" fmla="*/ 1052978 h 2084191"/>
              <a:gd name="connsiteX535" fmla="*/ 797260 w 2051041"/>
              <a:gd name="connsiteY535" fmla="*/ 1023593 h 2084191"/>
              <a:gd name="connsiteX536" fmla="*/ 826645 w 2051041"/>
              <a:gd name="connsiteY536" fmla="*/ 995840 h 2084191"/>
              <a:gd name="connsiteX537" fmla="*/ 990441 w 2051041"/>
              <a:gd name="connsiteY537" fmla="*/ 990942 h 2084191"/>
              <a:gd name="connsiteX538" fmla="*/ 1022548 w 2051041"/>
              <a:gd name="connsiteY538" fmla="*/ 1025225 h 2084191"/>
              <a:gd name="connsiteX539" fmla="*/ 988809 w 2051041"/>
              <a:gd name="connsiteY539" fmla="*/ 1056787 h 2084191"/>
              <a:gd name="connsiteX540" fmla="*/ 956702 w 2051041"/>
              <a:gd name="connsiteY540" fmla="*/ 1023593 h 2084191"/>
              <a:gd name="connsiteX541" fmla="*/ 990441 w 2051041"/>
              <a:gd name="connsiteY541" fmla="*/ 990942 h 2084191"/>
              <a:gd name="connsiteX542" fmla="*/ 1150974 w 2051041"/>
              <a:gd name="connsiteY542" fmla="*/ 987678 h 2084191"/>
              <a:gd name="connsiteX543" fmla="*/ 1189610 w 2051041"/>
              <a:gd name="connsiteY543" fmla="*/ 1023593 h 2084191"/>
              <a:gd name="connsiteX544" fmla="*/ 1152062 w 2051041"/>
              <a:gd name="connsiteY544" fmla="*/ 1061685 h 2084191"/>
              <a:gd name="connsiteX545" fmla="*/ 1115058 w 2051041"/>
              <a:gd name="connsiteY545" fmla="*/ 1024682 h 2084191"/>
              <a:gd name="connsiteX546" fmla="*/ 1150974 w 2051041"/>
              <a:gd name="connsiteY546" fmla="*/ 987678 h 2084191"/>
              <a:gd name="connsiteX547" fmla="*/ 1315314 w 2051041"/>
              <a:gd name="connsiteY547" fmla="*/ 985501 h 2084191"/>
              <a:gd name="connsiteX548" fmla="*/ 1354495 w 2051041"/>
              <a:gd name="connsiteY548" fmla="*/ 1023593 h 2084191"/>
              <a:gd name="connsiteX549" fmla="*/ 1315858 w 2051041"/>
              <a:gd name="connsiteY549" fmla="*/ 1062230 h 2084191"/>
              <a:gd name="connsiteX550" fmla="*/ 1277222 w 2051041"/>
              <a:gd name="connsiteY550" fmla="*/ 1024137 h 2084191"/>
              <a:gd name="connsiteX551" fmla="*/ 1315314 w 2051041"/>
              <a:gd name="connsiteY551" fmla="*/ 985501 h 2084191"/>
              <a:gd name="connsiteX552" fmla="*/ 1479656 w 2051041"/>
              <a:gd name="connsiteY552" fmla="*/ 984412 h 2084191"/>
              <a:gd name="connsiteX553" fmla="*/ 1519380 w 2051041"/>
              <a:gd name="connsiteY553" fmla="*/ 1025225 h 2084191"/>
              <a:gd name="connsiteX554" fmla="*/ 1478567 w 2051041"/>
              <a:gd name="connsiteY554" fmla="*/ 1063318 h 2084191"/>
              <a:gd name="connsiteX555" fmla="*/ 1439387 w 2051041"/>
              <a:gd name="connsiteY555" fmla="*/ 1023593 h 2084191"/>
              <a:gd name="connsiteX556" fmla="*/ 1479656 w 2051041"/>
              <a:gd name="connsiteY556" fmla="*/ 984412 h 2084191"/>
              <a:gd name="connsiteX557" fmla="*/ 1641820 w 2051041"/>
              <a:gd name="connsiteY557" fmla="*/ 981691 h 2084191"/>
              <a:gd name="connsiteX558" fmla="*/ 1684810 w 2051041"/>
              <a:gd name="connsiteY558" fmla="*/ 1023592 h 2084191"/>
              <a:gd name="connsiteX559" fmla="*/ 1642909 w 2051041"/>
              <a:gd name="connsiteY559" fmla="*/ 1066038 h 2084191"/>
              <a:gd name="connsiteX560" fmla="*/ 1599919 w 2051041"/>
              <a:gd name="connsiteY560" fmla="*/ 1023592 h 2084191"/>
              <a:gd name="connsiteX561" fmla="*/ 1641820 w 2051041"/>
              <a:gd name="connsiteY561" fmla="*/ 981691 h 2084191"/>
              <a:gd name="connsiteX562" fmla="*/ 1806161 w 2051041"/>
              <a:gd name="connsiteY562" fmla="*/ 980603 h 2084191"/>
              <a:gd name="connsiteX563" fmla="*/ 1849151 w 2051041"/>
              <a:gd name="connsiteY563" fmla="*/ 1023592 h 2084191"/>
              <a:gd name="connsiteX564" fmla="*/ 1805617 w 2051041"/>
              <a:gd name="connsiteY564" fmla="*/ 1067127 h 2084191"/>
              <a:gd name="connsiteX565" fmla="*/ 1762083 w 2051041"/>
              <a:gd name="connsiteY565" fmla="*/ 1023592 h 2084191"/>
              <a:gd name="connsiteX566" fmla="*/ 1806161 w 2051041"/>
              <a:gd name="connsiteY566" fmla="*/ 980603 h 2084191"/>
              <a:gd name="connsiteX567" fmla="*/ 1969414 w 2051041"/>
              <a:gd name="connsiteY567" fmla="*/ 980059 h 2084191"/>
              <a:gd name="connsiteX568" fmla="*/ 2012404 w 2051041"/>
              <a:gd name="connsiteY568" fmla="*/ 1024137 h 2084191"/>
              <a:gd name="connsiteX569" fmla="*/ 1968870 w 2051041"/>
              <a:gd name="connsiteY569" fmla="*/ 1067127 h 2084191"/>
              <a:gd name="connsiteX570" fmla="*/ 1924792 w 2051041"/>
              <a:gd name="connsiteY570" fmla="*/ 1024137 h 2084191"/>
              <a:gd name="connsiteX571" fmla="*/ 1969414 w 2051041"/>
              <a:gd name="connsiteY571" fmla="*/ 980059 h 2084191"/>
              <a:gd name="connsiteX572" fmla="*/ 254171 w 2051041"/>
              <a:gd name="connsiteY572" fmla="*/ 931083 h 2084191"/>
              <a:gd name="connsiteX573" fmla="*/ 265599 w 2051041"/>
              <a:gd name="connsiteY573" fmla="*/ 941967 h 2084191"/>
              <a:gd name="connsiteX574" fmla="*/ 254171 w 2051041"/>
              <a:gd name="connsiteY574" fmla="*/ 952850 h 2084191"/>
              <a:gd name="connsiteX575" fmla="*/ 243832 w 2051041"/>
              <a:gd name="connsiteY575" fmla="*/ 941967 h 2084191"/>
              <a:gd name="connsiteX576" fmla="*/ 254171 w 2051041"/>
              <a:gd name="connsiteY576" fmla="*/ 931083 h 2084191"/>
              <a:gd name="connsiteX577" fmla="*/ 417968 w 2051041"/>
              <a:gd name="connsiteY577" fmla="*/ 922377 h 2084191"/>
              <a:gd name="connsiteX578" fmla="*/ 437559 w 2051041"/>
              <a:gd name="connsiteY578" fmla="*/ 942511 h 2084191"/>
              <a:gd name="connsiteX579" fmla="*/ 417968 w 2051041"/>
              <a:gd name="connsiteY579" fmla="*/ 961557 h 2084191"/>
              <a:gd name="connsiteX580" fmla="*/ 397834 w 2051041"/>
              <a:gd name="connsiteY580" fmla="*/ 941423 h 2084191"/>
              <a:gd name="connsiteX581" fmla="*/ 417968 w 2051041"/>
              <a:gd name="connsiteY581" fmla="*/ 922377 h 2084191"/>
              <a:gd name="connsiteX582" fmla="*/ 581222 w 2051041"/>
              <a:gd name="connsiteY582" fmla="*/ 916934 h 2084191"/>
              <a:gd name="connsiteX583" fmla="*/ 606798 w 2051041"/>
              <a:gd name="connsiteY583" fmla="*/ 943054 h 2084191"/>
              <a:gd name="connsiteX584" fmla="*/ 581222 w 2051041"/>
              <a:gd name="connsiteY584" fmla="*/ 967542 h 2084191"/>
              <a:gd name="connsiteX585" fmla="*/ 556190 w 2051041"/>
              <a:gd name="connsiteY585" fmla="*/ 943054 h 2084191"/>
              <a:gd name="connsiteX586" fmla="*/ 581222 w 2051041"/>
              <a:gd name="connsiteY586" fmla="*/ 916934 h 2084191"/>
              <a:gd name="connsiteX587" fmla="*/ 744474 w 2051041"/>
              <a:gd name="connsiteY587" fmla="*/ 913669 h 2084191"/>
              <a:gd name="connsiteX588" fmla="*/ 773315 w 2051041"/>
              <a:gd name="connsiteY588" fmla="*/ 942510 h 2084191"/>
              <a:gd name="connsiteX589" fmla="*/ 743930 w 2051041"/>
              <a:gd name="connsiteY589" fmla="*/ 970807 h 2084191"/>
              <a:gd name="connsiteX590" fmla="*/ 716177 w 2051041"/>
              <a:gd name="connsiteY590" fmla="*/ 941966 h 2084191"/>
              <a:gd name="connsiteX591" fmla="*/ 744474 w 2051041"/>
              <a:gd name="connsiteY591" fmla="*/ 913669 h 2084191"/>
              <a:gd name="connsiteX592" fmla="*/ 908271 w 2051041"/>
              <a:gd name="connsiteY592" fmla="*/ 908772 h 2084191"/>
              <a:gd name="connsiteX593" fmla="*/ 940377 w 2051041"/>
              <a:gd name="connsiteY593" fmla="*/ 944144 h 2084191"/>
              <a:gd name="connsiteX594" fmla="*/ 906094 w 2051041"/>
              <a:gd name="connsiteY594" fmla="*/ 975162 h 2084191"/>
              <a:gd name="connsiteX595" fmla="*/ 874532 w 2051041"/>
              <a:gd name="connsiteY595" fmla="*/ 940879 h 2084191"/>
              <a:gd name="connsiteX596" fmla="*/ 908271 w 2051041"/>
              <a:gd name="connsiteY596" fmla="*/ 908772 h 2084191"/>
              <a:gd name="connsiteX597" fmla="*/ 1072068 w 2051041"/>
              <a:gd name="connsiteY597" fmla="*/ 906051 h 2084191"/>
              <a:gd name="connsiteX598" fmla="*/ 1107984 w 2051041"/>
              <a:gd name="connsiteY598" fmla="*/ 942511 h 2084191"/>
              <a:gd name="connsiteX599" fmla="*/ 1070980 w 2051041"/>
              <a:gd name="connsiteY599" fmla="*/ 979515 h 2084191"/>
              <a:gd name="connsiteX600" fmla="*/ 1034520 w 2051041"/>
              <a:gd name="connsiteY600" fmla="*/ 942511 h 2084191"/>
              <a:gd name="connsiteX601" fmla="*/ 1072068 w 2051041"/>
              <a:gd name="connsiteY601" fmla="*/ 906051 h 2084191"/>
              <a:gd name="connsiteX602" fmla="*/ 1235321 w 2051041"/>
              <a:gd name="connsiteY602" fmla="*/ 903874 h 2084191"/>
              <a:gd name="connsiteX603" fmla="*/ 1272325 w 2051041"/>
              <a:gd name="connsiteY603" fmla="*/ 943054 h 2084191"/>
              <a:gd name="connsiteX604" fmla="*/ 1233688 w 2051041"/>
              <a:gd name="connsiteY604" fmla="*/ 981147 h 2084191"/>
              <a:gd name="connsiteX605" fmla="*/ 1195596 w 2051041"/>
              <a:gd name="connsiteY605" fmla="*/ 940878 h 2084191"/>
              <a:gd name="connsiteX606" fmla="*/ 1235321 w 2051041"/>
              <a:gd name="connsiteY606" fmla="*/ 903874 h 2084191"/>
              <a:gd name="connsiteX607" fmla="*/ 1397486 w 2051041"/>
              <a:gd name="connsiteY607" fmla="*/ 901153 h 2084191"/>
              <a:gd name="connsiteX608" fmla="*/ 1438299 w 2051041"/>
              <a:gd name="connsiteY608" fmla="*/ 942511 h 2084191"/>
              <a:gd name="connsiteX609" fmla="*/ 1396941 w 2051041"/>
              <a:gd name="connsiteY609" fmla="*/ 983324 h 2084191"/>
              <a:gd name="connsiteX610" fmla="*/ 1356128 w 2051041"/>
              <a:gd name="connsiteY610" fmla="*/ 941967 h 2084191"/>
              <a:gd name="connsiteX611" fmla="*/ 1397486 w 2051041"/>
              <a:gd name="connsiteY611" fmla="*/ 901153 h 2084191"/>
              <a:gd name="connsiteX612" fmla="*/ 1560738 w 2051041"/>
              <a:gd name="connsiteY612" fmla="*/ 898977 h 2084191"/>
              <a:gd name="connsiteX613" fmla="*/ 1603728 w 2051041"/>
              <a:gd name="connsiteY613" fmla="*/ 942511 h 2084191"/>
              <a:gd name="connsiteX614" fmla="*/ 1560738 w 2051041"/>
              <a:gd name="connsiteY614" fmla="*/ 985501 h 2084191"/>
              <a:gd name="connsiteX615" fmla="*/ 1517204 w 2051041"/>
              <a:gd name="connsiteY615" fmla="*/ 941423 h 2084191"/>
              <a:gd name="connsiteX616" fmla="*/ 1560738 w 2051041"/>
              <a:gd name="connsiteY616" fmla="*/ 898977 h 2084191"/>
              <a:gd name="connsiteX617" fmla="*/ 1723990 w 2051041"/>
              <a:gd name="connsiteY617" fmla="*/ 897888 h 2084191"/>
              <a:gd name="connsiteX618" fmla="*/ 1768069 w 2051041"/>
              <a:gd name="connsiteY618" fmla="*/ 942510 h 2084191"/>
              <a:gd name="connsiteX619" fmla="*/ 1723990 w 2051041"/>
              <a:gd name="connsiteY619" fmla="*/ 986589 h 2084191"/>
              <a:gd name="connsiteX620" fmla="*/ 1679912 w 2051041"/>
              <a:gd name="connsiteY620" fmla="*/ 941422 h 2084191"/>
              <a:gd name="connsiteX621" fmla="*/ 1723990 w 2051041"/>
              <a:gd name="connsiteY621" fmla="*/ 897888 h 2084191"/>
              <a:gd name="connsiteX622" fmla="*/ 2050497 w 2051041"/>
              <a:gd name="connsiteY622" fmla="*/ 897344 h 2084191"/>
              <a:gd name="connsiteX623" fmla="*/ 2051041 w 2051041"/>
              <a:gd name="connsiteY623" fmla="*/ 897453 h 2084191"/>
              <a:gd name="connsiteX624" fmla="*/ 2051041 w 2051041"/>
              <a:gd name="connsiteY624" fmla="*/ 986917 h 2084191"/>
              <a:gd name="connsiteX625" fmla="*/ 2049952 w 2051041"/>
              <a:gd name="connsiteY625" fmla="*/ 987133 h 2084191"/>
              <a:gd name="connsiteX626" fmla="*/ 2005330 w 2051041"/>
              <a:gd name="connsiteY626" fmla="*/ 941422 h 2084191"/>
              <a:gd name="connsiteX627" fmla="*/ 2050497 w 2051041"/>
              <a:gd name="connsiteY627" fmla="*/ 897344 h 2084191"/>
              <a:gd name="connsiteX628" fmla="*/ 1887243 w 2051041"/>
              <a:gd name="connsiteY628" fmla="*/ 897344 h 2084191"/>
              <a:gd name="connsiteX629" fmla="*/ 1931866 w 2051041"/>
              <a:gd name="connsiteY629" fmla="*/ 942511 h 2084191"/>
              <a:gd name="connsiteX630" fmla="*/ 1887243 w 2051041"/>
              <a:gd name="connsiteY630" fmla="*/ 986589 h 2084191"/>
              <a:gd name="connsiteX631" fmla="*/ 1843165 w 2051041"/>
              <a:gd name="connsiteY631" fmla="*/ 941422 h 2084191"/>
              <a:gd name="connsiteX632" fmla="*/ 1887243 w 2051041"/>
              <a:gd name="connsiteY632" fmla="*/ 897344 h 2084191"/>
              <a:gd name="connsiteX633" fmla="*/ 172545 w 2051041"/>
              <a:gd name="connsiteY633" fmla="*/ 854354 h 2084191"/>
              <a:gd name="connsiteX634" fmla="*/ 179619 w 2051041"/>
              <a:gd name="connsiteY634" fmla="*/ 860884 h 2084191"/>
              <a:gd name="connsiteX635" fmla="*/ 173634 w 2051041"/>
              <a:gd name="connsiteY635" fmla="*/ 866870 h 2084191"/>
              <a:gd name="connsiteX636" fmla="*/ 166015 w 2051041"/>
              <a:gd name="connsiteY636" fmla="*/ 861973 h 2084191"/>
              <a:gd name="connsiteX637" fmla="*/ 172545 w 2051041"/>
              <a:gd name="connsiteY637" fmla="*/ 854354 h 2084191"/>
              <a:gd name="connsiteX638" fmla="*/ 336342 w 2051041"/>
              <a:gd name="connsiteY638" fmla="*/ 843471 h 2084191"/>
              <a:gd name="connsiteX639" fmla="*/ 353211 w 2051041"/>
              <a:gd name="connsiteY639" fmla="*/ 860340 h 2084191"/>
              <a:gd name="connsiteX640" fmla="*/ 336886 w 2051041"/>
              <a:gd name="connsiteY640" fmla="*/ 877210 h 2084191"/>
              <a:gd name="connsiteX641" fmla="*/ 320017 w 2051041"/>
              <a:gd name="connsiteY641" fmla="*/ 860884 h 2084191"/>
              <a:gd name="connsiteX642" fmla="*/ 336342 w 2051041"/>
              <a:gd name="connsiteY642" fmla="*/ 843471 h 2084191"/>
              <a:gd name="connsiteX643" fmla="*/ 500139 w 2051041"/>
              <a:gd name="connsiteY643" fmla="*/ 837485 h 2084191"/>
              <a:gd name="connsiteX644" fmla="*/ 522994 w 2051041"/>
              <a:gd name="connsiteY644" fmla="*/ 861428 h 2084191"/>
              <a:gd name="connsiteX645" fmla="*/ 499595 w 2051041"/>
              <a:gd name="connsiteY645" fmla="*/ 884284 h 2084191"/>
              <a:gd name="connsiteX646" fmla="*/ 476739 w 2051041"/>
              <a:gd name="connsiteY646" fmla="*/ 860340 h 2084191"/>
              <a:gd name="connsiteX647" fmla="*/ 500139 w 2051041"/>
              <a:gd name="connsiteY647" fmla="*/ 837485 h 2084191"/>
              <a:gd name="connsiteX648" fmla="*/ 662848 w 2051041"/>
              <a:gd name="connsiteY648" fmla="*/ 832587 h 2084191"/>
              <a:gd name="connsiteX649" fmla="*/ 690057 w 2051041"/>
              <a:gd name="connsiteY649" fmla="*/ 860340 h 2084191"/>
              <a:gd name="connsiteX650" fmla="*/ 662848 w 2051041"/>
              <a:gd name="connsiteY650" fmla="*/ 888637 h 2084191"/>
              <a:gd name="connsiteX651" fmla="*/ 634551 w 2051041"/>
              <a:gd name="connsiteY651" fmla="*/ 861428 h 2084191"/>
              <a:gd name="connsiteX652" fmla="*/ 662848 w 2051041"/>
              <a:gd name="connsiteY652" fmla="*/ 832587 h 2084191"/>
              <a:gd name="connsiteX653" fmla="*/ 826101 w 2051041"/>
              <a:gd name="connsiteY653" fmla="*/ 827146 h 2084191"/>
              <a:gd name="connsiteX654" fmla="*/ 859295 w 2051041"/>
              <a:gd name="connsiteY654" fmla="*/ 860885 h 2084191"/>
              <a:gd name="connsiteX655" fmla="*/ 825556 w 2051041"/>
              <a:gd name="connsiteY655" fmla="*/ 892991 h 2084191"/>
              <a:gd name="connsiteX656" fmla="*/ 793450 w 2051041"/>
              <a:gd name="connsiteY656" fmla="*/ 860885 h 2084191"/>
              <a:gd name="connsiteX657" fmla="*/ 826101 w 2051041"/>
              <a:gd name="connsiteY657" fmla="*/ 827146 h 2084191"/>
              <a:gd name="connsiteX658" fmla="*/ 988809 w 2051041"/>
              <a:gd name="connsiteY658" fmla="*/ 824424 h 2084191"/>
              <a:gd name="connsiteX659" fmla="*/ 1025813 w 2051041"/>
              <a:gd name="connsiteY659" fmla="*/ 860339 h 2084191"/>
              <a:gd name="connsiteX660" fmla="*/ 989897 w 2051041"/>
              <a:gd name="connsiteY660" fmla="*/ 897344 h 2084191"/>
              <a:gd name="connsiteX661" fmla="*/ 953437 w 2051041"/>
              <a:gd name="connsiteY661" fmla="*/ 861972 h 2084191"/>
              <a:gd name="connsiteX662" fmla="*/ 988809 w 2051041"/>
              <a:gd name="connsiteY662" fmla="*/ 824424 h 2084191"/>
              <a:gd name="connsiteX663" fmla="*/ 1153695 w 2051041"/>
              <a:gd name="connsiteY663" fmla="*/ 821704 h 2084191"/>
              <a:gd name="connsiteX664" fmla="*/ 1191243 w 2051041"/>
              <a:gd name="connsiteY664" fmla="*/ 861429 h 2084191"/>
              <a:gd name="connsiteX665" fmla="*/ 1152606 w 2051041"/>
              <a:gd name="connsiteY665" fmla="*/ 899521 h 2084191"/>
              <a:gd name="connsiteX666" fmla="*/ 1114514 w 2051041"/>
              <a:gd name="connsiteY666" fmla="*/ 859252 h 2084191"/>
              <a:gd name="connsiteX667" fmla="*/ 1153695 w 2051041"/>
              <a:gd name="connsiteY667" fmla="*/ 821704 h 2084191"/>
              <a:gd name="connsiteX668" fmla="*/ 1316403 w 2051041"/>
              <a:gd name="connsiteY668" fmla="*/ 818982 h 2084191"/>
              <a:gd name="connsiteX669" fmla="*/ 1357216 w 2051041"/>
              <a:gd name="connsiteY669" fmla="*/ 860884 h 2084191"/>
              <a:gd name="connsiteX670" fmla="*/ 1315315 w 2051041"/>
              <a:gd name="connsiteY670" fmla="*/ 901697 h 2084191"/>
              <a:gd name="connsiteX671" fmla="*/ 1274501 w 2051041"/>
              <a:gd name="connsiteY671" fmla="*/ 860340 h 2084191"/>
              <a:gd name="connsiteX672" fmla="*/ 1316403 w 2051041"/>
              <a:gd name="connsiteY672" fmla="*/ 818982 h 2084191"/>
              <a:gd name="connsiteX673" fmla="*/ 1479112 w 2051041"/>
              <a:gd name="connsiteY673" fmla="*/ 816806 h 2084191"/>
              <a:gd name="connsiteX674" fmla="*/ 1522646 w 2051041"/>
              <a:gd name="connsiteY674" fmla="*/ 860340 h 2084191"/>
              <a:gd name="connsiteX675" fmla="*/ 1479656 w 2051041"/>
              <a:gd name="connsiteY675" fmla="*/ 904419 h 2084191"/>
              <a:gd name="connsiteX676" fmla="*/ 1435578 w 2051041"/>
              <a:gd name="connsiteY676" fmla="*/ 860884 h 2084191"/>
              <a:gd name="connsiteX677" fmla="*/ 1479112 w 2051041"/>
              <a:gd name="connsiteY677" fmla="*/ 816806 h 2084191"/>
              <a:gd name="connsiteX678" fmla="*/ 1642909 w 2051041"/>
              <a:gd name="connsiteY678" fmla="*/ 815718 h 2084191"/>
              <a:gd name="connsiteX679" fmla="*/ 1686987 w 2051041"/>
              <a:gd name="connsiteY679" fmla="*/ 860885 h 2084191"/>
              <a:gd name="connsiteX680" fmla="*/ 1641276 w 2051041"/>
              <a:gd name="connsiteY680" fmla="*/ 905507 h 2084191"/>
              <a:gd name="connsiteX681" fmla="*/ 1597742 w 2051041"/>
              <a:gd name="connsiteY681" fmla="*/ 860340 h 2084191"/>
              <a:gd name="connsiteX682" fmla="*/ 1642909 w 2051041"/>
              <a:gd name="connsiteY682" fmla="*/ 815718 h 2084191"/>
              <a:gd name="connsiteX683" fmla="*/ 1806161 w 2051041"/>
              <a:gd name="connsiteY683" fmla="*/ 815173 h 2084191"/>
              <a:gd name="connsiteX684" fmla="*/ 1852416 w 2051041"/>
              <a:gd name="connsiteY684" fmla="*/ 860884 h 2084191"/>
              <a:gd name="connsiteX685" fmla="*/ 1805617 w 2051041"/>
              <a:gd name="connsiteY685" fmla="*/ 906594 h 2084191"/>
              <a:gd name="connsiteX686" fmla="*/ 1759906 w 2051041"/>
              <a:gd name="connsiteY686" fmla="*/ 860884 h 2084191"/>
              <a:gd name="connsiteX687" fmla="*/ 1806161 w 2051041"/>
              <a:gd name="connsiteY687" fmla="*/ 815173 h 2084191"/>
              <a:gd name="connsiteX688" fmla="*/ 1968326 w 2051041"/>
              <a:gd name="connsiteY688" fmla="*/ 812453 h 2084191"/>
              <a:gd name="connsiteX689" fmla="*/ 2000977 w 2051041"/>
              <a:gd name="connsiteY689" fmla="*/ 826057 h 2084191"/>
              <a:gd name="connsiteX690" fmla="*/ 2015670 w 2051041"/>
              <a:gd name="connsiteY690" fmla="*/ 859796 h 2084191"/>
              <a:gd name="connsiteX691" fmla="*/ 1969415 w 2051041"/>
              <a:gd name="connsiteY691" fmla="*/ 907684 h 2084191"/>
              <a:gd name="connsiteX692" fmla="*/ 1922071 w 2051041"/>
              <a:gd name="connsiteY692" fmla="*/ 860885 h 2084191"/>
              <a:gd name="connsiteX693" fmla="*/ 1968326 w 2051041"/>
              <a:gd name="connsiteY693" fmla="*/ 812453 h 2084191"/>
              <a:gd name="connsiteX694" fmla="*/ 255260 w 2051041"/>
              <a:gd name="connsiteY694" fmla="*/ 762932 h 2084191"/>
              <a:gd name="connsiteX695" fmla="*/ 270497 w 2051041"/>
              <a:gd name="connsiteY695" fmla="*/ 779802 h 2084191"/>
              <a:gd name="connsiteX696" fmla="*/ 254172 w 2051041"/>
              <a:gd name="connsiteY696" fmla="*/ 795038 h 2084191"/>
              <a:gd name="connsiteX697" fmla="*/ 238935 w 2051041"/>
              <a:gd name="connsiteY697" fmla="*/ 778713 h 2084191"/>
              <a:gd name="connsiteX698" fmla="*/ 255260 w 2051041"/>
              <a:gd name="connsiteY698" fmla="*/ 762932 h 2084191"/>
              <a:gd name="connsiteX699" fmla="*/ 416881 w 2051041"/>
              <a:gd name="connsiteY699" fmla="*/ 756402 h 2084191"/>
              <a:gd name="connsiteX700" fmla="*/ 440280 w 2051041"/>
              <a:gd name="connsiteY700" fmla="*/ 778713 h 2084191"/>
              <a:gd name="connsiteX701" fmla="*/ 419057 w 2051041"/>
              <a:gd name="connsiteY701" fmla="*/ 801024 h 2084191"/>
              <a:gd name="connsiteX702" fmla="*/ 396202 w 2051041"/>
              <a:gd name="connsiteY702" fmla="*/ 779257 h 2084191"/>
              <a:gd name="connsiteX703" fmla="*/ 416881 w 2051041"/>
              <a:gd name="connsiteY703" fmla="*/ 756402 h 2084191"/>
              <a:gd name="connsiteX704" fmla="*/ 581766 w 2051041"/>
              <a:gd name="connsiteY704" fmla="*/ 751505 h 2084191"/>
              <a:gd name="connsiteX705" fmla="*/ 608975 w 2051041"/>
              <a:gd name="connsiteY705" fmla="*/ 779802 h 2084191"/>
              <a:gd name="connsiteX706" fmla="*/ 580678 w 2051041"/>
              <a:gd name="connsiteY706" fmla="*/ 806467 h 2084191"/>
              <a:gd name="connsiteX707" fmla="*/ 553469 w 2051041"/>
              <a:gd name="connsiteY707" fmla="*/ 778714 h 2084191"/>
              <a:gd name="connsiteX708" fmla="*/ 581766 w 2051041"/>
              <a:gd name="connsiteY708" fmla="*/ 751505 h 2084191"/>
              <a:gd name="connsiteX709" fmla="*/ 746107 w 2051041"/>
              <a:gd name="connsiteY709" fmla="*/ 746607 h 2084191"/>
              <a:gd name="connsiteX710" fmla="*/ 777125 w 2051041"/>
              <a:gd name="connsiteY710" fmla="*/ 780346 h 2084191"/>
              <a:gd name="connsiteX711" fmla="*/ 742842 w 2051041"/>
              <a:gd name="connsiteY711" fmla="*/ 811364 h 2084191"/>
              <a:gd name="connsiteX712" fmla="*/ 712368 w 2051041"/>
              <a:gd name="connsiteY712" fmla="*/ 778713 h 2084191"/>
              <a:gd name="connsiteX713" fmla="*/ 746107 w 2051041"/>
              <a:gd name="connsiteY713" fmla="*/ 746607 h 2084191"/>
              <a:gd name="connsiteX714" fmla="*/ 907727 w 2051041"/>
              <a:gd name="connsiteY714" fmla="*/ 741710 h 2084191"/>
              <a:gd name="connsiteX715" fmla="*/ 944187 w 2051041"/>
              <a:gd name="connsiteY715" fmla="*/ 778714 h 2084191"/>
              <a:gd name="connsiteX716" fmla="*/ 907727 w 2051041"/>
              <a:gd name="connsiteY716" fmla="*/ 815174 h 2084191"/>
              <a:gd name="connsiteX717" fmla="*/ 872355 w 2051041"/>
              <a:gd name="connsiteY717" fmla="*/ 779258 h 2084191"/>
              <a:gd name="connsiteX718" fmla="*/ 907727 w 2051041"/>
              <a:gd name="connsiteY718" fmla="*/ 741710 h 2084191"/>
              <a:gd name="connsiteX719" fmla="*/ 1070979 w 2051041"/>
              <a:gd name="connsiteY719" fmla="*/ 740621 h 2084191"/>
              <a:gd name="connsiteX720" fmla="*/ 1110160 w 2051041"/>
              <a:gd name="connsiteY720" fmla="*/ 779258 h 2084191"/>
              <a:gd name="connsiteX721" fmla="*/ 1070979 w 2051041"/>
              <a:gd name="connsiteY721" fmla="*/ 817894 h 2084191"/>
              <a:gd name="connsiteX722" fmla="*/ 1031799 w 2051041"/>
              <a:gd name="connsiteY722" fmla="*/ 778714 h 2084191"/>
              <a:gd name="connsiteX723" fmla="*/ 1070979 w 2051041"/>
              <a:gd name="connsiteY723" fmla="*/ 740621 h 2084191"/>
              <a:gd name="connsiteX724" fmla="*/ 1233688 w 2051041"/>
              <a:gd name="connsiteY724" fmla="*/ 736268 h 2084191"/>
              <a:gd name="connsiteX725" fmla="*/ 1276134 w 2051041"/>
              <a:gd name="connsiteY725" fmla="*/ 777625 h 2084191"/>
              <a:gd name="connsiteX726" fmla="*/ 1235320 w 2051041"/>
              <a:gd name="connsiteY726" fmla="*/ 820615 h 2084191"/>
              <a:gd name="connsiteX727" fmla="*/ 1192331 w 2051041"/>
              <a:gd name="connsiteY727" fmla="*/ 779258 h 2084191"/>
              <a:gd name="connsiteX728" fmla="*/ 1233688 w 2051041"/>
              <a:gd name="connsiteY728" fmla="*/ 736268 h 2084191"/>
              <a:gd name="connsiteX729" fmla="*/ 1397485 w 2051041"/>
              <a:gd name="connsiteY729" fmla="*/ 735724 h 2084191"/>
              <a:gd name="connsiteX730" fmla="*/ 1441019 w 2051041"/>
              <a:gd name="connsiteY730" fmla="*/ 779802 h 2084191"/>
              <a:gd name="connsiteX731" fmla="*/ 1396397 w 2051041"/>
              <a:gd name="connsiteY731" fmla="*/ 823336 h 2084191"/>
              <a:gd name="connsiteX732" fmla="*/ 1352863 w 2051041"/>
              <a:gd name="connsiteY732" fmla="*/ 779258 h 2084191"/>
              <a:gd name="connsiteX733" fmla="*/ 1397485 w 2051041"/>
              <a:gd name="connsiteY733" fmla="*/ 735724 h 2084191"/>
              <a:gd name="connsiteX734" fmla="*/ 1562371 w 2051041"/>
              <a:gd name="connsiteY734" fmla="*/ 734636 h 2084191"/>
              <a:gd name="connsiteX735" fmla="*/ 1605905 w 2051041"/>
              <a:gd name="connsiteY735" fmla="*/ 779802 h 2084191"/>
              <a:gd name="connsiteX736" fmla="*/ 1560194 w 2051041"/>
              <a:gd name="connsiteY736" fmla="*/ 823881 h 2084191"/>
              <a:gd name="connsiteX737" fmla="*/ 1515572 w 2051041"/>
              <a:gd name="connsiteY737" fmla="*/ 777626 h 2084191"/>
              <a:gd name="connsiteX738" fmla="*/ 1562371 w 2051041"/>
              <a:gd name="connsiteY738" fmla="*/ 734636 h 2084191"/>
              <a:gd name="connsiteX739" fmla="*/ 1724535 w 2051041"/>
              <a:gd name="connsiteY739" fmla="*/ 730827 h 2084191"/>
              <a:gd name="connsiteX740" fmla="*/ 1772422 w 2051041"/>
              <a:gd name="connsiteY740" fmla="*/ 779258 h 2084191"/>
              <a:gd name="connsiteX741" fmla="*/ 1723446 w 2051041"/>
              <a:gd name="connsiteY741" fmla="*/ 826602 h 2084191"/>
              <a:gd name="connsiteX742" fmla="*/ 1676647 w 2051041"/>
              <a:gd name="connsiteY742" fmla="*/ 778714 h 2084191"/>
              <a:gd name="connsiteX743" fmla="*/ 1724535 w 2051041"/>
              <a:gd name="connsiteY743" fmla="*/ 730827 h 2084191"/>
              <a:gd name="connsiteX744" fmla="*/ 1886699 w 2051041"/>
              <a:gd name="connsiteY744" fmla="*/ 730826 h 2084191"/>
              <a:gd name="connsiteX745" fmla="*/ 1935131 w 2051041"/>
              <a:gd name="connsiteY745" fmla="*/ 778713 h 2084191"/>
              <a:gd name="connsiteX746" fmla="*/ 1887244 w 2051041"/>
              <a:gd name="connsiteY746" fmla="*/ 827145 h 2084191"/>
              <a:gd name="connsiteX747" fmla="*/ 1838812 w 2051041"/>
              <a:gd name="connsiteY747" fmla="*/ 778713 h 2084191"/>
              <a:gd name="connsiteX748" fmla="*/ 1886699 w 2051041"/>
              <a:gd name="connsiteY748" fmla="*/ 730826 h 2084191"/>
              <a:gd name="connsiteX749" fmla="*/ 2050496 w 2051041"/>
              <a:gd name="connsiteY749" fmla="*/ 730282 h 2084191"/>
              <a:gd name="connsiteX750" fmla="*/ 2051041 w 2051041"/>
              <a:gd name="connsiteY750" fmla="*/ 730396 h 2084191"/>
              <a:gd name="connsiteX751" fmla="*/ 2051041 w 2051041"/>
              <a:gd name="connsiteY751" fmla="*/ 826942 h 2084191"/>
              <a:gd name="connsiteX752" fmla="*/ 2049952 w 2051041"/>
              <a:gd name="connsiteY752" fmla="*/ 827145 h 2084191"/>
              <a:gd name="connsiteX753" fmla="*/ 2002065 w 2051041"/>
              <a:gd name="connsiteY753" fmla="*/ 778169 h 2084191"/>
              <a:gd name="connsiteX754" fmla="*/ 2050496 w 2051041"/>
              <a:gd name="connsiteY754" fmla="*/ 730282 h 2084191"/>
              <a:gd name="connsiteX755" fmla="*/ 173634 w 2051041"/>
              <a:gd name="connsiteY755" fmla="*/ 685660 h 2084191"/>
              <a:gd name="connsiteX756" fmla="*/ 184518 w 2051041"/>
              <a:gd name="connsiteY756" fmla="*/ 698176 h 2084191"/>
              <a:gd name="connsiteX757" fmla="*/ 172546 w 2051041"/>
              <a:gd name="connsiteY757" fmla="*/ 709059 h 2084191"/>
              <a:gd name="connsiteX758" fmla="*/ 161118 w 2051041"/>
              <a:gd name="connsiteY758" fmla="*/ 697088 h 2084191"/>
              <a:gd name="connsiteX759" fmla="*/ 173634 w 2051041"/>
              <a:gd name="connsiteY759" fmla="*/ 685660 h 2084191"/>
              <a:gd name="connsiteX760" fmla="*/ 335798 w 2051041"/>
              <a:gd name="connsiteY760" fmla="*/ 675320 h 2084191"/>
              <a:gd name="connsiteX761" fmla="*/ 357565 w 2051041"/>
              <a:gd name="connsiteY761" fmla="*/ 696543 h 2084191"/>
              <a:gd name="connsiteX762" fmla="*/ 336342 w 2051041"/>
              <a:gd name="connsiteY762" fmla="*/ 718854 h 2084191"/>
              <a:gd name="connsiteX763" fmla="*/ 315120 w 2051041"/>
              <a:gd name="connsiteY763" fmla="*/ 697631 h 2084191"/>
              <a:gd name="connsiteX764" fmla="*/ 335798 w 2051041"/>
              <a:gd name="connsiteY764" fmla="*/ 675320 h 2084191"/>
              <a:gd name="connsiteX765" fmla="*/ 499051 w 2051041"/>
              <a:gd name="connsiteY765" fmla="*/ 670423 h 2084191"/>
              <a:gd name="connsiteX766" fmla="*/ 526804 w 2051041"/>
              <a:gd name="connsiteY766" fmla="*/ 697088 h 2084191"/>
              <a:gd name="connsiteX767" fmla="*/ 499595 w 2051041"/>
              <a:gd name="connsiteY767" fmla="*/ 724296 h 2084191"/>
              <a:gd name="connsiteX768" fmla="*/ 472930 w 2051041"/>
              <a:gd name="connsiteY768" fmla="*/ 697632 h 2084191"/>
              <a:gd name="connsiteX769" fmla="*/ 499051 w 2051041"/>
              <a:gd name="connsiteY769" fmla="*/ 670423 h 2084191"/>
              <a:gd name="connsiteX770" fmla="*/ 662848 w 2051041"/>
              <a:gd name="connsiteY770" fmla="*/ 665525 h 2084191"/>
              <a:gd name="connsiteX771" fmla="*/ 694954 w 2051041"/>
              <a:gd name="connsiteY771" fmla="*/ 697087 h 2084191"/>
              <a:gd name="connsiteX772" fmla="*/ 663392 w 2051041"/>
              <a:gd name="connsiteY772" fmla="*/ 729194 h 2084191"/>
              <a:gd name="connsiteX773" fmla="*/ 632374 w 2051041"/>
              <a:gd name="connsiteY773" fmla="*/ 698176 h 2084191"/>
              <a:gd name="connsiteX774" fmla="*/ 662848 w 2051041"/>
              <a:gd name="connsiteY774" fmla="*/ 665525 h 2084191"/>
              <a:gd name="connsiteX775" fmla="*/ 825013 w 2051041"/>
              <a:gd name="connsiteY775" fmla="*/ 663349 h 2084191"/>
              <a:gd name="connsiteX776" fmla="*/ 860384 w 2051041"/>
              <a:gd name="connsiteY776" fmla="*/ 697632 h 2084191"/>
              <a:gd name="connsiteX777" fmla="*/ 826101 w 2051041"/>
              <a:gd name="connsiteY777" fmla="*/ 731915 h 2084191"/>
              <a:gd name="connsiteX778" fmla="*/ 791818 w 2051041"/>
              <a:gd name="connsiteY778" fmla="*/ 698176 h 2084191"/>
              <a:gd name="connsiteX779" fmla="*/ 825013 w 2051041"/>
              <a:gd name="connsiteY779" fmla="*/ 663349 h 2084191"/>
              <a:gd name="connsiteX780" fmla="*/ 988809 w 2051041"/>
              <a:gd name="connsiteY780" fmla="*/ 658995 h 2084191"/>
              <a:gd name="connsiteX781" fmla="*/ 1027446 w 2051041"/>
              <a:gd name="connsiteY781" fmla="*/ 697087 h 2084191"/>
              <a:gd name="connsiteX782" fmla="*/ 989353 w 2051041"/>
              <a:gd name="connsiteY782" fmla="*/ 735723 h 2084191"/>
              <a:gd name="connsiteX783" fmla="*/ 950717 w 2051041"/>
              <a:gd name="connsiteY783" fmla="*/ 697631 h 2084191"/>
              <a:gd name="connsiteX784" fmla="*/ 988809 w 2051041"/>
              <a:gd name="connsiteY784" fmla="*/ 658995 h 2084191"/>
              <a:gd name="connsiteX785" fmla="*/ 1152607 w 2051041"/>
              <a:gd name="connsiteY785" fmla="*/ 655729 h 2084191"/>
              <a:gd name="connsiteX786" fmla="*/ 1195052 w 2051041"/>
              <a:gd name="connsiteY786" fmla="*/ 697087 h 2084191"/>
              <a:gd name="connsiteX787" fmla="*/ 1153151 w 2051041"/>
              <a:gd name="connsiteY787" fmla="*/ 739533 h 2084191"/>
              <a:gd name="connsiteX788" fmla="*/ 1110705 w 2051041"/>
              <a:gd name="connsiteY788" fmla="*/ 697631 h 2084191"/>
              <a:gd name="connsiteX789" fmla="*/ 1152607 w 2051041"/>
              <a:gd name="connsiteY789" fmla="*/ 655729 h 2084191"/>
              <a:gd name="connsiteX790" fmla="*/ 1316948 w 2051041"/>
              <a:gd name="connsiteY790" fmla="*/ 653554 h 2084191"/>
              <a:gd name="connsiteX791" fmla="*/ 1359937 w 2051041"/>
              <a:gd name="connsiteY791" fmla="*/ 697632 h 2084191"/>
              <a:gd name="connsiteX792" fmla="*/ 1315315 w 2051041"/>
              <a:gd name="connsiteY792" fmla="*/ 740622 h 2084191"/>
              <a:gd name="connsiteX793" fmla="*/ 1271781 w 2051041"/>
              <a:gd name="connsiteY793" fmla="*/ 696544 h 2084191"/>
              <a:gd name="connsiteX794" fmla="*/ 1316948 w 2051041"/>
              <a:gd name="connsiteY794" fmla="*/ 653554 h 2084191"/>
              <a:gd name="connsiteX795" fmla="*/ 1479112 w 2051041"/>
              <a:gd name="connsiteY795" fmla="*/ 651921 h 2084191"/>
              <a:gd name="connsiteX796" fmla="*/ 1524823 w 2051041"/>
              <a:gd name="connsiteY796" fmla="*/ 697088 h 2084191"/>
              <a:gd name="connsiteX797" fmla="*/ 1479112 w 2051041"/>
              <a:gd name="connsiteY797" fmla="*/ 742254 h 2084191"/>
              <a:gd name="connsiteX798" fmla="*/ 1433945 w 2051041"/>
              <a:gd name="connsiteY798" fmla="*/ 697088 h 2084191"/>
              <a:gd name="connsiteX799" fmla="*/ 1479112 w 2051041"/>
              <a:gd name="connsiteY799" fmla="*/ 651921 h 2084191"/>
              <a:gd name="connsiteX800" fmla="*/ 1642909 w 2051041"/>
              <a:gd name="connsiteY800" fmla="*/ 649744 h 2084191"/>
              <a:gd name="connsiteX801" fmla="*/ 1690796 w 2051041"/>
              <a:gd name="connsiteY801" fmla="*/ 697087 h 2084191"/>
              <a:gd name="connsiteX802" fmla="*/ 1642909 w 2051041"/>
              <a:gd name="connsiteY802" fmla="*/ 745519 h 2084191"/>
              <a:gd name="connsiteX803" fmla="*/ 1594477 w 2051041"/>
              <a:gd name="connsiteY803" fmla="*/ 697632 h 2084191"/>
              <a:gd name="connsiteX804" fmla="*/ 1642909 w 2051041"/>
              <a:gd name="connsiteY804" fmla="*/ 649744 h 2084191"/>
              <a:gd name="connsiteX805" fmla="*/ 1805617 w 2051041"/>
              <a:gd name="connsiteY805" fmla="*/ 648112 h 2084191"/>
              <a:gd name="connsiteX806" fmla="*/ 1854593 w 2051041"/>
              <a:gd name="connsiteY806" fmla="*/ 698176 h 2084191"/>
              <a:gd name="connsiteX807" fmla="*/ 1805073 w 2051041"/>
              <a:gd name="connsiteY807" fmla="*/ 746607 h 2084191"/>
              <a:gd name="connsiteX808" fmla="*/ 1756097 w 2051041"/>
              <a:gd name="connsiteY808" fmla="*/ 697087 h 2084191"/>
              <a:gd name="connsiteX809" fmla="*/ 1805617 w 2051041"/>
              <a:gd name="connsiteY809" fmla="*/ 648112 h 2084191"/>
              <a:gd name="connsiteX810" fmla="*/ 1969414 w 2051041"/>
              <a:gd name="connsiteY810" fmla="*/ 647023 h 2084191"/>
              <a:gd name="connsiteX811" fmla="*/ 2018934 w 2051041"/>
              <a:gd name="connsiteY811" fmla="*/ 698176 h 2084191"/>
              <a:gd name="connsiteX812" fmla="*/ 1968326 w 2051041"/>
              <a:gd name="connsiteY812" fmla="*/ 746063 h 2084191"/>
              <a:gd name="connsiteX813" fmla="*/ 1918806 w 2051041"/>
              <a:gd name="connsiteY813" fmla="*/ 697087 h 2084191"/>
              <a:gd name="connsiteX814" fmla="*/ 1969414 w 2051041"/>
              <a:gd name="connsiteY814" fmla="*/ 647023 h 2084191"/>
              <a:gd name="connsiteX815" fmla="*/ 90919 w 2051041"/>
              <a:gd name="connsiteY815" fmla="*/ 606754 h 2084191"/>
              <a:gd name="connsiteX816" fmla="*/ 99626 w 2051041"/>
              <a:gd name="connsiteY816" fmla="*/ 615460 h 2084191"/>
              <a:gd name="connsiteX817" fmla="*/ 92007 w 2051041"/>
              <a:gd name="connsiteY817" fmla="*/ 627976 h 2084191"/>
              <a:gd name="connsiteX818" fmla="*/ 82756 w 2051041"/>
              <a:gd name="connsiteY818" fmla="*/ 616005 h 2084191"/>
              <a:gd name="connsiteX819" fmla="*/ 90919 w 2051041"/>
              <a:gd name="connsiteY819" fmla="*/ 606754 h 2084191"/>
              <a:gd name="connsiteX820" fmla="*/ 254172 w 2051041"/>
              <a:gd name="connsiteY820" fmla="*/ 598047 h 2084191"/>
              <a:gd name="connsiteX821" fmla="*/ 272674 w 2051041"/>
              <a:gd name="connsiteY821" fmla="*/ 614917 h 2084191"/>
              <a:gd name="connsiteX822" fmla="*/ 255260 w 2051041"/>
              <a:gd name="connsiteY822" fmla="*/ 633419 h 2084191"/>
              <a:gd name="connsiteX823" fmla="*/ 236758 w 2051041"/>
              <a:gd name="connsiteY823" fmla="*/ 616005 h 2084191"/>
              <a:gd name="connsiteX824" fmla="*/ 254172 w 2051041"/>
              <a:gd name="connsiteY824" fmla="*/ 598047 h 2084191"/>
              <a:gd name="connsiteX825" fmla="*/ 418513 w 2051041"/>
              <a:gd name="connsiteY825" fmla="*/ 590429 h 2084191"/>
              <a:gd name="connsiteX826" fmla="*/ 443001 w 2051041"/>
              <a:gd name="connsiteY826" fmla="*/ 614917 h 2084191"/>
              <a:gd name="connsiteX827" fmla="*/ 419058 w 2051041"/>
              <a:gd name="connsiteY827" fmla="*/ 640493 h 2084191"/>
              <a:gd name="connsiteX828" fmla="*/ 392937 w 2051041"/>
              <a:gd name="connsiteY828" fmla="*/ 616005 h 2084191"/>
              <a:gd name="connsiteX829" fmla="*/ 418513 w 2051041"/>
              <a:gd name="connsiteY829" fmla="*/ 590429 h 2084191"/>
              <a:gd name="connsiteX830" fmla="*/ 581222 w 2051041"/>
              <a:gd name="connsiteY830" fmla="*/ 587163 h 2084191"/>
              <a:gd name="connsiteX831" fmla="*/ 610063 w 2051041"/>
              <a:gd name="connsiteY831" fmla="*/ 616549 h 2084191"/>
              <a:gd name="connsiteX832" fmla="*/ 580677 w 2051041"/>
              <a:gd name="connsiteY832" fmla="*/ 645390 h 2084191"/>
              <a:gd name="connsiteX833" fmla="*/ 551836 w 2051041"/>
              <a:gd name="connsiteY833" fmla="*/ 615461 h 2084191"/>
              <a:gd name="connsiteX834" fmla="*/ 581222 w 2051041"/>
              <a:gd name="connsiteY834" fmla="*/ 587163 h 2084191"/>
              <a:gd name="connsiteX835" fmla="*/ 743930 w 2051041"/>
              <a:gd name="connsiteY835" fmla="*/ 582266 h 2084191"/>
              <a:gd name="connsiteX836" fmla="*/ 779301 w 2051041"/>
              <a:gd name="connsiteY836" fmla="*/ 616005 h 2084191"/>
              <a:gd name="connsiteX837" fmla="*/ 745563 w 2051041"/>
              <a:gd name="connsiteY837" fmla="*/ 649744 h 2084191"/>
              <a:gd name="connsiteX838" fmla="*/ 711824 w 2051041"/>
              <a:gd name="connsiteY838" fmla="*/ 616549 h 2084191"/>
              <a:gd name="connsiteX839" fmla="*/ 743930 w 2051041"/>
              <a:gd name="connsiteY839" fmla="*/ 582266 h 2084191"/>
              <a:gd name="connsiteX840" fmla="*/ 907183 w 2051041"/>
              <a:gd name="connsiteY840" fmla="*/ 577913 h 2084191"/>
              <a:gd name="connsiteX841" fmla="*/ 945276 w 2051041"/>
              <a:gd name="connsiteY841" fmla="*/ 615461 h 2084191"/>
              <a:gd name="connsiteX842" fmla="*/ 907727 w 2051041"/>
              <a:gd name="connsiteY842" fmla="*/ 654098 h 2084191"/>
              <a:gd name="connsiteX843" fmla="*/ 869091 w 2051041"/>
              <a:gd name="connsiteY843" fmla="*/ 616006 h 2084191"/>
              <a:gd name="connsiteX844" fmla="*/ 907183 w 2051041"/>
              <a:gd name="connsiteY844" fmla="*/ 577913 h 2084191"/>
              <a:gd name="connsiteX845" fmla="*/ 1069891 w 2051041"/>
              <a:gd name="connsiteY845" fmla="*/ 574648 h 2084191"/>
              <a:gd name="connsiteX846" fmla="*/ 1111248 w 2051041"/>
              <a:gd name="connsiteY846" fmla="*/ 615461 h 2084191"/>
              <a:gd name="connsiteX847" fmla="*/ 1070435 w 2051041"/>
              <a:gd name="connsiteY847" fmla="*/ 656274 h 2084191"/>
              <a:gd name="connsiteX848" fmla="*/ 1029622 w 2051041"/>
              <a:gd name="connsiteY848" fmla="*/ 614917 h 2084191"/>
              <a:gd name="connsiteX849" fmla="*/ 1069891 w 2051041"/>
              <a:gd name="connsiteY849" fmla="*/ 574648 h 2084191"/>
              <a:gd name="connsiteX850" fmla="*/ 1235321 w 2051041"/>
              <a:gd name="connsiteY850" fmla="*/ 572472 h 2084191"/>
              <a:gd name="connsiteX851" fmla="*/ 1277222 w 2051041"/>
              <a:gd name="connsiteY851" fmla="*/ 616550 h 2084191"/>
              <a:gd name="connsiteX852" fmla="*/ 1233688 w 2051041"/>
              <a:gd name="connsiteY852" fmla="*/ 660084 h 2084191"/>
              <a:gd name="connsiteX853" fmla="*/ 1190154 w 2051041"/>
              <a:gd name="connsiteY853" fmla="*/ 614917 h 2084191"/>
              <a:gd name="connsiteX854" fmla="*/ 1235321 w 2051041"/>
              <a:gd name="connsiteY854" fmla="*/ 572472 h 2084191"/>
              <a:gd name="connsiteX855" fmla="*/ 1397485 w 2051041"/>
              <a:gd name="connsiteY855" fmla="*/ 569206 h 2084191"/>
              <a:gd name="connsiteX856" fmla="*/ 1443196 w 2051041"/>
              <a:gd name="connsiteY856" fmla="*/ 616005 h 2084191"/>
              <a:gd name="connsiteX857" fmla="*/ 1396941 w 2051041"/>
              <a:gd name="connsiteY857" fmla="*/ 661172 h 2084191"/>
              <a:gd name="connsiteX858" fmla="*/ 1351775 w 2051041"/>
              <a:gd name="connsiteY858" fmla="*/ 614373 h 2084191"/>
              <a:gd name="connsiteX859" fmla="*/ 1397485 w 2051041"/>
              <a:gd name="connsiteY859" fmla="*/ 569206 h 2084191"/>
              <a:gd name="connsiteX860" fmla="*/ 1560738 w 2051041"/>
              <a:gd name="connsiteY860" fmla="*/ 567029 h 2084191"/>
              <a:gd name="connsiteX861" fmla="*/ 1609714 w 2051041"/>
              <a:gd name="connsiteY861" fmla="*/ 615461 h 2084191"/>
              <a:gd name="connsiteX862" fmla="*/ 1561283 w 2051041"/>
              <a:gd name="connsiteY862" fmla="*/ 663892 h 2084191"/>
              <a:gd name="connsiteX863" fmla="*/ 1512851 w 2051041"/>
              <a:gd name="connsiteY863" fmla="*/ 616005 h 2084191"/>
              <a:gd name="connsiteX864" fmla="*/ 1560738 w 2051041"/>
              <a:gd name="connsiteY864" fmla="*/ 567029 h 2084191"/>
              <a:gd name="connsiteX865" fmla="*/ 1725624 w 2051041"/>
              <a:gd name="connsiteY865" fmla="*/ 565397 h 2084191"/>
              <a:gd name="connsiteX866" fmla="*/ 1774599 w 2051041"/>
              <a:gd name="connsiteY866" fmla="*/ 616005 h 2084191"/>
              <a:gd name="connsiteX867" fmla="*/ 1723447 w 2051041"/>
              <a:gd name="connsiteY867" fmla="*/ 664981 h 2084191"/>
              <a:gd name="connsiteX868" fmla="*/ 1674471 w 2051041"/>
              <a:gd name="connsiteY868" fmla="*/ 615461 h 2084191"/>
              <a:gd name="connsiteX869" fmla="*/ 1725624 w 2051041"/>
              <a:gd name="connsiteY869" fmla="*/ 565397 h 2084191"/>
              <a:gd name="connsiteX870" fmla="*/ 1886699 w 2051041"/>
              <a:gd name="connsiteY870" fmla="*/ 564853 h 2084191"/>
              <a:gd name="connsiteX871" fmla="*/ 1938396 w 2051041"/>
              <a:gd name="connsiteY871" fmla="*/ 614917 h 2084191"/>
              <a:gd name="connsiteX872" fmla="*/ 1887787 w 2051041"/>
              <a:gd name="connsiteY872" fmla="*/ 665525 h 2084191"/>
              <a:gd name="connsiteX873" fmla="*/ 1837179 w 2051041"/>
              <a:gd name="connsiteY873" fmla="*/ 615461 h 2084191"/>
              <a:gd name="connsiteX874" fmla="*/ 1886699 w 2051041"/>
              <a:gd name="connsiteY874" fmla="*/ 564853 h 2084191"/>
              <a:gd name="connsiteX875" fmla="*/ 2050496 w 2051041"/>
              <a:gd name="connsiteY875" fmla="*/ 564852 h 2084191"/>
              <a:gd name="connsiteX876" fmla="*/ 2051041 w 2051041"/>
              <a:gd name="connsiteY876" fmla="*/ 564962 h 2084191"/>
              <a:gd name="connsiteX877" fmla="*/ 2051041 w 2051041"/>
              <a:gd name="connsiteY877" fmla="*/ 665899 h 2084191"/>
              <a:gd name="connsiteX878" fmla="*/ 2049952 w 2051041"/>
              <a:gd name="connsiteY878" fmla="*/ 666069 h 2084191"/>
              <a:gd name="connsiteX879" fmla="*/ 1999344 w 2051041"/>
              <a:gd name="connsiteY879" fmla="*/ 615460 h 2084191"/>
              <a:gd name="connsiteX880" fmla="*/ 2050496 w 2051041"/>
              <a:gd name="connsiteY880" fmla="*/ 564852 h 2084191"/>
              <a:gd name="connsiteX881" fmla="*/ 173090 w 2051041"/>
              <a:gd name="connsiteY881" fmla="*/ 517509 h 2084191"/>
              <a:gd name="connsiteX882" fmla="*/ 189959 w 2051041"/>
              <a:gd name="connsiteY882" fmla="*/ 533834 h 2084191"/>
              <a:gd name="connsiteX883" fmla="*/ 173634 w 2051041"/>
              <a:gd name="connsiteY883" fmla="*/ 550160 h 2084191"/>
              <a:gd name="connsiteX884" fmla="*/ 157308 w 2051041"/>
              <a:gd name="connsiteY884" fmla="*/ 534923 h 2084191"/>
              <a:gd name="connsiteX885" fmla="*/ 173090 w 2051041"/>
              <a:gd name="connsiteY885" fmla="*/ 517509 h 2084191"/>
              <a:gd name="connsiteX886" fmla="*/ 335798 w 2051041"/>
              <a:gd name="connsiteY886" fmla="*/ 511523 h 2084191"/>
              <a:gd name="connsiteX887" fmla="*/ 358654 w 2051041"/>
              <a:gd name="connsiteY887" fmla="*/ 533834 h 2084191"/>
              <a:gd name="connsiteX888" fmla="*/ 336343 w 2051041"/>
              <a:gd name="connsiteY888" fmla="*/ 556689 h 2084191"/>
              <a:gd name="connsiteX889" fmla="*/ 312943 w 2051041"/>
              <a:gd name="connsiteY889" fmla="*/ 534378 h 2084191"/>
              <a:gd name="connsiteX890" fmla="*/ 335798 w 2051041"/>
              <a:gd name="connsiteY890" fmla="*/ 511523 h 2084191"/>
              <a:gd name="connsiteX891" fmla="*/ 500139 w 2051041"/>
              <a:gd name="connsiteY891" fmla="*/ 506626 h 2084191"/>
              <a:gd name="connsiteX892" fmla="*/ 527348 w 2051041"/>
              <a:gd name="connsiteY892" fmla="*/ 535467 h 2084191"/>
              <a:gd name="connsiteX893" fmla="*/ 497963 w 2051041"/>
              <a:gd name="connsiteY893" fmla="*/ 561587 h 2084191"/>
              <a:gd name="connsiteX894" fmla="*/ 471842 w 2051041"/>
              <a:gd name="connsiteY894" fmla="*/ 533290 h 2084191"/>
              <a:gd name="connsiteX895" fmla="*/ 500139 w 2051041"/>
              <a:gd name="connsiteY895" fmla="*/ 506626 h 2084191"/>
              <a:gd name="connsiteX896" fmla="*/ 662304 w 2051041"/>
              <a:gd name="connsiteY896" fmla="*/ 500639 h 2084191"/>
              <a:gd name="connsiteX897" fmla="*/ 696042 w 2051041"/>
              <a:gd name="connsiteY897" fmla="*/ 533290 h 2084191"/>
              <a:gd name="connsiteX898" fmla="*/ 663392 w 2051041"/>
              <a:gd name="connsiteY898" fmla="*/ 566485 h 2084191"/>
              <a:gd name="connsiteX899" fmla="*/ 630197 w 2051041"/>
              <a:gd name="connsiteY899" fmla="*/ 534378 h 2084191"/>
              <a:gd name="connsiteX900" fmla="*/ 662304 w 2051041"/>
              <a:gd name="connsiteY900" fmla="*/ 500639 h 2084191"/>
              <a:gd name="connsiteX901" fmla="*/ 825557 w 2051041"/>
              <a:gd name="connsiteY901" fmla="*/ 496830 h 2084191"/>
              <a:gd name="connsiteX902" fmla="*/ 863649 w 2051041"/>
              <a:gd name="connsiteY902" fmla="*/ 534923 h 2084191"/>
              <a:gd name="connsiteX903" fmla="*/ 825557 w 2051041"/>
              <a:gd name="connsiteY903" fmla="*/ 571383 h 2084191"/>
              <a:gd name="connsiteX904" fmla="*/ 788553 w 2051041"/>
              <a:gd name="connsiteY904" fmla="*/ 534379 h 2084191"/>
              <a:gd name="connsiteX905" fmla="*/ 825557 w 2051041"/>
              <a:gd name="connsiteY905" fmla="*/ 496830 h 2084191"/>
              <a:gd name="connsiteX906" fmla="*/ 989898 w 2051041"/>
              <a:gd name="connsiteY906" fmla="*/ 494110 h 2084191"/>
              <a:gd name="connsiteX907" fmla="*/ 1029078 w 2051041"/>
              <a:gd name="connsiteY907" fmla="*/ 534923 h 2084191"/>
              <a:gd name="connsiteX908" fmla="*/ 989353 w 2051041"/>
              <a:gd name="connsiteY908" fmla="*/ 574104 h 2084191"/>
              <a:gd name="connsiteX909" fmla="*/ 949629 w 2051041"/>
              <a:gd name="connsiteY909" fmla="*/ 533835 h 2084191"/>
              <a:gd name="connsiteX910" fmla="*/ 989898 w 2051041"/>
              <a:gd name="connsiteY910" fmla="*/ 494110 h 2084191"/>
              <a:gd name="connsiteX911" fmla="*/ 1152062 w 2051041"/>
              <a:gd name="connsiteY911" fmla="*/ 490301 h 2084191"/>
              <a:gd name="connsiteX912" fmla="*/ 1196140 w 2051041"/>
              <a:gd name="connsiteY912" fmla="*/ 533835 h 2084191"/>
              <a:gd name="connsiteX913" fmla="*/ 1152606 w 2051041"/>
              <a:gd name="connsiteY913" fmla="*/ 577369 h 2084191"/>
              <a:gd name="connsiteX914" fmla="*/ 1109072 w 2051041"/>
              <a:gd name="connsiteY914" fmla="*/ 534379 h 2084191"/>
              <a:gd name="connsiteX915" fmla="*/ 1152062 w 2051041"/>
              <a:gd name="connsiteY915" fmla="*/ 490301 h 2084191"/>
              <a:gd name="connsiteX916" fmla="*/ 1316947 w 2051041"/>
              <a:gd name="connsiteY916" fmla="*/ 489212 h 2084191"/>
              <a:gd name="connsiteX917" fmla="*/ 1361570 w 2051041"/>
              <a:gd name="connsiteY917" fmla="*/ 534923 h 2084191"/>
              <a:gd name="connsiteX918" fmla="*/ 1315859 w 2051041"/>
              <a:gd name="connsiteY918" fmla="*/ 580090 h 2084191"/>
              <a:gd name="connsiteX919" fmla="*/ 1270693 w 2051041"/>
              <a:gd name="connsiteY919" fmla="*/ 533835 h 2084191"/>
              <a:gd name="connsiteX920" fmla="*/ 1316947 w 2051041"/>
              <a:gd name="connsiteY920" fmla="*/ 489212 h 2084191"/>
              <a:gd name="connsiteX921" fmla="*/ 1479112 w 2051041"/>
              <a:gd name="connsiteY921" fmla="*/ 484315 h 2084191"/>
              <a:gd name="connsiteX922" fmla="*/ 1528087 w 2051041"/>
              <a:gd name="connsiteY922" fmla="*/ 533835 h 2084191"/>
              <a:gd name="connsiteX923" fmla="*/ 1479656 w 2051041"/>
              <a:gd name="connsiteY923" fmla="*/ 582267 h 2084191"/>
              <a:gd name="connsiteX924" fmla="*/ 1431224 w 2051041"/>
              <a:gd name="connsiteY924" fmla="*/ 533835 h 2084191"/>
              <a:gd name="connsiteX925" fmla="*/ 1479112 w 2051041"/>
              <a:gd name="connsiteY925" fmla="*/ 484315 h 2084191"/>
              <a:gd name="connsiteX926" fmla="*/ 1643452 w 2051041"/>
              <a:gd name="connsiteY926" fmla="*/ 484314 h 2084191"/>
              <a:gd name="connsiteX927" fmla="*/ 1692973 w 2051041"/>
              <a:gd name="connsiteY927" fmla="*/ 534923 h 2084191"/>
              <a:gd name="connsiteX928" fmla="*/ 1641276 w 2051041"/>
              <a:gd name="connsiteY928" fmla="*/ 583898 h 2084191"/>
              <a:gd name="connsiteX929" fmla="*/ 1592300 w 2051041"/>
              <a:gd name="connsiteY929" fmla="*/ 532202 h 2084191"/>
              <a:gd name="connsiteX930" fmla="*/ 1643452 w 2051041"/>
              <a:gd name="connsiteY930" fmla="*/ 484314 h 2084191"/>
              <a:gd name="connsiteX931" fmla="*/ 1806162 w 2051041"/>
              <a:gd name="connsiteY931" fmla="*/ 481594 h 2084191"/>
              <a:gd name="connsiteX932" fmla="*/ 1857858 w 2051041"/>
              <a:gd name="connsiteY932" fmla="*/ 536011 h 2084191"/>
              <a:gd name="connsiteX933" fmla="*/ 1803441 w 2051041"/>
              <a:gd name="connsiteY933" fmla="*/ 586075 h 2084191"/>
              <a:gd name="connsiteX934" fmla="*/ 1753377 w 2051041"/>
              <a:gd name="connsiteY934" fmla="*/ 533290 h 2084191"/>
              <a:gd name="connsiteX935" fmla="*/ 1806162 w 2051041"/>
              <a:gd name="connsiteY935" fmla="*/ 481594 h 2084191"/>
              <a:gd name="connsiteX936" fmla="*/ 1968326 w 2051041"/>
              <a:gd name="connsiteY936" fmla="*/ 480505 h 2084191"/>
              <a:gd name="connsiteX937" fmla="*/ 2022200 w 2051041"/>
              <a:gd name="connsiteY937" fmla="*/ 534379 h 2084191"/>
              <a:gd name="connsiteX938" fmla="*/ 1969415 w 2051041"/>
              <a:gd name="connsiteY938" fmla="*/ 588252 h 2084191"/>
              <a:gd name="connsiteX939" fmla="*/ 1915541 w 2051041"/>
              <a:gd name="connsiteY939" fmla="*/ 534923 h 2084191"/>
              <a:gd name="connsiteX940" fmla="*/ 1968326 w 2051041"/>
              <a:gd name="connsiteY940" fmla="*/ 480505 h 2084191"/>
              <a:gd name="connsiteX941" fmla="*/ 91464 w 2051041"/>
              <a:gd name="connsiteY941" fmla="*/ 440780 h 2084191"/>
              <a:gd name="connsiteX942" fmla="*/ 102891 w 2051041"/>
              <a:gd name="connsiteY942" fmla="*/ 451664 h 2084191"/>
              <a:gd name="connsiteX943" fmla="*/ 92008 w 2051041"/>
              <a:gd name="connsiteY943" fmla="*/ 464179 h 2084191"/>
              <a:gd name="connsiteX944" fmla="*/ 80036 w 2051041"/>
              <a:gd name="connsiteY944" fmla="*/ 452752 h 2084191"/>
              <a:gd name="connsiteX945" fmla="*/ 91464 w 2051041"/>
              <a:gd name="connsiteY945" fmla="*/ 440780 h 2084191"/>
              <a:gd name="connsiteX946" fmla="*/ 254172 w 2051041"/>
              <a:gd name="connsiteY946" fmla="*/ 430441 h 2084191"/>
              <a:gd name="connsiteX947" fmla="*/ 275939 w 2051041"/>
              <a:gd name="connsiteY947" fmla="*/ 452208 h 2084191"/>
              <a:gd name="connsiteX948" fmla="*/ 254716 w 2051041"/>
              <a:gd name="connsiteY948" fmla="*/ 473975 h 2084191"/>
              <a:gd name="connsiteX949" fmla="*/ 232405 w 2051041"/>
              <a:gd name="connsiteY949" fmla="*/ 452752 h 2084191"/>
              <a:gd name="connsiteX950" fmla="*/ 254172 w 2051041"/>
              <a:gd name="connsiteY950" fmla="*/ 430441 h 2084191"/>
              <a:gd name="connsiteX951" fmla="*/ 417969 w 2051041"/>
              <a:gd name="connsiteY951" fmla="*/ 424999 h 2084191"/>
              <a:gd name="connsiteX952" fmla="*/ 444634 w 2051041"/>
              <a:gd name="connsiteY952" fmla="*/ 452752 h 2084191"/>
              <a:gd name="connsiteX953" fmla="*/ 417425 w 2051041"/>
              <a:gd name="connsiteY953" fmla="*/ 479417 h 2084191"/>
              <a:gd name="connsiteX954" fmla="*/ 390760 w 2051041"/>
              <a:gd name="connsiteY954" fmla="*/ 452208 h 2084191"/>
              <a:gd name="connsiteX955" fmla="*/ 417969 w 2051041"/>
              <a:gd name="connsiteY955" fmla="*/ 424999 h 2084191"/>
              <a:gd name="connsiteX956" fmla="*/ 580677 w 2051041"/>
              <a:gd name="connsiteY956" fmla="*/ 419558 h 2084191"/>
              <a:gd name="connsiteX957" fmla="*/ 612783 w 2051041"/>
              <a:gd name="connsiteY957" fmla="*/ 452208 h 2084191"/>
              <a:gd name="connsiteX958" fmla="*/ 581221 w 2051041"/>
              <a:gd name="connsiteY958" fmla="*/ 484315 h 2084191"/>
              <a:gd name="connsiteX959" fmla="*/ 549115 w 2051041"/>
              <a:gd name="connsiteY959" fmla="*/ 452208 h 2084191"/>
              <a:gd name="connsiteX960" fmla="*/ 580677 w 2051041"/>
              <a:gd name="connsiteY960" fmla="*/ 419558 h 2084191"/>
              <a:gd name="connsiteX961" fmla="*/ 743931 w 2051041"/>
              <a:gd name="connsiteY961" fmla="*/ 415748 h 2084191"/>
              <a:gd name="connsiteX962" fmla="*/ 780390 w 2051041"/>
              <a:gd name="connsiteY962" fmla="*/ 452208 h 2084191"/>
              <a:gd name="connsiteX963" fmla="*/ 744475 w 2051041"/>
              <a:gd name="connsiteY963" fmla="*/ 489212 h 2084191"/>
              <a:gd name="connsiteX964" fmla="*/ 708559 w 2051041"/>
              <a:gd name="connsiteY964" fmla="*/ 453840 h 2084191"/>
              <a:gd name="connsiteX965" fmla="*/ 743931 w 2051041"/>
              <a:gd name="connsiteY965" fmla="*/ 415748 h 2084191"/>
              <a:gd name="connsiteX966" fmla="*/ 908271 w 2051041"/>
              <a:gd name="connsiteY966" fmla="*/ 414116 h 2084191"/>
              <a:gd name="connsiteX967" fmla="*/ 946363 w 2051041"/>
              <a:gd name="connsiteY967" fmla="*/ 453296 h 2084191"/>
              <a:gd name="connsiteX968" fmla="*/ 906638 w 2051041"/>
              <a:gd name="connsiteY968" fmla="*/ 491933 h 2084191"/>
              <a:gd name="connsiteX969" fmla="*/ 868546 w 2051041"/>
              <a:gd name="connsiteY969" fmla="*/ 452208 h 2084191"/>
              <a:gd name="connsiteX970" fmla="*/ 908271 w 2051041"/>
              <a:gd name="connsiteY970" fmla="*/ 414116 h 2084191"/>
              <a:gd name="connsiteX971" fmla="*/ 1072068 w 2051041"/>
              <a:gd name="connsiteY971" fmla="*/ 409218 h 2084191"/>
              <a:gd name="connsiteX972" fmla="*/ 1113970 w 2051041"/>
              <a:gd name="connsiteY972" fmla="*/ 452752 h 2084191"/>
              <a:gd name="connsiteX973" fmla="*/ 1070436 w 2051041"/>
              <a:gd name="connsiteY973" fmla="*/ 495198 h 2084191"/>
              <a:gd name="connsiteX974" fmla="*/ 1028534 w 2051041"/>
              <a:gd name="connsiteY974" fmla="*/ 451120 h 2084191"/>
              <a:gd name="connsiteX975" fmla="*/ 1072068 w 2051041"/>
              <a:gd name="connsiteY975" fmla="*/ 409218 h 2084191"/>
              <a:gd name="connsiteX976" fmla="*/ 1235865 w 2051041"/>
              <a:gd name="connsiteY976" fmla="*/ 408130 h 2084191"/>
              <a:gd name="connsiteX977" fmla="*/ 1279400 w 2051041"/>
              <a:gd name="connsiteY977" fmla="*/ 453296 h 2084191"/>
              <a:gd name="connsiteX978" fmla="*/ 1233689 w 2051041"/>
              <a:gd name="connsiteY978" fmla="*/ 497374 h 2084191"/>
              <a:gd name="connsiteX979" fmla="*/ 1189611 w 2051041"/>
              <a:gd name="connsiteY979" fmla="*/ 451664 h 2084191"/>
              <a:gd name="connsiteX980" fmla="*/ 1235865 w 2051041"/>
              <a:gd name="connsiteY980" fmla="*/ 408130 h 2084191"/>
              <a:gd name="connsiteX981" fmla="*/ 1396941 w 2051041"/>
              <a:gd name="connsiteY981" fmla="*/ 403776 h 2084191"/>
              <a:gd name="connsiteX982" fmla="*/ 1446461 w 2051041"/>
              <a:gd name="connsiteY982" fmla="*/ 450575 h 2084191"/>
              <a:gd name="connsiteX983" fmla="*/ 1399118 w 2051041"/>
              <a:gd name="connsiteY983" fmla="*/ 500640 h 2084191"/>
              <a:gd name="connsiteX984" fmla="*/ 1349598 w 2051041"/>
              <a:gd name="connsiteY984" fmla="*/ 453296 h 2084191"/>
              <a:gd name="connsiteX985" fmla="*/ 1396941 w 2051041"/>
              <a:gd name="connsiteY985" fmla="*/ 403776 h 2084191"/>
              <a:gd name="connsiteX986" fmla="*/ 1560738 w 2051041"/>
              <a:gd name="connsiteY986" fmla="*/ 402144 h 2084191"/>
              <a:gd name="connsiteX987" fmla="*/ 1611347 w 2051041"/>
              <a:gd name="connsiteY987" fmla="*/ 453297 h 2084191"/>
              <a:gd name="connsiteX988" fmla="*/ 1560194 w 2051041"/>
              <a:gd name="connsiteY988" fmla="*/ 502272 h 2084191"/>
              <a:gd name="connsiteX989" fmla="*/ 1511218 w 2051041"/>
              <a:gd name="connsiteY989" fmla="*/ 451664 h 2084191"/>
              <a:gd name="connsiteX990" fmla="*/ 1560738 w 2051041"/>
              <a:gd name="connsiteY990" fmla="*/ 402144 h 2084191"/>
              <a:gd name="connsiteX991" fmla="*/ 1723991 w 2051041"/>
              <a:gd name="connsiteY991" fmla="*/ 399423 h 2084191"/>
              <a:gd name="connsiteX992" fmla="*/ 1776776 w 2051041"/>
              <a:gd name="connsiteY992" fmla="*/ 452752 h 2084191"/>
              <a:gd name="connsiteX993" fmla="*/ 1725079 w 2051041"/>
              <a:gd name="connsiteY993" fmla="*/ 504993 h 2084191"/>
              <a:gd name="connsiteX994" fmla="*/ 1671750 w 2051041"/>
              <a:gd name="connsiteY994" fmla="*/ 452752 h 2084191"/>
              <a:gd name="connsiteX995" fmla="*/ 1723991 w 2051041"/>
              <a:gd name="connsiteY995" fmla="*/ 399423 h 2084191"/>
              <a:gd name="connsiteX996" fmla="*/ 2051040 w 2051041"/>
              <a:gd name="connsiteY996" fmla="*/ 398335 h 2084191"/>
              <a:gd name="connsiteX997" fmla="*/ 2051041 w 2051041"/>
              <a:gd name="connsiteY997" fmla="*/ 398335 h 2084191"/>
              <a:gd name="connsiteX998" fmla="*/ 2051041 w 2051041"/>
              <a:gd name="connsiteY998" fmla="*/ 506936 h 2084191"/>
              <a:gd name="connsiteX999" fmla="*/ 2049952 w 2051041"/>
              <a:gd name="connsiteY999" fmla="*/ 507170 h 2084191"/>
              <a:gd name="connsiteX1000" fmla="*/ 1995534 w 2051041"/>
              <a:gd name="connsiteY1000" fmla="*/ 452208 h 2084191"/>
              <a:gd name="connsiteX1001" fmla="*/ 2051040 w 2051041"/>
              <a:gd name="connsiteY1001" fmla="*/ 398335 h 2084191"/>
              <a:gd name="connsiteX1002" fmla="*/ 1888332 w 2051041"/>
              <a:gd name="connsiteY1002" fmla="*/ 398335 h 2084191"/>
              <a:gd name="connsiteX1003" fmla="*/ 1941661 w 2051041"/>
              <a:gd name="connsiteY1003" fmla="*/ 452208 h 2084191"/>
              <a:gd name="connsiteX1004" fmla="*/ 1886699 w 2051041"/>
              <a:gd name="connsiteY1004" fmla="*/ 506082 h 2084191"/>
              <a:gd name="connsiteX1005" fmla="*/ 1833370 w 2051041"/>
              <a:gd name="connsiteY1005" fmla="*/ 452208 h 2084191"/>
              <a:gd name="connsiteX1006" fmla="*/ 1888332 w 2051041"/>
              <a:gd name="connsiteY1006" fmla="*/ 398335 h 2084191"/>
              <a:gd name="connsiteX1007" fmla="*/ 12014 w 2051041"/>
              <a:gd name="connsiteY1007" fmla="*/ 364052 h 2084191"/>
              <a:gd name="connsiteX1008" fmla="*/ 15823 w 2051041"/>
              <a:gd name="connsiteY1008" fmla="*/ 370038 h 2084191"/>
              <a:gd name="connsiteX1009" fmla="*/ 9293 w 2051041"/>
              <a:gd name="connsiteY1009" fmla="*/ 377656 h 2084191"/>
              <a:gd name="connsiteX1010" fmla="*/ 3307 w 2051041"/>
              <a:gd name="connsiteY1010" fmla="*/ 371126 h 2084191"/>
              <a:gd name="connsiteX1011" fmla="*/ 12014 w 2051041"/>
              <a:gd name="connsiteY1011" fmla="*/ 364052 h 2084191"/>
              <a:gd name="connsiteX1012" fmla="*/ 172545 w 2051041"/>
              <a:gd name="connsiteY1012" fmla="*/ 353713 h 2084191"/>
              <a:gd name="connsiteX1013" fmla="*/ 190503 w 2051041"/>
              <a:gd name="connsiteY1013" fmla="*/ 370582 h 2084191"/>
              <a:gd name="connsiteX1014" fmla="*/ 173090 w 2051041"/>
              <a:gd name="connsiteY1014" fmla="*/ 387996 h 2084191"/>
              <a:gd name="connsiteX1015" fmla="*/ 155676 w 2051041"/>
              <a:gd name="connsiteY1015" fmla="*/ 371126 h 2084191"/>
              <a:gd name="connsiteX1016" fmla="*/ 172545 w 2051041"/>
              <a:gd name="connsiteY1016" fmla="*/ 353713 h 2084191"/>
              <a:gd name="connsiteX1017" fmla="*/ 336886 w 2051041"/>
              <a:gd name="connsiteY1017" fmla="*/ 345550 h 2084191"/>
              <a:gd name="connsiteX1018" fmla="*/ 361374 w 2051041"/>
              <a:gd name="connsiteY1018" fmla="*/ 371670 h 2084191"/>
              <a:gd name="connsiteX1019" fmla="*/ 335798 w 2051041"/>
              <a:gd name="connsiteY1019" fmla="*/ 395070 h 2084191"/>
              <a:gd name="connsiteX1020" fmla="*/ 311854 w 2051041"/>
              <a:gd name="connsiteY1020" fmla="*/ 370038 h 2084191"/>
              <a:gd name="connsiteX1021" fmla="*/ 336886 w 2051041"/>
              <a:gd name="connsiteY1021" fmla="*/ 345550 h 2084191"/>
              <a:gd name="connsiteX1022" fmla="*/ 499596 w 2051041"/>
              <a:gd name="connsiteY1022" fmla="*/ 342284 h 2084191"/>
              <a:gd name="connsiteX1023" fmla="*/ 528437 w 2051041"/>
              <a:gd name="connsiteY1023" fmla="*/ 370582 h 2084191"/>
              <a:gd name="connsiteX1024" fmla="*/ 499051 w 2051041"/>
              <a:gd name="connsiteY1024" fmla="*/ 399423 h 2084191"/>
              <a:gd name="connsiteX1025" fmla="*/ 470210 w 2051041"/>
              <a:gd name="connsiteY1025" fmla="*/ 370037 h 2084191"/>
              <a:gd name="connsiteX1026" fmla="*/ 499596 w 2051041"/>
              <a:gd name="connsiteY1026" fmla="*/ 342284 h 2084191"/>
              <a:gd name="connsiteX1027" fmla="*/ 663392 w 2051041"/>
              <a:gd name="connsiteY1027" fmla="*/ 337387 h 2084191"/>
              <a:gd name="connsiteX1028" fmla="*/ 697131 w 2051041"/>
              <a:gd name="connsiteY1028" fmla="*/ 371126 h 2084191"/>
              <a:gd name="connsiteX1029" fmla="*/ 662304 w 2051041"/>
              <a:gd name="connsiteY1029" fmla="*/ 404321 h 2084191"/>
              <a:gd name="connsiteX1030" fmla="*/ 629109 w 2051041"/>
              <a:gd name="connsiteY1030" fmla="*/ 371126 h 2084191"/>
              <a:gd name="connsiteX1031" fmla="*/ 663392 w 2051041"/>
              <a:gd name="connsiteY1031" fmla="*/ 337387 h 2084191"/>
              <a:gd name="connsiteX1032" fmla="*/ 825556 w 2051041"/>
              <a:gd name="connsiteY1032" fmla="*/ 332489 h 2084191"/>
              <a:gd name="connsiteX1033" fmla="*/ 864737 w 2051041"/>
              <a:gd name="connsiteY1033" fmla="*/ 370037 h 2084191"/>
              <a:gd name="connsiteX1034" fmla="*/ 826645 w 2051041"/>
              <a:gd name="connsiteY1034" fmla="*/ 409218 h 2084191"/>
              <a:gd name="connsiteX1035" fmla="*/ 787464 w 2051041"/>
              <a:gd name="connsiteY1035" fmla="*/ 371126 h 2084191"/>
              <a:gd name="connsiteX1036" fmla="*/ 825556 w 2051041"/>
              <a:gd name="connsiteY1036" fmla="*/ 332489 h 2084191"/>
              <a:gd name="connsiteX1037" fmla="*/ 989898 w 2051041"/>
              <a:gd name="connsiteY1037" fmla="*/ 328680 h 2084191"/>
              <a:gd name="connsiteX1038" fmla="*/ 1031255 w 2051041"/>
              <a:gd name="connsiteY1038" fmla="*/ 371126 h 2084191"/>
              <a:gd name="connsiteX1039" fmla="*/ 989354 w 2051041"/>
              <a:gd name="connsiteY1039" fmla="*/ 413027 h 2084191"/>
              <a:gd name="connsiteX1040" fmla="*/ 947452 w 2051041"/>
              <a:gd name="connsiteY1040" fmla="*/ 370037 h 2084191"/>
              <a:gd name="connsiteX1041" fmla="*/ 989898 w 2051041"/>
              <a:gd name="connsiteY1041" fmla="*/ 328680 h 2084191"/>
              <a:gd name="connsiteX1042" fmla="*/ 1153150 w 2051041"/>
              <a:gd name="connsiteY1042" fmla="*/ 326504 h 2084191"/>
              <a:gd name="connsiteX1043" fmla="*/ 1197228 w 2051041"/>
              <a:gd name="connsiteY1043" fmla="*/ 370582 h 2084191"/>
              <a:gd name="connsiteX1044" fmla="*/ 1152606 w 2051041"/>
              <a:gd name="connsiteY1044" fmla="*/ 414661 h 2084191"/>
              <a:gd name="connsiteX1045" fmla="*/ 1108528 w 2051041"/>
              <a:gd name="connsiteY1045" fmla="*/ 370038 h 2084191"/>
              <a:gd name="connsiteX1046" fmla="*/ 1153150 w 2051041"/>
              <a:gd name="connsiteY1046" fmla="*/ 326504 h 2084191"/>
              <a:gd name="connsiteX1047" fmla="*/ 1317492 w 2051041"/>
              <a:gd name="connsiteY1047" fmla="*/ 323239 h 2084191"/>
              <a:gd name="connsiteX1048" fmla="*/ 1364835 w 2051041"/>
              <a:gd name="connsiteY1048" fmla="*/ 372215 h 2084191"/>
              <a:gd name="connsiteX1049" fmla="*/ 1314771 w 2051041"/>
              <a:gd name="connsiteY1049" fmla="*/ 419014 h 2084191"/>
              <a:gd name="connsiteX1050" fmla="*/ 1268516 w 2051041"/>
              <a:gd name="connsiteY1050" fmla="*/ 370582 h 2084191"/>
              <a:gd name="connsiteX1051" fmla="*/ 1317492 w 2051041"/>
              <a:gd name="connsiteY1051" fmla="*/ 323239 h 2084191"/>
              <a:gd name="connsiteX1052" fmla="*/ 1479112 w 2051041"/>
              <a:gd name="connsiteY1052" fmla="*/ 320517 h 2084191"/>
              <a:gd name="connsiteX1053" fmla="*/ 1529720 w 2051041"/>
              <a:gd name="connsiteY1053" fmla="*/ 371670 h 2084191"/>
              <a:gd name="connsiteX1054" fmla="*/ 1478568 w 2051041"/>
              <a:gd name="connsiteY1054" fmla="*/ 420101 h 2084191"/>
              <a:gd name="connsiteX1055" fmla="*/ 1429592 w 2051041"/>
              <a:gd name="connsiteY1055" fmla="*/ 370037 h 2084191"/>
              <a:gd name="connsiteX1056" fmla="*/ 1479112 w 2051041"/>
              <a:gd name="connsiteY1056" fmla="*/ 320517 h 2084191"/>
              <a:gd name="connsiteX1057" fmla="*/ 1642364 w 2051041"/>
              <a:gd name="connsiteY1057" fmla="*/ 318341 h 2084191"/>
              <a:gd name="connsiteX1058" fmla="*/ 1695694 w 2051041"/>
              <a:gd name="connsiteY1058" fmla="*/ 370582 h 2084191"/>
              <a:gd name="connsiteX1059" fmla="*/ 1643453 w 2051041"/>
              <a:gd name="connsiteY1059" fmla="*/ 424455 h 2084191"/>
              <a:gd name="connsiteX1060" fmla="*/ 1589035 w 2051041"/>
              <a:gd name="connsiteY1060" fmla="*/ 371670 h 2084191"/>
              <a:gd name="connsiteX1061" fmla="*/ 1642364 w 2051041"/>
              <a:gd name="connsiteY1061" fmla="*/ 318341 h 2084191"/>
              <a:gd name="connsiteX1062" fmla="*/ 90919 w 2051041"/>
              <a:gd name="connsiteY1062" fmla="*/ 273718 h 2084191"/>
              <a:gd name="connsiteX1063" fmla="*/ 106700 w 2051041"/>
              <a:gd name="connsiteY1063" fmla="*/ 288411 h 2084191"/>
              <a:gd name="connsiteX1064" fmla="*/ 91463 w 2051041"/>
              <a:gd name="connsiteY1064" fmla="*/ 303648 h 2084191"/>
              <a:gd name="connsiteX1065" fmla="*/ 76770 w 2051041"/>
              <a:gd name="connsiteY1065" fmla="*/ 288411 h 2084191"/>
              <a:gd name="connsiteX1066" fmla="*/ 90919 w 2051041"/>
              <a:gd name="connsiteY1066" fmla="*/ 273718 h 2084191"/>
              <a:gd name="connsiteX1067" fmla="*/ 254716 w 2051041"/>
              <a:gd name="connsiteY1067" fmla="*/ 267733 h 2084191"/>
              <a:gd name="connsiteX1068" fmla="*/ 276483 w 2051041"/>
              <a:gd name="connsiteY1068" fmla="*/ 288956 h 2084191"/>
              <a:gd name="connsiteX1069" fmla="*/ 254172 w 2051041"/>
              <a:gd name="connsiteY1069" fmla="*/ 311811 h 2084191"/>
              <a:gd name="connsiteX1070" fmla="*/ 232405 w 2051041"/>
              <a:gd name="connsiteY1070" fmla="*/ 289500 h 2084191"/>
              <a:gd name="connsiteX1071" fmla="*/ 254716 w 2051041"/>
              <a:gd name="connsiteY1071" fmla="*/ 267733 h 2084191"/>
              <a:gd name="connsiteX1072" fmla="*/ 1941117 w 2051041"/>
              <a:gd name="connsiteY1072" fmla="*/ 263202 h 2084191"/>
              <a:gd name="connsiteX1073" fmla="*/ 1936219 w 2051041"/>
              <a:gd name="connsiteY1073" fmla="*/ 266467 h 2084191"/>
              <a:gd name="connsiteX1074" fmla="*/ 1938396 w 2051041"/>
              <a:gd name="connsiteY1074" fmla="*/ 272453 h 2084191"/>
              <a:gd name="connsiteX1075" fmla="*/ 1932954 w 2051041"/>
              <a:gd name="connsiteY1075" fmla="*/ 325782 h 2084191"/>
              <a:gd name="connsiteX1076" fmla="*/ 1930777 w 2051041"/>
              <a:gd name="connsiteY1076" fmla="*/ 331224 h 2084191"/>
              <a:gd name="connsiteX1077" fmla="*/ 1936219 w 2051041"/>
              <a:gd name="connsiteY1077" fmla="*/ 330136 h 2084191"/>
              <a:gd name="connsiteX1078" fmla="*/ 1966693 w 2051041"/>
              <a:gd name="connsiteY1078" fmla="*/ 320340 h 2084191"/>
              <a:gd name="connsiteX1079" fmla="*/ 1998799 w 2051041"/>
              <a:gd name="connsiteY1079" fmla="*/ 328503 h 2084191"/>
              <a:gd name="connsiteX1080" fmla="*/ 2003153 w 2051041"/>
              <a:gd name="connsiteY1080" fmla="*/ 330136 h 2084191"/>
              <a:gd name="connsiteX1081" fmla="*/ 2001520 w 2051041"/>
              <a:gd name="connsiteY1081" fmla="*/ 324694 h 2084191"/>
              <a:gd name="connsiteX1082" fmla="*/ 1994446 w 2051041"/>
              <a:gd name="connsiteY1082" fmla="*/ 309457 h 2084191"/>
              <a:gd name="connsiteX1083" fmla="*/ 1998255 w 2051041"/>
              <a:gd name="connsiteY1083" fmla="*/ 267555 h 2084191"/>
              <a:gd name="connsiteX1084" fmla="*/ 2000976 w 2051041"/>
              <a:gd name="connsiteY1084" fmla="*/ 263746 h 2084191"/>
              <a:gd name="connsiteX1085" fmla="*/ 1995534 w 2051041"/>
              <a:gd name="connsiteY1085" fmla="*/ 263746 h 2084191"/>
              <a:gd name="connsiteX1086" fmla="*/ 1941117 w 2051041"/>
              <a:gd name="connsiteY1086" fmla="*/ 263202 h 2084191"/>
              <a:gd name="connsiteX1087" fmla="*/ 417425 w 2051041"/>
              <a:gd name="connsiteY1087" fmla="*/ 262291 h 2084191"/>
              <a:gd name="connsiteX1088" fmla="*/ 445178 w 2051041"/>
              <a:gd name="connsiteY1088" fmla="*/ 288956 h 2084191"/>
              <a:gd name="connsiteX1089" fmla="*/ 417969 w 2051041"/>
              <a:gd name="connsiteY1089" fmla="*/ 317253 h 2084191"/>
              <a:gd name="connsiteX1090" fmla="*/ 390216 w 2051041"/>
              <a:gd name="connsiteY1090" fmla="*/ 290044 h 2084191"/>
              <a:gd name="connsiteX1091" fmla="*/ 417425 w 2051041"/>
              <a:gd name="connsiteY1091" fmla="*/ 262291 h 2084191"/>
              <a:gd name="connsiteX1092" fmla="*/ 580678 w 2051041"/>
              <a:gd name="connsiteY1092" fmla="*/ 256304 h 2084191"/>
              <a:gd name="connsiteX1093" fmla="*/ 613872 w 2051041"/>
              <a:gd name="connsiteY1093" fmla="*/ 288955 h 2084191"/>
              <a:gd name="connsiteX1094" fmla="*/ 581222 w 2051041"/>
              <a:gd name="connsiteY1094" fmla="*/ 322150 h 2084191"/>
              <a:gd name="connsiteX1095" fmla="*/ 548027 w 2051041"/>
              <a:gd name="connsiteY1095" fmla="*/ 289499 h 2084191"/>
              <a:gd name="connsiteX1096" fmla="*/ 580678 w 2051041"/>
              <a:gd name="connsiteY1096" fmla="*/ 256304 h 2084191"/>
              <a:gd name="connsiteX1097" fmla="*/ 743930 w 2051041"/>
              <a:gd name="connsiteY1097" fmla="*/ 251951 h 2084191"/>
              <a:gd name="connsiteX1098" fmla="*/ 782022 w 2051041"/>
              <a:gd name="connsiteY1098" fmla="*/ 289499 h 2084191"/>
              <a:gd name="connsiteX1099" fmla="*/ 744474 w 2051041"/>
              <a:gd name="connsiteY1099" fmla="*/ 326503 h 2084191"/>
              <a:gd name="connsiteX1100" fmla="*/ 707470 w 2051041"/>
              <a:gd name="connsiteY1100" fmla="*/ 289499 h 2084191"/>
              <a:gd name="connsiteX1101" fmla="*/ 743930 w 2051041"/>
              <a:gd name="connsiteY1101" fmla="*/ 251951 h 2084191"/>
              <a:gd name="connsiteX1102" fmla="*/ 907183 w 2051041"/>
              <a:gd name="connsiteY1102" fmla="*/ 249775 h 2084191"/>
              <a:gd name="connsiteX1103" fmla="*/ 947452 w 2051041"/>
              <a:gd name="connsiteY1103" fmla="*/ 289500 h 2084191"/>
              <a:gd name="connsiteX1104" fmla="*/ 908271 w 2051041"/>
              <a:gd name="connsiteY1104" fmla="*/ 329225 h 2084191"/>
              <a:gd name="connsiteX1105" fmla="*/ 867458 w 2051041"/>
              <a:gd name="connsiteY1105" fmla="*/ 290044 h 2084191"/>
              <a:gd name="connsiteX1106" fmla="*/ 907183 w 2051041"/>
              <a:gd name="connsiteY1106" fmla="*/ 249775 h 2084191"/>
              <a:gd name="connsiteX1107" fmla="*/ 1070435 w 2051041"/>
              <a:gd name="connsiteY1107" fmla="*/ 245965 h 2084191"/>
              <a:gd name="connsiteX1108" fmla="*/ 1114513 w 2051041"/>
              <a:gd name="connsiteY1108" fmla="*/ 290043 h 2084191"/>
              <a:gd name="connsiteX1109" fmla="*/ 1069347 w 2051041"/>
              <a:gd name="connsiteY1109" fmla="*/ 333578 h 2084191"/>
              <a:gd name="connsiteX1110" fmla="*/ 1026357 w 2051041"/>
              <a:gd name="connsiteY1110" fmla="*/ 288955 h 2084191"/>
              <a:gd name="connsiteX1111" fmla="*/ 1070435 w 2051041"/>
              <a:gd name="connsiteY1111" fmla="*/ 245965 h 2084191"/>
              <a:gd name="connsiteX1112" fmla="*/ 1233689 w 2051041"/>
              <a:gd name="connsiteY1112" fmla="*/ 241613 h 2084191"/>
              <a:gd name="connsiteX1113" fmla="*/ 1282120 w 2051041"/>
              <a:gd name="connsiteY1113" fmla="*/ 288412 h 2084191"/>
              <a:gd name="connsiteX1114" fmla="*/ 1235321 w 2051041"/>
              <a:gd name="connsiteY1114" fmla="*/ 335755 h 2084191"/>
              <a:gd name="connsiteX1115" fmla="*/ 1187434 w 2051041"/>
              <a:gd name="connsiteY1115" fmla="*/ 289500 h 2084191"/>
              <a:gd name="connsiteX1116" fmla="*/ 1233689 w 2051041"/>
              <a:gd name="connsiteY1116" fmla="*/ 241613 h 2084191"/>
              <a:gd name="connsiteX1117" fmla="*/ 1397485 w 2051041"/>
              <a:gd name="connsiteY1117" fmla="*/ 238891 h 2084191"/>
              <a:gd name="connsiteX1118" fmla="*/ 1448094 w 2051041"/>
              <a:gd name="connsiteY1118" fmla="*/ 288955 h 2084191"/>
              <a:gd name="connsiteX1119" fmla="*/ 1398029 w 2051041"/>
              <a:gd name="connsiteY1119" fmla="*/ 338475 h 2084191"/>
              <a:gd name="connsiteX1120" fmla="*/ 1348509 w 2051041"/>
              <a:gd name="connsiteY1120" fmla="*/ 289499 h 2084191"/>
              <a:gd name="connsiteX1121" fmla="*/ 1397485 w 2051041"/>
              <a:gd name="connsiteY1121" fmla="*/ 238891 h 2084191"/>
              <a:gd name="connsiteX1122" fmla="*/ 1559650 w 2051041"/>
              <a:gd name="connsiteY1122" fmla="*/ 237258 h 2084191"/>
              <a:gd name="connsiteX1123" fmla="*/ 1613523 w 2051041"/>
              <a:gd name="connsiteY1123" fmla="*/ 288955 h 2084191"/>
              <a:gd name="connsiteX1124" fmla="*/ 1560738 w 2051041"/>
              <a:gd name="connsiteY1124" fmla="*/ 342829 h 2084191"/>
              <a:gd name="connsiteX1125" fmla="*/ 1507953 w 2051041"/>
              <a:gd name="connsiteY1125" fmla="*/ 289499 h 2084191"/>
              <a:gd name="connsiteX1126" fmla="*/ 1559650 w 2051041"/>
              <a:gd name="connsiteY1126" fmla="*/ 237258 h 2084191"/>
              <a:gd name="connsiteX1127" fmla="*/ 9837 w 2051041"/>
              <a:gd name="connsiteY1127" fmla="*/ 198078 h 2084191"/>
              <a:gd name="connsiteX1128" fmla="*/ 19632 w 2051041"/>
              <a:gd name="connsiteY1128" fmla="*/ 207873 h 2084191"/>
              <a:gd name="connsiteX1129" fmla="*/ 10381 w 2051041"/>
              <a:gd name="connsiteY1129" fmla="*/ 218213 h 2084191"/>
              <a:gd name="connsiteX1130" fmla="*/ 42 w 2051041"/>
              <a:gd name="connsiteY1130" fmla="*/ 207873 h 2084191"/>
              <a:gd name="connsiteX1131" fmla="*/ 9837 w 2051041"/>
              <a:gd name="connsiteY1131" fmla="*/ 198078 h 2084191"/>
              <a:gd name="connsiteX1132" fmla="*/ 173090 w 2051041"/>
              <a:gd name="connsiteY1132" fmla="*/ 187739 h 2084191"/>
              <a:gd name="connsiteX1133" fmla="*/ 192136 w 2051041"/>
              <a:gd name="connsiteY1133" fmla="*/ 207329 h 2084191"/>
              <a:gd name="connsiteX1134" fmla="*/ 172546 w 2051041"/>
              <a:gd name="connsiteY1134" fmla="*/ 227464 h 2084191"/>
              <a:gd name="connsiteX1135" fmla="*/ 154044 w 2051041"/>
              <a:gd name="connsiteY1135" fmla="*/ 208418 h 2084191"/>
              <a:gd name="connsiteX1136" fmla="*/ 173090 w 2051041"/>
              <a:gd name="connsiteY1136" fmla="*/ 187739 h 2084191"/>
              <a:gd name="connsiteX1137" fmla="*/ 336887 w 2051041"/>
              <a:gd name="connsiteY1137" fmla="*/ 182297 h 2084191"/>
              <a:gd name="connsiteX1138" fmla="*/ 363007 w 2051041"/>
              <a:gd name="connsiteY1138" fmla="*/ 207329 h 2084191"/>
              <a:gd name="connsiteX1139" fmla="*/ 336887 w 2051041"/>
              <a:gd name="connsiteY1139" fmla="*/ 233994 h 2084191"/>
              <a:gd name="connsiteX1140" fmla="*/ 310766 w 2051041"/>
              <a:gd name="connsiteY1140" fmla="*/ 208961 h 2084191"/>
              <a:gd name="connsiteX1141" fmla="*/ 336887 w 2051041"/>
              <a:gd name="connsiteY1141" fmla="*/ 182297 h 2084191"/>
              <a:gd name="connsiteX1142" fmla="*/ 1856225 w 2051041"/>
              <a:gd name="connsiteY1142" fmla="*/ 180487 h 2084191"/>
              <a:gd name="connsiteX1143" fmla="*/ 1855681 w 2051041"/>
              <a:gd name="connsiteY1143" fmla="*/ 185929 h 2084191"/>
              <a:gd name="connsiteX1144" fmla="*/ 1851872 w 2051041"/>
              <a:gd name="connsiteY1144" fmla="*/ 244700 h 2084191"/>
              <a:gd name="connsiteX1145" fmla="*/ 1851328 w 2051041"/>
              <a:gd name="connsiteY1145" fmla="*/ 247965 h 2084191"/>
              <a:gd name="connsiteX1146" fmla="*/ 1854593 w 2051041"/>
              <a:gd name="connsiteY1146" fmla="*/ 247421 h 2084191"/>
              <a:gd name="connsiteX1147" fmla="*/ 1899215 w 2051041"/>
              <a:gd name="connsiteY1147" fmla="*/ 238714 h 2084191"/>
              <a:gd name="connsiteX1148" fmla="*/ 1913908 w 2051041"/>
              <a:gd name="connsiteY1148" fmla="*/ 243067 h 2084191"/>
              <a:gd name="connsiteX1149" fmla="*/ 1918806 w 2051041"/>
              <a:gd name="connsiteY1149" fmla="*/ 242523 h 2084191"/>
              <a:gd name="connsiteX1150" fmla="*/ 1918261 w 2051041"/>
              <a:gd name="connsiteY1150" fmla="*/ 238170 h 2084191"/>
              <a:gd name="connsiteX1151" fmla="*/ 1917173 w 2051041"/>
              <a:gd name="connsiteY1151" fmla="*/ 185929 h 2084191"/>
              <a:gd name="connsiteX1152" fmla="*/ 1918261 w 2051041"/>
              <a:gd name="connsiteY1152" fmla="*/ 181576 h 2084191"/>
              <a:gd name="connsiteX1153" fmla="*/ 1913908 w 2051041"/>
              <a:gd name="connsiteY1153" fmla="*/ 182664 h 2084191"/>
              <a:gd name="connsiteX1154" fmla="*/ 1860579 w 2051041"/>
              <a:gd name="connsiteY1154" fmla="*/ 180487 h 2084191"/>
              <a:gd name="connsiteX1155" fmla="*/ 1856225 w 2051041"/>
              <a:gd name="connsiteY1155" fmla="*/ 180487 h 2084191"/>
              <a:gd name="connsiteX1156" fmla="*/ 499595 w 2051041"/>
              <a:gd name="connsiteY1156" fmla="*/ 175767 h 2084191"/>
              <a:gd name="connsiteX1157" fmla="*/ 531158 w 2051041"/>
              <a:gd name="connsiteY1157" fmla="*/ 207874 h 2084191"/>
              <a:gd name="connsiteX1158" fmla="*/ 498507 w 2051041"/>
              <a:gd name="connsiteY1158" fmla="*/ 238347 h 2084191"/>
              <a:gd name="connsiteX1159" fmla="*/ 468033 w 2051041"/>
              <a:gd name="connsiteY1159" fmla="*/ 207329 h 2084191"/>
              <a:gd name="connsiteX1160" fmla="*/ 499595 w 2051041"/>
              <a:gd name="connsiteY1160" fmla="*/ 175767 h 2084191"/>
              <a:gd name="connsiteX1161" fmla="*/ 662304 w 2051041"/>
              <a:gd name="connsiteY1161" fmla="*/ 173046 h 2084191"/>
              <a:gd name="connsiteX1162" fmla="*/ 697676 w 2051041"/>
              <a:gd name="connsiteY1162" fmla="*/ 207873 h 2084191"/>
              <a:gd name="connsiteX1163" fmla="*/ 662304 w 2051041"/>
              <a:gd name="connsiteY1163" fmla="*/ 242156 h 2084191"/>
              <a:gd name="connsiteX1164" fmla="*/ 628021 w 2051041"/>
              <a:gd name="connsiteY1164" fmla="*/ 207873 h 2084191"/>
              <a:gd name="connsiteX1165" fmla="*/ 662304 w 2051041"/>
              <a:gd name="connsiteY1165" fmla="*/ 173046 h 2084191"/>
              <a:gd name="connsiteX1166" fmla="*/ 826645 w 2051041"/>
              <a:gd name="connsiteY1166" fmla="*/ 168148 h 2084191"/>
              <a:gd name="connsiteX1167" fmla="*/ 864737 w 2051041"/>
              <a:gd name="connsiteY1167" fmla="*/ 207329 h 2084191"/>
              <a:gd name="connsiteX1168" fmla="*/ 826100 w 2051041"/>
              <a:gd name="connsiteY1168" fmla="*/ 247054 h 2084191"/>
              <a:gd name="connsiteX1169" fmla="*/ 787464 w 2051041"/>
              <a:gd name="connsiteY1169" fmla="*/ 207873 h 2084191"/>
              <a:gd name="connsiteX1170" fmla="*/ 826645 w 2051041"/>
              <a:gd name="connsiteY1170" fmla="*/ 168148 h 2084191"/>
              <a:gd name="connsiteX1171" fmla="*/ 987721 w 2051041"/>
              <a:gd name="connsiteY1171" fmla="*/ 164883 h 2084191"/>
              <a:gd name="connsiteX1172" fmla="*/ 1031799 w 2051041"/>
              <a:gd name="connsiteY1172" fmla="*/ 207329 h 2084191"/>
              <a:gd name="connsiteX1173" fmla="*/ 988809 w 2051041"/>
              <a:gd name="connsiteY1173" fmla="*/ 250319 h 2084191"/>
              <a:gd name="connsiteX1174" fmla="*/ 945819 w 2051041"/>
              <a:gd name="connsiteY1174" fmla="*/ 208417 h 2084191"/>
              <a:gd name="connsiteX1175" fmla="*/ 987721 w 2051041"/>
              <a:gd name="connsiteY1175" fmla="*/ 164883 h 2084191"/>
              <a:gd name="connsiteX1176" fmla="*/ 1153150 w 2051041"/>
              <a:gd name="connsiteY1176" fmla="*/ 162707 h 2084191"/>
              <a:gd name="connsiteX1177" fmla="*/ 1197772 w 2051041"/>
              <a:gd name="connsiteY1177" fmla="*/ 207874 h 2084191"/>
              <a:gd name="connsiteX1178" fmla="*/ 1151517 w 2051041"/>
              <a:gd name="connsiteY1178" fmla="*/ 253584 h 2084191"/>
              <a:gd name="connsiteX1179" fmla="*/ 1107439 w 2051041"/>
              <a:gd name="connsiteY1179" fmla="*/ 207329 h 2084191"/>
              <a:gd name="connsiteX1180" fmla="*/ 1153150 w 2051041"/>
              <a:gd name="connsiteY1180" fmla="*/ 162707 h 2084191"/>
              <a:gd name="connsiteX1181" fmla="*/ 1315315 w 2051041"/>
              <a:gd name="connsiteY1181" fmla="*/ 158353 h 2084191"/>
              <a:gd name="connsiteX1182" fmla="*/ 1365379 w 2051041"/>
              <a:gd name="connsiteY1182" fmla="*/ 206785 h 2084191"/>
              <a:gd name="connsiteX1183" fmla="*/ 1315859 w 2051041"/>
              <a:gd name="connsiteY1183" fmla="*/ 256305 h 2084191"/>
              <a:gd name="connsiteX1184" fmla="*/ 1266883 w 2051041"/>
              <a:gd name="connsiteY1184" fmla="*/ 207873 h 2084191"/>
              <a:gd name="connsiteX1185" fmla="*/ 1315315 w 2051041"/>
              <a:gd name="connsiteY1185" fmla="*/ 158353 h 2084191"/>
              <a:gd name="connsiteX1186" fmla="*/ 1478567 w 2051041"/>
              <a:gd name="connsiteY1186" fmla="*/ 156721 h 2084191"/>
              <a:gd name="connsiteX1187" fmla="*/ 1529720 w 2051041"/>
              <a:gd name="connsiteY1187" fmla="*/ 207329 h 2084191"/>
              <a:gd name="connsiteX1188" fmla="*/ 1478567 w 2051041"/>
              <a:gd name="connsiteY1188" fmla="*/ 258482 h 2084191"/>
              <a:gd name="connsiteX1189" fmla="*/ 1427959 w 2051041"/>
              <a:gd name="connsiteY1189" fmla="*/ 207874 h 2084191"/>
              <a:gd name="connsiteX1190" fmla="*/ 1478567 w 2051041"/>
              <a:gd name="connsiteY1190" fmla="*/ 156721 h 2084191"/>
              <a:gd name="connsiteX1191" fmla="*/ 1644541 w 2051041"/>
              <a:gd name="connsiteY1191" fmla="*/ 153456 h 2084191"/>
              <a:gd name="connsiteX1192" fmla="*/ 1697326 w 2051041"/>
              <a:gd name="connsiteY1192" fmla="*/ 209506 h 2084191"/>
              <a:gd name="connsiteX1193" fmla="*/ 1641276 w 2051041"/>
              <a:gd name="connsiteY1193" fmla="*/ 262835 h 2084191"/>
              <a:gd name="connsiteX1194" fmla="*/ 1587947 w 2051041"/>
              <a:gd name="connsiteY1194" fmla="*/ 206785 h 2084191"/>
              <a:gd name="connsiteX1195" fmla="*/ 1644541 w 2051041"/>
              <a:gd name="connsiteY1195" fmla="*/ 153456 h 2084191"/>
              <a:gd name="connsiteX1196" fmla="*/ 91463 w 2051041"/>
              <a:gd name="connsiteY1196" fmla="*/ 109922 h 2084191"/>
              <a:gd name="connsiteX1197" fmla="*/ 107244 w 2051041"/>
              <a:gd name="connsiteY1197" fmla="*/ 126247 h 2084191"/>
              <a:gd name="connsiteX1198" fmla="*/ 91463 w 2051041"/>
              <a:gd name="connsiteY1198" fmla="*/ 142028 h 2084191"/>
              <a:gd name="connsiteX1199" fmla="*/ 75682 w 2051041"/>
              <a:gd name="connsiteY1199" fmla="*/ 126247 h 2084191"/>
              <a:gd name="connsiteX1200" fmla="*/ 91463 w 2051041"/>
              <a:gd name="connsiteY1200" fmla="*/ 109922 h 2084191"/>
              <a:gd name="connsiteX1201" fmla="*/ 1942341 w 2051041"/>
              <a:gd name="connsiteY1201" fmla="*/ 104915 h 2084191"/>
              <a:gd name="connsiteX1202" fmla="*/ 1942205 w 2051041"/>
              <a:gd name="connsiteY1202" fmla="*/ 111377 h 2084191"/>
              <a:gd name="connsiteX1203" fmla="*/ 1946559 w 2051041"/>
              <a:gd name="connsiteY1203" fmla="*/ 131511 h 2084191"/>
              <a:gd name="connsiteX1204" fmla="*/ 1939484 w 2051041"/>
              <a:gd name="connsiteY1204" fmla="*/ 157088 h 2084191"/>
              <a:gd name="connsiteX1205" fmla="*/ 1941117 w 2051041"/>
              <a:gd name="connsiteY1205" fmla="*/ 160353 h 2084191"/>
              <a:gd name="connsiteX1206" fmla="*/ 1986828 w 2051041"/>
              <a:gd name="connsiteY1206" fmla="*/ 157088 h 2084191"/>
              <a:gd name="connsiteX1207" fmla="*/ 1987916 w 2051041"/>
              <a:gd name="connsiteY1207" fmla="*/ 157088 h 2084191"/>
              <a:gd name="connsiteX1208" fmla="*/ 1993902 w 2051041"/>
              <a:gd name="connsiteY1208" fmla="*/ 150013 h 2084191"/>
              <a:gd name="connsiteX1209" fmla="*/ 1993902 w 2051041"/>
              <a:gd name="connsiteY1209" fmla="*/ 109744 h 2084191"/>
              <a:gd name="connsiteX1210" fmla="*/ 1989004 w 2051041"/>
              <a:gd name="connsiteY1210" fmla="*/ 105391 h 2084191"/>
              <a:gd name="connsiteX1211" fmla="*/ 1948191 w 2051041"/>
              <a:gd name="connsiteY1211" fmla="*/ 105391 h 2084191"/>
              <a:gd name="connsiteX1212" fmla="*/ 1942341 w 2051041"/>
              <a:gd name="connsiteY1212" fmla="*/ 104915 h 2084191"/>
              <a:gd name="connsiteX1213" fmla="*/ 255804 w 2051041"/>
              <a:gd name="connsiteY1213" fmla="*/ 103392 h 2084191"/>
              <a:gd name="connsiteX1214" fmla="*/ 277571 w 2051041"/>
              <a:gd name="connsiteY1214" fmla="*/ 126791 h 2084191"/>
              <a:gd name="connsiteX1215" fmla="*/ 254172 w 2051041"/>
              <a:gd name="connsiteY1215" fmla="*/ 148014 h 2084191"/>
              <a:gd name="connsiteX1216" fmla="*/ 232405 w 2051041"/>
              <a:gd name="connsiteY1216" fmla="*/ 125159 h 2084191"/>
              <a:gd name="connsiteX1217" fmla="*/ 255804 w 2051041"/>
              <a:gd name="connsiteY1217" fmla="*/ 103392 h 2084191"/>
              <a:gd name="connsiteX1218" fmla="*/ 1773511 w 2051041"/>
              <a:gd name="connsiteY1218" fmla="*/ 99405 h 2084191"/>
              <a:gd name="connsiteX1219" fmla="*/ 1773511 w 2051041"/>
              <a:gd name="connsiteY1219" fmla="*/ 107023 h 2084191"/>
              <a:gd name="connsiteX1220" fmla="*/ 1780585 w 2051041"/>
              <a:gd name="connsiteY1220" fmla="*/ 130423 h 2084191"/>
              <a:gd name="connsiteX1221" fmla="*/ 1773511 w 2051041"/>
              <a:gd name="connsiteY1221" fmla="*/ 155999 h 2084191"/>
              <a:gd name="connsiteX1222" fmla="*/ 1774055 w 2051041"/>
              <a:gd name="connsiteY1222" fmla="*/ 161985 h 2084191"/>
              <a:gd name="connsiteX1223" fmla="*/ 1780041 w 2051041"/>
              <a:gd name="connsiteY1223" fmla="*/ 162529 h 2084191"/>
              <a:gd name="connsiteX1224" fmla="*/ 1811059 w 2051041"/>
              <a:gd name="connsiteY1224" fmla="*/ 157632 h 2084191"/>
              <a:gd name="connsiteX1225" fmla="*/ 1829561 w 2051041"/>
              <a:gd name="connsiteY1225" fmla="*/ 161985 h 2084191"/>
              <a:gd name="connsiteX1226" fmla="*/ 1836635 w 2051041"/>
              <a:gd name="connsiteY1226" fmla="*/ 161985 h 2084191"/>
              <a:gd name="connsiteX1227" fmla="*/ 1833914 w 2051041"/>
              <a:gd name="connsiteY1227" fmla="*/ 157088 h 2084191"/>
              <a:gd name="connsiteX1228" fmla="*/ 1834458 w 2051041"/>
              <a:gd name="connsiteY1228" fmla="*/ 104303 h 2084191"/>
              <a:gd name="connsiteX1229" fmla="*/ 1835547 w 2051041"/>
              <a:gd name="connsiteY1229" fmla="*/ 99405 h 2084191"/>
              <a:gd name="connsiteX1230" fmla="*/ 1831193 w 2051041"/>
              <a:gd name="connsiteY1230" fmla="*/ 101038 h 2084191"/>
              <a:gd name="connsiteX1231" fmla="*/ 1780041 w 2051041"/>
              <a:gd name="connsiteY1231" fmla="*/ 101582 h 2084191"/>
              <a:gd name="connsiteX1232" fmla="*/ 1773511 w 2051041"/>
              <a:gd name="connsiteY1232" fmla="*/ 99405 h 2084191"/>
              <a:gd name="connsiteX1233" fmla="*/ 417424 w 2051041"/>
              <a:gd name="connsiteY1233" fmla="*/ 97950 h 2084191"/>
              <a:gd name="connsiteX1234" fmla="*/ 445721 w 2051041"/>
              <a:gd name="connsiteY1234" fmla="*/ 126247 h 2084191"/>
              <a:gd name="connsiteX1235" fmla="*/ 417424 w 2051041"/>
              <a:gd name="connsiteY1235" fmla="*/ 153456 h 2084191"/>
              <a:gd name="connsiteX1236" fmla="*/ 390215 w 2051041"/>
              <a:gd name="connsiteY1236" fmla="*/ 125159 h 2084191"/>
              <a:gd name="connsiteX1237" fmla="*/ 417424 w 2051041"/>
              <a:gd name="connsiteY1237" fmla="*/ 97950 h 2084191"/>
              <a:gd name="connsiteX1238" fmla="*/ 580677 w 2051041"/>
              <a:gd name="connsiteY1238" fmla="*/ 92508 h 2084191"/>
              <a:gd name="connsiteX1239" fmla="*/ 614960 w 2051041"/>
              <a:gd name="connsiteY1239" fmla="*/ 125159 h 2084191"/>
              <a:gd name="connsiteX1240" fmla="*/ 581766 w 2051041"/>
              <a:gd name="connsiteY1240" fmla="*/ 158353 h 2084191"/>
              <a:gd name="connsiteX1241" fmla="*/ 548571 w 2051041"/>
              <a:gd name="connsiteY1241" fmla="*/ 125703 h 2084191"/>
              <a:gd name="connsiteX1242" fmla="*/ 580677 w 2051041"/>
              <a:gd name="connsiteY1242" fmla="*/ 92508 h 2084191"/>
              <a:gd name="connsiteX1243" fmla="*/ 745019 w 2051041"/>
              <a:gd name="connsiteY1243" fmla="*/ 88154 h 2084191"/>
              <a:gd name="connsiteX1244" fmla="*/ 782567 w 2051041"/>
              <a:gd name="connsiteY1244" fmla="*/ 126791 h 2084191"/>
              <a:gd name="connsiteX1245" fmla="*/ 743930 w 2051041"/>
              <a:gd name="connsiteY1245" fmla="*/ 164339 h 2084191"/>
              <a:gd name="connsiteX1246" fmla="*/ 706382 w 2051041"/>
              <a:gd name="connsiteY1246" fmla="*/ 125702 h 2084191"/>
              <a:gd name="connsiteX1247" fmla="*/ 745019 w 2051041"/>
              <a:gd name="connsiteY1247" fmla="*/ 88154 h 2084191"/>
              <a:gd name="connsiteX1248" fmla="*/ 1685898 w 2051041"/>
              <a:gd name="connsiteY1248" fmla="*/ 84712 h 2084191"/>
              <a:gd name="connsiteX1249" fmla="*/ 1685681 w 2051041"/>
              <a:gd name="connsiteY1249" fmla="*/ 85147 h 2084191"/>
              <a:gd name="connsiteX1250" fmla="*/ 1685354 w 2051041"/>
              <a:gd name="connsiteY1250" fmla="*/ 85256 h 2084191"/>
              <a:gd name="connsiteX1251" fmla="*/ 1685898 w 2051041"/>
              <a:gd name="connsiteY1251" fmla="*/ 84712 h 2084191"/>
              <a:gd name="connsiteX1252" fmla="*/ 907183 w 2051041"/>
              <a:gd name="connsiteY1252" fmla="*/ 84345 h 2084191"/>
              <a:gd name="connsiteX1253" fmla="*/ 934935 w 2051041"/>
              <a:gd name="connsiteY1253" fmla="*/ 95228 h 2084191"/>
              <a:gd name="connsiteX1254" fmla="*/ 949628 w 2051041"/>
              <a:gd name="connsiteY1254" fmla="*/ 125158 h 2084191"/>
              <a:gd name="connsiteX1255" fmla="*/ 908271 w 2051041"/>
              <a:gd name="connsiteY1255" fmla="*/ 167060 h 2084191"/>
              <a:gd name="connsiteX1256" fmla="*/ 866369 w 2051041"/>
              <a:gd name="connsiteY1256" fmla="*/ 125702 h 2084191"/>
              <a:gd name="connsiteX1257" fmla="*/ 907183 w 2051041"/>
              <a:gd name="connsiteY1257" fmla="*/ 84345 h 2084191"/>
              <a:gd name="connsiteX1258" fmla="*/ 1070979 w 2051041"/>
              <a:gd name="connsiteY1258" fmla="*/ 82169 h 2084191"/>
              <a:gd name="connsiteX1259" fmla="*/ 1115602 w 2051041"/>
              <a:gd name="connsiteY1259" fmla="*/ 126247 h 2084191"/>
              <a:gd name="connsiteX1260" fmla="*/ 1071524 w 2051041"/>
              <a:gd name="connsiteY1260" fmla="*/ 170325 h 2084191"/>
              <a:gd name="connsiteX1261" fmla="*/ 1026357 w 2051041"/>
              <a:gd name="connsiteY1261" fmla="*/ 125703 h 2084191"/>
              <a:gd name="connsiteX1262" fmla="*/ 1070979 w 2051041"/>
              <a:gd name="connsiteY1262" fmla="*/ 82169 h 2084191"/>
              <a:gd name="connsiteX1263" fmla="*/ 1684811 w 2051041"/>
              <a:gd name="connsiteY1263" fmla="*/ 82168 h 2084191"/>
              <a:gd name="connsiteX1264" fmla="*/ 1684266 w 2051041"/>
              <a:gd name="connsiteY1264" fmla="*/ 82713 h 2084191"/>
              <a:gd name="connsiteX1265" fmla="*/ 1684469 w 2051041"/>
              <a:gd name="connsiteY1265" fmla="*/ 82365 h 2084191"/>
              <a:gd name="connsiteX1266" fmla="*/ 1234777 w 2051041"/>
              <a:gd name="connsiteY1266" fmla="*/ 78360 h 2084191"/>
              <a:gd name="connsiteX1267" fmla="*/ 1282664 w 2051041"/>
              <a:gd name="connsiteY1267" fmla="*/ 126791 h 2084191"/>
              <a:gd name="connsiteX1268" fmla="*/ 1234232 w 2051041"/>
              <a:gd name="connsiteY1268" fmla="*/ 174135 h 2084191"/>
              <a:gd name="connsiteX1269" fmla="*/ 1186889 w 2051041"/>
              <a:gd name="connsiteY1269" fmla="*/ 126791 h 2084191"/>
              <a:gd name="connsiteX1270" fmla="*/ 1234777 w 2051041"/>
              <a:gd name="connsiteY1270" fmla="*/ 78360 h 2084191"/>
              <a:gd name="connsiteX1271" fmla="*/ 1398574 w 2051041"/>
              <a:gd name="connsiteY1271" fmla="*/ 76182 h 2084191"/>
              <a:gd name="connsiteX1272" fmla="*/ 1448094 w 2051041"/>
              <a:gd name="connsiteY1272" fmla="*/ 127335 h 2084191"/>
              <a:gd name="connsiteX1273" fmla="*/ 1396941 w 2051041"/>
              <a:gd name="connsiteY1273" fmla="*/ 175766 h 2084191"/>
              <a:gd name="connsiteX1274" fmla="*/ 1347421 w 2051041"/>
              <a:gd name="connsiteY1274" fmla="*/ 125702 h 2084191"/>
              <a:gd name="connsiteX1275" fmla="*/ 1398574 w 2051041"/>
              <a:gd name="connsiteY1275" fmla="*/ 76182 h 2084191"/>
              <a:gd name="connsiteX1276" fmla="*/ 1561282 w 2051041"/>
              <a:gd name="connsiteY1276" fmla="*/ 72373 h 2084191"/>
              <a:gd name="connsiteX1277" fmla="*/ 1614611 w 2051041"/>
              <a:gd name="connsiteY1277" fmla="*/ 126247 h 2084191"/>
              <a:gd name="connsiteX1278" fmla="*/ 1560738 w 2051041"/>
              <a:gd name="connsiteY1278" fmla="*/ 179576 h 2084191"/>
              <a:gd name="connsiteX1279" fmla="*/ 1507409 w 2051041"/>
              <a:gd name="connsiteY1279" fmla="*/ 126247 h 2084191"/>
              <a:gd name="connsiteX1280" fmla="*/ 1561282 w 2051041"/>
              <a:gd name="connsiteY1280" fmla="*/ 72373 h 2084191"/>
              <a:gd name="connsiteX1281" fmla="*/ 10381 w 2051041"/>
              <a:gd name="connsiteY1281" fmla="*/ 33737 h 2084191"/>
              <a:gd name="connsiteX1282" fmla="*/ 20720 w 2051041"/>
              <a:gd name="connsiteY1282" fmla="*/ 45165 h 2084191"/>
              <a:gd name="connsiteX1283" fmla="*/ 9292 w 2051041"/>
              <a:gd name="connsiteY1283" fmla="*/ 54960 h 2084191"/>
              <a:gd name="connsiteX1284" fmla="*/ 41 w 2051041"/>
              <a:gd name="connsiteY1284" fmla="*/ 44621 h 2084191"/>
              <a:gd name="connsiteX1285" fmla="*/ 10381 w 2051041"/>
              <a:gd name="connsiteY1285" fmla="*/ 33737 h 2084191"/>
              <a:gd name="connsiteX1286" fmla="*/ 172546 w 2051041"/>
              <a:gd name="connsiteY1286" fmla="*/ 23942 h 2084191"/>
              <a:gd name="connsiteX1287" fmla="*/ 193224 w 2051041"/>
              <a:gd name="connsiteY1287" fmla="*/ 44621 h 2084191"/>
              <a:gd name="connsiteX1288" fmla="*/ 173090 w 2051041"/>
              <a:gd name="connsiteY1288" fmla="*/ 64755 h 2084191"/>
              <a:gd name="connsiteX1289" fmla="*/ 152411 w 2051041"/>
              <a:gd name="connsiteY1289" fmla="*/ 44621 h 2084191"/>
              <a:gd name="connsiteX1290" fmla="*/ 172546 w 2051041"/>
              <a:gd name="connsiteY1290" fmla="*/ 23942 h 2084191"/>
              <a:gd name="connsiteX1291" fmla="*/ 1861123 w 2051041"/>
              <a:gd name="connsiteY1291" fmla="*/ 22132 h 2084191"/>
              <a:gd name="connsiteX1292" fmla="*/ 1861123 w 2051041"/>
              <a:gd name="connsiteY1292" fmla="*/ 35737 h 2084191"/>
              <a:gd name="connsiteX1293" fmla="*/ 1861123 w 2051041"/>
              <a:gd name="connsiteY1293" fmla="*/ 61313 h 2084191"/>
              <a:gd name="connsiteX1294" fmla="*/ 1858946 w 2051041"/>
              <a:gd name="connsiteY1294" fmla="*/ 72740 h 2084191"/>
              <a:gd name="connsiteX1295" fmla="*/ 1866021 w 2051041"/>
              <a:gd name="connsiteY1295" fmla="*/ 76550 h 2084191"/>
              <a:gd name="connsiteX1296" fmla="*/ 1873639 w 2051041"/>
              <a:gd name="connsiteY1296" fmla="*/ 74917 h 2084191"/>
              <a:gd name="connsiteX1297" fmla="*/ 1900304 w 2051041"/>
              <a:gd name="connsiteY1297" fmla="*/ 74373 h 2084191"/>
              <a:gd name="connsiteX1298" fmla="*/ 1907922 w 2051041"/>
              <a:gd name="connsiteY1298" fmla="*/ 76006 h 2084191"/>
              <a:gd name="connsiteX1299" fmla="*/ 1912820 w 2051041"/>
              <a:gd name="connsiteY1299" fmla="*/ 70020 h 2084191"/>
              <a:gd name="connsiteX1300" fmla="*/ 1912820 w 2051041"/>
              <a:gd name="connsiteY1300" fmla="*/ 27030 h 2084191"/>
              <a:gd name="connsiteX1301" fmla="*/ 1908466 w 2051041"/>
              <a:gd name="connsiteY1301" fmla="*/ 22132 h 2084191"/>
              <a:gd name="connsiteX1302" fmla="*/ 1902480 w 2051041"/>
              <a:gd name="connsiteY1302" fmla="*/ 24309 h 2084191"/>
              <a:gd name="connsiteX1303" fmla="*/ 1873095 w 2051041"/>
              <a:gd name="connsiteY1303" fmla="*/ 24309 h 2084191"/>
              <a:gd name="connsiteX1304" fmla="*/ 1861123 w 2051041"/>
              <a:gd name="connsiteY1304" fmla="*/ 22132 h 2084191"/>
              <a:gd name="connsiteX1305" fmla="*/ 336886 w 2051041"/>
              <a:gd name="connsiteY1305" fmla="*/ 17412 h 2084191"/>
              <a:gd name="connsiteX1306" fmla="*/ 363007 w 2051041"/>
              <a:gd name="connsiteY1306" fmla="*/ 44077 h 2084191"/>
              <a:gd name="connsiteX1307" fmla="*/ 337431 w 2051041"/>
              <a:gd name="connsiteY1307" fmla="*/ 71285 h 2084191"/>
              <a:gd name="connsiteX1308" fmla="*/ 310222 w 2051041"/>
              <a:gd name="connsiteY1308" fmla="*/ 45165 h 2084191"/>
              <a:gd name="connsiteX1309" fmla="*/ 336886 w 2051041"/>
              <a:gd name="connsiteY1309" fmla="*/ 17412 h 2084191"/>
              <a:gd name="connsiteX1310" fmla="*/ 498507 w 2051041"/>
              <a:gd name="connsiteY1310" fmla="*/ 13059 h 2084191"/>
              <a:gd name="connsiteX1311" fmla="*/ 531702 w 2051041"/>
              <a:gd name="connsiteY1311" fmla="*/ 44621 h 2084191"/>
              <a:gd name="connsiteX1312" fmla="*/ 499595 w 2051041"/>
              <a:gd name="connsiteY1312" fmla="*/ 76727 h 2084191"/>
              <a:gd name="connsiteX1313" fmla="*/ 467489 w 2051041"/>
              <a:gd name="connsiteY1313" fmla="*/ 45165 h 2084191"/>
              <a:gd name="connsiteX1314" fmla="*/ 498507 w 2051041"/>
              <a:gd name="connsiteY1314" fmla="*/ 13059 h 2084191"/>
              <a:gd name="connsiteX1315" fmla="*/ 662303 w 2051041"/>
              <a:gd name="connsiteY1315" fmla="*/ 7616 h 2084191"/>
              <a:gd name="connsiteX1316" fmla="*/ 698763 w 2051041"/>
              <a:gd name="connsiteY1316" fmla="*/ 44076 h 2084191"/>
              <a:gd name="connsiteX1317" fmla="*/ 662303 w 2051041"/>
              <a:gd name="connsiteY1317" fmla="*/ 81080 h 2084191"/>
              <a:gd name="connsiteX1318" fmla="*/ 626932 w 2051041"/>
              <a:gd name="connsiteY1318" fmla="*/ 44076 h 2084191"/>
              <a:gd name="connsiteX1319" fmla="*/ 662303 w 2051041"/>
              <a:gd name="connsiteY1319" fmla="*/ 7616 h 2084191"/>
              <a:gd name="connsiteX1320" fmla="*/ 825557 w 2051041"/>
              <a:gd name="connsiteY1320" fmla="*/ 5440 h 2084191"/>
              <a:gd name="connsiteX1321" fmla="*/ 865281 w 2051041"/>
              <a:gd name="connsiteY1321" fmla="*/ 44621 h 2084191"/>
              <a:gd name="connsiteX1322" fmla="*/ 826101 w 2051041"/>
              <a:gd name="connsiteY1322" fmla="*/ 83257 h 2084191"/>
              <a:gd name="connsiteX1323" fmla="*/ 786920 w 2051041"/>
              <a:gd name="connsiteY1323" fmla="*/ 44621 h 2084191"/>
              <a:gd name="connsiteX1324" fmla="*/ 825557 w 2051041"/>
              <a:gd name="connsiteY1324" fmla="*/ 5440 h 2084191"/>
              <a:gd name="connsiteX1325" fmla="*/ 989353 w 2051041"/>
              <a:gd name="connsiteY1325" fmla="*/ 1086 h 2084191"/>
              <a:gd name="connsiteX1326" fmla="*/ 1032343 w 2051041"/>
              <a:gd name="connsiteY1326" fmla="*/ 43532 h 2084191"/>
              <a:gd name="connsiteX1327" fmla="*/ 989897 w 2051041"/>
              <a:gd name="connsiteY1327" fmla="*/ 87610 h 2084191"/>
              <a:gd name="connsiteX1328" fmla="*/ 945819 w 2051041"/>
              <a:gd name="connsiteY1328" fmla="*/ 44620 h 2084191"/>
              <a:gd name="connsiteX1329" fmla="*/ 989353 w 2051041"/>
              <a:gd name="connsiteY1329" fmla="*/ 1086 h 2084191"/>
              <a:gd name="connsiteX1330" fmla="*/ 1614056 w 2051041"/>
              <a:gd name="connsiteY1330" fmla="*/ 0 h 2084191"/>
              <a:gd name="connsiteX1331" fmla="*/ 1675529 w 2051041"/>
              <a:gd name="connsiteY1331" fmla="*/ 0 h 2084191"/>
              <a:gd name="connsiteX1332" fmla="*/ 1682905 w 2051041"/>
              <a:gd name="connsiteY1332" fmla="*/ 4720 h 2084191"/>
              <a:gd name="connsiteX1333" fmla="*/ 1933639 w 2051041"/>
              <a:gd name="connsiteY1333" fmla="*/ 4720 h 2084191"/>
              <a:gd name="connsiteX1334" fmla="*/ 2016655 w 2051041"/>
              <a:gd name="connsiteY1334" fmla="*/ 39107 h 2084191"/>
              <a:gd name="connsiteX1335" fmla="*/ 2028934 w 2051041"/>
              <a:gd name="connsiteY1335" fmla="*/ 57318 h 2084191"/>
              <a:gd name="connsiteX1336" fmla="*/ 2026008 w 2051041"/>
              <a:gd name="connsiteY1336" fmla="*/ 71108 h 2084191"/>
              <a:gd name="connsiteX1337" fmla="*/ 2030906 w 2051041"/>
              <a:gd name="connsiteY1337" fmla="*/ 75461 h 2084191"/>
              <a:gd name="connsiteX1338" fmla="*/ 2039929 w 2051041"/>
              <a:gd name="connsiteY1338" fmla="*/ 73627 h 2084191"/>
              <a:gd name="connsiteX1339" fmla="*/ 2041815 w 2051041"/>
              <a:gd name="connsiteY1339" fmla="*/ 76424 h 2084191"/>
              <a:gd name="connsiteX1340" fmla="*/ 2051041 w 2051041"/>
              <a:gd name="connsiteY1340" fmla="*/ 122122 h 2084191"/>
              <a:gd name="connsiteX1341" fmla="*/ 2051041 w 2051041"/>
              <a:gd name="connsiteY1341" fmla="*/ 186473 h 2084191"/>
              <a:gd name="connsiteX1342" fmla="*/ 2029818 w 2051041"/>
              <a:gd name="connsiteY1342" fmla="*/ 186473 h 2084191"/>
              <a:gd name="connsiteX1343" fmla="*/ 2023287 w 2051041"/>
              <a:gd name="connsiteY1343" fmla="*/ 192459 h 2084191"/>
              <a:gd name="connsiteX1344" fmla="*/ 2023832 w 2051041"/>
              <a:gd name="connsiteY1344" fmla="*/ 196268 h 2084191"/>
              <a:gd name="connsiteX1345" fmla="*/ 2019478 w 2051041"/>
              <a:gd name="connsiteY1345" fmla="*/ 239258 h 2084191"/>
              <a:gd name="connsiteX1346" fmla="*/ 2020022 w 2051041"/>
              <a:gd name="connsiteY1346" fmla="*/ 242523 h 2084191"/>
              <a:gd name="connsiteX1347" fmla="*/ 2023287 w 2051041"/>
              <a:gd name="connsiteY1347" fmla="*/ 243067 h 2084191"/>
              <a:gd name="connsiteX1348" fmla="*/ 2050224 w 2051041"/>
              <a:gd name="connsiteY1348" fmla="*/ 237150 h 2084191"/>
              <a:gd name="connsiteX1349" fmla="*/ 2051041 w 2051041"/>
              <a:gd name="connsiteY1349" fmla="*/ 237329 h 2084191"/>
              <a:gd name="connsiteX1350" fmla="*/ 2051041 w 2051041"/>
              <a:gd name="connsiteY1350" fmla="*/ 348996 h 2084191"/>
              <a:gd name="connsiteX1351" fmla="*/ 2036552 w 2051041"/>
              <a:gd name="connsiteY1351" fmla="*/ 347754 h 2084191"/>
              <a:gd name="connsiteX1352" fmla="*/ 2021111 w 2051041"/>
              <a:gd name="connsiteY1352" fmla="*/ 341019 h 2084191"/>
              <a:gd name="connsiteX1353" fmla="*/ 2016757 w 2051041"/>
              <a:gd name="connsiteY1353" fmla="*/ 338842 h 2084191"/>
              <a:gd name="connsiteX1354" fmla="*/ 2017301 w 2051041"/>
              <a:gd name="connsiteY1354" fmla="*/ 344284 h 2084191"/>
              <a:gd name="connsiteX1355" fmla="*/ 2025464 w 2051041"/>
              <a:gd name="connsiteY1355" fmla="*/ 376391 h 2084191"/>
              <a:gd name="connsiteX1356" fmla="*/ 1994446 w 2051041"/>
              <a:gd name="connsiteY1356" fmla="*/ 424278 h 2084191"/>
              <a:gd name="connsiteX1357" fmla="*/ 1933498 w 2051041"/>
              <a:gd name="connsiteY1357" fmla="*/ 416115 h 2084191"/>
              <a:gd name="connsiteX1358" fmla="*/ 1920438 w 2051041"/>
              <a:gd name="connsiteY1358" fmla="*/ 352447 h 2084191"/>
              <a:gd name="connsiteX1359" fmla="*/ 1925336 w 2051041"/>
              <a:gd name="connsiteY1359" fmla="*/ 338298 h 2084191"/>
              <a:gd name="connsiteX1360" fmla="*/ 1911731 w 2051041"/>
              <a:gd name="connsiteY1360" fmla="*/ 343196 h 2084191"/>
              <a:gd name="connsiteX1361" fmla="*/ 1898671 w 2051041"/>
              <a:gd name="connsiteY1361" fmla="*/ 347005 h 2084191"/>
              <a:gd name="connsiteX1362" fmla="*/ 1854593 w 2051041"/>
              <a:gd name="connsiteY1362" fmla="*/ 336666 h 2084191"/>
              <a:gd name="connsiteX1363" fmla="*/ 1847690 w 2051041"/>
              <a:gd name="connsiteY1363" fmla="*/ 333480 h 2084191"/>
              <a:gd name="connsiteX1364" fmla="*/ 1852961 w 2051041"/>
              <a:gd name="connsiteY1364" fmla="*/ 344461 h 2084191"/>
              <a:gd name="connsiteX1365" fmla="*/ 1826840 w 2051041"/>
              <a:gd name="connsiteY1365" fmla="*/ 420646 h 2084191"/>
              <a:gd name="connsiteX1366" fmla="*/ 1765893 w 2051041"/>
              <a:gd name="connsiteY1366" fmla="*/ 408130 h 2084191"/>
              <a:gd name="connsiteX1367" fmla="*/ 1759362 w 2051041"/>
              <a:gd name="connsiteY1367" fmla="*/ 342829 h 2084191"/>
              <a:gd name="connsiteX1368" fmla="*/ 1815991 w 2051041"/>
              <a:gd name="connsiteY1368" fmla="*/ 317193 h 2084191"/>
              <a:gd name="connsiteX1369" fmla="*/ 1834459 w 2051041"/>
              <a:gd name="connsiteY1369" fmla="*/ 325415 h 2084191"/>
              <a:gd name="connsiteX1370" fmla="*/ 1845023 w 2051041"/>
              <a:gd name="connsiteY1370" fmla="*/ 330169 h 2084191"/>
              <a:gd name="connsiteX1371" fmla="*/ 1840444 w 2051041"/>
              <a:gd name="connsiteY1371" fmla="*/ 321429 h 2084191"/>
              <a:gd name="connsiteX1372" fmla="*/ 1834458 w 2051041"/>
              <a:gd name="connsiteY1372" fmla="*/ 275174 h 2084191"/>
              <a:gd name="connsiteX1373" fmla="*/ 1840988 w 2051041"/>
              <a:gd name="connsiteY1373" fmla="*/ 259937 h 2084191"/>
              <a:gd name="connsiteX1374" fmla="*/ 1842077 w 2051041"/>
              <a:gd name="connsiteY1374" fmla="*/ 255584 h 2084191"/>
              <a:gd name="connsiteX1375" fmla="*/ 1837723 w 2051041"/>
              <a:gd name="connsiteY1375" fmla="*/ 257216 h 2084191"/>
              <a:gd name="connsiteX1376" fmla="*/ 1817589 w 2051041"/>
              <a:gd name="connsiteY1376" fmla="*/ 264834 h 2084191"/>
              <a:gd name="connsiteX1377" fmla="*/ 1768069 w 2051041"/>
              <a:gd name="connsiteY1377" fmla="*/ 251774 h 2084191"/>
              <a:gd name="connsiteX1378" fmla="*/ 1764740 w 2051041"/>
              <a:gd name="connsiteY1378" fmla="*/ 250110 h 2084191"/>
              <a:gd name="connsiteX1379" fmla="*/ 1773510 w 2051041"/>
              <a:gd name="connsiteY1379" fmla="*/ 267189 h 2084191"/>
              <a:gd name="connsiteX1380" fmla="*/ 1750655 w 2051041"/>
              <a:gd name="connsiteY1380" fmla="*/ 336843 h 2084191"/>
              <a:gd name="connsiteX1381" fmla="*/ 1673926 w 2051041"/>
              <a:gd name="connsiteY1381" fmla="*/ 310723 h 2084191"/>
              <a:gd name="connsiteX1382" fmla="*/ 1681545 w 2051041"/>
              <a:gd name="connsiteY1382" fmla="*/ 254673 h 2084191"/>
              <a:gd name="connsiteX1383" fmla="*/ 1733786 w 2051041"/>
              <a:gd name="connsiteY1383" fmla="*/ 235083 h 2084191"/>
              <a:gd name="connsiteX1384" fmla="*/ 1751743 w 2051041"/>
              <a:gd name="connsiteY1384" fmla="*/ 242157 h 2084191"/>
              <a:gd name="connsiteX1385" fmla="*/ 1762506 w 2051041"/>
              <a:gd name="connsiteY1385" fmla="*/ 246769 h 2084191"/>
              <a:gd name="connsiteX1386" fmla="*/ 1757185 w 2051041"/>
              <a:gd name="connsiteY1386" fmla="*/ 236537 h 2084191"/>
              <a:gd name="connsiteX1387" fmla="*/ 1756097 w 2051041"/>
              <a:gd name="connsiteY1387" fmla="*/ 185929 h 2084191"/>
              <a:gd name="connsiteX1388" fmla="*/ 1757185 w 2051041"/>
              <a:gd name="connsiteY1388" fmla="*/ 177766 h 2084191"/>
              <a:gd name="connsiteX1389" fmla="*/ 1749023 w 2051041"/>
              <a:gd name="connsiteY1389" fmla="*/ 178311 h 2084191"/>
              <a:gd name="connsiteX1390" fmla="*/ 1676103 w 2051041"/>
              <a:gd name="connsiteY1390" fmla="*/ 154911 h 2084191"/>
              <a:gd name="connsiteX1391" fmla="*/ 1681001 w 2051041"/>
              <a:gd name="connsiteY1391" fmla="*/ 94507 h 2084191"/>
              <a:gd name="connsiteX1392" fmla="*/ 1685681 w 2051041"/>
              <a:gd name="connsiteY1392" fmla="*/ 85147 h 2084191"/>
              <a:gd name="connsiteX1393" fmla="*/ 1693517 w 2051041"/>
              <a:gd name="connsiteY1393" fmla="*/ 82536 h 2084191"/>
              <a:gd name="connsiteX1394" fmla="*/ 1747934 w 2051041"/>
              <a:gd name="connsiteY1394" fmla="*/ 77638 h 2084191"/>
              <a:gd name="connsiteX1395" fmla="*/ 1756641 w 2051041"/>
              <a:gd name="connsiteY1395" fmla="*/ 79271 h 2084191"/>
              <a:gd name="connsiteX1396" fmla="*/ 1754464 w 2051041"/>
              <a:gd name="connsiteY1396" fmla="*/ 71652 h 2084191"/>
              <a:gd name="connsiteX1397" fmla="*/ 1752832 w 2051041"/>
              <a:gd name="connsiteY1397" fmla="*/ 68387 h 2084191"/>
              <a:gd name="connsiteX1398" fmla="*/ 1756097 w 2051041"/>
              <a:gd name="connsiteY1398" fmla="*/ 20500 h 2084191"/>
              <a:gd name="connsiteX1399" fmla="*/ 1756641 w 2051041"/>
              <a:gd name="connsiteY1399" fmla="*/ 16146 h 2084191"/>
              <a:gd name="connsiteX1400" fmla="*/ 1751744 w 2051041"/>
              <a:gd name="connsiteY1400" fmla="*/ 15058 h 2084191"/>
              <a:gd name="connsiteX1401" fmla="*/ 1741404 w 2051041"/>
              <a:gd name="connsiteY1401" fmla="*/ 19955 h 2084191"/>
              <a:gd name="connsiteX1402" fmla="*/ 1691884 w 2051041"/>
              <a:gd name="connsiteY1402" fmla="*/ 11249 h 2084191"/>
              <a:gd name="connsiteX1403" fmla="*/ 1685645 w 2051041"/>
              <a:gd name="connsiteY1403" fmla="*/ 8369 h 2084191"/>
              <a:gd name="connsiteX1404" fmla="*/ 1688620 w 2051041"/>
              <a:gd name="connsiteY1404" fmla="*/ 14691 h 2084191"/>
              <a:gd name="connsiteX1405" fmla="*/ 1691885 w 2051041"/>
              <a:gd name="connsiteY1405" fmla="*/ 69652 h 2084191"/>
              <a:gd name="connsiteX1406" fmla="*/ 1684469 w 2051041"/>
              <a:gd name="connsiteY1406" fmla="*/ 82365 h 2084191"/>
              <a:gd name="connsiteX1407" fmla="*/ 1663044 w 2051041"/>
              <a:gd name="connsiteY1407" fmla="*/ 94684 h 2084191"/>
              <a:gd name="connsiteX1408" fmla="*/ 1626584 w 2051041"/>
              <a:gd name="connsiteY1408" fmla="*/ 96861 h 2084191"/>
              <a:gd name="connsiteX1409" fmla="*/ 1590124 w 2051041"/>
              <a:gd name="connsiteY1409" fmla="*/ 60401 h 2084191"/>
              <a:gd name="connsiteX1410" fmla="*/ 1591757 w 2051041"/>
              <a:gd name="connsiteY1410" fmla="*/ 25030 h 2084191"/>
              <a:gd name="connsiteX1411" fmla="*/ 1460066 w 2051041"/>
              <a:gd name="connsiteY1411" fmla="*/ 0 h 2084191"/>
              <a:gd name="connsiteX1412" fmla="*/ 1498513 w 2051041"/>
              <a:gd name="connsiteY1412" fmla="*/ 0 h 2084191"/>
              <a:gd name="connsiteX1413" fmla="*/ 1517204 w 2051041"/>
              <a:gd name="connsiteY1413" fmla="*/ 8092 h 2084191"/>
              <a:gd name="connsiteX1414" fmla="*/ 1531896 w 2051041"/>
              <a:gd name="connsiteY1414" fmla="*/ 45164 h 2084191"/>
              <a:gd name="connsiteX1415" fmla="*/ 1479111 w 2051041"/>
              <a:gd name="connsiteY1415" fmla="*/ 97949 h 2084191"/>
              <a:gd name="connsiteX1416" fmla="*/ 1426870 w 2051041"/>
              <a:gd name="connsiteY1416" fmla="*/ 45164 h 2084191"/>
              <a:gd name="connsiteX1417" fmla="*/ 1441631 w 2051041"/>
              <a:gd name="connsiteY1417" fmla="*/ 7684 h 2084191"/>
              <a:gd name="connsiteX1418" fmla="*/ 1296749 w 2051041"/>
              <a:gd name="connsiteY1418" fmla="*/ 0 h 2084191"/>
              <a:gd name="connsiteX1419" fmla="*/ 1335755 w 2051041"/>
              <a:gd name="connsiteY1419" fmla="*/ 0 h 2084191"/>
              <a:gd name="connsiteX1420" fmla="*/ 1350278 w 2051041"/>
              <a:gd name="connsiteY1420" fmla="*/ 10270 h 2084191"/>
              <a:gd name="connsiteX1421" fmla="*/ 1365923 w 2051041"/>
              <a:gd name="connsiteY1421" fmla="*/ 45165 h 2084191"/>
              <a:gd name="connsiteX1422" fmla="*/ 1315315 w 2051041"/>
              <a:gd name="connsiteY1422" fmla="*/ 93052 h 2084191"/>
              <a:gd name="connsiteX1423" fmla="*/ 1266339 w 2051041"/>
              <a:gd name="connsiteY1423" fmla="*/ 44076 h 2084191"/>
              <a:gd name="connsiteX1424" fmla="*/ 1282732 w 2051041"/>
              <a:gd name="connsiteY1424" fmla="*/ 9317 h 2084191"/>
              <a:gd name="connsiteX1425" fmla="*/ 1148085 w 2051041"/>
              <a:gd name="connsiteY1425" fmla="*/ 0 h 2084191"/>
              <a:gd name="connsiteX1426" fmla="*/ 1161802 w 2051041"/>
              <a:gd name="connsiteY1426" fmla="*/ 0 h 2084191"/>
              <a:gd name="connsiteX1427" fmla="*/ 1169637 w 2051041"/>
              <a:gd name="connsiteY1427" fmla="*/ 1315 h 2084191"/>
              <a:gd name="connsiteX1428" fmla="*/ 1199405 w 2051041"/>
              <a:gd name="connsiteY1428" fmla="*/ 45164 h 2084191"/>
              <a:gd name="connsiteX1429" fmla="*/ 1151518 w 2051041"/>
              <a:gd name="connsiteY1429" fmla="*/ 91419 h 2084191"/>
              <a:gd name="connsiteX1430" fmla="*/ 1105807 w 2051041"/>
              <a:gd name="connsiteY1430" fmla="*/ 44620 h 2084191"/>
              <a:gd name="connsiteX1431" fmla="*/ 1119139 w 2051041"/>
              <a:gd name="connsiteY1431" fmla="*/ 11902 h 20841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Lst>
            <a:rect l="l" t="t" r="r" b="b"/>
            <a:pathLst>
              <a:path w="2051041" h="2084191">
                <a:moveTo>
                  <a:pt x="2051041" y="2080382"/>
                </a:moveTo>
                <a:lnTo>
                  <a:pt x="2051041" y="2083967"/>
                </a:lnTo>
                <a:lnTo>
                  <a:pt x="2047231" y="2084191"/>
                </a:lnTo>
                <a:cubicBezTo>
                  <a:pt x="2046687" y="2084191"/>
                  <a:pt x="2046143" y="2082559"/>
                  <a:pt x="2045599" y="2081470"/>
                </a:cubicBezTo>
                <a:close/>
                <a:moveTo>
                  <a:pt x="1478568" y="1997668"/>
                </a:moveTo>
                <a:cubicBezTo>
                  <a:pt x="1484010" y="1997668"/>
                  <a:pt x="1485642" y="2000933"/>
                  <a:pt x="1484554" y="2004743"/>
                </a:cubicBezTo>
                <a:cubicBezTo>
                  <a:pt x="1484010" y="2006919"/>
                  <a:pt x="1480745" y="2008551"/>
                  <a:pt x="1478568" y="2009096"/>
                </a:cubicBezTo>
                <a:cubicBezTo>
                  <a:pt x="1474759" y="2009640"/>
                  <a:pt x="1473126" y="2007463"/>
                  <a:pt x="1473126" y="2003654"/>
                </a:cubicBezTo>
                <a:cubicBezTo>
                  <a:pt x="1473126" y="1998756"/>
                  <a:pt x="1475303" y="1997124"/>
                  <a:pt x="1478568" y="1997668"/>
                </a:cubicBezTo>
                <a:close/>
                <a:moveTo>
                  <a:pt x="1641820" y="1993859"/>
                </a:moveTo>
                <a:cubicBezTo>
                  <a:pt x="1646718" y="1993314"/>
                  <a:pt x="1652160" y="1999300"/>
                  <a:pt x="1652160" y="2003654"/>
                </a:cubicBezTo>
                <a:cubicBezTo>
                  <a:pt x="1652160" y="2008551"/>
                  <a:pt x="1646718" y="2013449"/>
                  <a:pt x="1641820" y="2013449"/>
                </a:cubicBezTo>
                <a:cubicBezTo>
                  <a:pt x="1636923" y="2013449"/>
                  <a:pt x="1632025" y="2008007"/>
                  <a:pt x="1632025" y="2003654"/>
                </a:cubicBezTo>
                <a:cubicBezTo>
                  <a:pt x="1632025" y="1999300"/>
                  <a:pt x="1638011" y="1993859"/>
                  <a:pt x="1641820" y="1993859"/>
                </a:cubicBezTo>
                <a:close/>
                <a:moveTo>
                  <a:pt x="1969414" y="1992226"/>
                </a:moveTo>
                <a:cubicBezTo>
                  <a:pt x="1976488" y="1992226"/>
                  <a:pt x="1979753" y="1996035"/>
                  <a:pt x="1979753" y="2003654"/>
                </a:cubicBezTo>
                <a:cubicBezTo>
                  <a:pt x="1979753" y="2011272"/>
                  <a:pt x="1975944" y="2014537"/>
                  <a:pt x="1968325" y="2014537"/>
                </a:cubicBezTo>
                <a:cubicBezTo>
                  <a:pt x="1960707" y="2014537"/>
                  <a:pt x="1957442" y="2010728"/>
                  <a:pt x="1957986" y="2003110"/>
                </a:cubicBezTo>
                <a:cubicBezTo>
                  <a:pt x="1957986" y="1994947"/>
                  <a:pt x="1961251" y="1992226"/>
                  <a:pt x="1969414" y="1992226"/>
                </a:cubicBezTo>
                <a:close/>
                <a:moveTo>
                  <a:pt x="1805073" y="1992226"/>
                </a:moveTo>
                <a:cubicBezTo>
                  <a:pt x="1811058" y="1992226"/>
                  <a:pt x="1815956" y="1996035"/>
                  <a:pt x="1815956" y="2002565"/>
                </a:cubicBezTo>
                <a:cubicBezTo>
                  <a:pt x="1816500" y="2009096"/>
                  <a:pt x="1812147" y="2014537"/>
                  <a:pt x="1805073" y="2014537"/>
                </a:cubicBezTo>
                <a:cubicBezTo>
                  <a:pt x="1799087" y="2014537"/>
                  <a:pt x="1794189" y="2010184"/>
                  <a:pt x="1794189" y="2004198"/>
                </a:cubicBezTo>
                <a:cubicBezTo>
                  <a:pt x="1794189" y="1997668"/>
                  <a:pt x="1799087" y="1992770"/>
                  <a:pt x="1805073" y="1992226"/>
                </a:cubicBezTo>
                <a:close/>
                <a:moveTo>
                  <a:pt x="1234233" y="1916042"/>
                </a:moveTo>
                <a:cubicBezTo>
                  <a:pt x="1238586" y="1915497"/>
                  <a:pt x="1240763" y="1917674"/>
                  <a:pt x="1240219" y="1923660"/>
                </a:cubicBezTo>
                <a:cubicBezTo>
                  <a:pt x="1239674" y="1924204"/>
                  <a:pt x="1237498" y="1926381"/>
                  <a:pt x="1236953" y="1926381"/>
                </a:cubicBezTo>
                <a:cubicBezTo>
                  <a:pt x="1234233" y="1924204"/>
                  <a:pt x="1231512" y="1921483"/>
                  <a:pt x="1229335" y="1918762"/>
                </a:cubicBezTo>
                <a:cubicBezTo>
                  <a:pt x="1230968" y="1917674"/>
                  <a:pt x="1232600" y="1916586"/>
                  <a:pt x="1234233" y="1916042"/>
                </a:cubicBezTo>
                <a:close/>
                <a:moveTo>
                  <a:pt x="1397486" y="1911144"/>
                </a:moveTo>
                <a:cubicBezTo>
                  <a:pt x="1402927" y="1911144"/>
                  <a:pt x="1408369" y="1916041"/>
                  <a:pt x="1408369" y="1921483"/>
                </a:cubicBezTo>
                <a:cubicBezTo>
                  <a:pt x="1408369" y="1926925"/>
                  <a:pt x="1404016" y="1931279"/>
                  <a:pt x="1399118" y="1931823"/>
                </a:cubicBezTo>
                <a:cubicBezTo>
                  <a:pt x="1392588" y="1932367"/>
                  <a:pt x="1387146" y="1928013"/>
                  <a:pt x="1387146" y="1922028"/>
                </a:cubicBezTo>
                <a:cubicBezTo>
                  <a:pt x="1386602" y="1916586"/>
                  <a:pt x="1391500" y="1911144"/>
                  <a:pt x="1397486" y="1911144"/>
                </a:cubicBezTo>
                <a:close/>
                <a:moveTo>
                  <a:pt x="1560194" y="1906790"/>
                </a:moveTo>
                <a:cubicBezTo>
                  <a:pt x="1566180" y="1906790"/>
                  <a:pt x="1574342" y="1914953"/>
                  <a:pt x="1574342" y="1921482"/>
                </a:cubicBezTo>
                <a:cubicBezTo>
                  <a:pt x="1574342" y="1928013"/>
                  <a:pt x="1566724" y="1936175"/>
                  <a:pt x="1560738" y="1935631"/>
                </a:cubicBezTo>
                <a:cubicBezTo>
                  <a:pt x="1554752" y="1935631"/>
                  <a:pt x="1547678" y="1928557"/>
                  <a:pt x="1547134" y="1922027"/>
                </a:cubicBezTo>
                <a:cubicBezTo>
                  <a:pt x="1546589" y="1915497"/>
                  <a:pt x="1554208" y="1907334"/>
                  <a:pt x="1560194" y="1906790"/>
                </a:cubicBezTo>
                <a:close/>
                <a:moveTo>
                  <a:pt x="2049952" y="1905702"/>
                </a:moveTo>
                <a:lnTo>
                  <a:pt x="2051041" y="1906027"/>
                </a:lnTo>
                <a:lnTo>
                  <a:pt x="2051041" y="1938133"/>
                </a:lnTo>
                <a:lnTo>
                  <a:pt x="2050496" y="1938353"/>
                </a:lnTo>
                <a:cubicBezTo>
                  <a:pt x="2039613" y="1937808"/>
                  <a:pt x="2034715" y="1933455"/>
                  <a:pt x="2034171" y="1922572"/>
                </a:cubicBezTo>
                <a:cubicBezTo>
                  <a:pt x="2034171" y="1911144"/>
                  <a:pt x="2039069" y="1905702"/>
                  <a:pt x="2049952" y="1905702"/>
                </a:cubicBezTo>
                <a:close/>
                <a:moveTo>
                  <a:pt x="1723447" y="1905702"/>
                </a:moveTo>
                <a:cubicBezTo>
                  <a:pt x="1730521" y="1905702"/>
                  <a:pt x="1739772" y="1914409"/>
                  <a:pt x="1739772" y="1920939"/>
                </a:cubicBezTo>
                <a:cubicBezTo>
                  <a:pt x="1740316" y="1929101"/>
                  <a:pt x="1732698" y="1936720"/>
                  <a:pt x="1724535" y="1937264"/>
                </a:cubicBezTo>
                <a:cubicBezTo>
                  <a:pt x="1716373" y="1937264"/>
                  <a:pt x="1708754" y="1930190"/>
                  <a:pt x="1708210" y="1922027"/>
                </a:cubicBezTo>
                <a:cubicBezTo>
                  <a:pt x="1708210" y="1914953"/>
                  <a:pt x="1716373" y="1905702"/>
                  <a:pt x="1723447" y="1905702"/>
                </a:cubicBezTo>
                <a:close/>
                <a:moveTo>
                  <a:pt x="1887787" y="1905158"/>
                </a:moveTo>
                <a:cubicBezTo>
                  <a:pt x="1898671" y="1905158"/>
                  <a:pt x="1904113" y="1911144"/>
                  <a:pt x="1904113" y="1922028"/>
                </a:cubicBezTo>
                <a:cubicBezTo>
                  <a:pt x="1904113" y="1932367"/>
                  <a:pt x="1898127" y="1937809"/>
                  <a:pt x="1886699" y="1937809"/>
                </a:cubicBezTo>
                <a:cubicBezTo>
                  <a:pt x="1876360" y="1937809"/>
                  <a:pt x="1870918" y="1931823"/>
                  <a:pt x="1870918" y="1921483"/>
                </a:cubicBezTo>
                <a:cubicBezTo>
                  <a:pt x="1870918" y="1910600"/>
                  <a:pt x="1876904" y="1904614"/>
                  <a:pt x="1887787" y="1905158"/>
                </a:cubicBezTo>
                <a:close/>
                <a:moveTo>
                  <a:pt x="1152606" y="1831693"/>
                </a:moveTo>
                <a:cubicBezTo>
                  <a:pt x="1155871" y="1832782"/>
                  <a:pt x="1160769" y="1836591"/>
                  <a:pt x="1161313" y="1839312"/>
                </a:cubicBezTo>
                <a:cubicBezTo>
                  <a:pt x="1160769" y="1843121"/>
                  <a:pt x="1156959" y="1846931"/>
                  <a:pt x="1153694" y="1852916"/>
                </a:cubicBezTo>
                <a:cubicBezTo>
                  <a:pt x="1149341" y="1847475"/>
                  <a:pt x="1146076" y="1844754"/>
                  <a:pt x="1144988" y="1841489"/>
                </a:cubicBezTo>
                <a:cubicBezTo>
                  <a:pt x="1143355" y="1837135"/>
                  <a:pt x="1148797" y="1830605"/>
                  <a:pt x="1152606" y="1831693"/>
                </a:cubicBezTo>
                <a:close/>
                <a:moveTo>
                  <a:pt x="1315315" y="1825708"/>
                </a:moveTo>
                <a:cubicBezTo>
                  <a:pt x="1321301" y="1825164"/>
                  <a:pt x="1331096" y="1834415"/>
                  <a:pt x="1330552" y="1840401"/>
                </a:cubicBezTo>
                <a:cubicBezTo>
                  <a:pt x="1330552" y="1845298"/>
                  <a:pt x="1321301" y="1854549"/>
                  <a:pt x="1316404" y="1854549"/>
                </a:cubicBezTo>
                <a:cubicBezTo>
                  <a:pt x="1310962" y="1855094"/>
                  <a:pt x="1302255" y="1846387"/>
                  <a:pt x="1301711" y="1840945"/>
                </a:cubicBezTo>
                <a:cubicBezTo>
                  <a:pt x="1301167" y="1834959"/>
                  <a:pt x="1309329" y="1826252"/>
                  <a:pt x="1315315" y="1825708"/>
                </a:cubicBezTo>
                <a:close/>
                <a:moveTo>
                  <a:pt x="1479656" y="1822987"/>
                </a:moveTo>
                <a:cubicBezTo>
                  <a:pt x="1489995" y="1823531"/>
                  <a:pt x="1495981" y="1830061"/>
                  <a:pt x="1495981" y="1840401"/>
                </a:cubicBezTo>
                <a:cubicBezTo>
                  <a:pt x="1495981" y="1851284"/>
                  <a:pt x="1490539" y="1856726"/>
                  <a:pt x="1478567" y="1856182"/>
                </a:cubicBezTo>
                <a:cubicBezTo>
                  <a:pt x="1467140" y="1856182"/>
                  <a:pt x="1462242" y="1850740"/>
                  <a:pt x="1462242" y="1839312"/>
                </a:cubicBezTo>
                <a:cubicBezTo>
                  <a:pt x="1462242" y="1828429"/>
                  <a:pt x="1468772" y="1822443"/>
                  <a:pt x="1479656" y="1822987"/>
                </a:cubicBezTo>
                <a:close/>
                <a:moveTo>
                  <a:pt x="1642365" y="1821355"/>
                </a:moveTo>
                <a:cubicBezTo>
                  <a:pt x="1653248" y="1821355"/>
                  <a:pt x="1661955" y="1829518"/>
                  <a:pt x="1660867" y="1840401"/>
                </a:cubicBezTo>
                <a:cubicBezTo>
                  <a:pt x="1659778" y="1853461"/>
                  <a:pt x="1653792" y="1857270"/>
                  <a:pt x="1642365" y="1857270"/>
                </a:cubicBezTo>
                <a:cubicBezTo>
                  <a:pt x="1630937" y="1857270"/>
                  <a:pt x="1624407" y="1850740"/>
                  <a:pt x="1624407" y="1839857"/>
                </a:cubicBezTo>
                <a:cubicBezTo>
                  <a:pt x="1624407" y="1828973"/>
                  <a:pt x="1632025" y="1821355"/>
                  <a:pt x="1642365" y="1821355"/>
                </a:cubicBezTo>
                <a:close/>
                <a:moveTo>
                  <a:pt x="1806162" y="1819723"/>
                </a:moveTo>
                <a:cubicBezTo>
                  <a:pt x="1816501" y="1819723"/>
                  <a:pt x="1827385" y="1831150"/>
                  <a:pt x="1826840" y="1840945"/>
                </a:cubicBezTo>
                <a:cubicBezTo>
                  <a:pt x="1826296" y="1850740"/>
                  <a:pt x="1813780" y="1862168"/>
                  <a:pt x="1804529" y="1861080"/>
                </a:cubicBezTo>
                <a:cubicBezTo>
                  <a:pt x="1795278" y="1860536"/>
                  <a:pt x="1783851" y="1847476"/>
                  <a:pt x="1784395" y="1839313"/>
                </a:cubicBezTo>
                <a:cubicBezTo>
                  <a:pt x="1784939" y="1828973"/>
                  <a:pt x="1796367" y="1819178"/>
                  <a:pt x="1806162" y="1819723"/>
                </a:cubicBezTo>
                <a:close/>
                <a:moveTo>
                  <a:pt x="1968870" y="1819178"/>
                </a:moveTo>
                <a:cubicBezTo>
                  <a:pt x="1980298" y="1819178"/>
                  <a:pt x="1990093" y="1828973"/>
                  <a:pt x="1990093" y="1840401"/>
                </a:cubicBezTo>
                <a:cubicBezTo>
                  <a:pt x="1990093" y="1851285"/>
                  <a:pt x="1980298" y="1861624"/>
                  <a:pt x="1968870" y="1861624"/>
                </a:cubicBezTo>
                <a:cubicBezTo>
                  <a:pt x="1957986" y="1861624"/>
                  <a:pt x="1947647" y="1851285"/>
                  <a:pt x="1947647" y="1840401"/>
                </a:cubicBezTo>
                <a:cubicBezTo>
                  <a:pt x="1947647" y="1828973"/>
                  <a:pt x="1957986" y="1819178"/>
                  <a:pt x="1968870" y="1819178"/>
                </a:cubicBezTo>
                <a:close/>
                <a:moveTo>
                  <a:pt x="1070436" y="1747347"/>
                </a:moveTo>
                <a:cubicBezTo>
                  <a:pt x="1078598" y="1747347"/>
                  <a:pt x="1081863" y="1750612"/>
                  <a:pt x="1081863" y="1758231"/>
                </a:cubicBezTo>
                <a:cubicBezTo>
                  <a:pt x="1081863" y="1766393"/>
                  <a:pt x="1078598" y="1769658"/>
                  <a:pt x="1070980" y="1769658"/>
                </a:cubicBezTo>
                <a:cubicBezTo>
                  <a:pt x="1063361" y="1769658"/>
                  <a:pt x="1060096" y="1766393"/>
                  <a:pt x="1059552" y="1758775"/>
                </a:cubicBezTo>
                <a:cubicBezTo>
                  <a:pt x="1059552" y="1751156"/>
                  <a:pt x="1062817" y="1747347"/>
                  <a:pt x="1070436" y="1747347"/>
                </a:cubicBezTo>
                <a:close/>
                <a:moveTo>
                  <a:pt x="1233688" y="1742449"/>
                </a:moveTo>
                <a:cubicBezTo>
                  <a:pt x="1242939" y="1741904"/>
                  <a:pt x="1250558" y="1750067"/>
                  <a:pt x="1250558" y="1758774"/>
                </a:cubicBezTo>
                <a:cubicBezTo>
                  <a:pt x="1250558" y="1767481"/>
                  <a:pt x="1242939" y="1775099"/>
                  <a:pt x="1233688" y="1775099"/>
                </a:cubicBezTo>
                <a:cubicBezTo>
                  <a:pt x="1224981" y="1775099"/>
                  <a:pt x="1218451" y="1768025"/>
                  <a:pt x="1217907" y="1759318"/>
                </a:cubicBezTo>
                <a:cubicBezTo>
                  <a:pt x="1217907" y="1750067"/>
                  <a:pt x="1224981" y="1742449"/>
                  <a:pt x="1233688" y="1742449"/>
                </a:cubicBezTo>
                <a:close/>
                <a:moveTo>
                  <a:pt x="1399662" y="1739728"/>
                </a:moveTo>
                <a:cubicBezTo>
                  <a:pt x="1410002" y="1740817"/>
                  <a:pt x="1418164" y="1750068"/>
                  <a:pt x="1417076" y="1760407"/>
                </a:cubicBezTo>
                <a:cubicBezTo>
                  <a:pt x="1415988" y="1769114"/>
                  <a:pt x="1404560" y="1779997"/>
                  <a:pt x="1396941" y="1779453"/>
                </a:cubicBezTo>
                <a:cubicBezTo>
                  <a:pt x="1388779" y="1778909"/>
                  <a:pt x="1376807" y="1765305"/>
                  <a:pt x="1377895" y="1757686"/>
                </a:cubicBezTo>
                <a:cubicBezTo>
                  <a:pt x="1379528" y="1746803"/>
                  <a:pt x="1389867" y="1738640"/>
                  <a:pt x="1399662" y="1739728"/>
                </a:cubicBezTo>
                <a:close/>
                <a:moveTo>
                  <a:pt x="1723991" y="1735919"/>
                </a:moveTo>
                <a:cubicBezTo>
                  <a:pt x="1738140" y="1735919"/>
                  <a:pt x="1746847" y="1744626"/>
                  <a:pt x="1746847" y="1758774"/>
                </a:cubicBezTo>
                <a:cubicBezTo>
                  <a:pt x="1746847" y="1772379"/>
                  <a:pt x="1738140" y="1781086"/>
                  <a:pt x="1723991" y="1781086"/>
                </a:cubicBezTo>
                <a:cubicBezTo>
                  <a:pt x="1709299" y="1781086"/>
                  <a:pt x="1701680" y="1773467"/>
                  <a:pt x="1701680" y="1758774"/>
                </a:cubicBezTo>
                <a:cubicBezTo>
                  <a:pt x="1701680" y="1744626"/>
                  <a:pt x="1709843" y="1735919"/>
                  <a:pt x="1723991" y="1735919"/>
                </a:cubicBezTo>
                <a:close/>
                <a:moveTo>
                  <a:pt x="1560194" y="1735919"/>
                </a:moveTo>
                <a:cubicBezTo>
                  <a:pt x="1572710" y="1736463"/>
                  <a:pt x="1582505" y="1746258"/>
                  <a:pt x="1582505" y="1758230"/>
                </a:cubicBezTo>
                <a:cubicBezTo>
                  <a:pt x="1582505" y="1770202"/>
                  <a:pt x="1572710" y="1779997"/>
                  <a:pt x="1560738" y="1779997"/>
                </a:cubicBezTo>
                <a:cubicBezTo>
                  <a:pt x="1549855" y="1779997"/>
                  <a:pt x="1538427" y="1769114"/>
                  <a:pt x="1538427" y="1758230"/>
                </a:cubicBezTo>
                <a:cubicBezTo>
                  <a:pt x="1538427" y="1746803"/>
                  <a:pt x="1548766" y="1735919"/>
                  <a:pt x="1560194" y="1735919"/>
                </a:cubicBezTo>
                <a:close/>
                <a:moveTo>
                  <a:pt x="2051041" y="1734831"/>
                </a:moveTo>
                <a:lnTo>
                  <a:pt x="2051041" y="1781438"/>
                </a:lnTo>
                <a:lnTo>
                  <a:pt x="2050496" y="1781630"/>
                </a:lnTo>
                <a:cubicBezTo>
                  <a:pt x="2033627" y="1782174"/>
                  <a:pt x="2027097" y="1772379"/>
                  <a:pt x="2027097" y="1758775"/>
                </a:cubicBezTo>
                <a:cubicBezTo>
                  <a:pt x="2027097" y="1744082"/>
                  <a:pt x="2033627" y="1734831"/>
                  <a:pt x="2051041" y="1734831"/>
                </a:cubicBezTo>
                <a:close/>
                <a:moveTo>
                  <a:pt x="1887788" y="1734831"/>
                </a:moveTo>
                <a:cubicBezTo>
                  <a:pt x="1902481" y="1735375"/>
                  <a:pt x="1910099" y="1742994"/>
                  <a:pt x="1910099" y="1758775"/>
                </a:cubicBezTo>
                <a:cubicBezTo>
                  <a:pt x="1910099" y="1771835"/>
                  <a:pt x="1903025" y="1782718"/>
                  <a:pt x="1886699" y="1781086"/>
                </a:cubicBezTo>
                <a:cubicBezTo>
                  <a:pt x="1872551" y="1782174"/>
                  <a:pt x="1863844" y="1770203"/>
                  <a:pt x="1863844" y="1757687"/>
                </a:cubicBezTo>
                <a:cubicBezTo>
                  <a:pt x="1863844" y="1742994"/>
                  <a:pt x="1874728" y="1734287"/>
                  <a:pt x="1887788" y="1734831"/>
                </a:cubicBezTo>
                <a:close/>
                <a:moveTo>
                  <a:pt x="826100" y="1671706"/>
                </a:moveTo>
                <a:cubicBezTo>
                  <a:pt x="830454" y="1670618"/>
                  <a:pt x="832086" y="1673338"/>
                  <a:pt x="832086" y="1677692"/>
                </a:cubicBezTo>
                <a:cubicBezTo>
                  <a:pt x="832086" y="1681501"/>
                  <a:pt x="829365" y="1683134"/>
                  <a:pt x="825556" y="1683134"/>
                </a:cubicBezTo>
                <a:cubicBezTo>
                  <a:pt x="821203" y="1683134"/>
                  <a:pt x="819570" y="1679869"/>
                  <a:pt x="820658" y="1676603"/>
                </a:cubicBezTo>
                <a:cubicBezTo>
                  <a:pt x="821203" y="1674427"/>
                  <a:pt x="823924" y="1672250"/>
                  <a:pt x="826100" y="1671706"/>
                </a:cubicBezTo>
                <a:close/>
                <a:moveTo>
                  <a:pt x="989354" y="1661912"/>
                </a:moveTo>
                <a:cubicBezTo>
                  <a:pt x="994251" y="1661912"/>
                  <a:pt x="1004046" y="1671707"/>
                  <a:pt x="1004046" y="1676604"/>
                </a:cubicBezTo>
                <a:cubicBezTo>
                  <a:pt x="1004046" y="1682590"/>
                  <a:pt x="996428" y="1690209"/>
                  <a:pt x="989354" y="1690209"/>
                </a:cubicBezTo>
                <a:cubicBezTo>
                  <a:pt x="982823" y="1690209"/>
                  <a:pt x="975749" y="1683679"/>
                  <a:pt x="975205" y="1677693"/>
                </a:cubicBezTo>
                <a:cubicBezTo>
                  <a:pt x="974661" y="1671707"/>
                  <a:pt x="983912" y="1661367"/>
                  <a:pt x="989354" y="1661912"/>
                </a:cubicBezTo>
                <a:close/>
                <a:moveTo>
                  <a:pt x="1153151" y="1659734"/>
                </a:moveTo>
                <a:cubicBezTo>
                  <a:pt x="1162946" y="1658646"/>
                  <a:pt x="1171108" y="1667353"/>
                  <a:pt x="1170564" y="1677692"/>
                </a:cubicBezTo>
                <a:cubicBezTo>
                  <a:pt x="1170020" y="1688575"/>
                  <a:pt x="1162946" y="1694562"/>
                  <a:pt x="1152062" y="1694562"/>
                </a:cubicBezTo>
                <a:cubicBezTo>
                  <a:pt x="1141179" y="1694017"/>
                  <a:pt x="1135737" y="1688031"/>
                  <a:pt x="1135737" y="1677148"/>
                </a:cubicBezTo>
                <a:cubicBezTo>
                  <a:pt x="1135737" y="1664632"/>
                  <a:pt x="1141179" y="1659190"/>
                  <a:pt x="1153151" y="1659734"/>
                </a:cubicBezTo>
                <a:close/>
                <a:moveTo>
                  <a:pt x="1315315" y="1655381"/>
                </a:moveTo>
                <a:cubicBezTo>
                  <a:pt x="1327287" y="1654836"/>
                  <a:pt x="1337082" y="1664088"/>
                  <a:pt x="1337082" y="1676603"/>
                </a:cubicBezTo>
                <a:cubicBezTo>
                  <a:pt x="1337082" y="1688575"/>
                  <a:pt x="1326743" y="1698915"/>
                  <a:pt x="1315315" y="1698915"/>
                </a:cubicBezTo>
                <a:cubicBezTo>
                  <a:pt x="1304976" y="1698915"/>
                  <a:pt x="1294092" y="1687487"/>
                  <a:pt x="1294092" y="1677148"/>
                </a:cubicBezTo>
                <a:cubicBezTo>
                  <a:pt x="1294092" y="1666264"/>
                  <a:pt x="1304431" y="1655925"/>
                  <a:pt x="1315315" y="1655381"/>
                </a:cubicBezTo>
                <a:close/>
                <a:moveTo>
                  <a:pt x="1479111" y="1654293"/>
                </a:moveTo>
                <a:cubicBezTo>
                  <a:pt x="1495437" y="1653204"/>
                  <a:pt x="1501967" y="1664632"/>
                  <a:pt x="1501967" y="1677692"/>
                </a:cubicBezTo>
                <a:cubicBezTo>
                  <a:pt x="1501967" y="1689664"/>
                  <a:pt x="1492716" y="1700548"/>
                  <a:pt x="1479111" y="1700548"/>
                </a:cubicBezTo>
                <a:cubicBezTo>
                  <a:pt x="1466596" y="1700548"/>
                  <a:pt x="1455712" y="1690208"/>
                  <a:pt x="1455712" y="1676604"/>
                </a:cubicBezTo>
                <a:cubicBezTo>
                  <a:pt x="1456256" y="1663544"/>
                  <a:pt x="1464963" y="1653204"/>
                  <a:pt x="1479111" y="1654293"/>
                </a:cubicBezTo>
                <a:close/>
                <a:moveTo>
                  <a:pt x="1643452" y="1650483"/>
                </a:moveTo>
                <a:cubicBezTo>
                  <a:pt x="1654880" y="1651027"/>
                  <a:pt x="1667940" y="1664087"/>
                  <a:pt x="1668484" y="1676603"/>
                </a:cubicBezTo>
                <a:cubicBezTo>
                  <a:pt x="1669029" y="1689120"/>
                  <a:pt x="1655968" y="1702724"/>
                  <a:pt x="1643452" y="1703268"/>
                </a:cubicBezTo>
                <a:cubicBezTo>
                  <a:pt x="1631480" y="1703812"/>
                  <a:pt x="1617332" y="1690208"/>
                  <a:pt x="1617332" y="1677692"/>
                </a:cubicBezTo>
                <a:cubicBezTo>
                  <a:pt x="1616788" y="1664632"/>
                  <a:pt x="1630392" y="1650483"/>
                  <a:pt x="1643452" y="1650483"/>
                </a:cubicBezTo>
                <a:close/>
                <a:moveTo>
                  <a:pt x="1968326" y="1649940"/>
                </a:moveTo>
                <a:cubicBezTo>
                  <a:pt x="1983019" y="1649395"/>
                  <a:pt x="1997167" y="1664088"/>
                  <a:pt x="1995535" y="1676604"/>
                </a:cubicBezTo>
                <a:cubicBezTo>
                  <a:pt x="1997167" y="1689664"/>
                  <a:pt x="1982474" y="1704901"/>
                  <a:pt x="1968870" y="1704357"/>
                </a:cubicBezTo>
                <a:cubicBezTo>
                  <a:pt x="1954177" y="1703813"/>
                  <a:pt x="1942205" y="1691841"/>
                  <a:pt x="1941661" y="1677148"/>
                </a:cubicBezTo>
                <a:cubicBezTo>
                  <a:pt x="1941117" y="1662456"/>
                  <a:pt x="1956354" y="1649940"/>
                  <a:pt x="1968326" y="1649940"/>
                </a:cubicBezTo>
                <a:close/>
                <a:moveTo>
                  <a:pt x="1805617" y="1649939"/>
                </a:moveTo>
                <a:cubicBezTo>
                  <a:pt x="1819222" y="1648851"/>
                  <a:pt x="1832826" y="1664088"/>
                  <a:pt x="1832826" y="1677148"/>
                </a:cubicBezTo>
                <a:cubicBezTo>
                  <a:pt x="1832282" y="1690752"/>
                  <a:pt x="1819222" y="1703812"/>
                  <a:pt x="1805073" y="1704357"/>
                </a:cubicBezTo>
                <a:cubicBezTo>
                  <a:pt x="1792557" y="1704901"/>
                  <a:pt x="1777864" y="1688031"/>
                  <a:pt x="1778409" y="1677148"/>
                </a:cubicBezTo>
                <a:cubicBezTo>
                  <a:pt x="1779497" y="1662999"/>
                  <a:pt x="1791469" y="1649939"/>
                  <a:pt x="1805617" y="1649939"/>
                </a:cubicBezTo>
                <a:close/>
                <a:moveTo>
                  <a:pt x="744474" y="1588992"/>
                </a:moveTo>
                <a:cubicBezTo>
                  <a:pt x="748827" y="1588992"/>
                  <a:pt x="751004" y="1590624"/>
                  <a:pt x="751004" y="1594978"/>
                </a:cubicBezTo>
                <a:cubicBezTo>
                  <a:pt x="751004" y="1598787"/>
                  <a:pt x="749916" y="1601508"/>
                  <a:pt x="745562" y="1602052"/>
                </a:cubicBezTo>
                <a:cubicBezTo>
                  <a:pt x="740665" y="1602052"/>
                  <a:pt x="738488" y="1600420"/>
                  <a:pt x="738488" y="1594978"/>
                </a:cubicBezTo>
                <a:cubicBezTo>
                  <a:pt x="737944" y="1590624"/>
                  <a:pt x="740121" y="1588992"/>
                  <a:pt x="744474" y="1588992"/>
                </a:cubicBezTo>
                <a:close/>
                <a:moveTo>
                  <a:pt x="907183" y="1579741"/>
                </a:moveTo>
                <a:cubicBezTo>
                  <a:pt x="913169" y="1579197"/>
                  <a:pt x="923508" y="1588992"/>
                  <a:pt x="923508" y="1594978"/>
                </a:cubicBezTo>
                <a:cubicBezTo>
                  <a:pt x="923508" y="1600964"/>
                  <a:pt x="915345" y="1610215"/>
                  <a:pt x="908815" y="1610759"/>
                </a:cubicBezTo>
                <a:cubicBezTo>
                  <a:pt x="901197" y="1611303"/>
                  <a:pt x="892490" y="1603685"/>
                  <a:pt x="892490" y="1595522"/>
                </a:cubicBezTo>
                <a:cubicBezTo>
                  <a:pt x="892490" y="1588448"/>
                  <a:pt x="900653" y="1579741"/>
                  <a:pt x="907183" y="1579741"/>
                </a:cubicBezTo>
                <a:close/>
                <a:moveTo>
                  <a:pt x="1071524" y="1574843"/>
                </a:moveTo>
                <a:cubicBezTo>
                  <a:pt x="1081319" y="1575387"/>
                  <a:pt x="1091114" y="1585726"/>
                  <a:pt x="1091114" y="1595522"/>
                </a:cubicBezTo>
                <a:cubicBezTo>
                  <a:pt x="1091114" y="1605317"/>
                  <a:pt x="1080231" y="1615656"/>
                  <a:pt x="1070980" y="1615656"/>
                </a:cubicBezTo>
                <a:cubicBezTo>
                  <a:pt x="1062273" y="1615656"/>
                  <a:pt x="1050845" y="1604228"/>
                  <a:pt x="1050301" y="1595522"/>
                </a:cubicBezTo>
                <a:cubicBezTo>
                  <a:pt x="1050301" y="1586270"/>
                  <a:pt x="1062273" y="1574299"/>
                  <a:pt x="1071524" y="1574843"/>
                </a:cubicBezTo>
                <a:close/>
                <a:moveTo>
                  <a:pt x="1233688" y="1573210"/>
                </a:moveTo>
                <a:cubicBezTo>
                  <a:pt x="1247837" y="1573210"/>
                  <a:pt x="1256544" y="1581373"/>
                  <a:pt x="1256544" y="1595522"/>
                </a:cubicBezTo>
                <a:cubicBezTo>
                  <a:pt x="1256544" y="1609670"/>
                  <a:pt x="1247837" y="1618377"/>
                  <a:pt x="1233688" y="1618377"/>
                </a:cubicBezTo>
                <a:cubicBezTo>
                  <a:pt x="1221172" y="1618377"/>
                  <a:pt x="1212465" y="1608582"/>
                  <a:pt x="1211377" y="1596610"/>
                </a:cubicBezTo>
                <a:cubicBezTo>
                  <a:pt x="1210289" y="1584638"/>
                  <a:pt x="1222261" y="1571034"/>
                  <a:pt x="1233688" y="1573210"/>
                </a:cubicBezTo>
                <a:close/>
                <a:moveTo>
                  <a:pt x="1398030" y="1569402"/>
                </a:moveTo>
                <a:cubicBezTo>
                  <a:pt x="1411634" y="1569946"/>
                  <a:pt x="1423606" y="1582462"/>
                  <a:pt x="1423062" y="1595522"/>
                </a:cubicBezTo>
                <a:cubicBezTo>
                  <a:pt x="1423062" y="1608582"/>
                  <a:pt x="1410546" y="1621099"/>
                  <a:pt x="1397485" y="1621099"/>
                </a:cubicBezTo>
                <a:cubicBezTo>
                  <a:pt x="1384969" y="1621099"/>
                  <a:pt x="1371365" y="1608038"/>
                  <a:pt x="1371365" y="1595522"/>
                </a:cubicBezTo>
                <a:cubicBezTo>
                  <a:pt x="1371365" y="1582462"/>
                  <a:pt x="1384969" y="1568857"/>
                  <a:pt x="1398030" y="1569402"/>
                </a:cubicBezTo>
                <a:close/>
                <a:moveTo>
                  <a:pt x="1560194" y="1568313"/>
                </a:moveTo>
                <a:cubicBezTo>
                  <a:pt x="1574342" y="1566680"/>
                  <a:pt x="1587403" y="1581373"/>
                  <a:pt x="1587947" y="1594433"/>
                </a:cubicBezTo>
                <a:cubicBezTo>
                  <a:pt x="1588491" y="1608582"/>
                  <a:pt x="1574887" y="1622730"/>
                  <a:pt x="1560194" y="1622730"/>
                </a:cubicBezTo>
                <a:cubicBezTo>
                  <a:pt x="1547134" y="1622730"/>
                  <a:pt x="1532985" y="1608582"/>
                  <a:pt x="1532985" y="1594977"/>
                </a:cubicBezTo>
                <a:cubicBezTo>
                  <a:pt x="1532985" y="1581917"/>
                  <a:pt x="1547134" y="1566680"/>
                  <a:pt x="1560194" y="1568313"/>
                </a:cubicBezTo>
                <a:close/>
                <a:moveTo>
                  <a:pt x="1887244" y="1567225"/>
                </a:moveTo>
                <a:cubicBezTo>
                  <a:pt x="1905202" y="1567225"/>
                  <a:pt x="1915541" y="1578109"/>
                  <a:pt x="1915541" y="1594978"/>
                </a:cubicBezTo>
                <a:cubicBezTo>
                  <a:pt x="1915541" y="1612392"/>
                  <a:pt x="1903569" y="1624363"/>
                  <a:pt x="1886699" y="1623819"/>
                </a:cubicBezTo>
                <a:cubicBezTo>
                  <a:pt x="1872551" y="1623819"/>
                  <a:pt x="1857314" y="1613480"/>
                  <a:pt x="1858947" y="1594978"/>
                </a:cubicBezTo>
                <a:cubicBezTo>
                  <a:pt x="1857858" y="1577564"/>
                  <a:pt x="1870918" y="1567225"/>
                  <a:pt x="1887244" y="1567225"/>
                </a:cubicBezTo>
                <a:close/>
                <a:moveTo>
                  <a:pt x="1724535" y="1567225"/>
                </a:moveTo>
                <a:cubicBezTo>
                  <a:pt x="1743037" y="1567225"/>
                  <a:pt x="1752288" y="1581373"/>
                  <a:pt x="1752288" y="1594978"/>
                </a:cubicBezTo>
                <a:cubicBezTo>
                  <a:pt x="1752288" y="1609127"/>
                  <a:pt x="1741949" y="1623275"/>
                  <a:pt x="1724535" y="1623275"/>
                </a:cubicBezTo>
                <a:cubicBezTo>
                  <a:pt x="1710930" y="1623819"/>
                  <a:pt x="1694605" y="1613480"/>
                  <a:pt x="1696238" y="1594978"/>
                </a:cubicBezTo>
                <a:cubicBezTo>
                  <a:pt x="1694605" y="1577564"/>
                  <a:pt x="1708754" y="1567225"/>
                  <a:pt x="1724535" y="1567225"/>
                </a:cubicBezTo>
                <a:close/>
                <a:moveTo>
                  <a:pt x="2050496" y="1566680"/>
                </a:moveTo>
                <a:lnTo>
                  <a:pt x="2051041" y="1566888"/>
                </a:lnTo>
                <a:lnTo>
                  <a:pt x="2051041" y="1623794"/>
                </a:lnTo>
                <a:lnTo>
                  <a:pt x="2049408" y="1624363"/>
                </a:lnTo>
                <a:cubicBezTo>
                  <a:pt x="2033083" y="1623818"/>
                  <a:pt x="2021111" y="1611302"/>
                  <a:pt x="2021655" y="1594977"/>
                </a:cubicBezTo>
                <a:cubicBezTo>
                  <a:pt x="2022199" y="1575931"/>
                  <a:pt x="2033627" y="1567224"/>
                  <a:pt x="2050496" y="1566680"/>
                </a:cubicBezTo>
                <a:close/>
                <a:moveTo>
                  <a:pt x="663392" y="1505188"/>
                </a:moveTo>
                <a:cubicBezTo>
                  <a:pt x="666113" y="1505188"/>
                  <a:pt x="669922" y="1510086"/>
                  <a:pt x="674819" y="1513895"/>
                </a:cubicBezTo>
                <a:cubicBezTo>
                  <a:pt x="669378" y="1517704"/>
                  <a:pt x="665569" y="1522602"/>
                  <a:pt x="662848" y="1522058"/>
                </a:cubicBezTo>
                <a:cubicBezTo>
                  <a:pt x="659583" y="1521513"/>
                  <a:pt x="654685" y="1516072"/>
                  <a:pt x="654685" y="1513351"/>
                </a:cubicBezTo>
                <a:cubicBezTo>
                  <a:pt x="654685" y="1510086"/>
                  <a:pt x="660127" y="1505188"/>
                  <a:pt x="663392" y="1505188"/>
                </a:cubicBezTo>
                <a:close/>
                <a:moveTo>
                  <a:pt x="826101" y="1497570"/>
                </a:moveTo>
                <a:cubicBezTo>
                  <a:pt x="834263" y="1497025"/>
                  <a:pt x="842426" y="1505188"/>
                  <a:pt x="842970" y="1513351"/>
                </a:cubicBezTo>
                <a:cubicBezTo>
                  <a:pt x="842970" y="1522058"/>
                  <a:pt x="835352" y="1529676"/>
                  <a:pt x="826645" y="1529676"/>
                </a:cubicBezTo>
                <a:cubicBezTo>
                  <a:pt x="818482" y="1529676"/>
                  <a:pt x="810864" y="1523146"/>
                  <a:pt x="810319" y="1514983"/>
                </a:cubicBezTo>
                <a:cubicBezTo>
                  <a:pt x="809775" y="1506276"/>
                  <a:pt x="817394" y="1498114"/>
                  <a:pt x="826101" y="1497570"/>
                </a:cubicBezTo>
                <a:close/>
                <a:moveTo>
                  <a:pt x="988265" y="1492128"/>
                </a:moveTo>
                <a:cubicBezTo>
                  <a:pt x="998605" y="1492128"/>
                  <a:pt x="1010577" y="1501379"/>
                  <a:pt x="1010577" y="1513351"/>
                </a:cubicBezTo>
                <a:cubicBezTo>
                  <a:pt x="1010577" y="1524234"/>
                  <a:pt x="1000237" y="1534574"/>
                  <a:pt x="989354" y="1534574"/>
                </a:cubicBezTo>
                <a:cubicBezTo>
                  <a:pt x="979559" y="1534574"/>
                  <a:pt x="968675" y="1523690"/>
                  <a:pt x="968131" y="1513895"/>
                </a:cubicBezTo>
                <a:cubicBezTo>
                  <a:pt x="968131" y="1503556"/>
                  <a:pt x="977926" y="1492672"/>
                  <a:pt x="988265" y="1492128"/>
                </a:cubicBezTo>
                <a:close/>
                <a:moveTo>
                  <a:pt x="1152606" y="1490496"/>
                </a:moveTo>
                <a:cubicBezTo>
                  <a:pt x="1167299" y="1489407"/>
                  <a:pt x="1176006" y="1498658"/>
                  <a:pt x="1176006" y="1513351"/>
                </a:cubicBezTo>
                <a:cubicBezTo>
                  <a:pt x="1176006" y="1530764"/>
                  <a:pt x="1166755" y="1537295"/>
                  <a:pt x="1152606" y="1537839"/>
                </a:cubicBezTo>
                <a:cubicBezTo>
                  <a:pt x="1139546" y="1537839"/>
                  <a:pt x="1129207" y="1530764"/>
                  <a:pt x="1129207" y="1514984"/>
                </a:cubicBezTo>
                <a:cubicBezTo>
                  <a:pt x="1129207" y="1498114"/>
                  <a:pt x="1138458" y="1491040"/>
                  <a:pt x="1152606" y="1490496"/>
                </a:cubicBezTo>
                <a:close/>
                <a:moveTo>
                  <a:pt x="1316403" y="1487231"/>
                </a:moveTo>
                <a:cubicBezTo>
                  <a:pt x="1331095" y="1487775"/>
                  <a:pt x="1342523" y="1499203"/>
                  <a:pt x="1342523" y="1513896"/>
                </a:cubicBezTo>
                <a:cubicBezTo>
                  <a:pt x="1342523" y="1528588"/>
                  <a:pt x="1330551" y="1540560"/>
                  <a:pt x="1315314" y="1540560"/>
                </a:cubicBezTo>
                <a:cubicBezTo>
                  <a:pt x="1303887" y="1542193"/>
                  <a:pt x="1288106" y="1527500"/>
                  <a:pt x="1288650" y="1513896"/>
                </a:cubicBezTo>
                <a:cubicBezTo>
                  <a:pt x="1289194" y="1498659"/>
                  <a:pt x="1301166" y="1486687"/>
                  <a:pt x="1316403" y="1487231"/>
                </a:cubicBezTo>
                <a:close/>
                <a:moveTo>
                  <a:pt x="1479656" y="1485054"/>
                </a:moveTo>
                <a:cubicBezTo>
                  <a:pt x="1495437" y="1485598"/>
                  <a:pt x="1508497" y="1496482"/>
                  <a:pt x="1507409" y="1513895"/>
                </a:cubicBezTo>
                <a:cubicBezTo>
                  <a:pt x="1508497" y="1527500"/>
                  <a:pt x="1498158" y="1542192"/>
                  <a:pt x="1479112" y="1541648"/>
                </a:cubicBezTo>
                <a:cubicBezTo>
                  <a:pt x="1462787" y="1541648"/>
                  <a:pt x="1451359" y="1529676"/>
                  <a:pt x="1451359" y="1513351"/>
                </a:cubicBezTo>
                <a:cubicBezTo>
                  <a:pt x="1451359" y="1493761"/>
                  <a:pt x="1466596" y="1485054"/>
                  <a:pt x="1479656" y="1485054"/>
                </a:cubicBezTo>
                <a:close/>
                <a:moveTo>
                  <a:pt x="1641820" y="1482334"/>
                </a:moveTo>
                <a:cubicBezTo>
                  <a:pt x="1657057" y="1481789"/>
                  <a:pt x="1672838" y="1496482"/>
                  <a:pt x="1673382" y="1512807"/>
                </a:cubicBezTo>
                <a:cubicBezTo>
                  <a:pt x="1673927" y="1528044"/>
                  <a:pt x="1658145" y="1544370"/>
                  <a:pt x="1642909" y="1544370"/>
                </a:cubicBezTo>
                <a:cubicBezTo>
                  <a:pt x="1626039" y="1542193"/>
                  <a:pt x="1612979" y="1532942"/>
                  <a:pt x="1612435" y="1513351"/>
                </a:cubicBezTo>
                <a:cubicBezTo>
                  <a:pt x="1611890" y="1497571"/>
                  <a:pt x="1626583" y="1483422"/>
                  <a:pt x="1641820" y="1482334"/>
                </a:cubicBezTo>
                <a:close/>
                <a:moveTo>
                  <a:pt x="1804529" y="1481788"/>
                </a:moveTo>
                <a:cubicBezTo>
                  <a:pt x="1820855" y="1481244"/>
                  <a:pt x="1836091" y="1494304"/>
                  <a:pt x="1837180" y="1513351"/>
                </a:cubicBezTo>
                <a:cubicBezTo>
                  <a:pt x="1838812" y="1528043"/>
                  <a:pt x="1825208" y="1544913"/>
                  <a:pt x="1805617" y="1545457"/>
                </a:cubicBezTo>
                <a:cubicBezTo>
                  <a:pt x="1787660" y="1544913"/>
                  <a:pt x="1774055" y="1532397"/>
                  <a:pt x="1773511" y="1514983"/>
                </a:cubicBezTo>
                <a:cubicBezTo>
                  <a:pt x="1772967" y="1494849"/>
                  <a:pt x="1788204" y="1482333"/>
                  <a:pt x="1804529" y="1481788"/>
                </a:cubicBezTo>
                <a:close/>
                <a:moveTo>
                  <a:pt x="1968870" y="1480700"/>
                </a:moveTo>
                <a:cubicBezTo>
                  <a:pt x="1984651" y="1480700"/>
                  <a:pt x="2000977" y="1495937"/>
                  <a:pt x="2000977" y="1513351"/>
                </a:cubicBezTo>
                <a:cubicBezTo>
                  <a:pt x="2001521" y="1529132"/>
                  <a:pt x="1987916" y="1546001"/>
                  <a:pt x="1968870" y="1545457"/>
                </a:cubicBezTo>
                <a:cubicBezTo>
                  <a:pt x="1949824" y="1545457"/>
                  <a:pt x="1936764" y="1530764"/>
                  <a:pt x="1936764" y="1513351"/>
                </a:cubicBezTo>
                <a:cubicBezTo>
                  <a:pt x="1936764" y="1493760"/>
                  <a:pt x="1953633" y="1480700"/>
                  <a:pt x="1968870" y="1480700"/>
                </a:cubicBezTo>
                <a:close/>
                <a:moveTo>
                  <a:pt x="581221" y="1423562"/>
                </a:moveTo>
                <a:cubicBezTo>
                  <a:pt x="586663" y="1423562"/>
                  <a:pt x="589384" y="1427371"/>
                  <a:pt x="588840" y="1431725"/>
                </a:cubicBezTo>
                <a:cubicBezTo>
                  <a:pt x="588840" y="1434990"/>
                  <a:pt x="585030" y="1438255"/>
                  <a:pt x="581765" y="1443153"/>
                </a:cubicBezTo>
                <a:cubicBezTo>
                  <a:pt x="577412" y="1438255"/>
                  <a:pt x="574147" y="1436078"/>
                  <a:pt x="573059" y="1432813"/>
                </a:cubicBezTo>
                <a:cubicBezTo>
                  <a:pt x="571426" y="1429004"/>
                  <a:pt x="576868" y="1423562"/>
                  <a:pt x="581221" y="1423562"/>
                </a:cubicBezTo>
                <a:close/>
                <a:moveTo>
                  <a:pt x="745562" y="1414855"/>
                </a:moveTo>
                <a:cubicBezTo>
                  <a:pt x="754269" y="1415399"/>
                  <a:pt x="761344" y="1423018"/>
                  <a:pt x="761344" y="1432269"/>
                </a:cubicBezTo>
                <a:cubicBezTo>
                  <a:pt x="761344" y="1442064"/>
                  <a:pt x="754813" y="1448050"/>
                  <a:pt x="745018" y="1448050"/>
                </a:cubicBezTo>
                <a:cubicBezTo>
                  <a:pt x="734679" y="1448050"/>
                  <a:pt x="728693" y="1442064"/>
                  <a:pt x="728693" y="1431725"/>
                </a:cubicBezTo>
                <a:cubicBezTo>
                  <a:pt x="728693" y="1421386"/>
                  <a:pt x="735223" y="1414311"/>
                  <a:pt x="745562" y="1414855"/>
                </a:cubicBezTo>
                <a:close/>
                <a:moveTo>
                  <a:pt x="908815" y="1409958"/>
                </a:moveTo>
                <a:cubicBezTo>
                  <a:pt x="920243" y="1410502"/>
                  <a:pt x="930038" y="1420297"/>
                  <a:pt x="930038" y="1431725"/>
                </a:cubicBezTo>
                <a:cubicBezTo>
                  <a:pt x="929494" y="1443697"/>
                  <a:pt x="919155" y="1454036"/>
                  <a:pt x="907183" y="1453492"/>
                </a:cubicBezTo>
                <a:cubicBezTo>
                  <a:pt x="896844" y="1453492"/>
                  <a:pt x="885960" y="1442064"/>
                  <a:pt x="885960" y="1431725"/>
                </a:cubicBezTo>
                <a:cubicBezTo>
                  <a:pt x="885960" y="1420297"/>
                  <a:pt x="897388" y="1409414"/>
                  <a:pt x="908815" y="1409958"/>
                </a:cubicBezTo>
                <a:close/>
                <a:moveTo>
                  <a:pt x="1070436" y="1406693"/>
                </a:moveTo>
                <a:cubicBezTo>
                  <a:pt x="1084584" y="1406693"/>
                  <a:pt x="1096012" y="1418121"/>
                  <a:pt x="1096012" y="1432269"/>
                </a:cubicBezTo>
                <a:cubicBezTo>
                  <a:pt x="1096012" y="1445329"/>
                  <a:pt x="1082952" y="1458390"/>
                  <a:pt x="1070436" y="1457846"/>
                </a:cubicBezTo>
                <a:cubicBezTo>
                  <a:pt x="1058464" y="1457301"/>
                  <a:pt x="1044860" y="1443153"/>
                  <a:pt x="1045404" y="1431181"/>
                </a:cubicBezTo>
                <a:cubicBezTo>
                  <a:pt x="1045948" y="1418665"/>
                  <a:pt x="1057920" y="1406693"/>
                  <a:pt x="1070436" y="1406693"/>
                </a:cubicBezTo>
                <a:close/>
                <a:moveTo>
                  <a:pt x="1235865" y="1404516"/>
                </a:moveTo>
                <a:cubicBezTo>
                  <a:pt x="1252191" y="1405605"/>
                  <a:pt x="1262530" y="1415944"/>
                  <a:pt x="1261986" y="1433358"/>
                </a:cubicBezTo>
                <a:cubicBezTo>
                  <a:pt x="1261442" y="1449683"/>
                  <a:pt x="1251102" y="1459478"/>
                  <a:pt x="1233689" y="1459478"/>
                </a:cubicBezTo>
                <a:cubicBezTo>
                  <a:pt x="1218452" y="1461655"/>
                  <a:pt x="1206480" y="1445329"/>
                  <a:pt x="1206480" y="1432269"/>
                </a:cubicBezTo>
                <a:cubicBezTo>
                  <a:pt x="1206480" y="1417032"/>
                  <a:pt x="1220084" y="1403428"/>
                  <a:pt x="1235865" y="1404516"/>
                </a:cubicBezTo>
                <a:close/>
                <a:moveTo>
                  <a:pt x="1397485" y="1400162"/>
                </a:moveTo>
                <a:cubicBezTo>
                  <a:pt x="1412178" y="1400162"/>
                  <a:pt x="1427959" y="1416487"/>
                  <a:pt x="1427959" y="1431724"/>
                </a:cubicBezTo>
                <a:cubicBezTo>
                  <a:pt x="1428503" y="1446961"/>
                  <a:pt x="1413810" y="1462198"/>
                  <a:pt x="1398029" y="1463287"/>
                </a:cubicBezTo>
                <a:cubicBezTo>
                  <a:pt x="1384425" y="1464375"/>
                  <a:pt x="1367555" y="1448049"/>
                  <a:pt x="1366467" y="1432813"/>
                </a:cubicBezTo>
                <a:cubicBezTo>
                  <a:pt x="1365923" y="1418120"/>
                  <a:pt x="1382792" y="1400162"/>
                  <a:pt x="1397485" y="1400162"/>
                </a:cubicBezTo>
                <a:close/>
                <a:moveTo>
                  <a:pt x="1561282" y="1399618"/>
                </a:moveTo>
                <a:cubicBezTo>
                  <a:pt x="1575975" y="1399618"/>
                  <a:pt x="1593388" y="1415943"/>
                  <a:pt x="1593388" y="1432269"/>
                </a:cubicBezTo>
                <a:cubicBezTo>
                  <a:pt x="1593388" y="1446961"/>
                  <a:pt x="1578696" y="1464919"/>
                  <a:pt x="1560738" y="1464375"/>
                </a:cubicBezTo>
                <a:cubicBezTo>
                  <a:pt x="1542236" y="1463831"/>
                  <a:pt x="1529176" y="1450226"/>
                  <a:pt x="1528631" y="1432813"/>
                </a:cubicBezTo>
                <a:cubicBezTo>
                  <a:pt x="1528087" y="1414311"/>
                  <a:pt x="1545501" y="1399618"/>
                  <a:pt x="1561282" y="1399618"/>
                </a:cubicBezTo>
                <a:close/>
                <a:moveTo>
                  <a:pt x="1723446" y="1399074"/>
                </a:moveTo>
                <a:cubicBezTo>
                  <a:pt x="1741948" y="1399074"/>
                  <a:pt x="1757185" y="1413767"/>
                  <a:pt x="1757185" y="1432269"/>
                </a:cubicBezTo>
                <a:cubicBezTo>
                  <a:pt x="1757185" y="1451315"/>
                  <a:pt x="1743037" y="1463831"/>
                  <a:pt x="1723991" y="1465464"/>
                </a:cubicBezTo>
                <a:cubicBezTo>
                  <a:pt x="1707121" y="1466552"/>
                  <a:pt x="1690252" y="1448594"/>
                  <a:pt x="1691340" y="1433357"/>
                </a:cubicBezTo>
                <a:cubicBezTo>
                  <a:pt x="1692428" y="1412678"/>
                  <a:pt x="1704400" y="1399074"/>
                  <a:pt x="1723446" y="1399074"/>
                </a:cubicBezTo>
                <a:close/>
                <a:moveTo>
                  <a:pt x="1886700" y="1398530"/>
                </a:moveTo>
                <a:cubicBezTo>
                  <a:pt x="1904113" y="1396898"/>
                  <a:pt x="1922071" y="1415944"/>
                  <a:pt x="1920439" y="1432269"/>
                </a:cubicBezTo>
                <a:cubicBezTo>
                  <a:pt x="1919350" y="1451315"/>
                  <a:pt x="1907378" y="1464920"/>
                  <a:pt x="1887788" y="1464920"/>
                </a:cubicBezTo>
                <a:cubicBezTo>
                  <a:pt x="1867109" y="1464920"/>
                  <a:pt x="1854049" y="1452948"/>
                  <a:pt x="1854049" y="1433358"/>
                </a:cubicBezTo>
                <a:cubicBezTo>
                  <a:pt x="1854049" y="1412679"/>
                  <a:pt x="1867109" y="1400163"/>
                  <a:pt x="1886700" y="1398530"/>
                </a:cubicBezTo>
                <a:close/>
                <a:moveTo>
                  <a:pt x="2051041" y="1398217"/>
                </a:moveTo>
                <a:lnTo>
                  <a:pt x="2051041" y="1464535"/>
                </a:lnTo>
                <a:lnTo>
                  <a:pt x="2049953" y="1464920"/>
                </a:lnTo>
                <a:cubicBezTo>
                  <a:pt x="2032539" y="1467096"/>
                  <a:pt x="2017302" y="1450771"/>
                  <a:pt x="2017302" y="1431725"/>
                </a:cubicBezTo>
                <a:cubicBezTo>
                  <a:pt x="2017302" y="1422746"/>
                  <a:pt x="2021383" y="1414311"/>
                  <a:pt x="2027709" y="1408121"/>
                </a:cubicBezTo>
                <a:close/>
                <a:moveTo>
                  <a:pt x="500139" y="1341936"/>
                </a:moveTo>
                <a:cubicBezTo>
                  <a:pt x="503404" y="1343568"/>
                  <a:pt x="506125" y="1346833"/>
                  <a:pt x="511023" y="1350643"/>
                </a:cubicBezTo>
                <a:cubicBezTo>
                  <a:pt x="506125" y="1354452"/>
                  <a:pt x="502860" y="1357717"/>
                  <a:pt x="499595" y="1358261"/>
                </a:cubicBezTo>
                <a:cubicBezTo>
                  <a:pt x="495241" y="1359349"/>
                  <a:pt x="490888" y="1353908"/>
                  <a:pt x="491432" y="1349010"/>
                </a:cubicBezTo>
                <a:cubicBezTo>
                  <a:pt x="491976" y="1344112"/>
                  <a:pt x="495241" y="1340848"/>
                  <a:pt x="500139" y="1341936"/>
                </a:cubicBezTo>
                <a:close/>
                <a:moveTo>
                  <a:pt x="662848" y="1333773"/>
                </a:moveTo>
                <a:cubicBezTo>
                  <a:pt x="673187" y="1333773"/>
                  <a:pt x="679173" y="1340303"/>
                  <a:pt x="679173" y="1350643"/>
                </a:cubicBezTo>
                <a:cubicBezTo>
                  <a:pt x="679173" y="1359894"/>
                  <a:pt x="672099" y="1366424"/>
                  <a:pt x="662848" y="1366424"/>
                </a:cubicBezTo>
                <a:cubicBezTo>
                  <a:pt x="653053" y="1366424"/>
                  <a:pt x="647067" y="1359894"/>
                  <a:pt x="647067" y="1350098"/>
                </a:cubicBezTo>
                <a:cubicBezTo>
                  <a:pt x="647067" y="1339759"/>
                  <a:pt x="653053" y="1333773"/>
                  <a:pt x="662848" y="1333773"/>
                </a:cubicBezTo>
                <a:close/>
                <a:moveTo>
                  <a:pt x="826645" y="1328331"/>
                </a:moveTo>
                <a:cubicBezTo>
                  <a:pt x="838617" y="1328331"/>
                  <a:pt x="848412" y="1338670"/>
                  <a:pt x="847868" y="1350642"/>
                </a:cubicBezTo>
                <a:cubicBezTo>
                  <a:pt x="847868" y="1362070"/>
                  <a:pt x="836984" y="1372409"/>
                  <a:pt x="825556" y="1372409"/>
                </a:cubicBezTo>
                <a:cubicBezTo>
                  <a:pt x="814673" y="1372409"/>
                  <a:pt x="803789" y="1360982"/>
                  <a:pt x="804334" y="1349554"/>
                </a:cubicBezTo>
                <a:cubicBezTo>
                  <a:pt x="804334" y="1337582"/>
                  <a:pt x="814673" y="1328331"/>
                  <a:pt x="826645" y="1328331"/>
                </a:cubicBezTo>
                <a:close/>
                <a:moveTo>
                  <a:pt x="989353" y="1323978"/>
                </a:moveTo>
                <a:cubicBezTo>
                  <a:pt x="1002957" y="1324522"/>
                  <a:pt x="1014385" y="1334861"/>
                  <a:pt x="1015473" y="1350098"/>
                </a:cubicBezTo>
                <a:cubicBezTo>
                  <a:pt x="1014929" y="1363702"/>
                  <a:pt x="1004046" y="1376219"/>
                  <a:pt x="989353" y="1376763"/>
                </a:cubicBezTo>
                <a:cubicBezTo>
                  <a:pt x="976293" y="1376763"/>
                  <a:pt x="963777" y="1364791"/>
                  <a:pt x="963777" y="1350642"/>
                </a:cubicBezTo>
                <a:cubicBezTo>
                  <a:pt x="963233" y="1334861"/>
                  <a:pt x="977925" y="1323434"/>
                  <a:pt x="989353" y="1323978"/>
                </a:cubicBezTo>
                <a:close/>
                <a:moveTo>
                  <a:pt x="1152606" y="1322889"/>
                </a:moveTo>
                <a:cubicBezTo>
                  <a:pt x="1170564" y="1320712"/>
                  <a:pt x="1180903" y="1335405"/>
                  <a:pt x="1181447" y="1350098"/>
                </a:cubicBezTo>
                <a:cubicBezTo>
                  <a:pt x="1181447" y="1364791"/>
                  <a:pt x="1171108" y="1379483"/>
                  <a:pt x="1152606" y="1379483"/>
                </a:cubicBezTo>
                <a:cubicBezTo>
                  <a:pt x="1137913" y="1379483"/>
                  <a:pt x="1124853" y="1367511"/>
                  <a:pt x="1124853" y="1350642"/>
                </a:cubicBezTo>
                <a:cubicBezTo>
                  <a:pt x="1124309" y="1333228"/>
                  <a:pt x="1137913" y="1320712"/>
                  <a:pt x="1152606" y="1322889"/>
                </a:cubicBezTo>
                <a:close/>
                <a:moveTo>
                  <a:pt x="1315315" y="1318536"/>
                </a:moveTo>
                <a:cubicBezTo>
                  <a:pt x="1334361" y="1318536"/>
                  <a:pt x="1345789" y="1331596"/>
                  <a:pt x="1347966" y="1350098"/>
                </a:cubicBezTo>
                <a:cubicBezTo>
                  <a:pt x="1345245" y="1369144"/>
                  <a:pt x="1334905" y="1382205"/>
                  <a:pt x="1315315" y="1381661"/>
                </a:cubicBezTo>
                <a:cubicBezTo>
                  <a:pt x="1296813" y="1381116"/>
                  <a:pt x="1284841" y="1369144"/>
                  <a:pt x="1284297" y="1350098"/>
                </a:cubicBezTo>
                <a:cubicBezTo>
                  <a:pt x="1284297" y="1331052"/>
                  <a:pt x="1297357" y="1319080"/>
                  <a:pt x="1315315" y="1318536"/>
                </a:cubicBezTo>
                <a:close/>
                <a:moveTo>
                  <a:pt x="1480744" y="1317448"/>
                </a:moveTo>
                <a:cubicBezTo>
                  <a:pt x="1499246" y="1317992"/>
                  <a:pt x="1512851" y="1332140"/>
                  <a:pt x="1512306" y="1351731"/>
                </a:cubicBezTo>
                <a:cubicBezTo>
                  <a:pt x="1511762" y="1370233"/>
                  <a:pt x="1497070" y="1383837"/>
                  <a:pt x="1477479" y="1383293"/>
                </a:cubicBezTo>
                <a:cubicBezTo>
                  <a:pt x="1458977" y="1382749"/>
                  <a:pt x="1447550" y="1368600"/>
                  <a:pt x="1446461" y="1349554"/>
                </a:cubicBezTo>
                <a:cubicBezTo>
                  <a:pt x="1445373" y="1333773"/>
                  <a:pt x="1463331" y="1314727"/>
                  <a:pt x="1480744" y="1317448"/>
                </a:cubicBezTo>
                <a:close/>
                <a:moveTo>
                  <a:pt x="1642908" y="1315815"/>
                </a:moveTo>
                <a:cubicBezTo>
                  <a:pt x="1663043" y="1315815"/>
                  <a:pt x="1677735" y="1333229"/>
                  <a:pt x="1676647" y="1351731"/>
                </a:cubicBezTo>
                <a:cubicBezTo>
                  <a:pt x="1675559" y="1371865"/>
                  <a:pt x="1661954" y="1384381"/>
                  <a:pt x="1640732" y="1383837"/>
                </a:cubicBezTo>
                <a:cubicBezTo>
                  <a:pt x="1620597" y="1384381"/>
                  <a:pt x="1608081" y="1368056"/>
                  <a:pt x="1608081" y="1349554"/>
                </a:cubicBezTo>
                <a:cubicBezTo>
                  <a:pt x="1608081" y="1329964"/>
                  <a:pt x="1623318" y="1315815"/>
                  <a:pt x="1642908" y="1315815"/>
                </a:cubicBezTo>
                <a:close/>
                <a:moveTo>
                  <a:pt x="1968870" y="1314183"/>
                </a:moveTo>
                <a:cubicBezTo>
                  <a:pt x="1989548" y="1314727"/>
                  <a:pt x="2004785" y="1329420"/>
                  <a:pt x="2005329" y="1351187"/>
                </a:cubicBezTo>
                <a:cubicBezTo>
                  <a:pt x="2004785" y="1370233"/>
                  <a:pt x="1985739" y="1388735"/>
                  <a:pt x="1967781" y="1388191"/>
                </a:cubicBezTo>
                <a:cubicBezTo>
                  <a:pt x="1949823" y="1387647"/>
                  <a:pt x="1931322" y="1367512"/>
                  <a:pt x="1931866" y="1350098"/>
                </a:cubicBezTo>
                <a:cubicBezTo>
                  <a:pt x="1932410" y="1331596"/>
                  <a:pt x="1950912" y="1313094"/>
                  <a:pt x="1968870" y="1314183"/>
                </a:cubicBezTo>
                <a:close/>
                <a:moveTo>
                  <a:pt x="1806161" y="1313639"/>
                </a:moveTo>
                <a:cubicBezTo>
                  <a:pt x="1825207" y="1314183"/>
                  <a:pt x="1843165" y="1332141"/>
                  <a:pt x="1841533" y="1351187"/>
                </a:cubicBezTo>
                <a:cubicBezTo>
                  <a:pt x="1840988" y="1360438"/>
                  <a:pt x="1838267" y="1370233"/>
                  <a:pt x="1830105" y="1376763"/>
                </a:cubicBezTo>
                <a:cubicBezTo>
                  <a:pt x="1822486" y="1383293"/>
                  <a:pt x="1813235" y="1387102"/>
                  <a:pt x="1803984" y="1387102"/>
                </a:cubicBezTo>
                <a:cubicBezTo>
                  <a:pt x="1786027" y="1387102"/>
                  <a:pt x="1768613" y="1367512"/>
                  <a:pt x="1768613" y="1350098"/>
                </a:cubicBezTo>
                <a:cubicBezTo>
                  <a:pt x="1769157" y="1331596"/>
                  <a:pt x="1788203" y="1313094"/>
                  <a:pt x="1806161" y="1313639"/>
                </a:cubicBezTo>
                <a:close/>
                <a:moveTo>
                  <a:pt x="419057" y="1262486"/>
                </a:moveTo>
                <a:cubicBezTo>
                  <a:pt x="423410" y="1262486"/>
                  <a:pt x="425587" y="1265207"/>
                  <a:pt x="424499" y="1269016"/>
                </a:cubicBezTo>
                <a:cubicBezTo>
                  <a:pt x="423410" y="1271737"/>
                  <a:pt x="421234" y="1273914"/>
                  <a:pt x="417969" y="1278811"/>
                </a:cubicBezTo>
                <a:cubicBezTo>
                  <a:pt x="414704" y="1273914"/>
                  <a:pt x="412527" y="1271737"/>
                  <a:pt x="411983" y="1269016"/>
                </a:cubicBezTo>
                <a:cubicBezTo>
                  <a:pt x="410894" y="1264118"/>
                  <a:pt x="414159" y="1262486"/>
                  <a:pt x="419057" y="1262486"/>
                </a:cubicBezTo>
                <a:close/>
                <a:moveTo>
                  <a:pt x="581221" y="1252147"/>
                </a:moveTo>
                <a:cubicBezTo>
                  <a:pt x="591016" y="1252691"/>
                  <a:pt x="598091" y="1260310"/>
                  <a:pt x="597547" y="1269017"/>
                </a:cubicBezTo>
                <a:cubicBezTo>
                  <a:pt x="597547" y="1278268"/>
                  <a:pt x="589928" y="1284798"/>
                  <a:pt x="580133" y="1284254"/>
                </a:cubicBezTo>
                <a:cubicBezTo>
                  <a:pt x="570882" y="1283709"/>
                  <a:pt x="564896" y="1277179"/>
                  <a:pt x="564896" y="1268472"/>
                </a:cubicBezTo>
                <a:cubicBezTo>
                  <a:pt x="564896" y="1259222"/>
                  <a:pt x="571970" y="1252147"/>
                  <a:pt x="581221" y="1252147"/>
                </a:cubicBezTo>
                <a:close/>
                <a:moveTo>
                  <a:pt x="745018" y="1246705"/>
                </a:moveTo>
                <a:cubicBezTo>
                  <a:pt x="757534" y="1246705"/>
                  <a:pt x="766785" y="1257044"/>
                  <a:pt x="766241" y="1269560"/>
                </a:cubicBezTo>
                <a:cubicBezTo>
                  <a:pt x="765697" y="1280988"/>
                  <a:pt x="755358" y="1290783"/>
                  <a:pt x="744474" y="1290783"/>
                </a:cubicBezTo>
                <a:cubicBezTo>
                  <a:pt x="733046" y="1290783"/>
                  <a:pt x="722707" y="1279900"/>
                  <a:pt x="722707" y="1267928"/>
                </a:cubicBezTo>
                <a:cubicBezTo>
                  <a:pt x="722707" y="1255956"/>
                  <a:pt x="733046" y="1246705"/>
                  <a:pt x="745018" y="1246705"/>
                </a:cubicBezTo>
                <a:close/>
                <a:moveTo>
                  <a:pt x="907727" y="1241807"/>
                </a:moveTo>
                <a:cubicBezTo>
                  <a:pt x="921331" y="1241807"/>
                  <a:pt x="934391" y="1257044"/>
                  <a:pt x="933847" y="1269016"/>
                </a:cubicBezTo>
                <a:cubicBezTo>
                  <a:pt x="933847" y="1282620"/>
                  <a:pt x="920787" y="1295680"/>
                  <a:pt x="907183" y="1295136"/>
                </a:cubicBezTo>
                <a:cubicBezTo>
                  <a:pt x="893578" y="1294592"/>
                  <a:pt x="880518" y="1280988"/>
                  <a:pt x="880518" y="1267927"/>
                </a:cubicBezTo>
                <a:cubicBezTo>
                  <a:pt x="881062" y="1254323"/>
                  <a:pt x="894122" y="1242351"/>
                  <a:pt x="907727" y="1241807"/>
                </a:cubicBezTo>
                <a:close/>
                <a:moveTo>
                  <a:pt x="1070979" y="1240719"/>
                </a:moveTo>
                <a:cubicBezTo>
                  <a:pt x="1091114" y="1240175"/>
                  <a:pt x="1099276" y="1252691"/>
                  <a:pt x="1099821" y="1268472"/>
                </a:cubicBezTo>
                <a:cubicBezTo>
                  <a:pt x="1099821" y="1285886"/>
                  <a:pt x="1088393" y="1297858"/>
                  <a:pt x="1070435" y="1297858"/>
                </a:cubicBezTo>
                <a:cubicBezTo>
                  <a:pt x="1053566" y="1297858"/>
                  <a:pt x="1042138" y="1286430"/>
                  <a:pt x="1042138" y="1269560"/>
                </a:cubicBezTo>
                <a:cubicBezTo>
                  <a:pt x="1042138" y="1250514"/>
                  <a:pt x="1053566" y="1240719"/>
                  <a:pt x="1070979" y="1240719"/>
                </a:cubicBezTo>
                <a:close/>
                <a:moveTo>
                  <a:pt x="1234233" y="1235821"/>
                </a:moveTo>
                <a:cubicBezTo>
                  <a:pt x="1250558" y="1235821"/>
                  <a:pt x="1267972" y="1252691"/>
                  <a:pt x="1266883" y="1269016"/>
                </a:cubicBezTo>
                <a:cubicBezTo>
                  <a:pt x="1266339" y="1285885"/>
                  <a:pt x="1251646" y="1301122"/>
                  <a:pt x="1234233" y="1300578"/>
                </a:cubicBezTo>
                <a:cubicBezTo>
                  <a:pt x="1216275" y="1300578"/>
                  <a:pt x="1201582" y="1286430"/>
                  <a:pt x="1201582" y="1267383"/>
                </a:cubicBezTo>
                <a:cubicBezTo>
                  <a:pt x="1201582" y="1249425"/>
                  <a:pt x="1217907" y="1235821"/>
                  <a:pt x="1234233" y="1235821"/>
                </a:cubicBezTo>
                <a:close/>
                <a:moveTo>
                  <a:pt x="1396397" y="1234733"/>
                </a:moveTo>
                <a:cubicBezTo>
                  <a:pt x="1413810" y="1233645"/>
                  <a:pt x="1433945" y="1250514"/>
                  <a:pt x="1431224" y="1268472"/>
                </a:cubicBezTo>
                <a:cubicBezTo>
                  <a:pt x="1433401" y="1286430"/>
                  <a:pt x="1415443" y="1303299"/>
                  <a:pt x="1396941" y="1302755"/>
                </a:cubicBezTo>
                <a:cubicBezTo>
                  <a:pt x="1381160" y="1302211"/>
                  <a:pt x="1363202" y="1290783"/>
                  <a:pt x="1363746" y="1269016"/>
                </a:cubicBezTo>
                <a:cubicBezTo>
                  <a:pt x="1364290" y="1248881"/>
                  <a:pt x="1376806" y="1235821"/>
                  <a:pt x="1396397" y="1234733"/>
                </a:cubicBezTo>
                <a:close/>
                <a:moveTo>
                  <a:pt x="1559649" y="1232557"/>
                </a:moveTo>
                <a:cubicBezTo>
                  <a:pt x="1580328" y="1232013"/>
                  <a:pt x="1595021" y="1246705"/>
                  <a:pt x="1597742" y="1268472"/>
                </a:cubicBezTo>
                <a:cubicBezTo>
                  <a:pt x="1598286" y="1286974"/>
                  <a:pt x="1580872" y="1304932"/>
                  <a:pt x="1561826" y="1305476"/>
                </a:cubicBezTo>
                <a:cubicBezTo>
                  <a:pt x="1543868" y="1306564"/>
                  <a:pt x="1524822" y="1288063"/>
                  <a:pt x="1523734" y="1269561"/>
                </a:cubicBezTo>
                <a:cubicBezTo>
                  <a:pt x="1522645" y="1252147"/>
                  <a:pt x="1541147" y="1232557"/>
                  <a:pt x="1559649" y="1232557"/>
                </a:cubicBezTo>
                <a:close/>
                <a:moveTo>
                  <a:pt x="1723990" y="1231468"/>
                </a:moveTo>
                <a:cubicBezTo>
                  <a:pt x="1743037" y="1231468"/>
                  <a:pt x="1761539" y="1249426"/>
                  <a:pt x="1762083" y="1268472"/>
                </a:cubicBezTo>
                <a:cubicBezTo>
                  <a:pt x="1762627" y="1290239"/>
                  <a:pt x="1741404" y="1306020"/>
                  <a:pt x="1724535" y="1307109"/>
                </a:cubicBezTo>
                <a:cubicBezTo>
                  <a:pt x="1706033" y="1306564"/>
                  <a:pt x="1687531" y="1290239"/>
                  <a:pt x="1686442" y="1270105"/>
                </a:cubicBezTo>
                <a:cubicBezTo>
                  <a:pt x="1685354" y="1254323"/>
                  <a:pt x="1701679" y="1231468"/>
                  <a:pt x="1723990" y="1231468"/>
                </a:cubicBezTo>
                <a:close/>
                <a:moveTo>
                  <a:pt x="1888332" y="1230924"/>
                </a:moveTo>
                <a:cubicBezTo>
                  <a:pt x="1905745" y="1229836"/>
                  <a:pt x="1928056" y="1250514"/>
                  <a:pt x="1925336" y="1269561"/>
                </a:cubicBezTo>
                <a:cubicBezTo>
                  <a:pt x="1925336" y="1289695"/>
                  <a:pt x="1907378" y="1306564"/>
                  <a:pt x="1887243" y="1307653"/>
                </a:cubicBezTo>
                <a:cubicBezTo>
                  <a:pt x="1870918" y="1308197"/>
                  <a:pt x="1847519" y="1288063"/>
                  <a:pt x="1849151" y="1267928"/>
                </a:cubicBezTo>
                <a:cubicBezTo>
                  <a:pt x="1850239" y="1247794"/>
                  <a:pt x="1867653" y="1231468"/>
                  <a:pt x="1888332" y="1230924"/>
                </a:cubicBezTo>
                <a:close/>
                <a:moveTo>
                  <a:pt x="2049952" y="1230380"/>
                </a:moveTo>
                <a:lnTo>
                  <a:pt x="2051041" y="1230805"/>
                </a:lnTo>
                <a:lnTo>
                  <a:pt x="2051041" y="1307109"/>
                </a:lnTo>
                <a:cubicBezTo>
                  <a:pt x="2033627" y="1309830"/>
                  <a:pt x="2011316" y="1286974"/>
                  <a:pt x="2012404" y="1268472"/>
                </a:cubicBezTo>
                <a:cubicBezTo>
                  <a:pt x="2013493" y="1247794"/>
                  <a:pt x="2029274" y="1230380"/>
                  <a:pt x="2049952" y="1230380"/>
                </a:cubicBezTo>
                <a:close/>
                <a:moveTo>
                  <a:pt x="337431" y="1181404"/>
                </a:moveTo>
                <a:cubicBezTo>
                  <a:pt x="339608" y="1182493"/>
                  <a:pt x="341240" y="1184669"/>
                  <a:pt x="345050" y="1187934"/>
                </a:cubicBezTo>
                <a:cubicBezTo>
                  <a:pt x="340696" y="1190111"/>
                  <a:pt x="338519" y="1192288"/>
                  <a:pt x="336343" y="1192288"/>
                </a:cubicBezTo>
                <a:cubicBezTo>
                  <a:pt x="331445" y="1192832"/>
                  <a:pt x="330901" y="1189567"/>
                  <a:pt x="330901" y="1185758"/>
                </a:cubicBezTo>
                <a:cubicBezTo>
                  <a:pt x="330901" y="1181404"/>
                  <a:pt x="334166" y="1180860"/>
                  <a:pt x="337431" y="1181404"/>
                </a:cubicBezTo>
                <a:close/>
                <a:moveTo>
                  <a:pt x="499051" y="1171065"/>
                </a:moveTo>
                <a:cubicBezTo>
                  <a:pt x="506125" y="1170521"/>
                  <a:pt x="516465" y="1179772"/>
                  <a:pt x="516465" y="1187390"/>
                </a:cubicBezTo>
                <a:cubicBezTo>
                  <a:pt x="515921" y="1193920"/>
                  <a:pt x="507214" y="1202627"/>
                  <a:pt x="500140" y="1202627"/>
                </a:cubicBezTo>
                <a:cubicBezTo>
                  <a:pt x="493065" y="1202627"/>
                  <a:pt x="484358" y="1195008"/>
                  <a:pt x="483814" y="1187390"/>
                </a:cubicBezTo>
                <a:cubicBezTo>
                  <a:pt x="483270" y="1180316"/>
                  <a:pt x="491977" y="1171065"/>
                  <a:pt x="499051" y="1171065"/>
                </a:cubicBezTo>
                <a:close/>
                <a:moveTo>
                  <a:pt x="662848" y="1165623"/>
                </a:moveTo>
                <a:cubicBezTo>
                  <a:pt x="675364" y="1165623"/>
                  <a:pt x="684615" y="1174874"/>
                  <a:pt x="684615" y="1187390"/>
                </a:cubicBezTo>
                <a:cubicBezTo>
                  <a:pt x="684615" y="1199362"/>
                  <a:pt x="674820" y="1209157"/>
                  <a:pt x="662848" y="1209157"/>
                </a:cubicBezTo>
                <a:cubicBezTo>
                  <a:pt x="651420" y="1209157"/>
                  <a:pt x="641081" y="1198274"/>
                  <a:pt x="641081" y="1186846"/>
                </a:cubicBezTo>
                <a:cubicBezTo>
                  <a:pt x="641081" y="1175418"/>
                  <a:pt x="651420" y="1165623"/>
                  <a:pt x="662848" y="1165623"/>
                </a:cubicBezTo>
                <a:close/>
                <a:moveTo>
                  <a:pt x="825556" y="1160725"/>
                </a:moveTo>
                <a:cubicBezTo>
                  <a:pt x="840249" y="1161270"/>
                  <a:pt x="851677" y="1171609"/>
                  <a:pt x="852765" y="1186846"/>
                </a:cubicBezTo>
                <a:cubicBezTo>
                  <a:pt x="853309" y="1199906"/>
                  <a:pt x="840249" y="1213511"/>
                  <a:pt x="826645" y="1213511"/>
                </a:cubicBezTo>
                <a:cubicBezTo>
                  <a:pt x="813585" y="1214055"/>
                  <a:pt x="799980" y="1200995"/>
                  <a:pt x="798892" y="1188479"/>
                </a:cubicBezTo>
                <a:cubicBezTo>
                  <a:pt x="797803" y="1173241"/>
                  <a:pt x="814129" y="1160181"/>
                  <a:pt x="825556" y="1160725"/>
                </a:cubicBezTo>
                <a:close/>
                <a:moveTo>
                  <a:pt x="989353" y="1158004"/>
                </a:moveTo>
                <a:cubicBezTo>
                  <a:pt x="1007855" y="1159092"/>
                  <a:pt x="1018739" y="1168888"/>
                  <a:pt x="1018195" y="1187934"/>
                </a:cubicBezTo>
                <a:cubicBezTo>
                  <a:pt x="1017651" y="1206436"/>
                  <a:pt x="1007311" y="1216231"/>
                  <a:pt x="988809" y="1216775"/>
                </a:cubicBezTo>
                <a:cubicBezTo>
                  <a:pt x="972484" y="1217319"/>
                  <a:pt x="960512" y="1203715"/>
                  <a:pt x="959968" y="1187934"/>
                </a:cubicBezTo>
                <a:cubicBezTo>
                  <a:pt x="959968" y="1170520"/>
                  <a:pt x="972484" y="1158004"/>
                  <a:pt x="989353" y="1158004"/>
                </a:cubicBezTo>
                <a:close/>
                <a:moveTo>
                  <a:pt x="1152062" y="1153651"/>
                </a:moveTo>
                <a:cubicBezTo>
                  <a:pt x="1166755" y="1152562"/>
                  <a:pt x="1186345" y="1171065"/>
                  <a:pt x="1185801" y="1186301"/>
                </a:cubicBezTo>
                <a:cubicBezTo>
                  <a:pt x="1184713" y="1205348"/>
                  <a:pt x="1171652" y="1218952"/>
                  <a:pt x="1153150" y="1219496"/>
                </a:cubicBezTo>
                <a:cubicBezTo>
                  <a:pt x="1135193" y="1221129"/>
                  <a:pt x="1119412" y="1204259"/>
                  <a:pt x="1119956" y="1187390"/>
                </a:cubicBezTo>
                <a:cubicBezTo>
                  <a:pt x="1120500" y="1168888"/>
                  <a:pt x="1134648" y="1154739"/>
                  <a:pt x="1152062" y="1153651"/>
                </a:cubicBezTo>
                <a:close/>
                <a:moveTo>
                  <a:pt x="1315315" y="1152018"/>
                </a:moveTo>
                <a:cubicBezTo>
                  <a:pt x="1336537" y="1151474"/>
                  <a:pt x="1351230" y="1169432"/>
                  <a:pt x="1351230" y="1186845"/>
                </a:cubicBezTo>
                <a:cubicBezTo>
                  <a:pt x="1350686" y="1205891"/>
                  <a:pt x="1338714" y="1222217"/>
                  <a:pt x="1315859" y="1221673"/>
                </a:cubicBezTo>
                <a:cubicBezTo>
                  <a:pt x="1294092" y="1221128"/>
                  <a:pt x="1282120" y="1209157"/>
                  <a:pt x="1281576" y="1187390"/>
                </a:cubicBezTo>
                <a:cubicBezTo>
                  <a:pt x="1281031" y="1167255"/>
                  <a:pt x="1295724" y="1152562"/>
                  <a:pt x="1315315" y="1152018"/>
                </a:cubicBezTo>
                <a:close/>
                <a:moveTo>
                  <a:pt x="1479656" y="1149298"/>
                </a:moveTo>
                <a:cubicBezTo>
                  <a:pt x="1500878" y="1149842"/>
                  <a:pt x="1517204" y="1168888"/>
                  <a:pt x="1516660" y="1188479"/>
                </a:cubicBezTo>
                <a:cubicBezTo>
                  <a:pt x="1515027" y="1210246"/>
                  <a:pt x="1495981" y="1224938"/>
                  <a:pt x="1478023" y="1224394"/>
                </a:cubicBezTo>
                <a:cubicBezTo>
                  <a:pt x="1457889" y="1223850"/>
                  <a:pt x="1439931" y="1205892"/>
                  <a:pt x="1441563" y="1185758"/>
                </a:cubicBezTo>
                <a:cubicBezTo>
                  <a:pt x="1442652" y="1166167"/>
                  <a:pt x="1458977" y="1149298"/>
                  <a:pt x="1479656" y="1149298"/>
                </a:cubicBezTo>
                <a:close/>
                <a:moveTo>
                  <a:pt x="1642365" y="1148209"/>
                </a:moveTo>
                <a:cubicBezTo>
                  <a:pt x="1659779" y="1147121"/>
                  <a:pt x="1681001" y="1166711"/>
                  <a:pt x="1681001" y="1187390"/>
                </a:cubicBezTo>
                <a:cubicBezTo>
                  <a:pt x="1681001" y="1208613"/>
                  <a:pt x="1658690" y="1226026"/>
                  <a:pt x="1641821" y="1226026"/>
                </a:cubicBezTo>
                <a:cubicBezTo>
                  <a:pt x="1624407" y="1226026"/>
                  <a:pt x="1601007" y="1205348"/>
                  <a:pt x="1603728" y="1186846"/>
                </a:cubicBezTo>
                <a:cubicBezTo>
                  <a:pt x="1603728" y="1165623"/>
                  <a:pt x="1621686" y="1149298"/>
                  <a:pt x="1642365" y="1148209"/>
                </a:cubicBezTo>
                <a:close/>
                <a:moveTo>
                  <a:pt x="1969414" y="1147665"/>
                </a:moveTo>
                <a:cubicBezTo>
                  <a:pt x="1991725" y="1146032"/>
                  <a:pt x="2009139" y="1165623"/>
                  <a:pt x="2009139" y="1187934"/>
                </a:cubicBezTo>
                <a:cubicBezTo>
                  <a:pt x="2008595" y="1209157"/>
                  <a:pt x="1990093" y="1227114"/>
                  <a:pt x="1968870" y="1227114"/>
                </a:cubicBezTo>
                <a:cubicBezTo>
                  <a:pt x="1949824" y="1227114"/>
                  <a:pt x="1928601" y="1209701"/>
                  <a:pt x="1929145" y="1186301"/>
                </a:cubicBezTo>
                <a:cubicBezTo>
                  <a:pt x="1929145" y="1165623"/>
                  <a:pt x="1948191" y="1145488"/>
                  <a:pt x="1969414" y="1147665"/>
                </a:cubicBezTo>
                <a:close/>
                <a:moveTo>
                  <a:pt x="1805617" y="1147665"/>
                </a:moveTo>
                <a:cubicBezTo>
                  <a:pt x="1825752" y="1147665"/>
                  <a:pt x="1845342" y="1165078"/>
                  <a:pt x="1844798" y="1187934"/>
                </a:cubicBezTo>
                <a:cubicBezTo>
                  <a:pt x="1844254" y="1208612"/>
                  <a:pt x="1824664" y="1227115"/>
                  <a:pt x="1805073" y="1226571"/>
                </a:cubicBezTo>
                <a:cubicBezTo>
                  <a:pt x="1787115" y="1226571"/>
                  <a:pt x="1764260" y="1209701"/>
                  <a:pt x="1766981" y="1186845"/>
                </a:cubicBezTo>
                <a:cubicBezTo>
                  <a:pt x="1764804" y="1165623"/>
                  <a:pt x="1786027" y="1147665"/>
                  <a:pt x="1805617" y="1147665"/>
                </a:cubicBezTo>
                <a:close/>
                <a:moveTo>
                  <a:pt x="417425" y="1090527"/>
                </a:moveTo>
                <a:cubicBezTo>
                  <a:pt x="423955" y="1090527"/>
                  <a:pt x="433206" y="1099234"/>
                  <a:pt x="432662" y="1105764"/>
                </a:cubicBezTo>
                <a:cubicBezTo>
                  <a:pt x="432662" y="1111206"/>
                  <a:pt x="423955" y="1119912"/>
                  <a:pt x="417969" y="1120457"/>
                </a:cubicBezTo>
                <a:cubicBezTo>
                  <a:pt x="411439" y="1121001"/>
                  <a:pt x="402188" y="1111750"/>
                  <a:pt x="402732" y="1105219"/>
                </a:cubicBezTo>
                <a:cubicBezTo>
                  <a:pt x="402732" y="1099234"/>
                  <a:pt x="411439" y="1090527"/>
                  <a:pt x="417425" y="1090527"/>
                </a:cubicBezTo>
                <a:close/>
                <a:moveTo>
                  <a:pt x="580677" y="1083996"/>
                </a:moveTo>
                <a:cubicBezTo>
                  <a:pt x="592105" y="1083996"/>
                  <a:pt x="601900" y="1093791"/>
                  <a:pt x="602444" y="1105219"/>
                </a:cubicBezTo>
                <a:cubicBezTo>
                  <a:pt x="602988" y="1116647"/>
                  <a:pt x="593193" y="1126986"/>
                  <a:pt x="581221" y="1127530"/>
                </a:cubicBezTo>
                <a:cubicBezTo>
                  <a:pt x="570338" y="1127530"/>
                  <a:pt x="558910" y="1116102"/>
                  <a:pt x="558910" y="1105219"/>
                </a:cubicBezTo>
                <a:cubicBezTo>
                  <a:pt x="558910" y="1094880"/>
                  <a:pt x="570338" y="1083996"/>
                  <a:pt x="580677" y="1083996"/>
                </a:cubicBezTo>
                <a:close/>
                <a:moveTo>
                  <a:pt x="743386" y="1079099"/>
                </a:moveTo>
                <a:cubicBezTo>
                  <a:pt x="756991" y="1079099"/>
                  <a:pt x="769507" y="1088894"/>
                  <a:pt x="770595" y="1105219"/>
                </a:cubicBezTo>
                <a:cubicBezTo>
                  <a:pt x="771683" y="1116103"/>
                  <a:pt x="760800" y="1131340"/>
                  <a:pt x="745019" y="1132428"/>
                </a:cubicBezTo>
                <a:cubicBezTo>
                  <a:pt x="734135" y="1134061"/>
                  <a:pt x="717810" y="1118280"/>
                  <a:pt x="717810" y="1106308"/>
                </a:cubicBezTo>
                <a:cubicBezTo>
                  <a:pt x="717810" y="1091071"/>
                  <a:pt x="731414" y="1079099"/>
                  <a:pt x="743386" y="1079099"/>
                </a:cubicBezTo>
                <a:close/>
                <a:moveTo>
                  <a:pt x="907727" y="1076378"/>
                </a:moveTo>
                <a:cubicBezTo>
                  <a:pt x="926773" y="1076378"/>
                  <a:pt x="937112" y="1087262"/>
                  <a:pt x="937112" y="1105219"/>
                </a:cubicBezTo>
                <a:cubicBezTo>
                  <a:pt x="937112" y="1121545"/>
                  <a:pt x="928950" y="1134061"/>
                  <a:pt x="908271" y="1134061"/>
                </a:cubicBezTo>
                <a:cubicBezTo>
                  <a:pt x="888681" y="1134605"/>
                  <a:pt x="878341" y="1122633"/>
                  <a:pt x="878885" y="1105764"/>
                </a:cubicBezTo>
                <a:cubicBezTo>
                  <a:pt x="878341" y="1086173"/>
                  <a:pt x="892490" y="1076378"/>
                  <a:pt x="907727" y="1076378"/>
                </a:cubicBezTo>
                <a:close/>
                <a:moveTo>
                  <a:pt x="1071524" y="1072569"/>
                </a:moveTo>
                <a:cubicBezTo>
                  <a:pt x="1089482" y="1072569"/>
                  <a:pt x="1104174" y="1087806"/>
                  <a:pt x="1104174" y="1105220"/>
                </a:cubicBezTo>
                <a:cubicBezTo>
                  <a:pt x="1104174" y="1123722"/>
                  <a:pt x="1090026" y="1137870"/>
                  <a:pt x="1070435" y="1137870"/>
                </a:cubicBezTo>
                <a:cubicBezTo>
                  <a:pt x="1054110" y="1140047"/>
                  <a:pt x="1037241" y="1121545"/>
                  <a:pt x="1038329" y="1105764"/>
                </a:cubicBezTo>
                <a:cubicBezTo>
                  <a:pt x="1039417" y="1086173"/>
                  <a:pt x="1052478" y="1072569"/>
                  <a:pt x="1071524" y="1072569"/>
                </a:cubicBezTo>
                <a:close/>
                <a:moveTo>
                  <a:pt x="1235865" y="1068760"/>
                </a:moveTo>
                <a:cubicBezTo>
                  <a:pt x="1254912" y="1070392"/>
                  <a:pt x="1272325" y="1088894"/>
                  <a:pt x="1271237" y="1106852"/>
                </a:cubicBezTo>
                <a:cubicBezTo>
                  <a:pt x="1270149" y="1124810"/>
                  <a:pt x="1252735" y="1142223"/>
                  <a:pt x="1234777" y="1142223"/>
                </a:cubicBezTo>
                <a:cubicBezTo>
                  <a:pt x="1215187" y="1142223"/>
                  <a:pt x="1197773" y="1124265"/>
                  <a:pt x="1198861" y="1105219"/>
                </a:cubicBezTo>
                <a:cubicBezTo>
                  <a:pt x="1199406" y="1085629"/>
                  <a:pt x="1217908" y="1067127"/>
                  <a:pt x="1235865" y="1068760"/>
                </a:cubicBezTo>
                <a:close/>
                <a:moveTo>
                  <a:pt x="1396397" y="1067127"/>
                </a:moveTo>
                <a:cubicBezTo>
                  <a:pt x="1416532" y="1065494"/>
                  <a:pt x="1437755" y="1087806"/>
                  <a:pt x="1435578" y="1105219"/>
                </a:cubicBezTo>
                <a:cubicBezTo>
                  <a:pt x="1437210" y="1125898"/>
                  <a:pt x="1413267" y="1144400"/>
                  <a:pt x="1396941" y="1143856"/>
                </a:cubicBezTo>
                <a:cubicBezTo>
                  <a:pt x="1377895" y="1143856"/>
                  <a:pt x="1358305" y="1122633"/>
                  <a:pt x="1358849" y="1105763"/>
                </a:cubicBezTo>
                <a:cubicBezTo>
                  <a:pt x="1359393" y="1085629"/>
                  <a:pt x="1376807" y="1068759"/>
                  <a:pt x="1396397" y="1067127"/>
                </a:cubicBezTo>
                <a:close/>
                <a:moveTo>
                  <a:pt x="1560738" y="1066582"/>
                </a:moveTo>
                <a:cubicBezTo>
                  <a:pt x="1581961" y="1063862"/>
                  <a:pt x="1599919" y="1083452"/>
                  <a:pt x="1599919" y="1105763"/>
                </a:cubicBezTo>
                <a:cubicBezTo>
                  <a:pt x="1599919" y="1127530"/>
                  <a:pt x="1581417" y="1144400"/>
                  <a:pt x="1560738" y="1144400"/>
                </a:cubicBezTo>
                <a:cubicBezTo>
                  <a:pt x="1538971" y="1144400"/>
                  <a:pt x="1521557" y="1125898"/>
                  <a:pt x="1521013" y="1105763"/>
                </a:cubicBezTo>
                <a:cubicBezTo>
                  <a:pt x="1521013" y="1085629"/>
                  <a:pt x="1538971" y="1063862"/>
                  <a:pt x="1560738" y="1066582"/>
                </a:cubicBezTo>
                <a:close/>
                <a:moveTo>
                  <a:pt x="1723447" y="1064406"/>
                </a:moveTo>
                <a:cubicBezTo>
                  <a:pt x="1744126" y="1063862"/>
                  <a:pt x="1763716" y="1076378"/>
                  <a:pt x="1764260" y="1104675"/>
                </a:cubicBezTo>
                <a:cubicBezTo>
                  <a:pt x="1764804" y="1130796"/>
                  <a:pt x="1745758" y="1145488"/>
                  <a:pt x="1724535" y="1146032"/>
                </a:cubicBezTo>
                <a:cubicBezTo>
                  <a:pt x="1703313" y="1147121"/>
                  <a:pt x="1683722" y="1130796"/>
                  <a:pt x="1683178" y="1105764"/>
                </a:cubicBezTo>
                <a:cubicBezTo>
                  <a:pt x="1684266" y="1082364"/>
                  <a:pt x="1698415" y="1064950"/>
                  <a:pt x="1723447" y="1064406"/>
                </a:cubicBezTo>
                <a:close/>
                <a:moveTo>
                  <a:pt x="2051041" y="1063318"/>
                </a:moveTo>
                <a:lnTo>
                  <a:pt x="2051041" y="1147740"/>
                </a:lnTo>
                <a:lnTo>
                  <a:pt x="2049952" y="1148210"/>
                </a:lnTo>
                <a:cubicBezTo>
                  <a:pt x="2028730" y="1147121"/>
                  <a:pt x="2008051" y="1128619"/>
                  <a:pt x="2008051" y="1105764"/>
                </a:cubicBezTo>
                <a:cubicBezTo>
                  <a:pt x="2008595" y="1081276"/>
                  <a:pt x="2027641" y="1063862"/>
                  <a:pt x="2051041" y="1063318"/>
                </a:cubicBezTo>
                <a:close/>
                <a:moveTo>
                  <a:pt x="1887787" y="1062773"/>
                </a:moveTo>
                <a:cubicBezTo>
                  <a:pt x="1909554" y="1063862"/>
                  <a:pt x="1930233" y="1084540"/>
                  <a:pt x="1929145" y="1105763"/>
                </a:cubicBezTo>
                <a:cubicBezTo>
                  <a:pt x="1928056" y="1130251"/>
                  <a:pt x="1908466" y="1147121"/>
                  <a:pt x="1886699" y="1147665"/>
                </a:cubicBezTo>
                <a:cubicBezTo>
                  <a:pt x="1862755" y="1145488"/>
                  <a:pt x="1845886" y="1127530"/>
                  <a:pt x="1844798" y="1105219"/>
                </a:cubicBezTo>
                <a:cubicBezTo>
                  <a:pt x="1844253" y="1083996"/>
                  <a:pt x="1867109" y="1061685"/>
                  <a:pt x="1887787" y="1062773"/>
                </a:cubicBezTo>
                <a:close/>
                <a:moveTo>
                  <a:pt x="335798" y="1011621"/>
                </a:moveTo>
                <a:cubicBezTo>
                  <a:pt x="343960" y="1011621"/>
                  <a:pt x="347770" y="1014886"/>
                  <a:pt x="348314" y="1023049"/>
                </a:cubicBezTo>
                <a:cubicBezTo>
                  <a:pt x="348314" y="1031755"/>
                  <a:pt x="344505" y="1036109"/>
                  <a:pt x="336886" y="1036109"/>
                </a:cubicBezTo>
                <a:cubicBezTo>
                  <a:pt x="329268" y="1036109"/>
                  <a:pt x="324914" y="1032300"/>
                  <a:pt x="324370" y="1024681"/>
                </a:cubicBezTo>
                <a:cubicBezTo>
                  <a:pt x="323826" y="1015974"/>
                  <a:pt x="327635" y="1011621"/>
                  <a:pt x="335798" y="1011621"/>
                </a:cubicBezTo>
                <a:close/>
                <a:moveTo>
                  <a:pt x="499051" y="1002914"/>
                </a:moveTo>
                <a:cubicBezTo>
                  <a:pt x="508846" y="1002370"/>
                  <a:pt x="520818" y="1014342"/>
                  <a:pt x="520818" y="1024137"/>
                </a:cubicBezTo>
                <a:cubicBezTo>
                  <a:pt x="520818" y="1032844"/>
                  <a:pt x="508846" y="1045360"/>
                  <a:pt x="499595" y="1045360"/>
                </a:cubicBezTo>
                <a:cubicBezTo>
                  <a:pt x="490888" y="1045360"/>
                  <a:pt x="478372" y="1032844"/>
                  <a:pt x="478372" y="1024137"/>
                </a:cubicBezTo>
                <a:cubicBezTo>
                  <a:pt x="478372" y="1014886"/>
                  <a:pt x="489800" y="1002914"/>
                  <a:pt x="499051" y="1002914"/>
                </a:cubicBezTo>
                <a:close/>
                <a:moveTo>
                  <a:pt x="663392" y="997473"/>
                </a:moveTo>
                <a:cubicBezTo>
                  <a:pt x="675908" y="998561"/>
                  <a:pt x="688968" y="1011622"/>
                  <a:pt x="688424" y="1024138"/>
                </a:cubicBezTo>
                <a:cubicBezTo>
                  <a:pt x="687880" y="1039374"/>
                  <a:pt x="676452" y="1050802"/>
                  <a:pt x="661759" y="1050258"/>
                </a:cubicBezTo>
                <a:cubicBezTo>
                  <a:pt x="647066" y="1049170"/>
                  <a:pt x="637271" y="1036109"/>
                  <a:pt x="636727" y="1023593"/>
                </a:cubicBezTo>
                <a:cubicBezTo>
                  <a:pt x="637271" y="1010533"/>
                  <a:pt x="651420" y="996929"/>
                  <a:pt x="663392" y="997473"/>
                </a:cubicBezTo>
                <a:close/>
                <a:moveTo>
                  <a:pt x="826645" y="995840"/>
                </a:moveTo>
                <a:cubicBezTo>
                  <a:pt x="845147" y="995296"/>
                  <a:pt x="855486" y="1007267"/>
                  <a:pt x="854942" y="1024137"/>
                </a:cubicBezTo>
                <a:cubicBezTo>
                  <a:pt x="855486" y="1039374"/>
                  <a:pt x="845147" y="1052978"/>
                  <a:pt x="825557" y="1052978"/>
                </a:cubicBezTo>
                <a:cubicBezTo>
                  <a:pt x="808143" y="1052434"/>
                  <a:pt x="796715" y="1041006"/>
                  <a:pt x="797260" y="1023593"/>
                </a:cubicBezTo>
                <a:cubicBezTo>
                  <a:pt x="797260" y="1005635"/>
                  <a:pt x="808687" y="995840"/>
                  <a:pt x="826645" y="995840"/>
                </a:cubicBezTo>
                <a:close/>
                <a:moveTo>
                  <a:pt x="990441" y="990942"/>
                </a:moveTo>
                <a:cubicBezTo>
                  <a:pt x="1008943" y="990942"/>
                  <a:pt x="1023092" y="1006179"/>
                  <a:pt x="1022548" y="1025225"/>
                </a:cubicBezTo>
                <a:cubicBezTo>
                  <a:pt x="1022004" y="1043183"/>
                  <a:pt x="1007311" y="1056243"/>
                  <a:pt x="988809" y="1056787"/>
                </a:cubicBezTo>
                <a:cubicBezTo>
                  <a:pt x="973028" y="1057332"/>
                  <a:pt x="956702" y="1041551"/>
                  <a:pt x="956702" y="1023593"/>
                </a:cubicBezTo>
                <a:cubicBezTo>
                  <a:pt x="956158" y="1006723"/>
                  <a:pt x="973572" y="988221"/>
                  <a:pt x="990441" y="990942"/>
                </a:cubicBezTo>
                <a:close/>
                <a:moveTo>
                  <a:pt x="1150974" y="987678"/>
                </a:moveTo>
                <a:cubicBezTo>
                  <a:pt x="1170020" y="986045"/>
                  <a:pt x="1189066" y="1004547"/>
                  <a:pt x="1189610" y="1023593"/>
                </a:cubicBezTo>
                <a:cubicBezTo>
                  <a:pt x="1190154" y="1042095"/>
                  <a:pt x="1170564" y="1061685"/>
                  <a:pt x="1152062" y="1061685"/>
                </a:cubicBezTo>
                <a:cubicBezTo>
                  <a:pt x="1134104" y="1061685"/>
                  <a:pt x="1115602" y="1042639"/>
                  <a:pt x="1115058" y="1024682"/>
                </a:cubicBezTo>
                <a:cubicBezTo>
                  <a:pt x="1115058" y="1006724"/>
                  <a:pt x="1133016" y="988222"/>
                  <a:pt x="1150974" y="987678"/>
                </a:cubicBezTo>
                <a:close/>
                <a:moveTo>
                  <a:pt x="1315314" y="985501"/>
                </a:moveTo>
                <a:cubicBezTo>
                  <a:pt x="1335993" y="983868"/>
                  <a:pt x="1354495" y="1005635"/>
                  <a:pt x="1354495" y="1023593"/>
                </a:cubicBezTo>
                <a:cubicBezTo>
                  <a:pt x="1355039" y="1042639"/>
                  <a:pt x="1333816" y="1065495"/>
                  <a:pt x="1315858" y="1062230"/>
                </a:cubicBezTo>
                <a:cubicBezTo>
                  <a:pt x="1294636" y="1062230"/>
                  <a:pt x="1277222" y="1045360"/>
                  <a:pt x="1277222" y="1024137"/>
                </a:cubicBezTo>
                <a:cubicBezTo>
                  <a:pt x="1277222" y="1002914"/>
                  <a:pt x="1294091" y="986589"/>
                  <a:pt x="1315314" y="985501"/>
                </a:cubicBezTo>
                <a:close/>
                <a:moveTo>
                  <a:pt x="1479656" y="984412"/>
                </a:moveTo>
                <a:cubicBezTo>
                  <a:pt x="1503055" y="984412"/>
                  <a:pt x="1519925" y="1000737"/>
                  <a:pt x="1519380" y="1025225"/>
                </a:cubicBezTo>
                <a:cubicBezTo>
                  <a:pt x="1518836" y="1045904"/>
                  <a:pt x="1502511" y="1065494"/>
                  <a:pt x="1478567" y="1063318"/>
                </a:cubicBezTo>
                <a:cubicBezTo>
                  <a:pt x="1454624" y="1064950"/>
                  <a:pt x="1438842" y="1044816"/>
                  <a:pt x="1439387" y="1023593"/>
                </a:cubicBezTo>
                <a:cubicBezTo>
                  <a:pt x="1439931" y="1000193"/>
                  <a:pt x="1455712" y="983868"/>
                  <a:pt x="1479656" y="984412"/>
                </a:cubicBezTo>
                <a:close/>
                <a:moveTo>
                  <a:pt x="1641820" y="981691"/>
                </a:moveTo>
                <a:cubicBezTo>
                  <a:pt x="1665220" y="981691"/>
                  <a:pt x="1683178" y="999649"/>
                  <a:pt x="1684810" y="1023592"/>
                </a:cubicBezTo>
                <a:cubicBezTo>
                  <a:pt x="1683722" y="1048625"/>
                  <a:pt x="1665220" y="1066038"/>
                  <a:pt x="1642909" y="1066038"/>
                </a:cubicBezTo>
                <a:cubicBezTo>
                  <a:pt x="1618421" y="1066038"/>
                  <a:pt x="1599919" y="1047536"/>
                  <a:pt x="1599919" y="1023592"/>
                </a:cubicBezTo>
                <a:cubicBezTo>
                  <a:pt x="1599919" y="1001281"/>
                  <a:pt x="1616788" y="982235"/>
                  <a:pt x="1641820" y="981691"/>
                </a:cubicBezTo>
                <a:close/>
                <a:moveTo>
                  <a:pt x="1806161" y="980603"/>
                </a:moveTo>
                <a:cubicBezTo>
                  <a:pt x="1829561" y="980603"/>
                  <a:pt x="1848607" y="1000737"/>
                  <a:pt x="1849151" y="1023592"/>
                </a:cubicBezTo>
                <a:cubicBezTo>
                  <a:pt x="1849151" y="1046992"/>
                  <a:pt x="1827928" y="1068215"/>
                  <a:pt x="1805617" y="1067127"/>
                </a:cubicBezTo>
                <a:cubicBezTo>
                  <a:pt x="1781673" y="1068215"/>
                  <a:pt x="1762083" y="1044815"/>
                  <a:pt x="1762083" y="1023592"/>
                </a:cubicBezTo>
                <a:cubicBezTo>
                  <a:pt x="1762083" y="1002370"/>
                  <a:pt x="1781673" y="980058"/>
                  <a:pt x="1806161" y="980603"/>
                </a:cubicBezTo>
                <a:close/>
                <a:moveTo>
                  <a:pt x="1969414" y="980059"/>
                </a:moveTo>
                <a:cubicBezTo>
                  <a:pt x="1993358" y="980603"/>
                  <a:pt x="2012404" y="1001282"/>
                  <a:pt x="2012404" y="1024137"/>
                </a:cubicBezTo>
                <a:cubicBezTo>
                  <a:pt x="2012404" y="1046449"/>
                  <a:pt x="1991726" y="1069304"/>
                  <a:pt x="1968870" y="1067127"/>
                </a:cubicBezTo>
                <a:cubicBezTo>
                  <a:pt x="1946015" y="1068760"/>
                  <a:pt x="1925336" y="1044272"/>
                  <a:pt x="1924792" y="1024137"/>
                </a:cubicBezTo>
                <a:cubicBezTo>
                  <a:pt x="1924792" y="1002914"/>
                  <a:pt x="1944382" y="980059"/>
                  <a:pt x="1969414" y="980059"/>
                </a:cubicBezTo>
                <a:close/>
                <a:moveTo>
                  <a:pt x="254171" y="931083"/>
                </a:moveTo>
                <a:cubicBezTo>
                  <a:pt x="260701" y="931083"/>
                  <a:pt x="265599" y="935437"/>
                  <a:pt x="265599" y="941967"/>
                </a:cubicBezTo>
                <a:cubicBezTo>
                  <a:pt x="265599" y="948497"/>
                  <a:pt x="260701" y="952850"/>
                  <a:pt x="254171" y="952850"/>
                </a:cubicBezTo>
                <a:cubicBezTo>
                  <a:pt x="247641" y="952850"/>
                  <a:pt x="243832" y="948497"/>
                  <a:pt x="243832" y="941967"/>
                </a:cubicBezTo>
                <a:cubicBezTo>
                  <a:pt x="243832" y="935437"/>
                  <a:pt x="247641" y="931627"/>
                  <a:pt x="254171" y="931083"/>
                </a:cubicBezTo>
                <a:close/>
                <a:moveTo>
                  <a:pt x="417968" y="922377"/>
                </a:moveTo>
                <a:cubicBezTo>
                  <a:pt x="427219" y="921833"/>
                  <a:pt x="437559" y="932716"/>
                  <a:pt x="437559" y="942511"/>
                </a:cubicBezTo>
                <a:cubicBezTo>
                  <a:pt x="437559" y="951762"/>
                  <a:pt x="427219" y="961557"/>
                  <a:pt x="417968" y="961557"/>
                </a:cubicBezTo>
                <a:cubicBezTo>
                  <a:pt x="409262" y="961557"/>
                  <a:pt x="397290" y="949585"/>
                  <a:pt x="397834" y="941423"/>
                </a:cubicBezTo>
                <a:cubicBezTo>
                  <a:pt x="398378" y="933260"/>
                  <a:pt x="409806" y="922377"/>
                  <a:pt x="417968" y="922377"/>
                </a:cubicBezTo>
                <a:close/>
                <a:moveTo>
                  <a:pt x="581222" y="916934"/>
                </a:moveTo>
                <a:cubicBezTo>
                  <a:pt x="593738" y="916934"/>
                  <a:pt x="607342" y="931082"/>
                  <a:pt x="606798" y="943054"/>
                </a:cubicBezTo>
                <a:cubicBezTo>
                  <a:pt x="606254" y="955570"/>
                  <a:pt x="593738" y="967542"/>
                  <a:pt x="581222" y="967542"/>
                </a:cubicBezTo>
                <a:cubicBezTo>
                  <a:pt x="567617" y="966454"/>
                  <a:pt x="557278" y="958291"/>
                  <a:pt x="556190" y="943054"/>
                </a:cubicBezTo>
                <a:cubicBezTo>
                  <a:pt x="555101" y="929994"/>
                  <a:pt x="568161" y="916934"/>
                  <a:pt x="581222" y="916934"/>
                </a:cubicBezTo>
                <a:close/>
                <a:moveTo>
                  <a:pt x="744474" y="913669"/>
                </a:moveTo>
                <a:cubicBezTo>
                  <a:pt x="765153" y="913669"/>
                  <a:pt x="773860" y="927273"/>
                  <a:pt x="773315" y="942510"/>
                </a:cubicBezTo>
                <a:cubicBezTo>
                  <a:pt x="772771" y="959924"/>
                  <a:pt x="761344" y="971352"/>
                  <a:pt x="743930" y="970807"/>
                </a:cubicBezTo>
                <a:cubicBezTo>
                  <a:pt x="727061" y="970807"/>
                  <a:pt x="716177" y="959380"/>
                  <a:pt x="716177" y="941966"/>
                </a:cubicBezTo>
                <a:cubicBezTo>
                  <a:pt x="716177" y="923464"/>
                  <a:pt x="727605" y="914213"/>
                  <a:pt x="744474" y="913669"/>
                </a:cubicBezTo>
                <a:close/>
                <a:moveTo>
                  <a:pt x="908271" y="908772"/>
                </a:moveTo>
                <a:cubicBezTo>
                  <a:pt x="927317" y="910405"/>
                  <a:pt x="940922" y="924553"/>
                  <a:pt x="940377" y="944144"/>
                </a:cubicBezTo>
                <a:cubicBezTo>
                  <a:pt x="939833" y="962101"/>
                  <a:pt x="925141" y="975162"/>
                  <a:pt x="906094" y="975162"/>
                </a:cubicBezTo>
                <a:cubicBezTo>
                  <a:pt x="890313" y="975162"/>
                  <a:pt x="873988" y="959925"/>
                  <a:pt x="874532" y="940879"/>
                </a:cubicBezTo>
                <a:cubicBezTo>
                  <a:pt x="874532" y="925641"/>
                  <a:pt x="891402" y="907684"/>
                  <a:pt x="908271" y="908772"/>
                </a:cubicBezTo>
                <a:close/>
                <a:moveTo>
                  <a:pt x="1072068" y="906051"/>
                </a:moveTo>
                <a:cubicBezTo>
                  <a:pt x="1093291" y="907683"/>
                  <a:pt x="1105807" y="921832"/>
                  <a:pt x="1107984" y="942511"/>
                </a:cubicBezTo>
                <a:cubicBezTo>
                  <a:pt x="1107984" y="961013"/>
                  <a:pt x="1088938" y="979515"/>
                  <a:pt x="1070980" y="979515"/>
                </a:cubicBezTo>
                <a:cubicBezTo>
                  <a:pt x="1053022" y="979515"/>
                  <a:pt x="1034520" y="960469"/>
                  <a:pt x="1034520" y="942511"/>
                </a:cubicBezTo>
                <a:cubicBezTo>
                  <a:pt x="1034520" y="923465"/>
                  <a:pt x="1053566" y="904419"/>
                  <a:pt x="1072068" y="906051"/>
                </a:cubicBezTo>
                <a:close/>
                <a:moveTo>
                  <a:pt x="1235321" y="903874"/>
                </a:moveTo>
                <a:cubicBezTo>
                  <a:pt x="1257088" y="903874"/>
                  <a:pt x="1272325" y="920199"/>
                  <a:pt x="1272325" y="943054"/>
                </a:cubicBezTo>
                <a:cubicBezTo>
                  <a:pt x="1275045" y="962645"/>
                  <a:pt x="1251646" y="982779"/>
                  <a:pt x="1233688" y="981147"/>
                </a:cubicBezTo>
                <a:cubicBezTo>
                  <a:pt x="1211921" y="979514"/>
                  <a:pt x="1195052" y="963189"/>
                  <a:pt x="1195596" y="940878"/>
                </a:cubicBezTo>
                <a:cubicBezTo>
                  <a:pt x="1196140" y="919111"/>
                  <a:pt x="1212465" y="903330"/>
                  <a:pt x="1235321" y="903874"/>
                </a:cubicBezTo>
                <a:close/>
                <a:moveTo>
                  <a:pt x="1397486" y="901153"/>
                </a:moveTo>
                <a:cubicBezTo>
                  <a:pt x="1420885" y="901698"/>
                  <a:pt x="1437755" y="917479"/>
                  <a:pt x="1438299" y="942511"/>
                </a:cubicBezTo>
                <a:cubicBezTo>
                  <a:pt x="1437210" y="966999"/>
                  <a:pt x="1420341" y="983324"/>
                  <a:pt x="1396941" y="983324"/>
                </a:cubicBezTo>
                <a:cubicBezTo>
                  <a:pt x="1371909" y="983324"/>
                  <a:pt x="1355584" y="963190"/>
                  <a:pt x="1356128" y="941967"/>
                </a:cubicBezTo>
                <a:cubicBezTo>
                  <a:pt x="1356128" y="919655"/>
                  <a:pt x="1373542" y="900609"/>
                  <a:pt x="1397486" y="901153"/>
                </a:cubicBezTo>
                <a:close/>
                <a:moveTo>
                  <a:pt x="1560738" y="898977"/>
                </a:moveTo>
                <a:cubicBezTo>
                  <a:pt x="1584138" y="899521"/>
                  <a:pt x="1603728" y="917479"/>
                  <a:pt x="1603728" y="942511"/>
                </a:cubicBezTo>
                <a:cubicBezTo>
                  <a:pt x="1603728" y="966999"/>
                  <a:pt x="1581961" y="985501"/>
                  <a:pt x="1560738" y="985501"/>
                </a:cubicBezTo>
                <a:cubicBezTo>
                  <a:pt x="1537883" y="985501"/>
                  <a:pt x="1516660" y="963734"/>
                  <a:pt x="1517204" y="941423"/>
                </a:cubicBezTo>
                <a:cubicBezTo>
                  <a:pt x="1517748" y="919656"/>
                  <a:pt x="1535706" y="898977"/>
                  <a:pt x="1560738" y="898977"/>
                </a:cubicBezTo>
                <a:close/>
                <a:moveTo>
                  <a:pt x="1723990" y="897888"/>
                </a:moveTo>
                <a:cubicBezTo>
                  <a:pt x="1747934" y="897888"/>
                  <a:pt x="1769701" y="919111"/>
                  <a:pt x="1768069" y="942510"/>
                </a:cubicBezTo>
                <a:cubicBezTo>
                  <a:pt x="1770245" y="965366"/>
                  <a:pt x="1746302" y="987133"/>
                  <a:pt x="1723990" y="986589"/>
                </a:cubicBezTo>
                <a:cubicBezTo>
                  <a:pt x="1701679" y="986589"/>
                  <a:pt x="1679912" y="964278"/>
                  <a:pt x="1679912" y="941422"/>
                </a:cubicBezTo>
                <a:cubicBezTo>
                  <a:pt x="1680456" y="919655"/>
                  <a:pt x="1700047" y="897888"/>
                  <a:pt x="1723990" y="897888"/>
                </a:cubicBezTo>
                <a:close/>
                <a:moveTo>
                  <a:pt x="2050497" y="897344"/>
                </a:moveTo>
                <a:lnTo>
                  <a:pt x="2051041" y="897453"/>
                </a:lnTo>
                <a:lnTo>
                  <a:pt x="2051041" y="986917"/>
                </a:lnTo>
                <a:lnTo>
                  <a:pt x="2049952" y="987133"/>
                </a:lnTo>
                <a:cubicBezTo>
                  <a:pt x="2026553" y="987133"/>
                  <a:pt x="2004786" y="965366"/>
                  <a:pt x="2005330" y="941422"/>
                </a:cubicBezTo>
                <a:cubicBezTo>
                  <a:pt x="2005874" y="918023"/>
                  <a:pt x="2026009" y="897344"/>
                  <a:pt x="2050497" y="897344"/>
                </a:cubicBezTo>
                <a:close/>
                <a:moveTo>
                  <a:pt x="1887243" y="897344"/>
                </a:moveTo>
                <a:cubicBezTo>
                  <a:pt x="1910099" y="897344"/>
                  <a:pt x="1931866" y="916390"/>
                  <a:pt x="1931866" y="942511"/>
                </a:cubicBezTo>
                <a:cubicBezTo>
                  <a:pt x="1931866" y="965910"/>
                  <a:pt x="1910099" y="986589"/>
                  <a:pt x="1887243" y="986589"/>
                </a:cubicBezTo>
                <a:cubicBezTo>
                  <a:pt x="1864932" y="987133"/>
                  <a:pt x="1839900" y="965910"/>
                  <a:pt x="1843165" y="941422"/>
                </a:cubicBezTo>
                <a:cubicBezTo>
                  <a:pt x="1840444" y="918567"/>
                  <a:pt x="1863299" y="897344"/>
                  <a:pt x="1887243" y="897344"/>
                </a:cubicBezTo>
                <a:close/>
                <a:moveTo>
                  <a:pt x="172545" y="854354"/>
                </a:moveTo>
                <a:cubicBezTo>
                  <a:pt x="176899" y="854354"/>
                  <a:pt x="179619" y="855442"/>
                  <a:pt x="179619" y="860884"/>
                </a:cubicBezTo>
                <a:cubicBezTo>
                  <a:pt x="180164" y="864693"/>
                  <a:pt x="177987" y="866870"/>
                  <a:pt x="173634" y="866870"/>
                </a:cubicBezTo>
                <a:cubicBezTo>
                  <a:pt x="169824" y="866870"/>
                  <a:pt x="166559" y="866870"/>
                  <a:pt x="166015" y="861973"/>
                </a:cubicBezTo>
                <a:cubicBezTo>
                  <a:pt x="165471" y="857075"/>
                  <a:pt x="167103" y="854354"/>
                  <a:pt x="172545" y="854354"/>
                </a:cubicBezTo>
                <a:close/>
                <a:moveTo>
                  <a:pt x="336342" y="843471"/>
                </a:moveTo>
                <a:cubicBezTo>
                  <a:pt x="346681" y="844015"/>
                  <a:pt x="353211" y="849457"/>
                  <a:pt x="353211" y="860340"/>
                </a:cubicBezTo>
                <a:cubicBezTo>
                  <a:pt x="353211" y="872312"/>
                  <a:pt x="348858" y="876665"/>
                  <a:pt x="336886" y="877210"/>
                </a:cubicBezTo>
                <a:cubicBezTo>
                  <a:pt x="324370" y="877210"/>
                  <a:pt x="320561" y="872856"/>
                  <a:pt x="320017" y="860884"/>
                </a:cubicBezTo>
                <a:cubicBezTo>
                  <a:pt x="319473" y="851089"/>
                  <a:pt x="327635" y="842927"/>
                  <a:pt x="336342" y="843471"/>
                </a:cubicBezTo>
                <a:close/>
                <a:moveTo>
                  <a:pt x="500139" y="837485"/>
                </a:moveTo>
                <a:cubicBezTo>
                  <a:pt x="514832" y="837485"/>
                  <a:pt x="522994" y="846735"/>
                  <a:pt x="522994" y="861428"/>
                </a:cubicBezTo>
                <a:cubicBezTo>
                  <a:pt x="522994" y="876121"/>
                  <a:pt x="513743" y="884284"/>
                  <a:pt x="499595" y="884284"/>
                </a:cubicBezTo>
                <a:cubicBezTo>
                  <a:pt x="485446" y="883740"/>
                  <a:pt x="475651" y="875033"/>
                  <a:pt x="476739" y="860340"/>
                </a:cubicBezTo>
                <a:cubicBezTo>
                  <a:pt x="476195" y="842926"/>
                  <a:pt x="489256" y="836940"/>
                  <a:pt x="500139" y="837485"/>
                </a:cubicBezTo>
                <a:close/>
                <a:moveTo>
                  <a:pt x="662848" y="832587"/>
                </a:moveTo>
                <a:cubicBezTo>
                  <a:pt x="677541" y="832587"/>
                  <a:pt x="691689" y="842926"/>
                  <a:pt x="690057" y="860340"/>
                </a:cubicBezTo>
                <a:cubicBezTo>
                  <a:pt x="691689" y="876121"/>
                  <a:pt x="679718" y="888637"/>
                  <a:pt x="662848" y="888637"/>
                </a:cubicBezTo>
                <a:cubicBezTo>
                  <a:pt x="644890" y="888637"/>
                  <a:pt x="634551" y="874489"/>
                  <a:pt x="634551" y="861428"/>
                </a:cubicBezTo>
                <a:cubicBezTo>
                  <a:pt x="634551" y="842926"/>
                  <a:pt x="647611" y="832587"/>
                  <a:pt x="662848" y="832587"/>
                </a:cubicBezTo>
                <a:close/>
                <a:moveTo>
                  <a:pt x="826101" y="827146"/>
                </a:moveTo>
                <a:cubicBezTo>
                  <a:pt x="840249" y="826602"/>
                  <a:pt x="859840" y="843471"/>
                  <a:pt x="859295" y="860885"/>
                </a:cubicBezTo>
                <a:cubicBezTo>
                  <a:pt x="858751" y="875033"/>
                  <a:pt x="844603" y="894624"/>
                  <a:pt x="825556" y="892991"/>
                </a:cubicBezTo>
                <a:cubicBezTo>
                  <a:pt x="808687" y="894079"/>
                  <a:pt x="793450" y="877754"/>
                  <a:pt x="793450" y="860885"/>
                </a:cubicBezTo>
                <a:cubicBezTo>
                  <a:pt x="793994" y="842927"/>
                  <a:pt x="808143" y="828234"/>
                  <a:pt x="826101" y="827146"/>
                </a:cubicBezTo>
                <a:close/>
                <a:moveTo>
                  <a:pt x="988809" y="824424"/>
                </a:moveTo>
                <a:cubicBezTo>
                  <a:pt x="1010576" y="825512"/>
                  <a:pt x="1024180" y="839661"/>
                  <a:pt x="1025813" y="860339"/>
                </a:cubicBezTo>
                <a:cubicBezTo>
                  <a:pt x="1026901" y="878842"/>
                  <a:pt x="1008399" y="896799"/>
                  <a:pt x="989897" y="897344"/>
                </a:cubicBezTo>
                <a:cubicBezTo>
                  <a:pt x="971939" y="897344"/>
                  <a:pt x="953982" y="880474"/>
                  <a:pt x="953437" y="861972"/>
                </a:cubicBezTo>
                <a:cubicBezTo>
                  <a:pt x="951805" y="842926"/>
                  <a:pt x="969763" y="824968"/>
                  <a:pt x="988809" y="824424"/>
                </a:cubicBezTo>
                <a:close/>
                <a:moveTo>
                  <a:pt x="1153695" y="821704"/>
                </a:moveTo>
                <a:cubicBezTo>
                  <a:pt x="1175462" y="822248"/>
                  <a:pt x="1191243" y="839118"/>
                  <a:pt x="1191243" y="861429"/>
                </a:cubicBezTo>
                <a:cubicBezTo>
                  <a:pt x="1193964" y="882107"/>
                  <a:pt x="1169476" y="900610"/>
                  <a:pt x="1152606" y="899521"/>
                </a:cubicBezTo>
                <a:cubicBezTo>
                  <a:pt x="1130839" y="898433"/>
                  <a:pt x="1114514" y="882107"/>
                  <a:pt x="1114514" y="859252"/>
                </a:cubicBezTo>
                <a:cubicBezTo>
                  <a:pt x="1115058" y="837485"/>
                  <a:pt x="1131928" y="821704"/>
                  <a:pt x="1153695" y="821704"/>
                </a:cubicBezTo>
                <a:close/>
                <a:moveTo>
                  <a:pt x="1316403" y="818982"/>
                </a:moveTo>
                <a:cubicBezTo>
                  <a:pt x="1341979" y="820071"/>
                  <a:pt x="1356128" y="838573"/>
                  <a:pt x="1357216" y="860884"/>
                </a:cubicBezTo>
                <a:cubicBezTo>
                  <a:pt x="1356128" y="884828"/>
                  <a:pt x="1337626" y="901697"/>
                  <a:pt x="1315315" y="901697"/>
                </a:cubicBezTo>
                <a:cubicBezTo>
                  <a:pt x="1293003" y="901697"/>
                  <a:pt x="1273957" y="884284"/>
                  <a:pt x="1274501" y="860340"/>
                </a:cubicBezTo>
                <a:cubicBezTo>
                  <a:pt x="1275046" y="835852"/>
                  <a:pt x="1291915" y="818438"/>
                  <a:pt x="1316403" y="818982"/>
                </a:cubicBezTo>
                <a:close/>
                <a:moveTo>
                  <a:pt x="1479112" y="816806"/>
                </a:moveTo>
                <a:cubicBezTo>
                  <a:pt x="1501423" y="816806"/>
                  <a:pt x="1523190" y="835852"/>
                  <a:pt x="1522646" y="860340"/>
                </a:cubicBezTo>
                <a:cubicBezTo>
                  <a:pt x="1523735" y="885372"/>
                  <a:pt x="1499791" y="904419"/>
                  <a:pt x="1479656" y="904419"/>
                </a:cubicBezTo>
                <a:cubicBezTo>
                  <a:pt x="1457889" y="904419"/>
                  <a:pt x="1436122" y="883740"/>
                  <a:pt x="1435578" y="860884"/>
                </a:cubicBezTo>
                <a:cubicBezTo>
                  <a:pt x="1435578" y="838573"/>
                  <a:pt x="1455713" y="816806"/>
                  <a:pt x="1479112" y="816806"/>
                </a:cubicBezTo>
                <a:close/>
                <a:moveTo>
                  <a:pt x="1642909" y="815718"/>
                </a:moveTo>
                <a:cubicBezTo>
                  <a:pt x="1665764" y="816262"/>
                  <a:pt x="1686987" y="835852"/>
                  <a:pt x="1686987" y="860885"/>
                </a:cubicBezTo>
                <a:cubicBezTo>
                  <a:pt x="1686987" y="884284"/>
                  <a:pt x="1666308" y="906051"/>
                  <a:pt x="1641276" y="905507"/>
                </a:cubicBezTo>
                <a:cubicBezTo>
                  <a:pt x="1619509" y="905507"/>
                  <a:pt x="1595021" y="884284"/>
                  <a:pt x="1597742" y="860340"/>
                </a:cubicBezTo>
                <a:cubicBezTo>
                  <a:pt x="1595021" y="836941"/>
                  <a:pt x="1619509" y="815174"/>
                  <a:pt x="1642909" y="815718"/>
                </a:cubicBezTo>
                <a:close/>
                <a:moveTo>
                  <a:pt x="1806161" y="815173"/>
                </a:moveTo>
                <a:cubicBezTo>
                  <a:pt x="1832282" y="815717"/>
                  <a:pt x="1854593" y="836396"/>
                  <a:pt x="1852416" y="860884"/>
                </a:cubicBezTo>
                <a:cubicBezTo>
                  <a:pt x="1850240" y="885372"/>
                  <a:pt x="1837179" y="906050"/>
                  <a:pt x="1805617" y="906594"/>
                </a:cubicBezTo>
                <a:cubicBezTo>
                  <a:pt x="1776776" y="906594"/>
                  <a:pt x="1759362" y="885916"/>
                  <a:pt x="1759906" y="860884"/>
                </a:cubicBezTo>
                <a:cubicBezTo>
                  <a:pt x="1759906" y="834219"/>
                  <a:pt x="1776776" y="815717"/>
                  <a:pt x="1806161" y="815173"/>
                </a:cubicBezTo>
                <a:close/>
                <a:moveTo>
                  <a:pt x="1968326" y="812453"/>
                </a:moveTo>
                <a:cubicBezTo>
                  <a:pt x="1979754" y="812453"/>
                  <a:pt x="1991726" y="817351"/>
                  <a:pt x="2000977" y="826057"/>
                </a:cubicBezTo>
                <a:cubicBezTo>
                  <a:pt x="2010772" y="835308"/>
                  <a:pt x="2016214" y="847280"/>
                  <a:pt x="2015670" y="859796"/>
                </a:cubicBezTo>
                <a:cubicBezTo>
                  <a:pt x="2014581" y="884828"/>
                  <a:pt x="2000977" y="904963"/>
                  <a:pt x="1969415" y="907684"/>
                </a:cubicBezTo>
                <a:cubicBezTo>
                  <a:pt x="1942206" y="906051"/>
                  <a:pt x="1923704" y="890270"/>
                  <a:pt x="1922071" y="860885"/>
                </a:cubicBezTo>
                <a:cubicBezTo>
                  <a:pt x="1920983" y="836397"/>
                  <a:pt x="1943294" y="812453"/>
                  <a:pt x="1968326" y="812453"/>
                </a:cubicBezTo>
                <a:close/>
                <a:moveTo>
                  <a:pt x="255260" y="762932"/>
                </a:moveTo>
                <a:cubicBezTo>
                  <a:pt x="261790" y="763476"/>
                  <a:pt x="271041" y="773271"/>
                  <a:pt x="270497" y="779802"/>
                </a:cubicBezTo>
                <a:cubicBezTo>
                  <a:pt x="270497" y="786332"/>
                  <a:pt x="261246" y="795038"/>
                  <a:pt x="254172" y="795038"/>
                </a:cubicBezTo>
                <a:cubicBezTo>
                  <a:pt x="246553" y="795038"/>
                  <a:pt x="238391" y="786332"/>
                  <a:pt x="238935" y="778713"/>
                </a:cubicBezTo>
                <a:cubicBezTo>
                  <a:pt x="239479" y="771095"/>
                  <a:pt x="248186" y="762388"/>
                  <a:pt x="255260" y="762932"/>
                </a:cubicBezTo>
                <a:close/>
                <a:moveTo>
                  <a:pt x="416881" y="756402"/>
                </a:moveTo>
                <a:cubicBezTo>
                  <a:pt x="430485" y="756402"/>
                  <a:pt x="439736" y="765109"/>
                  <a:pt x="440280" y="778713"/>
                </a:cubicBezTo>
                <a:cubicBezTo>
                  <a:pt x="440280" y="791229"/>
                  <a:pt x="431573" y="801024"/>
                  <a:pt x="419057" y="801024"/>
                </a:cubicBezTo>
                <a:cubicBezTo>
                  <a:pt x="405997" y="801569"/>
                  <a:pt x="396202" y="792317"/>
                  <a:pt x="396202" y="779257"/>
                </a:cubicBezTo>
                <a:cubicBezTo>
                  <a:pt x="396202" y="766741"/>
                  <a:pt x="404909" y="756946"/>
                  <a:pt x="416881" y="756402"/>
                </a:cubicBezTo>
                <a:close/>
                <a:moveTo>
                  <a:pt x="581766" y="751505"/>
                </a:moveTo>
                <a:cubicBezTo>
                  <a:pt x="598091" y="752594"/>
                  <a:pt x="607887" y="762933"/>
                  <a:pt x="608975" y="779802"/>
                </a:cubicBezTo>
                <a:cubicBezTo>
                  <a:pt x="608975" y="792318"/>
                  <a:pt x="596459" y="808644"/>
                  <a:pt x="580678" y="806467"/>
                </a:cubicBezTo>
                <a:cubicBezTo>
                  <a:pt x="565985" y="808100"/>
                  <a:pt x="553469" y="792318"/>
                  <a:pt x="553469" y="778714"/>
                </a:cubicBezTo>
                <a:cubicBezTo>
                  <a:pt x="553469" y="764021"/>
                  <a:pt x="567618" y="750417"/>
                  <a:pt x="581766" y="751505"/>
                </a:cubicBezTo>
                <a:close/>
                <a:moveTo>
                  <a:pt x="746107" y="746607"/>
                </a:moveTo>
                <a:cubicBezTo>
                  <a:pt x="762432" y="747695"/>
                  <a:pt x="778213" y="765653"/>
                  <a:pt x="777125" y="780346"/>
                </a:cubicBezTo>
                <a:cubicBezTo>
                  <a:pt x="776581" y="795038"/>
                  <a:pt x="762432" y="811908"/>
                  <a:pt x="742842" y="811364"/>
                </a:cubicBezTo>
                <a:cubicBezTo>
                  <a:pt x="725428" y="810276"/>
                  <a:pt x="712368" y="795583"/>
                  <a:pt x="712368" y="778713"/>
                </a:cubicBezTo>
                <a:cubicBezTo>
                  <a:pt x="712368" y="760755"/>
                  <a:pt x="730870" y="745519"/>
                  <a:pt x="746107" y="746607"/>
                </a:cubicBezTo>
                <a:close/>
                <a:moveTo>
                  <a:pt x="907727" y="741710"/>
                </a:moveTo>
                <a:cubicBezTo>
                  <a:pt x="925684" y="741710"/>
                  <a:pt x="944187" y="760756"/>
                  <a:pt x="944187" y="778714"/>
                </a:cubicBezTo>
                <a:cubicBezTo>
                  <a:pt x="944187" y="796672"/>
                  <a:pt x="926229" y="815174"/>
                  <a:pt x="907727" y="815174"/>
                </a:cubicBezTo>
                <a:cubicBezTo>
                  <a:pt x="889225" y="815174"/>
                  <a:pt x="872899" y="798848"/>
                  <a:pt x="872355" y="779258"/>
                </a:cubicBezTo>
                <a:cubicBezTo>
                  <a:pt x="871811" y="759668"/>
                  <a:pt x="888136" y="742254"/>
                  <a:pt x="907727" y="741710"/>
                </a:cubicBezTo>
                <a:close/>
                <a:moveTo>
                  <a:pt x="1070979" y="740621"/>
                </a:moveTo>
                <a:cubicBezTo>
                  <a:pt x="1091114" y="737357"/>
                  <a:pt x="1110704" y="761300"/>
                  <a:pt x="1110160" y="779258"/>
                </a:cubicBezTo>
                <a:cubicBezTo>
                  <a:pt x="1110160" y="798304"/>
                  <a:pt x="1089481" y="817894"/>
                  <a:pt x="1070979" y="817894"/>
                </a:cubicBezTo>
                <a:cubicBezTo>
                  <a:pt x="1049757" y="817894"/>
                  <a:pt x="1031255" y="797216"/>
                  <a:pt x="1031799" y="778714"/>
                </a:cubicBezTo>
                <a:cubicBezTo>
                  <a:pt x="1033431" y="756947"/>
                  <a:pt x="1049212" y="740621"/>
                  <a:pt x="1070979" y="740621"/>
                </a:cubicBezTo>
                <a:close/>
                <a:moveTo>
                  <a:pt x="1233688" y="736268"/>
                </a:moveTo>
                <a:cubicBezTo>
                  <a:pt x="1254367" y="735723"/>
                  <a:pt x="1276134" y="756402"/>
                  <a:pt x="1276134" y="777625"/>
                </a:cubicBezTo>
                <a:cubicBezTo>
                  <a:pt x="1276134" y="801025"/>
                  <a:pt x="1258720" y="819526"/>
                  <a:pt x="1235320" y="820615"/>
                </a:cubicBezTo>
                <a:cubicBezTo>
                  <a:pt x="1211377" y="821159"/>
                  <a:pt x="1193419" y="802657"/>
                  <a:pt x="1192331" y="779258"/>
                </a:cubicBezTo>
                <a:cubicBezTo>
                  <a:pt x="1190698" y="758579"/>
                  <a:pt x="1213009" y="736812"/>
                  <a:pt x="1233688" y="736268"/>
                </a:cubicBezTo>
                <a:close/>
                <a:moveTo>
                  <a:pt x="1397485" y="735724"/>
                </a:moveTo>
                <a:cubicBezTo>
                  <a:pt x="1421973" y="734091"/>
                  <a:pt x="1441564" y="757491"/>
                  <a:pt x="1441019" y="779802"/>
                </a:cubicBezTo>
                <a:cubicBezTo>
                  <a:pt x="1441019" y="803746"/>
                  <a:pt x="1418708" y="823336"/>
                  <a:pt x="1396397" y="823336"/>
                </a:cubicBezTo>
                <a:cubicBezTo>
                  <a:pt x="1374630" y="823336"/>
                  <a:pt x="1352863" y="802113"/>
                  <a:pt x="1352863" y="779258"/>
                </a:cubicBezTo>
                <a:cubicBezTo>
                  <a:pt x="1353407" y="758579"/>
                  <a:pt x="1372453" y="733547"/>
                  <a:pt x="1397485" y="735724"/>
                </a:cubicBezTo>
                <a:close/>
                <a:moveTo>
                  <a:pt x="1562371" y="734636"/>
                </a:moveTo>
                <a:cubicBezTo>
                  <a:pt x="1586314" y="732459"/>
                  <a:pt x="1605905" y="754226"/>
                  <a:pt x="1605905" y="779802"/>
                </a:cubicBezTo>
                <a:cubicBezTo>
                  <a:pt x="1605361" y="805923"/>
                  <a:pt x="1585226" y="823881"/>
                  <a:pt x="1560194" y="823881"/>
                </a:cubicBezTo>
                <a:cubicBezTo>
                  <a:pt x="1535706" y="823881"/>
                  <a:pt x="1515027" y="803202"/>
                  <a:pt x="1515572" y="777626"/>
                </a:cubicBezTo>
                <a:cubicBezTo>
                  <a:pt x="1516116" y="755859"/>
                  <a:pt x="1535162" y="731371"/>
                  <a:pt x="1562371" y="734636"/>
                </a:cubicBezTo>
                <a:close/>
                <a:moveTo>
                  <a:pt x="1724535" y="730827"/>
                </a:moveTo>
                <a:cubicBezTo>
                  <a:pt x="1748478" y="731371"/>
                  <a:pt x="1772422" y="755314"/>
                  <a:pt x="1772422" y="779258"/>
                </a:cubicBezTo>
                <a:cubicBezTo>
                  <a:pt x="1771878" y="804290"/>
                  <a:pt x="1748478" y="826602"/>
                  <a:pt x="1723446" y="826602"/>
                </a:cubicBezTo>
                <a:cubicBezTo>
                  <a:pt x="1696238" y="823881"/>
                  <a:pt x="1677736" y="807011"/>
                  <a:pt x="1676647" y="778714"/>
                </a:cubicBezTo>
                <a:cubicBezTo>
                  <a:pt x="1676103" y="753138"/>
                  <a:pt x="1699503" y="730282"/>
                  <a:pt x="1724535" y="730827"/>
                </a:cubicBezTo>
                <a:close/>
                <a:moveTo>
                  <a:pt x="1886699" y="730826"/>
                </a:moveTo>
                <a:cubicBezTo>
                  <a:pt x="1914452" y="730826"/>
                  <a:pt x="1934587" y="749872"/>
                  <a:pt x="1935131" y="778713"/>
                </a:cubicBezTo>
                <a:cubicBezTo>
                  <a:pt x="1936219" y="804834"/>
                  <a:pt x="1916085" y="826601"/>
                  <a:pt x="1887244" y="827145"/>
                </a:cubicBezTo>
                <a:cubicBezTo>
                  <a:pt x="1860579" y="826601"/>
                  <a:pt x="1838812" y="805922"/>
                  <a:pt x="1838812" y="778713"/>
                </a:cubicBezTo>
                <a:cubicBezTo>
                  <a:pt x="1839356" y="750416"/>
                  <a:pt x="1860035" y="730282"/>
                  <a:pt x="1886699" y="730826"/>
                </a:cubicBezTo>
                <a:close/>
                <a:moveTo>
                  <a:pt x="2050496" y="730282"/>
                </a:moveTo>
                <a:lnTo>
                  <a:pt x="2051041" y="730396"/>
                </a:lnTo>
                <a:lnTo>
                  <a:pt x="2051041" y="826942"/>
                </a:lnTo>
                <a:lnTo>
                  <a:pt x="2049952" y="827145"/>
                </a:lnTo>
                <a:cubicBezTo>
                  <a:pt x="2023832" y="827145"/>
                  <a:pt x="2001521" y="804290"/>
                  <a:pt x="2002065" y="778169"/>
                </a:cubicBezTo>
                <a:cubicBezTo>
                  <a:pt x="2002609" y="751505"/>
                  <a:pt x="2024376" y="730282"/>
                  <a:pt x="2050496" y="730282"/>
                </a:cubicBezTo>
                <a:close/>
                <a:moveTo>
                  <a:pt x="173634" y="685660"/>
                </a:moveTo>
                <a:cubicBezTo>
                  <a:pt x="181253" y="685660"/>
                  <a:pt x="185062" y="690013"/>
                  <a:pt x="184518" y="698176"/>
                </a:cubicBezTo>
                <a:cubicBezTo>
                  <a:pt x="183973" y="705250"/>
                  <a:pt x="180164" y="709059"/>
                  <a:pt x="172546" y="709059"/>
                </a:cubicBezTo>
                <a:cubicBezTo>
                  <a:pt x="164383" y="709059"/>
                  <a:pt x="160574" y="705250"/>
                  <a:pt x="161118" y="697088"/>
                </a:cubicBezTo>
                <a:cubicBezTo>
                  <a:pt x="161662" y="688925"/>
                  <a:pt x="164927" y="685660"/>
                  <a:pt x="173634" y="685660"/>
                </a:cubicBezTo>
                <a:close/>
                <a:moveTo>
                  <a:pt x="335798" y="675320"/>
                </a:moveTo>
                <a:cubicBezTo>
                  <a:pt x="345593" y="675320"/>
                  <a:pt x="357565" y="685115"/>
                  <a:pt x="357565" y="696543"/>
                </a:cubicBezTo>
                <a:cubicBezTo>
                  <a:pt x="357565" y="707426"/>
                  <a:pt x="346682" y="718854"/>
                  <a:pt x="336342" y="718854"/>
                </a:cubicBezTo>
                <a:cubicBezTo>
                  <a:pt x="327091" y="718854"/>
                  <a:pt x="315664" y="707426"/>
                  <a:pt x="315120" y="697631"/>
                </a:cubicBezTo>
                <a:cubicBezTo>
                  <a:pt x="314575" y="687292"/>
                  <a:pt x="325459" y="675864"/>
                  <a:pt x="335798" y="675320"/>
                </a:cubicBezTo>
                <a:close/>
                <a:moveTo>
                  <a:pt x="499051" y="670423"/>
                </a:moveTo>
                <a:cubicBezTo>
                  <a:pt x="512111" y="669335"/>
                  <a:pt x="526804" y="684027"/>
                  <a:pt x="526804" y="697088"/>
                </a:cubicBezTo>
                <a:cubicBezTo>
                  <a:pt x="526804" y="711236"/>
                  <a:pt x="513744" y="724296"/>
                  <a:pt x="499595" y="724296"/>
                </a:cubicBezTo>
                <a:cubicBezTo>
                  <a:pt x="486535" y="724296"/>
                  <a:pt x="472930" y="711236"/>
                  <a:pt x="472930" y="697632"/>
                </a:cubicBezTo>
                <a:cubicBezTo>
                  <a:pt x="472386" y="684027"/>
                  <a:pt x="485446" y="670423"/>
                  <a:pt x="499051" y="670423"/>
                </a:cubicBezTo>
                <a:close/>
                <a:moveTo>
                  <a:pt x="662848" y="665525"/>
                </a:moveTo>
                <a:cubicBezTo>
                  <a:pt x="678629" y="665525"/>
                  <a:pt x="694410" y="681306"/>
                  <a:pt x="694954" y="697087"/>
                </a:cubicBezTo>
                <a:cubicBezTo>
                  <a:pt x="695499" y="712868"/>
                  <a:pt x="679173" y="729194"/>
                  <a:pt x="663392" y="729194"/>
                </a:cubicBezTo>
                <a:cubicBezTo>
                  <a:pt x="647611" y="729194"/>
                  <a:pt x="632374" y="713957"/>
                  <a:pt x="632374" y="698176"/>
                </a:cubicBezTo>
                <a:cubicBezTo>
                  <a:pt x="631286" y="681850"/>
                  <a:pt x="647067" y="665525"/>
                  <a:pt x="662848" y="665525"/>
                </a:cubicBezTo>
                <a:close/>
                <a:moveTo>
                  <a:pt x="825013" y="663349"/>
                </a:moveTo>
                <a:cubicBezTo>
                  <a:pt x="844603" y="662260"/>
                  <a:pt x="861472" y="676953"/>
                  <a:pt x="860384" y="697632"/>
                </a:cubicBezTo>
                <a:cubicBezTo>
                  <a:pt x="861472" y="716134"/>
                  <a:pt x="846780" y="731915"/>
                  <a:pt x="826101" y="731915"/>
                </a:cubicBezTo>
                <a:cubicBezTo>
                  <a:pt x="806511" y="731915"/>
                  <a:pt x="791818" y="719399"/>
                  <a:pt x="791818" y="698176"/>
                </a:cubicBezTo>
                <a:cubicBezTo>
                  <a:pt x="791818" y="676409"/>
                  <a:pt x="805967" y="663893"/>
                  <a:pt x="825013" y="663349"/>
                </a:cubicBezTo>
                <a:close/>
                <a:moveTo>
                  <a:pt x="988809" y="658995"/>
                </a:moveTo>
                <a:cubicBezTo>
                  <a:pt x="1008400" y="657362"/>
                  <a:pt x="1028534" y="679129"/>
                  <a:pt x="1027446" y="697087"/>
                </a:cubicBezTo>
                <a:cubicBezTo>
                  <a:pt x="1026902" y="718310"/>
                  <a:pt x="1010576" y="735723"/>
                  <a:pt x="989353" y="735723"/>
                </a:cubicBezTo>
                <a:cubicBezTo>
                  <a:pt x="968675" y="735723"/>
                  <a:pt x="950717" y="718310"/>
                  <a:pt x="950717" y="697631"/>
                </a:cubicBezTo>
                <a:cubicBezTo>
                  <a:pt x="950717" y="676408"/>
                  <a:pt x="968131" y="660627"/>
                  <a:pt x="988809" y="658995"/>
                </a:cubicBezTo>
                <a:close/>
                <a:moveTo>
                  <a:pt x="1152607" y="655729"/>
                </a:moveTo>
                <a:cubicBezTo>
                  <a:pt x="1173829" y="654097"/>
                  <a:pt x="1194508" y="675864"/>
                  <a:pt x="1195052" y="697087"/>
                </a:cubicBezTo>
                <a:cubicBezTo>
                  <a:pt x="1195596" y="717766"/>
                  <a:pt x="1173829" y="739533"/>
                  <a:pt x="1153151" y="739533"/>
                </a:cubicBezTo>
                <a:cubicBezTo>
                  <a:pt x="1132472" y="740077"/>
                  <a:pt x="1110705" y="718310"/>
                  <a:pt x="1110705" y="697631"/>
                </a:cubicBezTo>
                <a:cubicBezTo>
                  <a:pt x="1112882" y="674231"/>
                  <a:pt x="1127574" y="657362"/>
                  <a:pt x="1152607" y="655729"/>
                </a:cubicBezTo>
                <a:close/>
                <a:moveTo>
                  <a:pt x="1316948" y="653554"/>
                </a:moveTo>
                <a:cubicBezTo>
                  <a:pt x="1340347" y="654098"/>
                  <a:pt x="1359937" y="674777"/>
                  <a:pt x="1359937" y="697632"/>
                </a:cubicBezTo>
                <a:cubicBezTo>
                  <a:pt x="1359937" y="718855"/>
                  <a:pt x="1339803" y="743343"/>
                  <a:pt x="1315315" y="740622"/>
                </a:cubicBezTo>
                <a:cubicBezTo>
                  <a:pt x="1293004" y="742799"/>
                  <a:pt x="1271237" y="718311"/>
                  <a:pt x="1271781" y="696544"/>
                </a:cubicBezTo>
                <a:cubicBezTo>
                  <a:pt x="1271781" y="675321"/>
                  <a:pt x="1292460" y="653010"/>
                  <a:pt x="1316948" y="653554"/>
                </a:cubicBezTo>
                <a:close/>
                <a:moveTo>
                  <a:pt x="1479112" y="651921"/>
                </a:moveTo>
                <a:cubicBezTo>
                  <a:pt x="1506321" y="651377"/>
                  <a:pt x="1524823" y="669335"/>
                  <a:pt x="1524823" y="697088"/>
                </a:cubicBezTo>
                <a:cubicBezTo>
                  <a:pt x="1524823" y="722664"/>
                  <a:pt x="1506865" y="743343"/>
                  <a:pt x="1479112" y="742254"/>
                </a:cubicBezTo>
                <a:cubicBezTo>
                  <a:pt x="1450815" y="743343"/>
                  <a:pt x="1433401" y="721031"/>
                  <a:pt x="1433945" y="697088"/>
                </a:cubicBezTo>
                <a:cubicBezTo>
                  <a:pt x="1434490" y="670423"/>
                  <a:pt x="1451903" y="652465"/>
                  <a:pt x="1479112" y="651921"/>
                </a:cubicBezTo>
                <a:close/>
                <a:moveTo>
                  <a:pt x="1642909" y="649744"/>
                </a:moveTo>
                <a:cubicBezTo>
                  <a:pt x="1671750" y="650288"/>
                  <a:pt x="1690252" y="668790"/>
                  <a:pt x="1690796" y="697087"/>
                </a:cubicBezTo>
                <a:cubicBezTo>
                  <a:pt x="1691340" y="723752"/>
                  <a:pt x="1672294" y="743342"/>
                  <a:pt x="1642909" y="745519"/>
                </a:cubicBezTo>
                <a:cubicBezTo>
                  <a:pt x="1614067" y="743887"/>
                  <a:pt x="1594477" y="725384"/>
                  <a:pt x="1594477" y="697632"/>
                </a:cubicBezTo>
                <a:cubicBezTo>
                  <a:pt x="1594477" y="668790"/>
                  <a:pt x="1614611" y="649200"/>
                  <a:pt x="1642909" y="649744"/>
                </a:cubicBezTo>
                <a:close/>
                <a:moveTo>
                  <a:pt x="1805617" y="648112"/>
                </a:moveTo>
                <a:cubicBezTo>
                  <a:pt x="1829561" y="648112"/>
                  <a:pt x="1857314" y="672055"/>
                  <a:pt x="1854593" y="698176"/>
                </a:cubicBezTo>
                <a:cubicBezTo>
                  <a:pt x="1856770" y="719399"/>
                  <a:pt x="1832826" y="747151"/>
                  <a:pt x="1805073" y="746607"/>
                </a:cubicBezTo>
                <a:cubicBezTo>
                  <a:pt x="1779497" y="746063"/>
                  <a:pt x="1756097" y="721575"/>
                  <a:pt x="1756097" y="697087"/>
                </a:cubicBezTo>
                <a:cubicBezTo>
                  <a:pt x="1756097" y="670423"/>
                  <a:pt x="1782218" y="647567"/>
                  <a:pt x="1805617" y="648112"/>
                </a:cubicBezTo>
                <a:close/>
                <a:moveTo>
                  <a:pt x="1969414" y="647023"/>
                </a:moveTo>
                <a:cubicBezTo>
                  <a:pt x="1992814" y="647023"/>
                  <a:pt x="2020567" y="672055"/>
                  <a:pt x="2018934" y="698176"/>
                </a:cubicBezTo>
                <a:cubicBezTo>
                  <a:pt x="2017302" y="725384"/>
                  <a:pt x="1996623" y="746063"/>
                  <a:pt x="1968326" y="746063"/>
                </a:cubicBezTo>
                <a:cubicBezTo>
                  <a:pt x="1941661" y="748784"/>
                  <a:pt x="1919350" y="721031"/>
                  <a:pt x="1918806" y="697087"/>
                </a:cubicBezTo>
                <a:cubicBezTo>
                  <a:pt x="1918806" y="669878"/>
                  <a:pt x="1945471" y="647023"/>
                  <a:pt x="1969414" y="647023"/>
                </a:cubicBezTo>
                <a:close/>
                <a:moveTo>
                  <a:pt x="90919" y="606754"/>
                </a:moveTo>
                <a:cubicBezTo>
                  <a:pt x="94728" y="608386"/>
                  <a:pt x="99626" y="612195"/>
                  <a:pt x="99626" y="615460"/>
                </a:cubicBezTo>
                <a:cubicBezTo>
                  <a:pt x="100170" y="618181"/>
                  <a:pt x="95816" y="621990"/>
                  <a:pt x="92007" y="627976"/>
                </a:cubicBezTo>
                <a:cubicBezTo>
                  <a:pt x="87654" y="623079"/>
                  <a:pt x="84389" y="619814"/>
                  <a:pt x="82756" y="616005"/>
                </a:cubicBezTo>
                <a:cubicBezTo>
                  <a:pt x="81668" y="613284"/>
                  <a:pt x="88198" y="605665"/>
                  <a:pt x="90919" y="606754"/>
                </a:cubicBezTo>
                <a:close/>
                <a:moveTo>
                  <a:pt x="254172" y="598047"/>
                </a:moveTo>
                <a:cubicBezTo>
                  <a:pt x="265599" y="597503"/>
                  <a:pt x="273218" y="606210"/>
                  <a:pt x="272674" y="614917"/>
                </a:cubicBezTo>
                <a:cubicBezTo>
                  <a:pt x="272674" y="625800"/>
                  <a:pt x="266688" y="632874"/>
                  <a:pt x="255260" y="633419"/>
                </a:cubicBezTo>
                <a:cubicBezTo>
                  <a:pt x="244376" y="633963"/>
                  <a:pt x="237302" y="626889"/>
                  <a:pt x="236758" y="616005"/>
                </a:cubicBezTo>
                <a:cubicBezTo>
                  <a:pt x="236758" y="605122"/>
                  <a:pt x="243832" y="598047"/>
                  <a:pt x="254172" y="598047"/>
                </a:cubicBezTo>
                <a:close/>
                <a:moveTo>
                  <a:pt x="418513" y="590429"/>
                </a:moveTo>
                <a:cubicBezTo>
                  <a:pt x="431029" y="590429"/>
                  <a:pt x="442457" y="601857"/>
                  <a:pt x="443001" y="614917"/>
                </a:cubicBezTo>
                <a:cubicBezTo>
                  <a:pt x="443545" y="627977"/>
                  <a:pt x="432118" y="640493"/>
                  <a:pt x="419058" y="640493"/>
                </a:cubicBezTo>
                <a:cubicBezTo>
                  <a:pt x="404365" y="640493"/>
                  <a:pt x="394570" y="630698"/>
                  <a:pt x="392937" y="616005"/>
                </a:cubicBezTo>
                <a:cubicBezTo>
                  <a:pt x="391849" y="604033"/>
                  <a:pt x="405997" y="590429"/>
                  <a:pt x="418513" y="590429"/>
                </a:cubicBezTo>
                <a:close/>
                <a:moveTo>
                  <a:pt x="581222" y="587163"/>
                </a:moveTo>
                <a:cubicBezTo>
                  <a:pt x="600812" y="588252"/>
                  <a:pt x="610063" y="598047"/>
                  <a:pt x="610063" y="616549"/>
                </a:cubicBezTo>
                <a:cubicBezTo>
                  <a:pt x="610063" y="634507"/>
                  <a:pt x="599179" y="644846"/>
                  <a:pt x="580677" y="645390"/>
                </a:cubicBezTo>
                <a:cubicBezTo>
                  <a:pt x="565440" y="644846"/>
                  <a:pt x="551836" y="634507"/>
                  <a:pt x="551836" y="615461"/>
                </a:cubicBezTo>
                <a:cubicBezTo>
                  <a:pt x="551836" y="594782"/>
                  <a:pt x="567073" y="586075"/>
                  <a:pt x="581222" y="587163"/>
                </a:cubicBezTo>
                <a:close/>
                <a:moveTo>
                  <a:pt x="743930" y="582266"/>
                </a:moveTo>
                <a:cubicBezTo>
                  <a:pt x="761344" y="581178"/>
                  <a:pt x="779301" y="599136"/>
                  <a:pt x="779301" y="616005"/>
                </a:cubicBezTo>
                <a:cubicBezTo>
                  <a:pt x="779301" y="632874"/>
                  <a:pt x="762976" y="649744"/>
                  <a:pt x="745563" y="649744"/>
                </a:cubicBezTo>
                <a:cubicBezTo>
                  <a:pt x="728149" y="649200"/>
                  <a:pt x="710191" y="635595"/>
                  <a:pt x="711824" y="616549"/>
                </a:cubicBezTo>
                <a:cubicBezTo>
                  <a:pt x="711824" y="596415"/>
                  <a:pt x="724340" y="583355"/>
                  <a:pt x="743930" y="582266"/>
                </a:cubicBezTo>
                <a:close/>
                <a:moveTo>
                  <a:pt x="907183" y="577913"/>
                </a:moveTo>
                <a:cubicBezTo>
                  <a:pt x="927318" y="576825"/>
                  <a:pt x="947452" y="598592"/>
                  <a:pt x="945276" y="615461"/>
                </a:cubicBezTo>
                <a:cubicBezTo>
                  <a:pt x="945276" y="635596"/>
                  <a:pt x="927318" y="653554"/>
                  <a:pt x="907727" y="654098"/>
                </a:cubicBezTo>
                <a:cubicBezTo>
                  <a:pt x="890314" y="654642"/>
                  <a:pt x="869091" y="635052"/>
                  <a:pt x="869091" y="616006"/>
                </a:cubicBezTo>
                <a:cubicBezTo>
                  <a:pt x="869635" y="595871"/>
                  <a:pt x="887049" y="578457"/>
                  <a:pt x="907183" y="577913"/>
                </a:cubicBezTo>
                <a:close/>
                <a:moveTo>
                  <a:pt x="1069891" y="574648"/>
                </a:moveTo>
                <a:cubicBezTo>
                  <a:pt x="1092202" y="574648"/>
                  <a:pt x="1111793" y="589885"/>
                  <a:pt x="1111248" y="615461"/>
                </a:cubicBezTo>
                <a:cubicBezTo>
                  <a:pt x="1111793" y="639405"/>
                  <a:pt x="1093835" y="656274"/>
                  <a:pt x="1070435" y="656274"/>
                </a:cubicBezTo>
                <a:cubicBezTo>
                  <a:pt x="1045403" y="656274"/>
                  <a:pt x="1029622" y="635052"/>
                  <a:pt x="1029622" y="614917"/>
                </a:cubicBezTo>
                <a:cubicBezTo>
                  <a:pt x="1030166" y="593150"/>
                  <a:pt x="1046491" y="574648"/>
                  <a:pt x="1069891" y="574648"/>
                </a:cubicBezTo>
                <a:close/>
                <a:moveTo>
                  <a:pt x="1235321" y="572472"/>
                </a:moveTo>
                <a:cubicBezTo>
                  <a:pt x="1256543" y="572472"/>
                  <a:pt x="1279399" y="590973"/>
                  <a:pt x="1277222" y="616550"/>
                </a:cubicBezTo>
                <a:cubicBezTo>
                  <a:pt x="1278855" y="639949"/>
                  <a:pt x="1255455" y="660084"/>
                  <a:pt x="1233688" y="660084"/>
                </a:cubicBezTo>
                <a:cubicBezTo>
                  <a:pt x="1211377" y="660084"/>
                  <a:pt x="1189610" y="637773"/>
                  <a:pt x="1190154" y="614917"/>
                </a:cubicBezTo>
                <a:cubicBezTo>
                  <a:pt x="1190698" y="594783"/>
                  <a:pt x="1209200" y="571927"/>
                  <a:pt x="1235321" y="572472"/>
                </a:cubicBezTo>
                <a:close/>
                <a:moveTo>
                  <a:pt x="1397485" y="569206"/>
                </a:moveTo>
                <a:cubicBezTo>
                  <a:pt x="1423606" y="569750"/>
                  <a:pt x="1443196" y="587708"/>
                  <a:pt x="1443196" y="616005"/>
                </a:cubicBezTo>
                <a:cubicBezTo>
                  <a:pt x="1443196" y="642670"/>
                  <a:pt x="1424150" y="661716"/>
                  <a:pt x="1396941" y="661172"/>
                </a:cubicBezTo>
                <a:cubicBezTo>
                  <a:pt x="1369188" y="661172"/>
                  <a:pt x="1350686" y="638860"/>
                  <a:pt x="1351775" y="614373"/>
                </a:cubicBezTo>
                <a:cubicBezTo>
                  <a:pt x="1352319" y="587164"/>
                  <a:pt x="1371365" y="569206"/>
                  <a:pt x="1397485" y="569206"/>
                </a:cubicBezTo>
                <a:close/>
                <a:moveTo>
                  <a:pt x="1560738" y="567029"/>
                </a:moveTo>
                <a:cubicBezTo>
                  <a:pt x="1586859" y="567029"/>
                  <a:pt x="1608082" y="587708"/>
                  <a:pt x="1609714" y="615461"/>
                </a:cubicBezTo>
                <a:cubicBezTo>
                  <a:pt x="1608082" y="641581"/>
                  <a:pt x="1589580" y="663892"/>
                  <a:pt x="1561283" y="663892"/>
                </a:cubicBezTo>
                <a:cubicBezTo>
                  <a:pt x="1534074" y="663892"/>
                  <a:pt x="1512851" y="642669"/>
                  <a:pt x="1512851" y="616005"/>
                </a:cubicBezTo>
                <a:cubicBezTo>
                  <a:pt x="1512851" y="587163"/>
                  <a:pt x="1535706" y="567029"/>
                  <a:pt x="1560738" y="567029"/>
                </a:cubicBezTo>
                <a:close/>
                <a:moveTo>
                  <a:pt x="1725624" y="565397"/>
                </a:moveTo>
                <a:cubicBezTo>
                  <a:pt x="1747935" y="565941"/>
                  <a:pt x="1775144" y="590429"/>
                  <a:pt x="1774599" y="616005"/>
                </a:cubicBezTo>
                <a:cubicBezTo>
                  <a:pt x="1774055" y="638317"/>
                  <a:pt x="1751744" y="668246"/>
                  <a:pt x="1723447" y="664981"/>
                </a:cubicBezTo>
                <a:cubicBezTo>
                  <a:pt x="1700592" y="667158"/>
                  <a:pt x="1674471" y="643758"/>
                  <a:pt x="1674471" y="615461"/>
                </a:cubicBezTo>
                <a:cubicBezTo>
                  <a:pt x="1674471" y="588797"/>
                  <a:pt x="1700592" y="565397"/>
                  <a:pt x="1725624" y="565397"/>
                </a:cubicBezTo>
                <a:close/>
                <a:moveTo>
                  <a:pt x="1886699" y="564853"/>
                </a:moveTo>
                <a:cubicBezTo>
                  <a:pt x="1914996" y="564309"/>
                  <a:pt x="1938396" y="589341"/>
                  <a:pt x="1938396" y="614917"/>
                </a:cubicBezTo>
                <a:cubicBezTo>
                  <a:pt x="1938396" y="640493"/>
                  <a:pt x="1917717" y="667702"/>
                  <a:pt x="1887787" y="665525"/>
                </a:cubicBezTo>
                <a:cubicBezTo>
                  <a:pt x="1860034" y="667702"/>
                  <a:pt x="1837723" y="644302"/>
                  <a:pt x="1837179" y="615461"/>
                </a:cubicBezTo>
                <a:cubicBezTo>
                  <a:pt x="1837179" y="586620"/>
                  <a:pt x="1861667" y="565397"/>
                  <a:pt x="1886699" y="564853"/>
                </a:cubicBezTo>
                <a:close/>
                <a:moveTo>
                  <a:pt x="2050496" y="564852"/>
                </a:moveTo>
                <a:lnTo>
                  <a:pt x="2051041" y="564962"/>
                </a:lnTo>
                <a:lnTo>
                  <a:pt x="2051041" y="665899"/>
                </a:lnTo>
                <a:lnTo>
                  <a:pt x="2049952" y="666069"/>
                </a:lnTo>
                <a:cubicBezTo>
                  <a:pt x="2018934" y="667157"/>
                  <a:pt x="1999344" y="642669"/>
                  <a:pt x="1999344" y="615460"/>
                </a:cubicBezTo>
                <a:cubicBezTo>
                  <a:pt x="1999344" y="587163"/>
                  <a:pt x="2021655" y="564852"/>
                  <a:pt x="2050496" y="564852"/>
                </a:cubicBezTo>
                <a:close/>
                <a:moveTo>
                  <a:pt x="173090" y="517509"/>
                </a:moveTo>
                <a:cubicBezTo>
                  <a:pt x="181252" y="517509"/>
                  <a:pt x="189415" y="525672"/>
                  <a:pt x="189959" y="533834"/>
                </a:cubicBezTo>
                <a:cubicBezTo>
                  <a:pt x="189959" y="542541"/>
                  <a:pt x="182341" y="550160"/>
                  <a:pt x="173634" y="550160"/>
                </a:cubicBezTo>
                <a:cubicBezTo>
                  <a:pt x="165471" y="550160"/>
                  <a:pt x="157853" y="543085"/>
                  <a:pt x="157308" y="534923"/>
                </a:cubicBezTo>
                <a:cubicBezTo>
                  <a:pt x="156764" y="526216"/>
                  <a:pt x="164383" y="518053"/>
                  <a:pt x="173090" y="517509"/>
                </a:cubicBezTo>
                <a:close/>
                <a:moveTo>
                  <a:pt x="335798" y="511523"/>
                </a:moveTo>
                <a:cubicBezTo>
                  <a:pt x="349947" y="512067"/>
                  <a:pt x="357565" y="519686"/>
                  <a:pt x="358654" y="533834"/>
                </a:cubicBezTo>
                <a:cubicBezTo>
                  <a:pt x="359742" y="547439"/>
                  <a:pt x="348314" y="557778"/>
                  <a:pt x="336343" y="556689"/>
                </a:cubicBezTo>
                <a:cubicBezTo>
                  <a:pt x="324371" y="558322"/>
                  <a:pt x="312943" y="545806"/>
                  <a:pt x="312943" y="534378"/>
                </a:cubicBezTo>
                <a:cubicBezTo>
                  <a:pt x="312943" y="522951"/>
                  <a:pt x="322738" y="510979"/>
                  <a:pt x="335798" y="511523"/>
                </a:cubicBezTo>
                <a:close/>
                <a:moveTo>
                  <a:pt x="500139" y="506626"/>
                </a:moveTo>
                <a:cubicBezTo>
                  <a:pt x="517553" y="507170"/>
                  <a:pt x="527892" y="517509"/>
                  <a:pt x="527348" y="535467"/>
                </a:cubicBezTo>
                <a:cubicBezTo>
                  <a:pt x="526804" y="552880"/>
                  <a:pt x="515920" y="562131"/>
                  <a:pt x="497963" y="561587"/>
                </a:cubicBezTo>
                <a:cubicBezTo>
                  <a:pt x="481093" y="561043"/>
                  <a:pt x="472386" y="550704"/>
                  <a:pt x="471842" y="533290"/>
                </a:cubicBezTo>
                <a:cubicBezTo>
                  <a:pt x="471298" y="516965"/>
                  <a:pt x="485447" y="506081"/>
                  <a:pt x="500139" y="506626"/>
                </a:cubicBezTo>
                <a:close/>
                <a:moveTo>
                  <a:pt x="662304" y="500639"/>
                </a:moveTo>
                <a:cubicBezTo>
                  <a:pt x="677540" y="497919"/>
                  <a:pt x="696587" y="518597"/>
                  <a:pt x="696042" y="533290"/>
                </a:cubicBezTo>
                <a:cubicBezTo>
                  <a:pt x="694954" y="551792"/>
                  <a:pt x="681894" y="565396"/>
                  <a:pt x="663392" y="566485"/>
                </a:cubicBezTo>
                <a:cubicBezTo>
                  <a:pt x="643802" y="567573"/>
                  <a:pt x="629653" y="549615"/>
                  <a:pt x="630197" y="534378"/>
                </a:cubicBezTo>
                <a:cubicBezTo>
                  <a:pt x="630741" y="515876"/>
                  <a:pt x="644346" y="501184"/>
                  <a:pt x="662304" y="500639"/>
                </a:cubicBezTo>
                <a:close/>
                <a:moveTo>
                  <a:pt x="825557" y="496830"/>
                </a:moveTo>
                <a:cubicBezTo>
                  <a:pt x="846780" y="496286"/>
                  <a:pt x="862561" y="513700"/>
                  <a:pt x="863649" y="534923"/>
                </a:cubicBezTo>
                <a:cubicBezTo>
                  <a:pt x="862017" y="556690"/>
                  <a:pt x="845147" y="571927"/>
                  <a:pt x="825557" y="571383"/>
                </a:cubicBezTo>
                <a:cubicBezTo>
                  <a:pt x="805422" y="570838"/>
                  <a:pt x="788553" y="555057"/>
                  <a:pt x="788553" y="534379"/>
                </a:cubicBezTo>
                <a:cubicBezTo>
                  <a:pt x="788553" y="514244"/>
                  <a:pt x="804334" y="497375"/>
                  <a:pt x="825557" y="496830"/>
                </a:cubicBezTo>
                <a:close/>
                <a:moveTo>
                  <a:pt x="989898" y="494110"/>
                </a:moveTo>
                <a:cubicBezTo>
                  <a:pt x="1012209" y="494654"/>
                  <a:pt x="1029622" y="513156"/>
                  <a:pt x="1029078" y="534923"/>
                </a:cubicBezTo>
                <a:cubicBezTo>
                  <a:pt x="1028534" y="556146"/>
                  <a:pt x="1010576" y="574104"/>
                  <a:pt x="989353" y="574104"/>
                </a:cubicBezTo>
                <a:cubicBezTo>
                  <a:pt x="969763" y="574648"/>
                  <a:pt x="947452" y="556690"/>
                  <a:pt x="949629" y="533835"/>
                </a:cubicBezTo>
                <a:cubicBezTo>
                  <a:pt x="947996" y="512068"/>
                  <a:pt x="968675" y="494110"/>
                  <a:pt x="989898" y="494110"/>
                </a:cubicBezTo>
                <a:close/>
                <a:moveTo>
                  <a:pt x="1152062" y="490301"/>
                </a:moveTo>
                <a:cubicBezTo>
                  <a:pt x="1174917" y="490301"/>
                  <a:pt x="1196140" y="509347"/>
                  <a:pt x="1196140" y="533835"/>
                </a:cubicBezTo>
                <a:cubicBezTo>
                  <a:pt x="1197228" y="558867"/>
                  <a:pt x="1173829" y="577913"/>
                  <a:pt x="1152606" y="577369"/>
                </a:cubicBezTo>
                <a:cubicBezTo>
                  <a:pt x="1130839" y="577369"/>
                  <a:pt x="1109616" y="556690"/>
                  <a:pt x="1109072" y="534379"/>
                </a:cubicBezTo>
                <a:cubicBezTo>
                  <a:pt x="1108528" y="510980"/>
                  <a:pt x="1128662" y="490301"/>
                  <a:pt x="1152062" y="490301"/>
                </a:cubicBezTo>
                <a:close/>
                <a:moveTo>
                  <a:pt x="1316947" y="489212"/>
                </a:moveTo>
                <a:cubicBezTo>
                  <a:pt x="1343612" y="489756"/>
                  <a:pt x="1361570" y="510435"/>
                  <a:pt x="1361570" y="534923"/>
                </a:cubicBezTo>
                <a:cubicBezTo>
                  <a:pt x="1361570" y="560499"/>
                  <a:pt x="1341980" y="580090"/>
                  <a:pt x="1315859" y="580090"/>
                </a:cubicBezTo>
                <a:cubicBezTo>
                  <a:pt x="1291915" y="580090"/>
                  <a:pt x="1269060" y="560499"/>
                  <a:pt x="1270693" y="533835"/>
                </a:cubicBezTo>
                <a:cubicBezTo>
                  <a:pt x="1269604" y="508258"/>
                  <a:pt x="1291371" y="488124"/>
                  <a:pt x="1316947" y="489212"/>
                </a:cubicBezTo>
                <a:close/>
                <a:moveTo>
                  <a:pt x="1479112" y="484315"/>
                </a:moveTo>
                <a:cubicBezTo>
                  <a:pt x="1503599" y="484315"/>
                  <a:pt x="1528087" y="508259"/>
                  <a:pt x="1528087" y="533835"/>
                </a:cubicBezTo>
                <a:cubicBezTo>
                  <a:pt x="1528087" y="558867"/>
                  <a:pt x="1506865" y="582267"/>
                  <a:pt x="1479656" y="582267"/>
                </a:cubicBezTo>
                <a:cubicBezTo>
                  <a:pt x="1453535" y="582267"/>
                  <a:pt x="1431224" y="560500"/>
                  <a:pt x="1431224" y="533835"/>
                </a:cubicBezTo>
                <a:cubicBezTo>
                  <a:pt x="1430680" y="506626"/>
                  <a:pt x="1454624" y="485403"/>
                  <a:pt x="1479112" y="484315"/>
                </a:cubicBezTo>
                <a:close/>
                <a:moveTo>
                  <a:pt x="1643452" y="484314"/>
                </a:moveTo>
                <a:cubicBezTo>
                  <a:pt x="1667396" y="481049"/>
                  <a:pt x="1693517" y="509891"/>
                  <a:pt x="1692973" y="534923"/>
                </a:cubicBezTo>
                <a:cubicBezTo>
                  <a:pt x="1692428" y="558867"/>
                  <a:pt x="1669573" y="584987"/>
                  <a:pt x="1641276" y="583898"/>
                </a:cubicBezTo>
                <a:cubicBezTo>
                  <a:pt x="1616788" y="583354"/>
                  <a:pt x="1592300" y="562676"/>
                  <a:pt x="1592300" y="532202"/>
                </a:cubicBezTo>
                <a:cubicBezTo>
                  <a:pt x="1592300" y="509891"/>
                  <a:pt x="1615155" y="481049"/>
                  <a:pt x="1643452" y="484314"/>
                </a:cubicBezTo>
                <a:close/>
                <a:moveTo>
                  <a:pt x="1806162" y="481594"/>
                </a:moveTo>
                <a:cubicBezTo>
                  <a:pt x="1839901" y="484859"/>
                  <a:pt x="1858947" y="504993"/>
                  <a:pt x="1857858" y="536011"/>
                </a:cubicBezTo>
                <a:cubicBezTo>
                  <a:pt x="1855682" y="568662"/>
                  <a:pt x="1834459" y="584987"/>
                  <a:pt x="1803441" y="586075"/>
                </a:cubicBezTo>
                <a:cubicBezTo>
                  <a:pt x="1775144" y="584443"/>
                  <a:pt x="1751744" y="559955"/>
                  <a:pt x="1753377" y="533290"/>
                </a:cubicBezTo>
                <a:cubicBezTo>
                  <a:pt x="1755009" y="504993"/>
                  <a:pt x="1780041" y="479417"/>
                  <a:pt x="1806162" y="481594"/>
                </a:cubicBezTo>
                <a:close/>
                <a:moveTo>
                  <a:pt x="1968326" y="480505"/>
                </a:moveTo>
                <a:cubicBezTo>
                  <a:pt x="1998256" y="483226"/>
                  <a:pt x="2020023" y="501728"/>
                  <a:pt x="2022200" y="534379"/>
                </a:cubicBezTo>
                <a:cubicBezTo>
                  <a:pt x="2023832" y="560499"/>
                  <a:pt x="1996079" y="588252"/>
                  <a:pt x="1969415" y="588252"/>
                </a:cubicBezTo>
                <a:cubicBezTo>
                  <a:pt x="1943294" y="588796"/>
                  <a:pt x="1916085" y="561587"/>
                  <a:pt x="1915541" y="534923"/>
                </a:cubicBezTo>
                <a:cubicBezTo>
                  <a:pt x="1914453" y="508258"/>
                  <a:pt x="1941117" y="480505"/>
                  <a:pt x="1968326" y="480505"/>
                </a:cubicBezTo>
                <a:close/>
                <a:moveTo>
                  <a:pt x="91464" y="440780"/>
                </a:moveTo>
                <a:cubicBezTo>
                  <a:pt x="99082" y="440780"/>
                  <a:pt x="102347" y="443501"/>
                  <a:pt x="102891" y="451664"/>
                </a:cubicBezTo>
                <a:cubicBezTo>
                  <a:pt x="102891" y="460915"/>
                  <a:pt x="100171" y="464179"/>
                  <a:pt x="92008" y="464179"/>
                </a:cubicBezTo>
                <a:cubicBezTo>
                  <a:pt x="83301" y="464179"/>
                  <a:pt x="80036" y="461459"/>
                  <a:pt x="80036" y="452752"/>
                </a:cubicBezTo>
                <a:cubicBezTo>
                  <a:pt x="80036" y="444045"/>
                  <a:pt x="83301" y="440780"/>
                  <a:pt x="91464" y="440780"/>
                </a:cubicBezTo>
                <a:close/>
                <a:moveTo>
                  <a:pt x="254172" y="430441"/>
                </a:moveTo>
                <a:cubicBezTo>
                  <a:pt x="263967" y="430441"/>
                  <a:pt x="276483" y="440236"/>
                  <a:pt x="275939" y="452208"/>
                </a:cubicBezTo>
                <a:cubicBezTo>
                  <a:pt x="275939" y="463092"/>
                  <a:pt x="265600" y="473975"/>
                  <a:pt x="254716" y="473975"/>
                </a:cubicBezTo>
                <a:cubicBezTo>
                  <a:pt x="244377" y="473975"/>
                  <a:pt x="232949" y="463092"/>
                  <a:pt x="232405" y="452752"/>
                </a:cubicBezTo>
                <a:cubicBezTo>
                  <a:pt x="232405" y="442413"/>
                  <a:pt x="243833" y="430985"/>
                  <a:pt x="254172" y="430441"/>
                </a:cubicBezTo>
                <a:close/>
                <a:moveTo>
                  <a:pt x="417969" y="424999"/>
                </a:moveTo>
                <a:cubicBezTo>
                  <a:pt x="432118" y="424999"/>
                  <a:pt x="444634" y="438059"/>
                  <a:pt x="444634" y="452752"/>
                </a:cubicBezTo>
                <a:cubicBezTo>
                  <a:pt x="445178" y="464180"/>
                  <a:pt x="432662" y="481049"/>
                  <a:pt x="417425" y="479417"/>
                </a:cubicBezTo>
                <a:cubicBezTo>
                  <a:pt x="405453" y="481049"/>
                  <a:pt x="389672" y="465268"/>
                  <a:pt x="390760" y="452208"/>
                </a:cubicBezTo>
                <a:cubicBezTo>
                  <a:pt x="391849" y="437515"/>
                  <a:pt x="403276" y="424999"/>
                  <a:pt x="417969" y="424999"/>
                </a:cubicBezTo>
                <a:close/>
                <a:moveTo>
                  <a:pt x="580677" y="419558"/>
                </a:moveTo>
                <a:cubicBezTo>
                  <a:pt x="596458" y="419013"/>
                  <a:pt x="612783" y="434795"/>
                  <a:pt x="612783" y="452208"/>
                </a:cubicBezTo>
                <a:cubicBezTo>
                  <a:pt x="612783" y="469622"/>
                  <a:pt x="599723" y="483226"/>
                  <a:pt x="581221" y="484315"/>
                </a:cubicBezTo>
                <a:cubicBezTo>
                  <a:pt x="561087" y="482138"/>
                  <a:pt x="549659" y="470710"/>
                  <a:pt x="549115" y="452208"/>
                </a:cubicBezTo>
                <a:cubicBezTo>
                  <a:pt x="548571" y="433162"/>
                  <a:pt x="564352" y="420102"/>
                  <a:pt x="580677" y="419558"/>
                </a:cubicBezTo>
                <a:close/>
                <a:moveTo>
                  <a:pt x="743931" y="415748"/>
                </a:moveTo>
                <a:cubicBezTo>
                  <a:pt x="761888" y="414660"/>
                  <a:pt x="779846" y="432618"/>
                  <a:pt x="780390" y="452208"/>
                </a:cubicBezTo>
                <a:cubicBezTo>
                  <a:pt x="780934" y="471254"/>
                  <a:pt x="764065" y="488668"/>
                  <a:pt x="744475" y="489212"/>
                </a:cubicBezTo>
                <a:cubicBezTo>
                  <a:pt x="727061" y="489212"/>
                  <a:pt x="709103" y="472342"/>
                  <a:pt x="708559" y="453840"/>
                </a:cubicBezTo>
                <a:cubicBezTo>
                  <a:pt x="707471" y="435883"/>
                  <a:pt x="725428" y="416836"/>
                  <a:pt x="743931" y="415748"/>
                </a:cubicBezTo>
                <a:close/>
                <a:moveTo>
                  <a:pt x="908271" y="414116"/>
                </a:moveTo>
                <a:cubicBezTo>
                  <a:pt x="927861" y="411395"/>
                  <a:pt x="946907" y="431529"/>
                  <a:pt x="946363" y="453296"/>
                </a:cubicBezTo>
                <a:cubicBezTo>
                  <a:pt x="946363" y="473975"/>
                  <a:pt x="927317" y="491933"/>
                  <a:pt x="906638" y="491933"/>
                </a:cubicBezTo>
                <a:cubicBezTo>
                  <a:pt x="887048" y="491933"/>
                  <a:pt x="866913" y="473431"/>
                  <a:pt x="868546" y="452208"/>
                </a:cubicBezTo>
                <a:cubicBezTo>
                  <a:pt x="870179" y="428808"/>
                  <a:pt x="884871" y="413571"/>
                  <a:pt x="908271" y="414116"/>
                </a:cubicBezTo>
                <a:close/>
                <a:moveTo>
                  <a:pt x="1072068" y="409218"/>
                </a:moveTo>
                <a:cubicBezTo>
                  <a:pt x="1097100" y="410307"/>
                  <a:pt x="1113970" y="427720"/>
                  <a:pt x="1113970" y="452752"/>
                </a:cubicBezTo>
                <a:cubicBezTo>
                  <a:pt x="1113970" y="478329"/>
                  <a:pt x="1092203" y="495198"/>
                  <a:pt x="1070436" y="495198"/>
                </a:cubicBezTo>
                <a:cubicBezTo>
                  <a:pt x="1048124" y="494654"/>
                  <a:pt x="1027446" y="475063"/>
                  <a:pt x="1028534" y="451120"/>
                </a:cubicBezTo>
                <a:cubicBezTo>
                  <a:pt x="1029622" y="427720"/>
                  <a:pt x="1048669" y="408130"/>
                  <a:pt x="1072068" y="409218"/>
                </a:cubicBezTo>
                <a:close/>
                <a:moveTo>
                  <a:pt x="1235865" y="408130"/>
                </a:moveTo>
                <a:cubicBezTo>
                  <a:pt x="1258721" y="405953"/>
                  <a:pt x="1279400" y="427176"/>
                  <a:pt x="1279400" y="453296"/>
                </a:cubicBezTo>
                <a:cubicBezTo>
                  <a:pt x="1278855" y="478328"/>
                  <a:pt x="1258177" y="497374"/>
                  <a:pt x="1233689" y="497374"/>
                </a:cubicBezTo>
                <a:cubicBezTo>
                  <a:pt x="1209745" y="496830"/>
                  <a:pt x="1189066" y="476151"/>
                  <a:pt x="1189611" y="451664"/>
                </a:cubicBezTo>
                <a:cubicBezTo>
                  <a:pt x="1189611" y="429352"/>
                  <a:pt x="1209201" y="404864"/>
                  <a:pt x="1235865" y="408130"/>
                </a:cubicBezTo>
                <a:close/>
                <a:moveTo>
                  <a:pt x="1396941" y="403776"/>
                </a:moveTo>
                <a:cubicBezTo>
                  <a:pt x="1425238" y="403232"/>
                  <a:pt x="1445373" y="423911"/>
                  <a:pt x="1446461" y="450575"/>
                </a:cubicBezTo>
                <a:cubicBezTo>
                  <a:pt x="1447005" y="476696"/>
                  <a:pt x="1426327" y="500096"/>
                  <a:pt x="1399118" y="500640"/>
                </a:cubicBezTo>
                <a:cubicBezTo>
                  <a:pt x="1372453" y="501184"/>
                  <a:pt x="1349598" y="479961"/>
                  <a:pt x="1349598" y="453296"/>
                </a:cubicBezTo>
                <a:cubicBezTo>
                  <a:pt x="1349598" y="424999"/>
                  <a:pt x="1370277" y="404865"/>
                  <a:pt x="1396941" y="403776"/>
                </a:cubicBezTo>
                <a:close/>
                <a:moveTo>
                  <a:pt x="1560738" y="402144"/>
                </a:moveTo>
                <a:cubicBezTo>
                  <a:pt x="1588491" y="402144"/>
                  <a:pt x="1611347" y="427176"/>
                  <a:pt x="1611347" y="453297"/>
                </a:cubicBezTo>
                <a:cubicBezTo>
                  <a:pt x="1610803" y="476152"/>
                  <a:pt x="1590668" y="502817"/>
                  <a:pt x="1560194" y="502272"/>
                </a:cubicBezTo>
                <a:cubicBezTo>
                  <a:pt x="1534074" y="501728"/>
                  <a:pt x="1508498" y="479961"/>
                  <a:pt x="1511218" y="451664"/>
                </a:cubicBezTo>
                <a:cubicBezTo>
                  <a:pt x="1508498" y="425544"/>
                  <a:pt x="1534618" y="402144"/>
                  <a:pt x="1560738" y="402144"/>
                </a:cubicBezTo>
                <a:close/>
                <a:moveTo>
                  <a:pt x="1723991" y="399423"/>
                </a:moveTo>
                <a:cubicBezTo>
                  <a:pt x="1756097" y="402688"/>
                  <a:pt x="1777320" y="422278"/>
                  <a:pt x="1776776" y="452752"/>
                </a:cubicBezTo>
                <a:cubicBezTo>
                  <a:pt x="1776232" y="483226"/>
                  <a:pt x="1757730" y="501728"/>
                  <a:pt x="1725079" y="504993"/>
                </a:cubicBezTo>
                <a:cubicBezTo>
                  <a:pt x="1697870" y="507714"/>
                  <a:pt x="1670117" y="479961"/>
                  <a:pt x="1671750" y="452752"/>
                </a:cubicBezTo>
                <a:cubicBezTo>
                  <a:pt x="1673382" y="420102"/>
                  <a:pt x="1692428" y="403232"/>
                  <a:pt x="1723991" y="399423"/>
                </a:cubicBezTo>
                <a:close/>
                <a:moveTo>
                  <a:pt x="2051040" y="398335"/>
                </a:moveTo>
                <a:lnTo>
                  <a:pt x="2051041" y="398335"/>
                </a:lnTo>
                <a:lnTo>
                  <a:pt x="2051041" y="506936"/>
                </a:lnTo>
                <a:lnTo>
                  <a:pt x="2049952" y="507170"/>
                </a:lnTo>
                <a:cubicBezTo>
                  <a:pt x="2020566" y="506626"/>
                  <a:pt x="1995534" y="481593"/>
                  <a:pt x="1995534" y="452208"/>
                </a:cubicBezTo>
                <a:cubicBezTo>
                  <a:pt x="1996078" y="424455"/>
                  <a:pt x="2021655" y="397246"/>
                  <a:pt x="2051040" y="398335"/>
                </a:cubicBezTo>
                <a:close/>
                <a:moveTo>
                  <a:pt x="1888332" y="398335"/>
                </a:moveTo>
                <a:cubicBezTo>
                  <a:pt x="1915541" y="398879"/>
                  <a:pt x="1941661" y="423911"/>
                  <a:pt x="1941661" y="452208"/>
                </a:cubicBezTo>
                <a:cubicBezTo>
                  <a:pt x="1941661" y="481594"/>
                  <a:pt x="1916085" y="507170"/>
                  <a:pt x="1886699" y="506082"/>
                </a:cubicBezTo>
                <a:cubicBezTo>
                  <a:pt x="1857314" y="505538"/>
                  <a:pt x="1833914" y="481594"/>
                  <a:pt x="1833370" y="452208"/>
                </a:cubicBezTo>
                <a:cubicBezTo>
                  <a:pt x="1833370" y="423911"/>
                  <a:pt x="1860035" y="398335"/>
                  <a:pt x="1888332" y="398335"/>
                </a:cubicBezTo>
                <a:close/>
                <a:moveTo>
                  <a:pt x="12014" y="364052"/>
                </a:moveTo>
                <a:cubicBezTo>
                  <a:pt x="13102" y="365140"/>
                  <a:pt x="15279" y="367317"/>
                  <a:pt x="15823" y="370038"/>
                </a:cubicBezTo>
                <a:cubicBezTo>
                  <a:pt x="16911" y="374391"/>
                  <a:pt x="14191" y="377656"/>
                  <a:pt x="9293" y="377656"/>
                </a:cubicBezTo>
                <a:cubicBezTo>
                  <a:pt x="4940" y="377656"/>
                  <a:pt x="3307" y="374936"/>
                  <a:pt x="3307" y="371126"/>
                </a:cubicBezTo>
                <a:cubicBezTo>
                  <a:pt x="3307" y="367317"/>
                  <a:pt x="4940" y="364052"/>
                  <a:pt x="12014" y="364052"/>
                </a:cubicBezTo>
                <a:close/>
                <a:moveTo>
                  <a:pt x="172545" y="353713"/>
                </a:moveTo>
                <a:cubicBezTo>
                  <a:pt x="184517" y="353713"/>
                  <a:pt x="190503" y="359154"/>
                  <a:pt x="190503" y="370582"/>
                </a:cubicBezTo>
                <a:cubicBezTo>
                  <a:pt x="190503" y="381466"/>
                  <a:pt x="184517" y="387996"/>
                  <a:pt x="173090" y="387996"/>
                </a:cubicBezTo>
                <a:cubicBezTo>
                  <a:pt x="163839" y="388540"/>
                  <a:pt x="155676" y="381466"/>
                  <a:pt x="155676" y="371126"/>
                </a:cubicBezTo>
                <a:cubicBezTo>
                  <a:pt x="155676" y="362419"/>
                  <a:pt x="161662" y="352080"/>
                  <a:pt x="172545" y="353713"/>
                </a:cubicBezTo>
                <a:close/>
                <a:moveTo>
                  <a:pt x="336886" y="345550"/>
                </a:moveTo>
                <a:cubicBezTo>
                  <a:pt x="350490" y="346094"/>
                  <a:pt x="362462" y="358610"/>
                  <a:pt x="361374" y="371670"/>
                </a:cubicBezTo>
                <a:cubicBezTo>
                  <a:pt x="360286" y="385275"/>
                  <a:pt x="348858" y="395614"/>
                  <a:pt x="335798" y="395070"/>
                </a:cubicBezTo>
                <a:cubicBezTo>
                  <a:pt x="319472" y="394526"/>
                  <a:pt x="311854" y="381466"/>
                  <a:pt x="311854" y="370038"/>
                </a:cubicBezTo>
                <a:cubicBezTo>
                  <a:pt x="311854" y="356978"/>
                  <a:pt x="324370" y="345550"/>
                  <a:pt x="336886" y="345550"/>
                </a:cubicBezTo>
                <a:close/>
                <a:moveTo>
                  <a:pt x="499596" y="342284"/>
                </a:moveTo>
                <a:cubicBezTo>
                  <a:pt x="518642" y="341196"/>
                  <a:pt x="528437" y="354256"/>
                  <a:pt x="528437" y="370582"/>
                </a:cubicBezTo>
                <a:cubicBezTo>
                  <a:pt x="528437" y="386363"/>
                  <a:pt x="518642" y="399967"/>
                  <a:pt x="499051" y="399423"/>
                </a:cubicBezTo>
                <a:cubicBezTo>
                  <a:pt x="481094" y="399423"/>
                  <a:pt x="470210" y="387995"/>
                  <a:pt x="470210" y="370037"/>
                </a:cubicBezTo>
                <a:cubicBezTo>
                  <a:pt x="470754" y="352624"/>
                  <a:pt x="481638" y="341740"/>
                  <a:pt x="499596" y="342284"/>
                </a:cubicBezTo>
                <a:close/>
                <a:moveTo>
                  <a:pt x="663392" y="337387"/>
                </a:moveTo>
                <a:cubicBezTo>
                  <a:pt x="680262" y="337387"/>
                  <a:pt x="697675" y="354801"/>
                  <a:pt x="697131" y="371126"/>
                </a:cubicBezTo>
                <a:cubicBezTo>
                  <a:pt x="696043" y="390172"/>
                  <a:pt x="682982" y="404321"/>
                  <a:pt x="662304" y="404321"/>
                </a:cubicBezTo>
                <a:cubicBezTo>
                  <a:pt x="643258" y="405953"/>
                  <a:pt x="629109" y="389084"/>
                  <a:pt x="629109" y="371126"/>
                </a:cubicBezTo>
                <a:cubicBezTo>
                  <a:pt x="629109" y="352624"/>
                  <a:pt x="645434" y="337387"/>
                  <a:pt x="663392" y="337387"/>
                </a:cubicBezTo>
                <a:close/>
                <a:moveTo>
                  <a:pt x="825556" y="332489"/>
                </a:moveTo>
                <a:cubicBezTo>
                  <a:pt x="847323" y="333577"/>
                  <a:pt x="864193" y="349358"/>
                  <a:pt x="864737" y="370037"/>
                </a:cubicBezTo>
                <a:cubicBezTo>
                  <a:pt x="864193" y="391260"/>
                  <a:pt x="847323" y="409218"/>
                  <a:pt x="826645" y="409218"/>
                </a:cubicBezTo>
                <a:cubicBezTo>
                  <a:pt x="808687" y="412483"/>
                  <a:pt x="788008" y="387995"/>
                  <a:pt x="787464" y="371126"/>
                </a:cubicBezTo>
                <a:cubicBezTo>
                  <a:pt x="787464" y="353712"/>
                  <a:pt x="808687" y="331945"/>
                  <a:pt x="825556" y="332489"/>
                </a:cubicBezTo>
                <a:close/>
                <a:moveTo>
                  <a:pt x="989898" y="328680"/>
                </a:moveTo>
                <a:cubicBezTo>
                  <a:pt x="1013297" y="329224"/>
                  <a:pt x="1030167" y="347182"/>
                  <a:pt x="1031255" y="371126"/>
                </a:cubicBezTo>
                <a:cubicBezTo>
                  <a:pt x="1029623" y="396702"/>
                  <a:pt x="1010576" y="413027"/>
                  <a:pt x="989354" y="413027"/>
                </a:cubicBezTo>
                <a:cubicBezTo>
                  <a:pt x="964866" y="412483"/>
                  <a:pt x="946908" y="393981"/>
                  <a:pt x="947452" y="370037"/>
                </a:cubicBezTo>
                <a:cubicBezTo>
                  <a:pt x="947996" y="346094"/>
                  <a:pt x="964866" y="328680"/>
                  <a:pt x="989898" y="328680"/>
                </a:cubicBezTo>
                <a:close/>
                <a:moveTo>
                  <a:pt x="1153150" y="326504"/>
                </a:moveTo>
                <a:cubicBezTo>
                  <a:pt x="1177094" y="326504"/>
                  <a:pt x="1197228" y="347727"/>
                  <a:pt x="1197228" y="370582"/>
                </a:cubicBezTo>
                <a:cubicBezTo>
                  <a:pt x="1197228" y="392894"/>
                  <a:pt x="1176550" y="417925"/>
                  <a:pt x="1152606" y="414661"/>
                </a:cubicBezTo>
                <a:cubicBezTo>
                  <a:pt x="1130295" y="417925"/>
                  <a:pt x="1107984" y="393982"/>
                  <a:pt x="1108528" y="370038"/>
                </a:cubicBezTo>
                <a:cubicBezTo>
                  <a:pt x="1109072" y="347727"/>
                  <a:pt x="1129751" y="326504"/>
                  <a:pt x="1153150" y="326504"/>
                </a:cubicBezTo>
                <a:close/>
                <a:moveTo>
                  <a:pt x="1317492" y="323239"/>
                </a:moveTo>
                <a:cubicBezTo>
                  <a:pt x="1341979" y="322151"/>
                  <a:pt x="1367012" y="348271"/>
                  <a:pt x="1364835" y="372215"/>
                </a:cubicBezTo>
                <a:cubicBezTo>
                  <a:pt x="1361026" y="399968"/>
                  <a:pt x="1344700" y="416837"/>
                  <a:pt x="1314771" y="419014"/>
                </a:cubicBezTo>
                <a:cubicBezTo>
                  <a:pt x="1286474" y="415205"/>
                  <a:pt x="1267972" y="398879"/>
                  <a:pt x="1268516" y="370582"/>
                </a:cubicBezTo>
                <a:cubicBezTo>
                  <a:pt x="1268516" y="341197"/>
                  <a:pt x="1288650" y="324327"/>
                  <a:pt x="1317492" y="323239"/>
                </a:cubicBezTo>
                <a:close/>
                <a:moveTo>
                  <a:pt x="1479112" y="320517"/>
                </a:moveTo>
                <a:cubicBezTo>
                  <a:pt x="1503600" y="319973"/>
                  <a:pt x="1530265" y="343917"/>
                  <a:pt x="1529720" y="371670"/>
                </a:cubicBezTo>
                <a:cubicBezTo>
                  <a:pt x="1528632" y="395069"/>
                  <a:pt x="1506321" y="423366"/>
                  <a:pt x="1478568" y="420101"/>
                </a:cubicBezTo>
                <a:cubicBezTo>
                  <a:pt x="1452447" y="422822"/>
                  <a:pt x="1429592" y="397246"/>
                  <a:pt x="1429592" y="370037"/>
                </a:cubicBezTo>
                <a:cubicBezTo>
                  <a:pt x="1429592" y="342284"/>
                  <a:pt x="1455713" y="320517"/>
                  <a:pt x="1479112" y="320517"/>
                </a:cubicBezTo>
                <a:close/>
                <a:moveTo>
                  <a:pt x="1642364" y="318341"/>
                </a:moveTo>
                <a:cubicBezTo>
                  <a:pt x="1670661" y="318341"/>
                  <a:pt x="1692973" y="339020"/>
                  <a:pt x="1695694" y="370582"/>
                </a:cubicBezTo>
                <a:cubicBezTo>
                  <a:pt x="1696238" y="397791"/>
                  <a:pt x="1671206" y="423367"/>
                  <a:pt x="1643453" y="424455"/>
                </a:cubicBezTo>
                <a:cubicBezTo>
                  <a:pt x="1616788" y="425544"/>
                  <a:pt x="1589035" y="398335"/>
                  <a:pt x="1589035" y="371670"/>
                </a:cubicBezTo>
                <a:cubicBezTo>
                  <a:pt x="1589035" y="345006"/>
                  <a:pt x="1615155" y="317797"/>
                  <a:pt x="1642364" y="318341"/>
                </a:cubicBezTo>
                <a:close/>
                <a:moveTo>
                  <a:pt x="90919" y="273718"/>
                </a:moveTo>
                <a:cubicBezTo>
                  <a:pt x="96361" y="273174"/>
                  <a:pt x="106156" y="282425"/>
                  <a:pt x="106700" y="288411"/>
                </a:cubicBezTo>
                <a:cubicBezTo>
                  <a:pt x="106700" y="294941"/>
                  <a:pt x="97993" y="303648"/>
                  <a:pt x="91463" y="303648"/>
                </a:cubicBezTo>
                <a:cubicBezTo>
                  <a:pt x="84933" y="303648"/>
                  <a:pt x="76226" y="294941"/>
                  <a:pt x="76770" y="288411"/>
                </a:cubicBezTo>
                <a:cubicBezTo>
                  <a:pt x="76770" y="283513"/>
                  <a:pt x="86021" y="274262"/>
                  <a:pt x="90919" y="273718"/>
                </a:cubicBezTo>
                <a:close/>
                <a:moveTo>
                  <a:pt x="254716" y="267733"/>
                </a:moveTo>
                <a:cubicBezTo>
                  <a:pt x="267776" y="267733"/>
                  <a:pt x="276483" y="276440"/>
                  <a:pt x="276483" y="288956"/>
                </a:cubicBezTo>
                <a:cubicBezTo>
                  <a:pt x="276483" y="301472"/>
                  <a:pt x="266688" y="311811"/>
                  <a:pt x="254172" y="311811"/>
                </a:cubicBezTo>
                <a:cubicBezTo>
                  <a:pt x="243289" y="311811"/>
                  <a:pt x="232405" y="300384"/>
                  <a:pt x="232405" y="289500"/>
                </a:cubicBezTo>
                <a:cubicBezTo>
                  <a:pt x="232405" y="276984"/>
                  <a:pt x="242744" y="267733"/>
                  <a:pt x="254716" y="267733"/>
                </a:cubicBezTo>
                <a:close/>
                <a:moveTo>
                  <a:pt x="1941117" y="263202"/>
                </a:moveTo>
                <a:cubicBezTo>
                  <a:pt x="1937852" y="261570"/>
                  <a:pt x="1936219" y="263202"/>
                  <a:pt x="1936219" y="266467"/>
                </a:cubicBezTo>
                <a:cubicBezTo>
                  <a:pt x="1936763" y="268644"/>
                  <a:pt x="1937852" y="270276"/>
                  <a:pt x="1938396" y="272453"/>
                </a:cubicBezTo>
                <a:cubicBezTo>
                  <a:pt x="1944382" y="290955"/>
                  <a:pt x="1943838" y="308913"/>
                  <a:pt x="1932954" y="325782"/>
                </a:cubicBezTo>
                <a:cubicBezTo>
                  <a:pt x="1931866" y="327415"/>
                  <a:pt x="1931866" y="329047"/>
                  <a:pt x="1930777" y="331224"/>
                </a:cubicBezTo>
                <a:cubicBezTo>
                  <a:pt x="1932410" y="331224"/>
                  <a:pt x="1935131" y="331224"/>
                  <a:pt x="1936219" y="330136"/>
                </a:cubicBezTo>
                <a:cubicBezTo>
                  <a:pt x="1945470" y="323061"/>
                  <a:pt x="1955265" y="320885"/>
                  <a:pt x="1966693" y="320340"/>
                </a:cubicBezTo>
                <a:cubicBezTo>
                  <a:pt x="1978121" y="319796"/>
                  <a:pt x="1989004" y="323061"/>
                  <a:pt x="1998799" y="328503"/>
                </a:cubicBezTo>
                <a:cubicBezTo>
                  <a:pt x="2000432" y="329047"/>
                  <a:pt x="2001520" y="329592"/>
                  <a:pt x="2003153" y="330136"/>
                </a:cubicBezTo>
                <a:cubicBezTo>
                  <a:pt x="2002609" y="328503"/>
                  <a:pt x="2002609" y="326326"/>
                  <a:pt x="2001520" y="324694"/>
                </a:cubicBezTo>
                <a:cubicBezTo>
                  <a:pt x="1999344" y="319796"/>
                  <a:pt x="1995534" y="314899"/>
                  <a:pt x="1994446" y="309457"/>
                </a:cubicBezTo>
                <a:cubicBezTo>
                  <a:pt x="1992269" y="295308"/>
                  <a:pt x="1990093" y="281160"/>
                  <a:pt x="1998255" y="267555"/>
                </a:cubicBezTo>
                <a:cubicBezTo>
                  <a:pt x="2000432" y="267555"/>
                  <a:pt x="2000432" y="265923"/>
                  <a:pt x="2000976" y="263746"/>
                </a:cubicBezTo>
                <a:cubicBezTo>
                  <a:pt x="1998799" y="263746"/>
                  <a:pt x="1996623" y="262658"/>
                  <a:pt x="1995534" y="263746"/>
                </a:cubicBezTo>
                <a:cubicBezTo>
                  <a:pt x="1977577" y="272997"/>
                  <a:pt x="1959075" y="272997"/>
                  <a:pt x="1941117" y="263202"/>
                </a:cubicBezTo>
                <a:close/>
                <a:moveTo>
                  <a:pt x="417425" y="262291"/>
                </a:moveTo>
                <a:cubicBezTo>
                  <a:pt x="434839" y="262291"/>
                  <a:pt x="445178" y="272086"/>
                  <a:pt x="445178" y="288956"/>
                </a:cubicBezTo>
                <a:cubicBezTo>
                  <a:pt x="445178" y="305825"/>
                  <a:pt x="434839" y="316164"/>
                  <a:pt x="417969" y="317253"/>
                </a:cubicBezTo>
                <a:cubicBezTo>
                  <a:pt x="404909" y="317797"/>
                  <a:pt x="389672" y="306369"/>
                  <a:pt x="390216" y="290044"/>
                </a:cubicBezTo>
                <a:cubicBezTo>
                  <a:pt x="391305" y="272086"/>
                  <a:pt x="400011" y="262291"/>
                  <a:pt x="417425" y="262291"/>
                </a:cubicBezTo>
                <a:close/>
                <a:moveTo>
                  <a:pt x="580678" y="256304"/>
                </a:moveTo>
                <a:cubicBezTo>
                  <a:pt x="596459" y="255760"/>
                  <a:pt x="616049" y="273174"/>
                  <a:pt x="613872" y="288955"/>
                </a:cubicBezTo>
                <a:cubicBezTo>
                  <a:pt x="615505" y="304736"/>
                  <a:pt x="598635" y="322150"/>
                  <a:pt x="581222" y="322150"/>
                </a:cubicBezTo>
                <a:cubicBezTo>
                  <a:pt x="564352" y="322150"/>
                  <a:pt x="548571" y="308001"/>
                  <a:pt x="548027" y="289499"/>
                </a:cubicBezTo>
                <a:cubicBezTo>
                  <a:pt x="547483" y="272086"/>
                  <a:pt x="565441" y="256849"/>
                  <a:pt x="580678" y="256304"/>
                </a:cubicBezTo>
                <a:close/>
                <a:moveTo>
                  <a:pt x="743930" y="251951"/>
                </a:moveTo>
                <a:cubicBezTo>
                  <a:pt x="764609" y="251951"/>
                  <a:pt x="782566" y="268820"/>
                  <a:pt x="782022" y="289499"/>
                </a:cubicBezTo>
                <a:cubicBezTo>
                  <a:pt x="781478" y="311266"/>
                  <a:pt x="765153" y="326503"/>
                  <a:pt x="744474" y="326503"/>
                </a:cubicBezTo>
                <a:cubicBezTo>
                  <a:pt x="723795" y="326503"/>
                  <a:pt x="708014" y="311266"/>
                  <a:pt x="707470" y="289499"/>
                </a:cubicBezTo>
                <a:cubicBezTo>
                  <a:pt x="706926" y="271541"/>
                  <a:pt x="722163" y="252495"/>
                  <a:pt x="743930" y="251951"/>
                </a:cubicBezTo>
                <a:close/>
                <a:moveTo>
                  <a:pt x="907183" y="249775"/>
                </a:moveTo>
                <a:cubicBezTo>
                  <a:pt x="929494" y="249775"/>
                  <a:pt x="946908" y="263924"/>
                  <a:pt x="947452" y="289500"/>
                </a:cubicBezTo>
                <a:cubicBezTo>
                  <a:pt x="947996" y="311811"/>
                  <a:pt x="931127" y="330313"/>
                  <a:pt x="908271" y="329225"/>
                </a:cubicBezTo>
                <a:cubicBezTo>
                  <a:pt x="885960" y="330857"/>
                  <a:pt x="868002" y="312355"/>
                  <a:pt x="867458" y="290044"/>
                </a:cubicBezTo>
                <a:cubicBezTo>
                  <a:pt x="867458" y="266100"/>
                  <a:pt x="884872" y="249775"/>
                  <a:pt x="907183" y="249775"/>
                </a:cubicBezTo>
                <a:close/>
                <a:moveTo>
                  <a:pt x="1070435" y="245965"/>
                </a:moveTo>
                <a:cubicBezTo>
                  <a:pt x="1093291" y="245421"/>
                  <a:pt x="1116146" y="264467"/>
                  <a:pt x="1114513" y="290043"/>
                </a:cubicBezTo>
                <a:cubicBezTo>
                  <a:pt x="1115602" y="312899"/>
                  <a:pt x="1092202" y="334122"/>
                  <a:pt x="1069347" y="333578"/>
                </a:cubicBezTo>
                <a:cubicBezTo>
                  <a:pt x="1047036" y="333034"/>
                  <a:pt x="1026357" y="311266"/>
                  <a:pt x="1026357" y="288955"/>
                </a:cubicBezTo>
                <a:cubicBezTo>
                  <a:pt x="1026901" y="268276"/>
                  <a:pt x="1045403" y="245965"/>
                  <a:pt x="1070435" y="245965"/>
                </a:cubicBezTo>
                <a:close/>
                <a:moveTo>
                  <a:pt x="1233689" y="241613"/>
                </a:moveTo>
                <a:cubicBezTo>
                  <a:pt x="1257632" y="241068"/>
                  <a:pt x="1281032" y="263924"/>
                  <a:pt x="1282120" y="288412"/>
                </a:cubicBezTo>
                <a:cubicBezTo>
                  <a:pt x="1282665" y="312900"/>
                  <a:pt x="1260898" y="336299"/>
                  <a:pt x="1235321" y="335755"/>
                </a:cubicBezTo>
                <a:cubicBezTo>
                  <a:pt x="1206480" y="335211"/>
                  <a:pt x="1190155" y="318886"/>
                  <a:pt x="1187434" y="289500"/>
                </a:cubicBezTo>
                <a:cubicBezTo>
                  <a:pt x="1184713" y="266100"/>
                  <a:pt x="1208657" y="242701"/>
                  <a:pt x="1233689" y="241613"/>
                </a:cubicBezTo>
                <a:close/>
                <a:moveTo>
                  <a:pt x="1397485" y="238891"/>
                </a:moveTo>
                <a:cubicBezTo>
                  <a:pt x="1421973" y="237259"/>
                  <a:pt x="1448638" y="264467"/>
                  <a:pt x="1448094" y="288955"/>
                </a:cubicBezTo>
                <a:cubicBezTo>
                  <a:pt x="1447005" y="312355"/>
                  <a:pt x="1424150" y="341196"/>
                  <a:pt x="1398029" y="338475"/>
                </a:cubicBezTo>
                <a:cubicBezTo>
                  <a:pt x="1372453" y="340652"/>
                  <a:pt x="1347421" y="315620"/>
                  <a:pt x="1348509" y="289499"/>
                </a:cubicBezTo>
                <a:cubicBezTo>
                  <a:pt x="1349598" y="261202"/>
                  <a:pt x="1369732" y="240524"/>
                  <a:pt x="1397485" y="238891"/>
                </a:cubicBezTo>
                <a:close/>
                <a:moveTo>
                  <a:pt x="1559650" y="237258"/>
                </a:moveTo>
                <a:cubicBezTo>
                  <a:pt x="1590668" y="236170"/>
                  <a:pt x="1611891" y="259570"/>
                  <a:pt x="1613523" y="288955"/>
                </a:cubicBezTo>
                <a:cubicBezTo>
                  <a:pt x="1613523" y="316164"/>
                  <a:pt x="1587403" y="342829"/>
                  <a:pt x="1560738" y="342829"/>
                </a:cubicBezTo>
                <a:cubicBezTo>
                  <a:pt x="1534618" y="342829"/>
                  <a:pt x="1505776" y="315620"/>
                  <a:pt x="1507953" y="289499"/>
                </a:cubicBezTo>
                <a:cubicBezTo>
                  <a:pt x="1510130" y="261202"/>
                  <a:pt x="1526455" y="238347"/>
                  <a:pt x="1559650" y="237258"/>
                </a:cubicBezTo>
                <a:close/>
                <a:moveTo>
                  <a:pt x="9837" y="198078"/>
                </a:moveTo>
                <a:cubicBezTo>
                  <a:pt x="14190" y="198078"/>
                  <a:pt x="19632" y="202976"/>
                  <a:pt x="19632" y="207873"/>
                </a:cubicBezTo>
                <a:cubicBezTo>
                  <a:pt x="19632" y="212227"/>
                  <a:pt x="14190" y="217668"/>
                  <a:pt x="10381" y="218213"/>
                </a:cubicBezTo>
                <a:cubicBezTo>
                  <a:pt x="5483" y="218757"/>
                  <a:pt x="-503" y="212771"/>
                  <a:pt x="42" y="207873"/>
                </a:cubicBezTo>
                <a:cubicBezTo>
                  <a:pt x="42" y="202976"/>
                  <a:pt x="5483" y="198078"/>
                  <a:pt x="9837" y="198078"/>
                </a:cubicBezTo>
                <a:close/>
                <a:moveTo>
                  <a:pt x="173090" y="187739"/>
                </a:moveTo>
                <a:cubicBezTo>
                  <a:pt x="183429" y="188283"/>
                  <a:pt x="192136" y="196990"/>
                  <a:pt x="192136" y="207329"/>
                </a:cubicBezTo>
                <a:cubicBezTo>
                  <a:pt x="192136" y="217669"/>
                  <a:pt x="182341" y="228008"/>
                  <a:pt x="172546" y="227464"/>
                </a:cubicBezTo>
                <a:cubicBezTo>
                  <a:pt x="163839" y="226920"/>
                  <a:pt x="154588" y="217669"/>
                  <a:pt x="154044" y="208418"/>
                </a:cubicBezTo>
                <a:cubicBezTo>
                  <a:pt x="153500" y="198078"/>
                  <a:pt x="162751" y="187739"/>
                  <a:pt x="173090" y="187739"/>
                </a:cubicBezTo>
                <a:close/>
                <a:moveTo>
                  <a:pt x="336887" y="182297"/>
                </a:moveTo>
                <a:cubicBezTo>
                  <a:pt x="350491" y="182841"/>
                  <a:pt x="361919" y="191548"/>
                  <a:pt x="363007" y="207329"/>
                </a:cubicBezTo>
                <a:cubicBezTo>
                  <a:pt x="363551" y="219845"/>
                  <a:pt x="349947" y="233449"/>
                  <a:pt x="336887" y="233994"/>
                </a:cubicBezTo>
                <a:cubicBezTo>
                  <a:pt x="324371" y="233994"/>
                  <a:pt x="311311" y="221478"/>
                  <a:pt x="310766" y="208961"/>
                </a:cubicBezTo>
                <a:cubicBezTo>
                  <a:pt x="310222" y="195357"/>
                  <a:pt x="323282" y="181753"/>
                  <a:pt x="336887" y="182297"/>
                </a:cubicBezTo>
                <a:close/>
                <a:moveTo>
                  <a:pt x="1856225" y="180487"/>
                </a:moveTo>
                <a:cubicBezTo>
                  <a:pt x="1856225" y="182664"/>
                  <a:pt x="1855137" y="184841"/>
                  <a:pt x="1855681" y="185929"/>
                </a:cubicBezTo>
                <a:cubicBezTo>
                  <a:pt x="1863844" y="206064"/>
                  <a:pt x="1863844" y="226198"/>
                  <a:pt x="1851872" y="244700"/>
                </a:cubicBezTo>
                <a:cubicBezTo>
                  <a:pt x="1851328" y="245788"/>
                  <a:pt x="1851328" y="246877"/>
                  <a:pt x="1851328" y="247965"/>
                </a:cubicBezTo>
                <a:cubicBezTo>
                  <a:pt x="1852416" y="247965"/>
                  <a:pt x="1854049" y="247965"/>
                  <a:pt x="1854593" y="247421"/>
                </a:cubicBezTo>
                <a:cubicBezTo>
                  <a:pt x="1868197" y="237082"/>
                  <a:pt x="1883434" y="237082"/>
                  <a:pt x="1899215" y="238714"/>
                </a:cubicBezTo>
                <a:cubicBezTo>
                  <a:pt x="1904113" y="239258"/>
                  <a:pt x="1909010" y="241979"/>
                  <a:pt x="1913908" y="243067"/>
                </a:cubicBezTo>
                <a:cubicBezTo>
                  <a:pt x="1915541" y="243612"/>
                  <a:pt x="1917173" y="242523"/>
                  <a:pt x="1918806" y="242523"/>
                </a:cubicBezTo>
                <a:cubicBezTo>
                  <a:pt x="1918806" y="240891"/>
                  <a:pt x="1918806" y="239258"/>
                  <a:pt x="1918261" y="238170"/>
                </a:cubicBezTo>
                <a:cubicBezTo>
                  <a:pt x="1908466" y="220756"/>
                  <a:pt x="1910099" y="203887"/>
                  <a:pt x="1917173" y="185929"/>
                </a:cubicBezTo>
                <a:cubicBezTo>
                  <a:pt x="1917717" y="184297"/>
                  <a:pt x="1917717" y="183208"/>
                  <a:pt x="1918261" y="181576"/>
                </a:cubicBezTo>
                <a:cubicBezTo>
                  <a:pt x="1916629" y="182120"/>
                  <a:pt x="1914996" y="182120"/>
                  <a:pt x="1913908" y="182664"/>
                </a:cubicBezTo>
                <a:cubicBezTo>
                  <a:pt x="1895950" y="189738"/>
                  <a:pt x="1877992" y="190827"/>
                  <a:pt x="1860579" y="180487"/>
                </a:cubicBezTo>
                <a:cubicBezTo>
                  <a:pt x="1858946" y="181031"/>
                  <a:pt x="1857858" y="181031"/>
                  <a:pt x="1856225" y="180487"/>
                </a:cubicBezTo>
                <a:close/>
                <a:moveTo>
                  <a:pt x="499595" y="175767"/>
                </a:moveTo>
                <a:cubicBezTo>
                  <a:pt x="514832" y="175767"/>
                  <a:pt x="531702" y="193181"/>
                  <a:pt x="531158" y="207874"/>
                </a:cubicBezTo>
                <a:cubicBezTo>
                  <a:pt x="530613" y="223110"/>
                  <a:pt x="513744" y="239980"/>
                  <a:pt x="498507" y="238347"/>
                </a:cubicBezTo>
                <a:cubicBezTo>
                  <a:pt x="479461" y="236715"/>
                  <a:pt x="469666" y="224743"/>
                  <a:pt x="468033" y="207329"/>
                </a:cubicBezTo>
                <a:cubicBezTo>
                  <a:pt x="466945" y="192636"/>
                  <a:pt x="484903" y="175767"/>
                  <a:pt x="499595" y="175767"/>
                </a:cubicBezTo>
                <a:close/>
                <a:moveTo>
                  <a:pt x="662304" y="173046"/>
                </a:moveTo>
                <a:cubicBezTo>
                  <a:pt x="683527" y="171958"/>
                  <a:pt x="698220" y="189916"/>
                  <a:pt x="697676" y="207873"/>
                </a:cubicBezTo>
                <a:cubicBezTo>
                  <a:pt x="697131" y="227464"/>
                  <a:pt x="684615" y="243245"/>
                  <a:pt x="662304" y="242156"/>
                </a:cubicBezTo>
                <a:cubicBezTo>
                  <a:pt x="639993" y="241612"/>
                  <a:pt x="628565" y="229096"/>
                  <a:pt x="628021" y="207873"/>
                </a:cubicBezTo>
                <a:cubicBezTo>
                  <a:pt x="628021" y="187739"/>
                  <a:pt x="642714" y="172502"/>
                  <a:pt x="662304" y="173046"/>
                </a:cubicBezTo>
                <a:close/>
                <a:moveTo>
                  <a:pt x="826645" y="168148"/>
                </a:moveTo>
                <a:cubicBezTo>
                  <a:pt x="844602" y="168148"/>
                  <a:pt x="867458" y="187194"/>
                  <a:pt x="864737" y="207329"/>
                </a:cubicBezTo>
                <a:cubicBezTo>
                  <a:pt x="867458" y="229096"/>
                  <a:pt x="844058" y="247054"/>
                  <a:pt x="826100" y="247054"/>
                </a:cubicBezTo>
                <a:cubicBezTo>
                  <a:pt x="808687" y="247054"/>
                  <a:pt x="787464" y="228552"/>
                  <a:pt x="787464" y="207873"/>
                </a:cubicBezTo>
                <a:cubicBezTo>
                  <a:pt x="787464" y="187194"/>
                  <a:pt x="807054" y="168148"/>
                  <a:pt x="826645" y="168148"/>
                </a:cubicBezTo>
                <a:close/>
                <a:moveTo>
                  <a:pt x="987721" y="164883"/>
                </a:moveTo>
                <a:cubicBezTo>
                  <a:pt x="1012209" y="164339"/>
                  <a:pt x="1030711" y="181753"/>
                  <a:pt x="1031799" y="207329"/>
                </a:cubicBezTo>
                <a:cubicBezTo>
                  <a:pt x="1031255" y="232361"/>
                  <a:pt x="1011665" y="250319"/>
                  <a:pt x="988809" y="250319"/>
                </a:cubicBezTo>
                <a:cubicBezTo>
                  <a:pt x="965954" y="250319"/>
                  <a:pt x="946364" y="231273"/>
                  <a:pt x="945819" y="208417"/>
                </a:cubicBezTo>
                <a:cubicBezTo>
                  <a:pt x="945275" y="185018"/>
                  <a:pt x="962689" y="165428"/>
                  <a:pt x="987721" y="164883"/>
                </a:cubicBezTo>
                <a:close/>
                <a:moveTo>
                  <a:pt x="1153150" y="162707"/>
                </a:moveTo>
                <a:cubicBezTo>
                  <a:pt x="1177638" y="161619"/>
                  <a:pt x="1197772" y="180665"/>
                  <a:pt x="1197772" y="207874"/>
                </a:cubicBezTo>
                <a:cubicBezTo>
                  <a:pt x="1197772" y="235083"/>
                  <a:pt x="1176005" y="253584"/>
                  <a:pt x="1151517" y="253584"/>
                </a:cubicBezTo>
                <a:cubicBezTo>
                  <a:pt x="1128118" y="253040"/>
                  <a:pt x="1106895" y="234538"/>
                  <a:pt x="1107439" y="207329"/>
                </a:cubicBezTo>
                <a:cubicBezTo>
                  <a:pt x="1107983" y="179576"/>
                  <a:pt x="1129206" y="161075"/>
                  <a:pt x="1153150" y="162707"/>
                </a:cubicBezTo>
                <a:close/>
                <a:moveTo>
                  <a:pt x="1315315" y="158353"/>
                </a:moveTo>
                <a:cubicBezTo>
                  <a:pt x="1341435" y="156177"/>
                  <a:pt x="1365923" y="184474"/>
                  <a:pt x="1365379" y="206785"/>
                </a:cubicBezTo>
                <a:cubicBezTo>
                  <a:pt x="1365379" y="229640"/>
                  <a:pt x="1344156" y="256849"/>
                  <a:pt x="1315859" y="256305"/>
                </a:cubicBezTo>
                <a:cubicBezTo>
                  <a:pt x="1290283" y="256305"/>
                  <a:pt x="1267427" y="233994"/>
                  <a:pt x="1266883" y="207873"/>
                </a:cubicBezTo>
                <a:cubicBezTo>
                  <a:pt x="1265795" y="181209"/>
                  <a:pt x="1292460" y="157265"/>
                  <a:pt x="1315315" y="158353"/>
                </a:cubicBezTo>
                <a:close/>
                <a:moveTo>
                  <a:pt x="1478567" y="156721"/>
                </a:moveTo>
                <a:cubicBezTo>
                  <a:pt x="1510129" y="156721"/>
                  <a:pt x="1530264" y="180665"/>
                  <a:pt x="1529720" y="207329"/>
                </a:cubicBezTo>
                <a:cubicBezTo>
                  <a:pt x="1530264" y="236715"/>
                  <a:pt x="1510129" y="258482"/>
                  <a:pt x="1478567" y="258482"/>
                </a:cubicBezTo>
                <a:cubicBezTo>
                  <a:pt x="1449182" y="257938"/>
                  <a:pt x="1428503" y="238892"/>
                  <a:pt x="1427959" y="207874"/>
                </a:cubicBezTo>
                <a:cubicBezTo>
                  <a:pt x="1427415" y="179576"/>
                  <a:pt x="1447549" y="156721"/>
                  <a:pt x="1478567" y="156721"/>
                </a:cubicBezTo>
                <a:close/>
                <a:moveTo>
                  <a:pt x="1644541" y="153456"/>
                </a:moveTo>
                <a:cubicBezTo>
                  <a:pt x="1672294" y="154544"/>
                  <a:pt x="1697870" y="180665"/>
                  <a:pt x="1697326" y="209506"/>
                </a:cubicBezTo>
                <a:cubicBezTo>
                  <a:pt x="1696782" y="238347"/>
                  <a:pt x="1669573" y="263924"/>
                  <a:pt x="1641276" y="262835"/>
                </a:cubicBezTo>
                <a:cubicBezTo>
                  <a:pt x="1612979" y="261203"/>
                  <a:pt x="1587402" y="236715"/>
                  <a:pt x="1587947" y="206785"/>
                </a:cubicBezTo>
                <a:cubicBezTo>
                  <a:pt x="1587947" y="180121"/>
                  <a:pt x="1613523" y="152368"/>
                  <a:pt x="1644541" y="153456"/>
                </a:cubicBezTo>
                <a:close/>
                <a:moveTo>
                  <a:pt x="91463" y="109922"/>
                </a:moveTo>
                <a:cubicBezTo>
                  <a:pt x="97993" y="109922"/>
                  <a:pt x="107244" y="119173"/>
                  <a:pt x="107244" y="126247"/>
                </a:cubicBezTo>
                <a:cubicBezTo>
                  <a:pt x="107788" y="132777"/>
                  <a:pt x="98537" y="142028"/>
                  <a:pt x="91463" y="142028"/>
                </a:cubicBezTo>
                <a:cubicBezTo>
                  <a:pt x="83845" y="142028"/>
                  <a:pt x="75682" y="133866"/>
                  <a:pt x="75682" y="126247"/>
                </a:cubicBezTo>
                <a:cubicBezTo>
                  <a:pt x="75682" y="118629"/>
                  <a:pt x="84389" y="109922"/>
                  <a:pt x="91463" y="109922"/>
                </a:cubicBezTo>
                <a:close/>
                <a:moveTo>
                  <a:pt x="1942341" y="104915"/>
                </a:moveTo>
                <a:cubicBezTo>
                  <a:pt x="1941389" y="105799"/>
                  <a:pt x="1941389" y="107840"/>
                  <a:pt x="1942205" y="111377"/>
                </a:cubicBezTo>
                <a:cubicBezTo>
                  <a:pt x="1943294" y="118451"/>
                  <a:pt x="1944926" y="124437"/>
                  <a:pt x="1946559" y="131511"/>
                </a:cubicBezTo>
                <a:cubicBezTo>
                  <a:pt x="1944382" y="139674"/>
                  <a:pt x="1941661" y="148381"/>
                  <a:pt x="1939484" y="157088"/>
                </a:cubicBezTo>
                <a:cubicBezTo>
                  <a:pt x="1939484" y="158176"/>
                  <a:pt x="1941117" y="160353"/>
                  <a:pt x="1941117" y="160353"/>
                </a:cubicBezTo>
                <a:cubicBezTo>
                  <a:pt x="1955810" y="154367"/>
                  <a:pt x="1971046" y="150558"/>
                  <a:pt x="1986828" y="157088"/>
                </a:cubicBezTo>
                <a:cubicBezTo>
                  <a:pt x="1987372" y="157088"/>
                  <a:pt x="1987916" y="157088"/>
                  <a:pt x="1987916" y="157088"/>
                </a:cubicBezTo>
                <a:cubicBezTo>
                  <a:pt x="1994990" y="157632"/>
                  <a:pt x="1996623" y="155999"/>
                  <a:pt x="1993902" y="150013"/>
                </a:cubicBezTo>
                <a:cubicBezTo>
                  <a:pt x="1988460" y="136409"/>
                  <a:pt x="1988460" y="123349"/>
                  <a:pt x="1993902" y="109744"/>
                </a:cubicBezTo>
                <a:cubicBezTo>
                  <a:pt x="1995534" y="105935"/>
                  <a:pt x="1994446" y="103214"/>
                  <a:pt x="1989004" y="105391"/>
                </a:cubicBezTo>
                <a:cubicBezTo>
                  <a:pt x="1975400" y="109744"/>
                  <a:pt x="1961796" y="109744"/>
                  <a:pt x="1948191" y="105391"/>
                </a:cubicBezTo>
                <a:cubicBezTo>
                  <a:pt x="1945198" y="104303"/>
                  <a:pt x="1943294" y="104031"/>
                  <a:pt x="1942341" y="104915"/>
                </a:cubicBezTo>
                <a:close/>
                <a:moveTo>
                  <a:pt x="255804" y="103392"/>
                </a:moveTo>
                <a:cubicBezTo>
                  <a:pt x="269409" y="103392"/>
                  <a:pt x="277571" y="112643"/>
                  <a:pt x="277571" y="126791"/>
                </a:cubicBezTo>
                <a:cubicBezTo>
                  <a:pt x="277027" y="139852"/>
                  <a:pt x="267776" y="148558"/>
                  <a:pt x="254172" y="148014"/>
                </a:cubicBezTo>
                <a:cubicBezTo>
                  <a:pt x="241112" y="148014"/>
                  <a:pt x="231861" y="138763"/>
                  <a:pt x="232405" y="125159"/>
                </a:cubicBezTo>
                <a:cubicBezTo>
                  <a:pt x="232405" y="112099"/>
                  <a:pt x="242200" y="102848"/>
                  <a:pt x="255804" y="103392"/>
                </a:cubicBezTo>
                <a:close/>
                <a:moveTo>
                  <a:pt x="1773511" y="99405"/>
                </a:moveTo>
                <a:cubicBezTo>
                  <a:pt x="1773511" y="102126"/>
                  <a:pt x="1772966" y="104303"/>
                  <a:pt x="1773511" y="107023"/>
                </a:cubicBezTo>
                <a:cubicBezTo>
                  <a:pt x="1776232" y="114098"/>
                  <a:pt x="1778408" y="121716"/>
                  <a:pt x="1780585" y="130423"/>
                </a:cubicBezTo>
                <a:cubicBezTo>
                  <a:pt x="1778408" y="139130"/>
                  <a:pt x="1775687" y="147293"/>
                  <a:pt x="1773511" y="155999"/>
                </a:cubicBezTo>
                <a:cubicBezTo>
                  <a:pt x="1772966" y="157632"/>
                  <a:pt x="1772966" y="160897"/>
                  <a:pt x="1774055" y="161985"/>
                </a:cubicBezTo>
                <a:cubicBezTo>
                  <a:pt x="1775143" y="163074"/>
                  <a:pt x="1778408" y="163074"/>
                  <a:pt x="1780041" y="162529"/>
                </a:cubicBezTo>
                <a:cubicBezTo>
                  <a:pt x="1789836" y="155455"/>
                  <a:pt x="1800719" y="157632"/>
                  <a:pt x="1811059" y="157632"/>
                </a:cubicBezTo>
                <a:cubicBezTo>
                  <a:pt x="1817589" y="157632"/>
                  <a:pt x="1824119" y="156543"/>
                  <a:pt x="1829561" y="161985"/>
                </a:cubicBezTo>
                <a:cubicBezTo>
                  <a:pt x="1830649" y="163074"/>
                  <a:pt x="1834458" y="161985"/>
                  <a:pt x="1836635" y="161985"/>
                </a:cubicBezTo>
                <a:cubicBezTo>
                  <a:pt x="1835547" y="160353"/>
                  <a:pt x="1835002" y="158720"/>
                  <a:pt x="1833914" y="157088"/>
                </a:cubicBezTo>
                <a:cubicBezTo>
                  <a:pt x="1826840" y="139674"/>
                  <a:pt x="1826296" y="121716"/>
                  <a:pt x="1834458" y="104303"/>
                </a:cubicBezTo>
                <a:cubicBezTo>
                  <a:pt x="1835002" y="102670"/>
                  <a:pt x="1835547" y="101038"/>
                  <a:pt x="1835547" y="99405"/>
                </a:cubicBezTo>
                <a:cubicBezTo>
                  <a:pt x="1833914" y="99949"/>
                  <a:pt x="1832282" y="99949"/>
                  <a:pt x="1831193" y="101038"/>
                </a:cubicBezTo>
                <a:cubicBezTo>
                  <a:pt x="1814324" y="109200"/>
                  <a:pt x="1797454" y="109200"/>
                  <a:pt x="1780041" y="101582"/>
                </a:cubicBezTo>
                <a:cubicBezTo>
                  <a:pt x="1777864" y="100493"/>
                  <a:pt x="1775687" y="100493"/>
                  <a:pt x="1773511" y="99405"/>
                </a:cubicBezTo>
                <a:close/>
                <a:moveTo>
                  <a:pt x="417424" y="97950"/>
                </a:moveTo>
                <a:cubicBezTo>
                  <a:pt x="435382" y="97950"/>
                  <a:pt x="445721" y="108289"/>
                  <a:pt x="445721" y="126247"/>
                </a:cubicBezTo>
                <a:cubicBezTo>
                  <a:pt x="445721" y="143661"/>
                  <a:pt x="435382" y="153456"/>
                  <a:pt x="417424" y="153456"/>
                </a:cubicBezTo>
                <a:cubicBezTo>
                  <a:pt x="402187" y="155088"/>
                  <a:pt x="389127" y="141484"/>
                  <a:pt x="390215" y="125159"/>
                </a:cubicBezTo>
                <a:cubicBezTo>
                  <a:pt x="391304" y="107745"/>
                  <a:pt x="400555" y="97950"/>
                  <a:pt x="417424" y="97950"/>
                </a:cubicBezTo>
                <a:close/>
                <a:moveTo>
                  <a:pt x="580677" y="92508"/>
                </a:moveTo>
                <a:cubicBezTo>
                  <a:pt x="599724" y="92508"/>
                  <a:pt x="613328" y="106112"/>
                  <a:pt x="614960" y="125159"/>
                </a:cubicBezTo>
                <a:cubicBezTo>
                  <a:pt x="616049" y="141484"/>
                  <a:pt x="598091" y="161618"/>
                  <a:pt x="581766" y="158353"/>
                </a:cubicBezTo>
                <a:cubicBezTo>
                  <a:pt x="561631" y="158353"/>
                  <a:pt x="548571" y="145293"/>
                  <a:pt x="548571" y="125703"/>
                </a:cubicBezTo>
                <a:cubicBezTo>
                  <a:pt x="548571" y="106657"/>
                  <a:pt x="562175" y="92508"/>
                  <a:pt x="580677" y="92508"/>
                </a:cubicBezTo>
                <a:close/>
                <a:moveTo>
                  <a:pt x="745019" y="88154"/>
                </a:moveTo>
                <a:cubicBezTo>
                  <a:pt x="763521" y="87610"/>
                  <a:pt x="783111" y="107745"/>
                  <a:pt x="782567" y="126791"/>
                </a:cubicBezTo>
                <a:cubicBezTo>
                  <a:pt x="782023" y="147469"/>
                  <a:pt x="761344" y="164339"/>
                  <a:pt x="743930" y="164339"/>
                </a:cubicBezTo>
                <a:cubicBezTo>
                  <a:pt x="723796" y="163795"/>
                  <a:pt x="705838" y="144204"/>
                  <a:pt x="706382" y="125702"/>
                </a:cubicBezTo>
                <a:cubicBezTo>
                  <a:pt x="706926" y="109377"/>
                  <a:pt x="723252" y="87066"/>
                  <a:pt x="745019" y="88154"/>
                </a:cubicBezTo>
                <a:close/>
                <a:moveTo>
                  <a:pt x="1685898" y="84712"/>
                </a:moveTo>
                <a:lnTo>
                  <a:pt x="1685681" y="85147"/>
                </a:lnTo>
                <a:lnTo>
                  <a:pt x="1685354" y="85256"/>
                </a:lnTo>
                <a:cubicBezTo>
                  <a:pt x="1685354" y="85256"/>
                  <a:pt x="1685898" y="84712"/>
                  <a:pt x="1685898" y="84712"/>
                </a:cubicBezTo>
                <a:close/>
                <a:moveTo>
                  <a:pt x="907183" y="84345"/>
                </a:moveTo>
                <a:cubicBezTo>
                  <a:pt x="916978" y="84345"/>
                  <a:pt x="926773" y="87610"/>
                  <a:pt x="934935" y="95228"/>
                </a:cubicBezTo>
                <a:cubicBezTo>
                  <a:pt x="944187" y="103935"/>
                  <a:pt x="946907" y="114819"/>
                  <a:pt x="949628" y="125158"/>
                </a:cubicBezTo>
                <a:cubicBezTo>
                  <a:pt x="946907" y="150190"/>
                  <a:pt x="932759" y="166515"/>
                  <a:pt x="908271" y="167060"/>
                </a:cubicBezTo>
                <a:cubicBezTo>
                  <a:pt x="884871" y="167604"/>
                  <a:pt x="867458" y="150734"/>
                  <a:pt x="866369" y="125702"/>
                </a:cubicBezTo>
                <a:cubicBezTo>
                  <a:pt x="865825" y="103935"/>
                  <a:pt x="884871" y="83801"/>
                  <a:pt x="907183" y="84345"/>
                </a:cubicBezTo>
                <a:close/>
                <a:moveTo>
                  <a:pt x="1070979" y="82169"/>
                </a:moveTo>
                <a:cubicBezTo>
                  <a:pt x="1095467" y="79448"/>
                  <a:pt x="1115602" y="103936"/>
                  <a:pt x="1115602" y="126247"/>
                </a:cubicBezTo>
                <a:cubicBezTo>
                  <a:pt x="1115602" y="148014"/>
                  <a:pt x="1094923" y="170325"/>
                  <a:pt x="1071524" y="170325"/>
                </a:cubicBezTo>
                <a:cubicBezTo>
                  <a:pt x="1047580" y="170325"/>
                  <a:pt x="1026357" y="148558"/>
                  <a:pt x="1026357" y="125703"/>
                </a:cubicBezTo>
                <a:cubicBezTo>
                  <a:pt x="1026357" y="103936"/>
                  <a:pt x="1047036" y="79448"/>
                  <a:pt x="1070979" y="82169"/>
                </a:cubicBezTo>
                <a:close/>
                <a:moveTo>
                  <a:pt x="1684811" y="82168"/>
                </a:moveTo>
                <a:cubicBezTo>
                  <a:pt x="1684811" y="82168"/>
                  <a:pt x="1684266" y="82713"/>
                  <a:pt x="1684266" y="82713"/>
                </a:cubicBezTo>
                <a:lnTo>
                  <a:pt x="1684469" y="82365"/>
                </a:lnTo>
                <a:close/>
                <a:moveTo>
                  <a:pt x="1234777" y="78360"/>
                </a:moveTo>
                <a:cubicBezTo>
                  <a:pt x="1259809" y="76727"/>
                  <a:pt x="1284297" y="101759"/>
                  <a:pt x="1282664" y="126791"/>
                </a:cubicBezTo>
                <a:cubicBezTo>
                  <a:pt x="1280487" y="152912"/>
                  <a:pt x="1264162" y="171958"/>
                  <a:pt x="1234232" y="174135"/>
                </a:cubicBezTo>
                <a:cubicBezTo>
                  <a:pt x="1205935" y="172502"/>
                  <a:pt x="1186345" y="153456"/>
                  <a:pt x="1186889" y="126791"/>
                </a:cubicBezTo>
                <a:cubicBezTo>
                  <a:pt x="1187433" y="96318"/>
                  <a:pt x="1207024" y="79992"/>
                  <a:pt x="1234777" y="78360"/>
                </a:cubicBezTo>
                <a:close/>
                <a:moveTo>
                  <a:pt x="1398574" y="76182"/>
                </a:moveTo>
                <a:cubicBezTo>
                  <a:pt x="1424150" y="74006"/>
                  <a:pt x="1448638" y="99582"/>
                  <a:pt x="1448094" y="127335"/>
                </a:cubicBezTo>
                <a:cubicBezTo>
                  <a:pt x="1447549" y="151823"/>
                  <a:pt x="1426327" y="176311"/>
                  <a:pt x="1396941" y="175766"/>
                </a:cubicBezTo>
                <a:cubicBezTo>
                  <a:pt x="1367011" y="175222"/>
                  <a:pt x="1347421" y="151278"/>
                  <a:pt x="1347421" y="125702"/>
                </a:cubicBezTo>
                <a:cubicBezTo>
                  <a:pt x="1347421" y="99038"/>
                  <a:pt x="1369732" y="74006"/>
                  <a:pt x="1398574" y="76182"/>
                </a:cubicBezTo>
                <a:close/>
                <a:moveTo>
                  <a:pt x="1561282" y="72373"/>
                </a:moveTo>
                <a:cubicBezTo>
                  <a:pt x="1588491" y="72373"/>
                  <a:pt x="1614611" y="96861"/>
                  <a:pt x="1614611" y="126247"/>
                </a:cubicBezTo>
                <a:cubicBezTo>
                  <a:pt x="1614067" y="155632"/>
                  <a:pt x="1590667" y="180120"/>
                  <a:pt x="1560738" y="179576"/>
                </a:cubicBezTo>
                <a:cubicBezTo>
                  <a:pt x="1530808" y="179576"/>
                  <a:pt x="1507953" y="156176"/>
                  <a:pt x="1507409" y="126247"/>
                </a:cubicBezTo>
                <a:cubicBezTo>
                  <a:pt x="1506864" y="96861"/>
                  <a:pt x="1532441" y="72373"/>
                  <a:pt x="1561282" y="72373"/>
                </a:cubicBezTo>
                <a:close/>
                <a:moveTo>
                  <a:pt x="10381" y="33737"/>
                </a:moveTo>
                <a:cubicBezTo>
                  <a:pt x="15822" y="33737"/>
                  <a:pt x="20720" y="39179"/>
                  <a:pt x="20720" y="45165"/>
                </a:cubicBezTo>
                <a:cubicBezTo>
                  <a:pt x="20176" y="50606"/>
                  <a:pt x="14734" y="55504"/>
                  <a:pt x="9292" y="54960"/>
                </a:cubicBezTo>
                <a:cubicBezTo>
                  <a:pt x="4395" y="54416"/>
                  <a:pt x="41" y="49518"/>
                  <a:pt x="41" y="44621"/>
                </a:cubicBezTo>
                <a:cubicBezTo>
                  <a:pt x="-503" y="38635"/>
                  <a:pt x="4395" y="33737"/>
                  <a:pt x="10381" y="33737"/>
                </a:cubicBezTo>
                <a:close/>
                <a:moveTo>
                  <a:pt x="172546" y="23942"/>
                </a:moveTo>
                <a:cubicBezTo>
                  <a:pt x="181796" y="22854"/>
                  <a:pt x="193224" y="34826"/>
                  <a:pt x="193224" y="44621"/>
                </a:cubicBezTo>
                <a:cubicBezTo>
                  <a:pt x="193224" y="53872"/>
                  <a:pt x="182341" y="64755"/>
                  <a:pt x="173090" y="64755"/>
                </a:cubicBezTo>
                <a:cubicBezTo>
                  <a:pt x="164383" y="64755"/>
                  <a:pt x="152411" y="52784"/>
                  <a:pt x="152411" y="44621"/>
                </a:cubicBezTo>
                <a:cubicBezTo>
                  <a:pt x="152411" y="36458"/>
                  <a:pt x="164927" y="24486"/>
                  <a:pt x="172546" y="23942"/>
                </a:cubicBezTo>
                <a:close/>
                <a:moveTo>
                  <a:pt x="1861123" y="22132"/>
                </a:moveTo>
                <a:cubicBezTo>
                  <a:pt x="1861123" y="26485"/>
                  <a:pt x="1860035" y="31383"/>
                  <a:pt x="1861123" y="35737"/>
                </a:cubicBezTo>
                <a:cubicBezTo>
                  <a:pt x="1863844" y="44443"/>
                  <a:pt x="1864932" y="52606"/>
                  <a:pt x="1861123" y="61313"/>
                </a:cubicBezTo>
                <a:cubicBezTo>
                  <a:pt x="1860035" y="64034"/>
                  <a:pt x="1860035" y="67299"/>
                  <a:pt x="1858946" y="72740"/>
                </a:cubicBezTo>
                <a:cubicBezTo>
                  <a:pt x="1858402" y="76550"/>
                  <a:pt x="1861123" y="77638"/>
                  <a:pt x="1866021" y="76550"/>
                </a:cubicBezTo>
                <a:cubicBezTo>
                  <a:pt x="1868741" y="76006"/>
                  <a:pt x="1871462" y="76006"/>
                  <a:pt x="1873639" y="74917"/>
                </a:cubicBezTo>
                <a:cubicBezTo>
                  <a:pt x="1882346" y="71108"/>
                  <a:pt x="1891053" y="71108"/>
                  <a:pt x="1900304" y="74373"/>
                </a:cubicBezTo>
                <a:cubicBezTo>
                  <a:pt x="1902480" y="75461"/>
                  <a:pt x="1905201" y="76006"/>
                  <a:pt x="1907922" y="76006"/>
                </a:cubicBezTo>
                <a:cubicBezTo>
                  <a:pt x="1912276" y="76550"/>
                  <a:pt x="1914996" y="75461"/>
                  <a:pt x="1912820" y="70020"/>
                </a:cubicBezTo>
                <a:cubicBezTo>
                  <a:pt x="1907378" y="55871"/>
                  <a:pt x="1906834" y="41178"/>
                  <a:pt x="1912820" y="27030"/>
                </a:cubicBezTo>
                <a:cubicBezTo>
                  <a:pt x="1914996" y="22132"/>
                  <a:pt x="1911731" y="21588"/>
                  <a:pt x="1908466" y="22132"/>
                </a:cubicBezTo>
                <a:cubicBezTo>
                  <a:pt x="1906290" y="22676"/>
                  <a:pt x="1904657" y="24309"/>
                  <a:pt x="1902480" y="24309"/>
                </a:cubicBezTo>
                <a:cubicBezTo>
                  <a:pt x="1892685" y="24309"/>
                  <a:pt x="1882890" y="24853"/>
                  <a:pt x="1873095" y="24309"/>
                </a:cubicBezTo>
                <a:cubicBezTo>
                  <a:pt x="1868741" y="24309"/>
                  <a:pt x="1864932" y="22676"/>
                  <a:pt x="1861123" y="22132"/>
                </a:cubicBezTo>
                <a:close/>
                <a:moveTo>
                  <a:pt x="336886" y="17412"/>
                </a:moveTo>
                <a:cubicBezTo>
                  <a:pt x="347770" y="17412"/>
                  <a:pt x="363551" y="31016"/>
                  <a:pt x="363007" y="44077"/>
                </a:cubicBezTo>
                <a:cubicBezTo>
                  <a:pt x="363007" y="57681"/>
                  <a:pt x="350491" y="70741"/>
                  <a:pt x="337431" y="71285"/>
                </a:cubicBezTo>
                <a:cubicBezTo>
                  <a:pt x="324370" y="71830"/>
                  <a:pt x="310766" y="58769"/>
                  <a:pt x="310222" y="45165"/>
                </a:cubicBezTo>
                <a:cubicBezTo>
                  <a:pt x="309678" y="31016"/>
                  <a:pt x="323282" y="17956"/>
                  <a:pt x="336886" y="17412"/>
                </a:cubicBezTo>
                <a:close/>
                <a:moveTo>
                  <a:pt x="498507" y="13059"/>
                </a:moveTo>
                <a:cubicBezTo>
                  <a:pt x="514832" y="11970"/>
                  <a:pt x="531702" y="28296"/>
                  <a:pt x="531702" y="44621"/>
                </a:cubicBezTo>
                <a:cubicBezTo>
                  <a:pt x="531702" y="60402"/>
                  <a:pt x="515376" y="76183"/>
                  <a:pt x="499595" y="76727"/>
                </a:cubicBezTo>
                <a:cubicBezTo>
                  <a:pt x="483270" y="76727"/>
                  <a:pt x="467489" y="61490"/>
                  <a:pt x="467489" y="45165"/>
                </a:cubicBezTo>
                <a:cubicBezTo>
                  <a:pt x="467489" y="28840"/>
                  <a:pt x="482182" y="13059"/>
                  <a:pt x="498507" y="13059"/>
                </a:cubicBezTo>
                <a:close/>
                <a:moveTo>
                  <a:pt x="662303" y="7616"/>
                </a:moveTo>
                <a:cubicBezTo>
                  <a:pt x="680805" y="7072"/>
                  <a:pt x="698763" y="25030"/>
                  <a:pt x="698763" y="44076"/>
                </a:cubicBezTo>
                <a:cubicBezTo>
                  <a:pt x="698763" y="62578"/>
                  <a:pt x="680261" y="81624"/>
                  <a:pt x="662303" y="81080"/>
                </a:cubicBezTo>
                <a:cubicBezTo>
                  <a:pt x="644346" y="80536"/>
                  <a:pt x="626932" y="62578"/>
                  <a:pt x="626932" y="44076"/>
                </a:cubicBezTo>
                <a:cubicBezTo>
                  <a:pt x="626932" y="25574"/>
                  <a:pt x="643257" y="8160"/>
                  <a:pt x="662303" y="7616"/>
                </a:cubicBezTo>
                <a:close/>
                <a:moveTo>
                  <a:pt x="825557" y="5440"/>
                </a:moveTo>
                <a:cubicBezTo>
                  <a:pt x="847868" y="5440"/>
                  <a:pt x="865281" y="23942"/>
                  <a:pt x="865281" y="44621"/>
                </a:cubicBezTo>
                <a:cubicBezTo>
                  <a:pt x="865281" y="63667"/>
                  <a:pt x="847324" y="85978"/>
                  <a:pt x="826101" y="83257"/>
                </a:cubicBezTo>
                <a:cubicBezTo>
                  <a:pt x="805422" y="85978"/>
                  <a:pt x="786920" y="64211"/>
                  <a:pt x="786920" y="44621"/>
                </a:cubicBezTo>
                <a:cubicBezTo>
                  <a:pt x="786920" y="22854"/>
                  <a:pt x="805422" y="5440"/>
                  <a:pt x="825557" y="5440"/>
                </a:cubicBezTo>
                <a:close/>
                <a:moveTo>
                  <a:pt x="989353" y="1086"/>
                </a:moveTo>
                <a:cubicBezTo>
                  <a:pt x="1013297" y="1086"/>
                  <a:pt x="1032343" y="21220"/>
                  <a:pt x="1032343" y="43532"/>
                </a:cubicBezTo>
                <a:cubicBezTo>
                  <a:pt x="1032887" y="66931"/>
                  <a:pt x="1012753" y="88698"/>
                  <a:pt x="989897" y="87610"/>
                </a:cubicBezTo>
                <a:cubicBezTo>
                  <a:pt x="967042" y="88698"/>
                  <a:pt x="945819" y="65843"/>
                  <a:pt x="945819" y="44620"/>
                </a:cubicBezTo>
                <a:cubicBezTo>
                  <a:pt x="945819" y="23941"/>
                  <a:pt x="964321" y="1086"/>
                  <a:pt x="989353" y="1086"/>
                </a:cubicBezTo>
                <a:close/>
                <a:moveTo>
                  <a:pt x="1614056" y="0"/>
                </a:moveTo>
                <a:lnTo>
                  <a:pt x="1675529" y="0"/>
                </a:lnTo>
                <a:lnTo>
                  <a:pt x="1682905" y="4720"/>
                </a:lnTo>
                <a:lnTo>
                  <a:pt x="1933639" y="4720"/>
                </a:lnTo>
                <a:cubicBezTo>
                  <a:pt x="1966059" y="4720"/>
                  <a:pt x="1995409" y="17861"/>
                  <a:pt x="2016655" y="39107"/>
                </a:cubicBezTo>
                <a:lnTo>
                  <a:pt x="2028934" y="57318"/>
                </a:lnTo>
                <a:lnTo>
                  <a:pt x="2026008" y="71108"/>
                </a:lnTo>
                <a:cubicBezTo>
                  <a:pt x="2023832" y="74917"/>
                  <a:pt x="2026552" y="77094"/>
                  <a:pt x="2030906" y="75461"/>
                </a:cubicBezTo>
                <a:lnTo>
                  <a:pt x="2039929" y="73627"/>
                </a:lnTo>
                <a:lnTo>
                  <a:pt x="2041815" y="76424"/>
                </a:lnTo>
                <a:cubicBezTo>
                  <a:pt x="2047756" y="90470"/>
                  <a:pt x="2051041" y="105912"/>
                  <a:pt x="2051041" y="122122"/>
                </a:cubicBezTo>
                <a:lnTo>
                  <a:pt x="2051041" y="186473"/>
                </a:lnTo>
                <a:lnTo>
                  <a:pt x="2029818" y="186473"/>
                </a:lnTo>
                <a:cubicBezTo>
                  <a:pt x="2023832" y="184297"/>
                  <a:pt x="2022743" y="185929"/>
                  <a:pt x="2023287" y="192459"/>
                </a:cubicBezTo>
                <a:cubicBezTo>
                  <a:pt x="2023287" y="193548"/>
                  <a:pt x="2023287" y="195180"/>
                  <a:pt x="2023832" y="196268"/>
                </a:cubicBezTo>
                <a:cubicBezTo>
                  <a:pt x="2028185" y="210961"/>
                  <a:pt x="2026008" y="225110"/>
                  <a:pt x="2019478" y="239258"/>
                </a:cubicBezTo>
                <a:cubicBezTo>
                  <a:pt x="2018934" y="240347"/>
                  <a:pt x="2019478" y="241979"/>
                  <a:pt x="2020022" y="242523"/>
                </a:cubicBezTo>
                <a:cubicBezTo>
                  <a:pt x="2020566" y="243067"/>
                  <a:pt x="2022743" y="243612"/>
                  <a:pt x="2023287" y="243067"/>
                </a:cubicBezTo>
                <a:cubicBezTo>
                  <a:pt x="2032266" y="238986"/>
                  <a:pt x="2041245" y="237082"/>
                  <a:pt x="2050224" y="237150"/>
                </a:cubicBezTo>
                <a:lnTo>
                  <a:pt x="2051041" y="237329"/>
                </a:lnTo>
                <a:lnTo>
                  <a:pt x="2051041" y="348996"/>
                </a:lnTo>
                <a:lnTo>
                  <a:pt x="2036552" y="347754"/>
                </a:lnTo>
                <a:cubicBezTo>
                  <a:pt x="2031178" y="346733"/>
                  <a:pt x="2026009" y="344829"/>
                  <a:pt x="2021111" y="341019"/>
                </a:cubicBezTo>
                <a:cubicBezTo>
                  <a:pt x="2020022" y="339931"/>
                  <a:pt x="2018390" y="339387"/>
                  <a:pt x="2016757" y="338842"/>
                </a:cubicBezTo>
                <a:cubicBezTo>
                  <a:pt x="2016757" y="340475"/>
                  <a:pt x="2016757" y="343196"/>
                  <a:pt x="2017301" y="344284"/>
                </a:cubicBezTo>
                <a:cubicBezTo>
                  <a:pt x="2022743" y="354079"/>
                  <a:pt x="2026008" y="364419"/>
                  <a:pt x="2025464" y="376391"/>
                </a:cubicBezTo>
                <a:cubicBezTo>
                  <a:pt x="2024376" y="398702"/>
                  <a:pt x="2014580" y="413939"/>
                  <a:pt x="1994446" y="424278"/>
                </a:cubicBezTo>
                <a:cubicBezTo>
                  <a:pt x="1972135" y="435706"/>
                  <a:pt x="1950912" y="431352"/>
                  <a:pt x="1933498" y="416115"/>
                </a:cubicBezTo>
                <a:cubicBezTo>
                  <a:pt x="1917173" y="401967"/>
                  <a:pt x="1908466" y="378567"/>
                  <a:pt x="1920438" y="352447"/>
                </a:cubicBezTo>
                <a:cubicBezTo>
                  <a:pt x="1922615" y="348093"/>
                  <a:pt x="1923703" y="343196"/>
                  <a:pt x="1925336" y="338298"/>
                </a:cubicBezTo>
                <a:cubicBezTo>
                  <a:pt x="1920982" y="339931"/>
                  <a:pt x="1916085" y="341563"/>
                  <a:pt x="1911731" y="343196"/>
                </a:cubicBezTo>
                <a:cubicBezTo>
                  <a:pt x="1907378" y="344828"/>
                  <a:pt x="1903024" y="347005"/>
                  <a:pt x="1898671" y="347005"/>
                </a:cubicBezTo>
                <a:cubicBezTo>
                  <a:pt x="1882890" y="348638"/>
                  <a:pt x="1867653" y="348638"/>
                  <a:pt x="1854593" y="336666"/>
                </a:cubicBezTo>
                <a:lnTo>
                  <a:pt x="1847690" y="333480"/>
                </a:lnTo>
                <a:lnTo>
                  <a:pt x="1852961" y="344461"/>
                </a:lnTo>
                <a:cubicBezTo>
                  <a:pt x="1868742" y="372214"/>
                  <a:pt x="1855137" y="408674"/>
                  <a:pt x="1826840" y="420646"/>
                </a:cubicBezTo>
                <a:cubicBezTo>
                  <a:pt x="1803441" y="430985"/>
                  <a:pt x="1777864" y="422278"/>
                  <a:pt x="1765893" y="408130"/>
                </a:cubicBezTo>
                <a:cubicBezTo>
                  <a:pt x="1749567" y="388539"/>
                  <a:pt x="1744126" y="368405"/>
                  <a:pt x="1759362" y="342829"/>
                </a:cubicBezTo>
                <a:cubicBezTo>
                  <a:pt x="1771199" y="322422"/>
                  <a:pt x="1795584" y="313341"/>
                  <a:pt x="1815991" y="317193"/>
                </a:cubicBezTo>
                <a:cubicBezTo>
                  <a:pt x="1822793" y="318477"/>
                  <a:pt x="1829153" y="321198"/>
                  <a:pt x="1834459" y="325415"/>
                </a:cubicBezTo>
                <a:lnTo>
                  <a:pt x="1845023" y="330169"/>
                </a:lnTo>
                <a:lnTo>
                  <a:pt x="1840444" y="321429"/>
                </a:lnTo>
                <a:cubicBezTo>
                  <a:pt x="1831193" y="306736"/>
                  <a:pt x="1832282" y="290955"/>
                  <a:pt x="1834458" y="275174"/>
                </a:cubicBezTo>
                <a:cubicBezTo>
                  <a:pt x="1835002" y="269732"/>
                  <a:pt x="1838812" y="265379"/>
                  <a:pt x="1840988" y="259937"/>
                </a:cubicBezTo>
                <a:cubicBezTo>
                  <a:pt x="1841533" y="258849"/>
                  <a:pt x="1842077" y="257216"/>
                  <a:pt x="1842077" y="255584"/>
                </a:cubicBezTo>
                <a:cubicBezTo>
                  <a:pt x="1840444" y="256128"/>
                  <a:pt x="1838812" y="256672"/>
                  <a:pt x="1837723" y="257216"/>
                </a:cubicBezTo>
                <a:cubicBezTo>
                  <a:pt x="1831193" y="259937"/>
                  <a:pt x="1824663" y="263746"/>
                  <a:pt x="1817589" y="264834"/>
                </a:cubicBezTo>
                <a:cubicBezTo>
                  <a:pt x="1799631" y="268100"/>
                  <a:pt x="1782762" y="264290"/>
                  <a:pt x="1768069" y="251774"/>
                </a:cubicBezTo>
                <a:lnTo>
                  <a:pt x="1764740" y="250110"/>
                </a:lnTo>
                <a:lnTo>
                  <a:pt x="1773510" y="267189"/>
                </a:lnTo>
                <a:cubicBezTo>
                  <a:pt x="1786571" y="292765"/>
                  <a:pt x="1773510" y="323239"/>
                  <a:pt x="1750655" y="336843"/>
                </a:cubicBezTo>
                <a:cubicBezTo>
                  <a:pt x="1721270" y="354257"/>
                  <a:pt x="1685354" y="337388"/>
                  <a:pt x="1673926" y="310723"/>
                </a:cubicBezTo>
                <a:cubicBezTo>
                  <a:pt x="1664675" y="289500"/>
                  <a:pt x="1669029" y="271542"/>
                  <a:pt x="1681545" y="254673"/>
                </a:cubicBezTo>
                <a:cubicBezTo>
                  <a:pt x="1694605" y="237803"/>
                  <a:pt x="1712563" y="231817"/>
                  <a:pt x="1733786" y="235083"/>
                </a:cubicBezTo>
                <a:cubicBezTo>
                  <a:pt x="1739771" y="236171"/>
                  <a:pt x="1745757" y="239980"/>
                  <a:pt x="1751743" y="242157"/>
                </a:cubicBezTo>
                <a:lnTo>
                  <a:pt x="1762506" y="246769"/>
                </a:lnTo>
                <a:lnTo>
                  <a:pt x="1757185" y="236537"/>
                </a:lnTo>
                <a:cubicBezTo>
                  <a:pt x="1747934" y="219668"/>
                  <a:pt x="1747390" y="203343"/>
                  <a:pt x="1756097" y="185929"/>
                </a:cubicBezTo>
                <a:cubicBezTo>
                  <a:pt x="1757185" y="183752"/>
                  <a:pt x="1756641" y="180487"/>
                  <a:pt x="1757185" y="177766"/>
                </a:cubicBezTo>
                <a:cubicBezTo>
                  <a:pt x="1754464" y="177766"/>
                  <a:pt x="1751199" y="177222"/>
                  <a:pt x="1749023" y="178311"/>
                </a:cubicBezTo>
                <a:cubicBezTo>
                  <a:pt x="1722358" y="193003"/>
                  <a:pt x="1688075" y="178855"/>
                  <a:pt x="1676103" y="154911"/>
                </a:cubicBezTo>
                <a:cubicBezTo>
                  <a:pt x="1665220" y="133688"/>
                  <a:pt x="1667396" y="113554"/>
                  <a:pt x="1681001" y="94507"/>
                </a:cubicBezTo>
                <a:lnTo>
                  <a:pt x="1685681" y="85147"/>
                </a:lnTo>
                <a:lnTo>
                  <a:pt x="1693517" y="82536"/>
                </a:lnTo>
                <a:cubicBezTo>
                  <a:pt x="1710930" y="71108"/>
                  <a:pt x="1728888" y="71108"/>
                  <a:pt x="1747934" y="77638"/>
                </a:cubicBezTo>
                <a:cubicBezTo>
                  <a:pt x="1750655" y="78726"/>
                  <a:pt x="1753920" y="78726"/>
                  <a:pt x="1756641" y="79271"/>
                </a:cubicBezTo>
                <a:cubicBezTo>
                  <a:pt x="1756097" y="76550"/>
                  <a:pt x="1755553" y="74373"/>
                  <a:pt x="1754464" y="71652"/>
                </a:cubicBezTo>
                <a:cubicBezTo>
                  <a:pt x="1753920" y="70564"/>
                  <a:pt x="1753376" y="69475"/>
                  <a:pt x="1752832" y="68387"/>
                </a:cubicBezTo>
                <a:cubicBezTo>
                  <a:pt x="1747934" y="52062"/>
                  <a:pt x="1747390" y="35737"/>
                  <a:pt x="1756097" y="20500"/>
                </a:cubicBezTo>
                <a:cubicBezTo>
                  <a:pt x="1756641" y="19411"/>
                  <a:pt x="1757185" y="16690"/>
                  <a:pt x="1756641" y="16146"/>
                </a:cubicBezTo>
                <a:cubicBezTo>
                  <a:pt x="1755553" y="15058"/>
                  <a:pt x="1753376" y="14514"/>
                  <a:pt x="1751744" y="15058"/>
                </a:cubicBezTo>
                <a:cubicBezTo>
                  <a:pt x="1747934" y="16146"/>
                  <a:pt x="1744669" y="19411"/>
                  <a:pt x="1741404" y="19955"/>
                </a:cubicBezTo>
                <a:cubicBezTo>
                  <a:pt x="1724535" y="21588"/>
                  <a:pt x="1707121" y="23765"/>
                  <a:pt x="1691884" y="11249"/>
                </a:cubicBezTo>
                <a:lnTo>
                  <a:pt x="1685645" y="8369"/>
                </a:lnTo>
                <a:lnTo>
                  <a:pt x="1688620" y="14691"/>
                </a:lnTo>
                <a:cubicBezTo>
                  <a:pt x="1700048" y="32648"/>
                  <a:pt x="1700048" y="50606"/>
                  <a:pt x="1691885" y="69652"/>
                </a:cubicBezTo>
                <a:lnTo>
                  <a:pt x="1684469" y="82365"/>
                </a:lnTo>
                <a:lnTo>
                  <a:pt x="1663044" y="94684"/>
                </a:lnTo>
                <a:cubicBezTo>
                  <a:pt x="1651072" y="101759"/>
                  <a:pt x="1638556" y="100126"/>
                  <a:pt x="1626584" y="96861"/>
                </a:cubicBezTo>
                <a:cubicBezTo>
                  <a:pt x="1608082" y="91419"/>
                  <a:pt x="1595566" y="78359"/>
                  <a:pt x="1590124" y="60401"/>
                </a:cubicBezTo>
                <a:cubicBezTo>
                  <a:pt x="1586315" y="48974"/>
                  <a:pt x="1586315" y="37002"/>
                  <a:pt x="1591757" y="25030"/>
                </a:cubicBezTo>
                <a:close/>
                <a:moveTo>
                  <a:pt x="1460066" y="0"/>
                </a:moveTo>
                <a:lnTo>
                  <a:pt x="1498513" y="0"/>
                </a:lnTo>
                <a:lnTo>
                  <a:pt x="1517204" y="8092"/>
                </a:lnTo>
                <a:cubicBezTo>
                  <a:pt x="1526183" y="17411"/>
                  <a:pt x="1531352" y="30199"/>
                  <a:pt x="1531896" y="45164"/>
                </a:cubicBezTo>
                <a:cubicBezTo>
                  <a:pt x="1532985" y="71829"/>
                  <a:pt x="1505776" y="97949"/>
                  <a:pt x="1479111" y="97949"/>
                </a:cubicBezTo>
                <a:cubicBezTo>
                  <a:pt x="1451902" y="97949"/>
                  <a:pt x="1425238" y="71829"/>
                  <a:pt x="1426870" y="45164"/>
                </a:cubicBezTo>
                <a:cubicBezTo>
                  <a:pt x="1427687" y="29655"/>
                  <a:pt x="1432720" y="16867"/>
                  <a:pt x="1441631" y="7684"/>
                </a:cubicBezTo>
                <a:close/>
                <a:moveTo>
                  <a:pt x="1296749" y="0"/>
                </a:moveTo>
                <a:lnTo>
                  <a:pt x="1335755" y="0"/>
                </a:lnTo>
                <a:lnTo>
                  <a:pt x="1350278" y="10270"/>
                </a:lnTo>
                <a:cubicBezTo>
                  <a:pt x="1359937" y="19861"/>
                  <a:pt x="1366467" y="32649"/>
                  <a:pt x="1365923" y="45165"/>
                </a:cubicBezTo>
                <a:cubicBezTo>
                  <a:pt x="1364291" y="71829"/>
                  <a:pt x="1343068" y="93052"/>
                  <a:pt x="1315315" y="93052"/>
                </a:cubicBezTo>
                <a:cubicBezTo>
                  <a:pt x="1290283" y="95229"/>
                  <a:pt x="1266339" y="69109"/>
                  <a:pt x="1266339" y="44076"/>
                </a:cubicBezTo>
                <a:cubicBezTo>
                  <a:pt x="1266339" y="30472"/>
                  <a:pt x="1273141" y="18228"/>
                  <a:pt x="1282732" y="9317"/>
                </a:cubicBezTo>
                <a:close/>
                <a:moveTo>
                  <a:pt x="1148085" y="0"/>
                </a:moveTo>
                <a:lnTo>
                  <a:pt x="1161802" y="0"/>
                </a:lnTo>
                <a:lnTo>
                  <a:pt x="1169637" y="1315"/>
                </a:lnTo>
                <a:cubicBezTo>
                  <a:pt x="1186447" y="8432"/>
                  <a:pt x="1199813" y="26798"/>
                  <a:pt x="1199405" y="45164"/>
                </a:cubicBezTo>
                <a:cubicBezTo>
                  <a:pt x="1198861" y="69652"/>
                  <a:pt x="1175462" y="93596"/>
                  <a:pt x="1151518" y="91419"/>
                </a:cubicBezTo>
                <a:cubicBezTo>
                  <a:pt x="1123765" y="88154"/>
                  <a:pt x="1109072" y="72373"/>
                  <a:pt x="1105807" y="44620"/>
                </a:cubicBezTo>
                <a:cubicBezTo>
                  <a:pt x="1107440" y="30472"/>
                  <a:pt x="1111657" y="19588"/>
                  <a:pt x="1119139" y="11902"/>
                </a:cubicBezTo>
                <a:close/>
              </a:path>
            </a:pathLst>
          </a:custGeom>
          <a:solidFill>
            <a:srgbClr val="9AA8C5">
              <a:alpha val="17000"/>
            </a:srgbClr>
          </a:solidFill>
          <a:ln w="5432" cap="flat">
            <a:noFill/>
            <a:prstDash val="solid"/>
            <a:miter/>
          </a:ln>
        </p:spPr>
        <p:txBody>
          <a:bodyPr rtlCol="0" anchor="ctr"/>
          <a:lstStyle/>
          <a:p>
            <a:endParaRPr lang="en-IN"/>
          </a:p>
        </p:txBody>
      </p:sp>
    </p:spTree>
    <p:extLst>
      <p:ext uri="{BB962C8B-B14F-4D97-AF65-F5344CB8AC3E}">
        <p14:creationId xmlns:p14="http://schemas.microsoft.com/office/powerpoint/2010/main" val="136368456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Custom Layout">
    <p:bg>
      <p:bgPr>
        <a:solidFill>
          <a:srgbClr val="004582"/>
        </a:soli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3DC23D8B-3AA3-4802-85BE-D00FE7E5BF8D}"/>
              </a:ext>
            </a:extLst>
          </p:cNvPr>
          <p:cNvSpPr/>
          <p:nvPr userDrawn="1"/>
        </p:nvSpPr>
        <p:spPr>
          <a:xfrm>
            <a:off x="-10845" y="0"/>
            <a:ext cx="12202845" cy="6858000"/>
          </a:xfrm>
          <a:prstGeom prst="rect">
            <a:avLst/>
          </a:prstGeom>
          <a:gradFill flip="none" rotWithShape="1">
            <a:gsLst>
              <a:gs pos="0">
                <a:srgbClr val="000358"/>
              </a:gs>
              <a:gs pos="100000">
                <a:srgbClr val="00012E"/>
              </a:gs>
            </a:gsLst>
            <a:lin ang="135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7" name="Rectangle 6">
            <a:extLst>
              <a:ext uri="{FF2B5EF4-FFF2-40B4-BE49-F238E27FC236}">
                <a16:creationId xmlns:a16="http://schemas.microsoft.com/office/drawing/2014/main" id="{8B9202A9-44E2-4B42-BEB9-1B9C4D8497C3}"/>
              </a:ext>
            </a:extLst>
          </p:cNvPr>
          <p:cNvSpPr/>
          <p:nvPr userDrawn="1"/>
        </p:nvSpPr>
        <p:spPr>
          <a:xfrm>
            <a:off x="-10845" y="0"/>
            <a:ext cx="12202845" cy="6858000"/>
          </a:xfrm>
          <a:prstGeom prst="rect">
            <a:avLst/>
          </a:prstGeom>
          <a:gradFill flip="none" rotWithShape="1">
            <a:gsLst>
              <a:gs pos="0">
                <a:srgbClr val="000358"/>
              </a:gs>
              <a:gs pos="100000">
                <a:srgbClr val="00012E"/>
              </a:gs>
            </a:gsLst>
            <a:lin ang="135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8" name="Title 11">
            <a:extLst>
              <a:ext uri="{FF2B5EF4-FFF2-40B4-BE49-F238E27FC236}">
                <a16:creationId xmlns:a16="http://schemas.microsoft.com/office/drawing/2014/main" id="{4DDA249A-6A41-4418-8A35-C69C75173DDA}"/>
              </a:ext>
            </a:extLst>
          </p:cNvPr>
          <p:cNvSpPr>
            <a:spLocks noGrp="1"/>
          </p:cNvSpPr>
          <p:nvPr>
            <p:ph type="title"/>
          </p:nvPr>
        </p:nvSpPr>
        <p:spPr>
          <a:xfrm>
            <a:off x="374011" y="185817"/>
            <a:ext cx="10515600" cy="608663"/>
          </a:xfrm>
          <a:prstGeom prst="rect">
            <a:avLst/>
          </a:prstGeom>
        </p:spPr>
        <p:txBody>
          <a:bodyPr/>
          <a:lstStyle>
            <a:lvl1pPr>
              <a:defRPr sz="2600" b="1">
                <a:solidFill>
                  <a:schemeClr val="bg1"/>
                </a:solidFill>
                <a:latin typeface="+mn-lt"/>
              </a:defRPr>
            </a:lvl1pPr>
          </a:lstStyle>
          <a:p>
            <a:r>
              <a:rPr lang="en-US"/>
              <a:t>Click to edit Master title style</a:t>
            </a:r>
          </a:p>
        </p:txBody>
      </p:sp>
      <p:sp>
        <p:nvSpPr>
          <p:cNvPr id="9" name="Slide Number Placeholder 5">
            <a:extLst>
              <a:ext uri="{FF2B5EF4-FFF2-40B4-BE49-F238E27FC236}">
                <a16:creationId xmlns:a16="http://schemas.microsoft.com/office/drawing/2014/main" id="{1A82EFEF-AC12-4EB6-BA6C-3C20502DAD9C}"/>
              </a:ext>
            </a:extLst>
          </p:cNvPr>
          <p:cNvSpPr txBox="1">
            <a:spLocks/>
          </p:cNvSpPr>
          <p:nvPr userDrawn="1"/>
        </p:nvSpPr>
        <p:spPr>
          <a:xfrm>
            <a:off x="11277600" y="6514918"/>
            <a:ext cx="609600" cy="261610"/>
          </a:xfrm>
          <a:prstGeom prst="rect">
            <a:avLst/>
          </a:prstGeom>
          <a:noFill/>
        </p:spPr>
        <p:txBody>
          <a:bodyPr>
            <a:spAutoFit/>
          </a:bodyPr>
          <a:lstStyle>
            <a:defPPr>
              <a:defRPr lang="en-US"/>
            </a:defPPr>
            <a:lvl1pPr marL="0" algn="ctr" defTabSz="914400" rtl="0" eaLnBrk="1" latinLnBrk="0" hangingPunct="1">
              <a:defRPr lang="en-US" sz="1800" kern="1200" smtClean="0">
                <a:solidFill>
                  <a:schemeClr val="bg1"/>
                </a:solidFill>
                <a:latin typeface="Tahoma" pitchFamily="34" charset="0"/>
                <a:ea typeface="Tahoma" pitchFamily="34" charset="0"/>
                <a:cs typeface="Tahoma"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endParaRPr lang="en-IN" sz="1100">
              <a:solidFill>
                <a:schemeClr val="bg1"/>
              </a:solidFill>
            </a:endParaRPr>
          </a:p>
        </p:txBody>
      </p:sp>
      <p:sp>
        <p:nvSpPr>
          <p:cNvPr id="10" name="Freeform: Shape 40">
            <a:extLst>
              <a:ext uri="{FF2B5EF4-FFF2-40B4-BE49-F238E27FC236}">
                <a16:creationId xmlns:a16="http://schemas.microsoft.com/office/drawing/2014/main" id="{2E18E62B-9D87-40E7-A7D7-56410DD3C372}"/>
              </a:ext>
            </a:extLst>
          </p:cNvPr>
          <p:cNvSpPr/>
          <p:nvPr userDrawn="1"/>
        </p:nvSpPr>
        <p:spPr>
          <a:xfrm>
            <a:off x="10699845" y="-1"/>
            <a:ext cx="1467576" cy="1491295"/>
          </a:xfrm>
          <a:custGeom>
            <a:avLst/>
            <a:gdLst>
              <a:gd name="connsiteX0" fmla="*/ 2051041 w 2051041"/>
              <a:gd name="connsiteY0" fmla="*/ 2080382 h 2084191"/>
              <a:gd name="connsiteX1" fmla="*/ 2051041 w 2051041"/>
              <a:gd name="connsiteY1" fmla="*/ 2083967 h 2084191"/>
              <a:gd name="connsiteX2" fmla="*/ 2047231 w 2051041"/>
              <a:gd name="connsiteY2" fmla="*/ 2084191 h 2084191"/>
              <a:gd name="connsiteX3" fmla="*/ 2045599 w 2051041"/>
              <a:gd name="connsiteY3" fmla="*/ 2081470 h 2084191"/>
              <a:gd name="connsiteX4" fmla="*/ 1478568 w 2051041"/>
              <a:gd name="connsiteY4" fmla="*/ 1997668 h 2084191"/>
              <a:gd name="connsiteX5" fmla="*/ 1484554 w 2051041"/>
              <a:gd name="connsiteY5" fmla="*/ 2004743 h 2084191"/>
              <a:gd name="connsiteX6" fmla="*/ 1478568 w 2051041"/>
              <a:gd name="connsiteY6" fmla="*/ 2009096 h 2084191"/>
              <a:gd name="connsiteX7" fmla="*/ 1473126 w 2051041"/>
              <a:gd name="connsiteY7" fmla="*/ 2003654 h 2084191"/>
              <a:gd name="connsiteX8" fmla="*/ 1478568 w 2051041"/>
              <a:gd name="connsiteY8" fmla="*/ 1997668 h 2084191"/>
              <a:gd name="connsiteX9" fmla="*/ 1641820 w 2051041"/>
              <a:gd name="connsiteY9" fmla="*/ 1993859 h 2084191"/>
              <a:gd name="connsiteX10" fmla="*/ 1652160 w 2051041"/>
              <a:gd name="connsiteY10" fmla="*/ 2003654 h 2084191"/>
              <a:gd name="connsiteX11" fmla="*/ 1641820 w 2051041"/>
              <a:gd name="connsiteY11" fmla="*/ 2013449 h 2084191"/>
              <a:gd name="connsiteX12" fmla="*/ 1632025 w 2051041"/>
              <a:gd name="connsiteY12" fmla="*/ 2003654 h 2084191"/>
              <a:gd name="connsiteX13" fmla="*/ 1641820 w 2051041"/>
              <a:gd name="connsiteY13" fmla="*/ 1993859 h 2084191"/>
              <a:gd name="connsiteX14" fmla="*/ 1969414 w 2051041"/>
              <a:gd name="connsiteY14" fmla="*/ 1992226 h 2084191"/>
              <a:gd name="connsiteX15" fmla="*/ 1979753 w 2051041"/>
              <a:gd name="connsiteY15" fmla="*/ 2003654 h 2084191"/>
              <a:gd name="connsiteX16" fmla="*/ 1968325 w 2051041"/>
              <a:gd name="connsiteY16" fmla="*/ 2014537 h 2084191"/>
              <a:gd name="connsiteX17" fmla="*/ 1957986 w 2051041"/>
              <a:gd name="connsiteY17" fmla="*/ 2003110 h 2084191"/>
              <a:gd name="connsiteX18" fmla="*/ 1969414 w 2051041"/>
              <a:gd name="connsiteY18" fmla="*/ 1992226 h 2084191"/>
              <a:gd name="connsiteX19" fmla="*/ 1805073 w 2051041"/>
              <a:gd name="connsiteY19" fmla="*/ 1992226 h 2084191"/>
              <a:gd name="connsiteX20" fmla="*/ 1815956 w 2051041"/>
              <a:gd name="connsiteY20" fmla="*/ 2002565 h 2084191"/>
              <a:gd name="connsiteX21" fmla="*/ 1805073 w 2051041"/>
              <a:gd name="connsiteY21" fmla="*/ 2014537 h 2084191"/>
              <a:gd name="connsiteX22" fmla="*/ 1794189 w 2051041"/>
              <a:gd name="connsiteY22" fmla="*/ 2004198 h 2084191"/>
              <a:gd name="connsiteX23" fmla="*/ 1805073 w 2051041"/>
              <a:gd name="connsiteY23" fmla="*/ 1992226 h 2084191"/>
              <a:gd name="connsiteX24" fmla="*/ 1234233 w 2051041"/>
              <a:gd name="connsiteY24" fmla="*/ 1916042 h 2084191"/>
              <a:gd name="connsiteX25" fmla="*/ 1240219 w 2051041"/>
              <a:gd name="connsiteY25" fmla="*/ 1923660 h 2084191"/>
              <a:gd name="connsiteX26" fmla="*/ 1236953 w 2051041"/>
              <a:gd name="connsiteY26" fmla="*/ 1926381 h 2084191"/>
              <a:gd name="connsiteX27" fmla="*/ 1229335 w 2051041"/>
              <a:gd name="connsiteY27" fmla="*/ 1918762 h 2084191"/>
              <a:gd name="connsiteX28" fmla="*/ 1234233 w 2051041"/>
              <a:gd name="connsiteY28" fmla="*/ 1916042 h 2084191"/>
              <a:gd name="connsiteX29" fmla="*/ 1397486 w 2051041"/>
              <a:gd name="connsiteY29" fmla="*/ 1911144 h 2084191"/>
              <a:gd name="connsiteX30" fmla="*/ 1408369 w 2051041"/>
              <a:gd name="connsiteY30" fmla="*/ 1921483 h 2084191"/>
              <a:gd name="connsiteX31" fmla="*/ 1399118 w 2051041"/>
              <a:gd name="connsiteY31" fmla="*/ 1931823 h 2084191"/>
              <a:gd name="connsiteX32" fmla="*/ 1387146 w 2051041"/>
              <a:gd name="connsiteY32" fmla="*/ 1922028 h 2084191"/>
              <a:gd name="connsiteX33" fmla="*/ 1397486 w 2051041"/>
              <a:gd name="connsiteY33" fmla="*/ 1911144 h 2084191"/>
              <a:gd name="connsiteX34" fmla="*/ 1560194 w 2051041"/>
              <a:gd name="connsiteY34" fmla="*/ 1906790 h 2084191"/>
              <a:gd name="connsiteX35" fmla="*/ 1574342 w 2051041"/>
              <a:gd name="connsiteY35" fmla="*/ 1921482 h 2084191"/>
              <a:gd name="connsiteX36" fmla="*/ 1560738 w 2051041"/>
              <a:gd name="connsiteY36" fmla="*/ 1935631 h 2084191"/>
              <a:gd name="connsiteX37" fmla="*/ 1547134 w 2051041"/>
              <a:gd name="connsiteY37" fmla="*/ 1922027 h 2084191"/>
              <a:gd name="connsiteX38" fmla="*/ 1560194 w 2051041"/>
              <a:gd name="connsiteY38" fmla="*/ 1906790 h 2084191"/>
              <a:gd name="connsiteX39" fmla="*/ 2049952 w 2051041"/>
              <a:gd name="connsiteY39" fmla="*/ 1905702 h 2084191"/>
              <a:gd name="connsiteX40" fmla="*/ 2051041 w 2051041"/>
              <a:gd name="connsiteY40" fmla="*/ 1906027 h 2084191"/>
              <a:gd name="connsiteX41" fmla="*/ 2051041 w 2051041"/>
              <a:gd name="connsiteY41" fmla="*/ 1938133 h 2084191"/>
              <a:gd name="connsiteX42" fmla="*/ 2050496 w 2051041"/>
              <a:gd name="connsiteY42" fmla="*/ 1938353 h 2084191"/>
              <a:gd name="connsiteX43" fmla="*/ 2034171 w 2051041"/>
              <a:gd name="connsiteY43" fmla="*/ 1922572 h 2084191"/>
              <a:gd name="connsiteX44" fmla="*/ 2049952 w 2051041"/>
              <a:gd name="connsiteY44" fmla="*/ 1905702 h 2084191"/>
              <a:gd name="connsiteX45" fmla="*/ 1723447 w 2051041"/>
              <a:gd name="connsiteY45" fmla="*/ 1905702 h 2084191"/>
              <a:gd name="connsiteX46" fmla="*/ 1739772 w 2051041"/>
              <a:gd name="connsiteY46" fmla="*/ 1920939 h 2084191"/>
              <a:gd name="connsiteX47" fmla="*/ 1724535 w 2051041"/>
              <a:gd name="connsiteY47" fmla="*/ 1937264 h 2084191"/>
              <a:gd name="connsiteX48" fmla="*/ 1708210 w 2051041"/>
              <a:gd name="connsiteY48" fmla="*/ 1922027 h 2084191"/>
              <a:gd name="connsiteX49" fmla="*/ 1723447 w 2051041"/>
              <a:gd name="connsiteY49" fmla="*/ 1905702 h 2084191"/>
              <a:gd name="connsiteX50" fmla="*/ 1887787 w 2051041"/>
              <a:gd name="connsiteY50" fmla="*/ 1905158 h 2084191"/>
              <a:gd name="connsiteX51" fmla="*/ 1904113 w 2051041"/>
              <a:gd name="connsiteY51" fmla="*/ 1922028 h 2084191"/>
              <a:gd name="connsiteX52" fmla="*/ 1886699 w 2051041"/>
              <a:gd name="connsiteY52" fmla="*/ 1937809 h 2084191"/>
              <a:gd name="connsiteX53" fmla="*/ 1870918 w 2051041"/>
              <a:gd name="connsiteY53" fmla="*/ 1921483 h 2084191"/>
              <a:gd name="connsiteX54" fmla="*/ 1887787 w 2051041"/>
              <a:gd name="connsiteY54" fmla="*/ 1905158 h 2084191"/>
              <a:gd name="connsiteX55" fmla="*/ 1152606 w 2051041"/>
              <a:gd name="connsiteY55" fmla="*/ 1831693 h 2084191"/>
              <a:gd name="connsiteX56" fmla="*/ 1161313 w 2051041"/>
              <a:gd name="connsiteY56" fmla="*/ 1839312 h 2084191"/>
              <a:gd name="connsiteX57" fmla="*/ 1153694 w 2051041"/>
              <a:gd name="connsiteY57" fmla="*/ 1852916 h 2084191"/>
              <a:gd name="connsiteX58" fmla="*/ 1144988 w 2051041"/>
              <a:gd name="connsiteY58" fmla="*/ 1841489 h 2084191"/>
              <a:gd name="connsiteX59" fmla="*/ 1152606 w 2051041"/>
              <a:gd name="connsiteY59" fmla="*/ 1831693 h 2084191"/>
              <a:gd name="connsiteX60" fmla="*/ 1315315 w 2051041"/>
              <a:gd name="connsiteY60" fmla="*/ 1825708 h 2084191"/>
              <a:gd name="connsiteX61" fmla="*/ 1330552 w 2051041"/>
              <a:gd name="connsiteY61" fmla="*/ 1840401 h 2084191"/>
              <a:gd name="connsiteX62" fmla="*/ 1316404 w 2051041"/>
              <a:gd name="connsiteY62" fmla="*/ 1854549 h 2084191"/>
              <a:gd name="connsiteX63" fmla="*/ 1301711 w 2051041"/>
              <a:gd name="connsiteY63" fmla="*/ 1840945 h 2084191"/>
              <a:gd name="connsiteX64" fmla="*/ 1315315 w 2051041"/>
              <a:gd name="connsiteY64" fmla="*/ 1825708 h 2084191"/>
              <a:gd name="connsiteX65" fmla="*/ 1479656 w 2051041"/>
              <a:gd name="connsiteY65" fmla="*/ 1822987 h 2084191"/>
              <a:gd name="connsiteX66" fmla="*/ 1495981 w 2051041"/>
              <a:gd name="connsiteY66" fmla="*/ 1840401 h 2084191"/>
              <a:gd name="connsiteX67" fmla="*/ 1478567 w 2051041"/>
              <a:gd name="connsiteY67" fmla="*/ 1856182 h 2084191"/>
              <a:gd name="connsiteX68" fmla="*/ 1462242 w 2051041"/>
              <a:gd name="connsiteY68" fmla="*/ 1839312 h 2084191"/>
              <a:gd name="connsiteX69" fmla="*/ 1479656 w 2051041"/>
              <a:gd name="connsiteY69" fmla="*/ 1822987 h 2084191"/>
              <a:gd name="connsiteX70" fmla="*/ 1642365 w 2051041"/>
              <a:gd name="connsiteY70" fmla="*/ 1821355 h 2084191"/>
              <a:gd name="connsiteX71" fmla="*/ 1660867 w 2051041"/>
              <a:gd name="connsiteY71" fmla="*/ 1840401 h 2084191"/>
              <a:gd name="connsiteX72" fmla="*/ 1642365 w 2051041"/>
              <a:gd name="connsiteY72" fmla="*/ 1857270 h 2084191"/>
              <a:gd name="connsiteX73" fmla="*/ 1624407 w 2051041"/>
              <a:gd name="connsiteY73" fmla="*/ 1839857 h 2084191"/>
              <a:gd name="connsiteX74" fmla="*/ 1642365 w 2051041"/>
              <a:gd name="connsiteY74" fmla="*/ 1821355 h 2084191"/>
              <a:gd name="connsiteX75" fmla="*/ 1806162 w 2051041"/>
              <a:gd name="connsiteY75" fmla="*/ 1819723 h 2084191"/>
              <a:gd name="connsiteX76" fmla="*/ 1826840 w 2051041"/>
              <a:gd name="connsiteY76" fmla="*/ 1840945 h 2084191"/>
              <a:gd name="connsiteX77" fmla="*/ 1804529 w 2051041"/>
              <a:gd name="connsiteY77" fmla="*/ 1861080 h 2084191"/>
              <a:gd name="connsiteX78" fmla="*/ 1784395 w 2051041"/>
              <a:gd name="connsiteY78" fmla="*/ 1839313 h 2084191"/>
              <a:gd name="connsiteX79" fmla="*/ 1806162 w 2051041"/>
              <a:gd name="connsiteY79" fmla="*/ 1819723 h 2084191"/>
              <a:gd name="connsiteX80" fmla="*/ 1968870 w 2051041"/>
              <a:gd name="connsiteY80" fmla="*/ 1819178 h 2084191"/>
              <a:gd name="connsiteX81" fmla="*/ 1990093 w 2051041"/>
              <a:gd name="connsiteY81" fmla="*/ 1840401 h 2084191"/>
              <a:gd name="connsiteX82" fmla="*/ 1968870 w 2051041"/>
              <a:gd name="connsiteY82" fmla="*/ 1861624 h 2084191"/>
              <a:gd name="connsiteX83" fmla="*/ 1947647 w 2051041"/>
              <a:gd name="connsiteY83" fmla="*/ 1840401 h 2084191"/>
              <a:gd name="connsiteX84" fmla="*/ 1968870 w 2051041"/>
              <a:gd name="connsiteY84" fmla="*/ 1819178 h 2084191"/>
              <a:gd name="connsiteX85" fmla="*/ 1070436 w 2051041"/>
              <a:gd name="connsiteY85" fmla="*/ 1747347 h 2084191"/>
              <a:gd name="connsiteX86" fmla="*/ 1081863 w 2051041"/>
              <a:gd name="connsiteY86" fmla="*/ 1758231 h 2084191"/>
              <a:gd name="connsiteX87" fmla="*/ 1070980 w 2051041"/>
              <a:gd name="connsiteY87" fmla="*/ 1769658 h 2084191"/>
              <a:gd name="connsiteX88" fmla="*/ 1059552 w 2051041"/>
              <a:gd name="connsiteY88" fmla="*/ 1758775 h 2084191"/>
              <a:gd name="connsiteX89" fmla="*/ 1070436 w 2051041"/>
              <a:gd name="connsiteY89" fmla="*/ 1747347 h 2084191"/>
              <a:gd name="connsiteX90" fmla="*/ 1233688 w 2051041"/>
              <a:gd name="connsiteY90" fmla="*/ 1742449 h 2084191"/>
              <a:gd name="connsiteX91" fmla="*/ 1250558 w 2051041"/>
              <a:gd name="connsiteY91" fmla="*/ 1758774 h 2084191"/>
              <a:gd name="connsiteX92" fmla="*/ 1233688 w 2051041"/>
              <a:gd name="connsiteY92" fmla="*/ 1775099 h 2084191"/>
              <a:gd name="connsiteX93" fmla="*/ 1217907 w 2051041"/>
              <a:gd name="connsiteY93" fmla="*/ 1759318 h 2084191"/>
              <a:gd name="connsiteX94" fmla="*/ 1233688 w 2051041"/>
              <a:gd name="connsiteY94" fmla="*/ 1742449 h 2084191"/>
              <a:gd name="connsiteX95" fmla="*/ 1399662 w 2051041"/>
              <a:gd name="connsiteY95" fmla="*/ 1739728 h 2084191"/>
              <a:gd name="connsiteX96" fmla="*/ 1417076 w 2051041"/>
              <a:gd name="connsiteY96" fmla="*/ 1760407 h 2084191"/>
              <a:gd name="connsiteX97" fmla="*/ 1396941 w 2051041"/>
              <a:gd name="connsiteY97" fmla="*/ 1779453 h 2084191"/>
              <a:gd name="connsiteX98" fmla="*/ 1377895 w 2051041"/>
              <a:gd name="connsiteY98" fmla="*/ 1757686 h 2084191"/>
              <a:gd name="connsiteX99" fmla="*/ 1399662 w 2051041"/>
              <a:gd name="connsiteY99" fmla="*/ 1739728 h 2084191"/>
              <a:gd name="connsiteX100" fmla="*/ 1723991 w 2051041"/>
              <a:gd name="connsiteY100" fmla="*/ 1735919 h 2084191"/>
              <a:gd name="connsiteX101" fmla="*/ 1746847 w 2051041"/>
              <a:gd name="connsiteY101" fmla="*/ 1758774 h 2084191"/>
              <a:gd name="connsiteX102" fmla="*/ 1723991 w 2051041"/>
              <a:gd name="connsiteY102" fmla="*/ 1781086 h 2084191"/>
              <a:gd name="connsiteX103" fmla="*/ 1701680 w 2051041"/>
              <a:gd name="connsiteY103" fmla="*/ 1758774 h 2084191"/>
              <a:gd name="connsiteX104" fmla="*/ 1723991 w 2051041"/>
              <a:gd name="connsiteY104" fmla="*/ 1735919 h 2084191"/>
              <a:gd name="connsiteX105" fmla="*/ 1560194 w 2051041"/>
              <a:gd name="connsiteY105" fmla="*/ 1735919 h 2084191"/>
              <a:gd name="connsiteX106" fmla="*/ 1582505 w 2051041"/>
              <a:gd name="connsiteY106" fmla="*/ 1758230 h 2084191"/>
              <a:gd name="connsiteX107" fmla="*/ 1560738 w 2051041"/>
              <a:gd name="connsiteY107" fmla="*/ 1779997 h 2084191"/>
              <a:gd name="connsiteX108" fmla="*/ 1538427 w 2051041"/>
              <a:gd name="connsiteY108" fmla="*/ 1758230 h 2084191"/>
              <a:gd name="connsiteX109" fmla="*/ 1560194 w 2051041"/>
              <a:gd name="connsiteY109" fmla="*/ 1735919 h 2084191"/>
              <a:gd name="connsiteX110" fmla="*/ 2051041 w 2051041"/>
              <a:gd name="connsiteY110" fmla="*/ 1734831 h 2084191"/>
              <a:gd name="connsiteX111" fmla="*/ 2051041 w 2051041"/>
              <a:gd name="connsiteY111" fmla="*/ 1781438 h 2084191"/>
              <a:gd name="connsiteX112" fmla="*/ 2050496 w 2051041"/>
              <a:gd name="connsiteY112" fmla="*/ 1781630 h 2084191"/>
              <a:gd name="connsiteX113" fmla="*/ 2027097 w 2051041"/>
              <a:gd name="connsiteY113" fmla="*/ 1758775 h 2084191"/>
              <a:gd name="connsiteX114" fmla="*/ 2051041 w 2051041"/>
              <a:gd name="connsiteY114" fmla="*/ 1734831 h 2084191"/>
              <a:gd name="connsiteX115" fmla="*/ 1887788 w 2051041"/>
              <a:gd name="connsiteY115" fmla="*/ 1734831 h 2084191"/>
              <a:gd name="connsiteX116" fmla="*/ 1910099 w 2051041"/>
              <a:gd name="connsiteY116" fmla="*/ 1758775 h 2084191"/>
              <a:gd name="connsiteX117" fmla="*/ 1886699 w 2051041"/>
              <a:gd name="connsiteY117" fmla="*/ 1781086 h 2084191"/>
              <a:gd name="connsiteX118" fmla="*/ 1863844 w 2051041"/>
              <a:gd name="connsiteY118" fmla="*/ 1757687 h 2084191"/>
              <a:gd name="connsiteX119" fmla="*/ 1887788 w 2051041"/>
              <a:gd name="connsiteY119" fmla="*/ 1734831 h 2084191"/>
              <a:gd name="connsiteX120" fmla="*/ 826100 w 2051041"/>
              <a:gd name="connsiteY120" fmla="*/ 1671706 h 2084191"/>
              <a:gd name="connsiteX121" fmla="*/ 832086 w 2051041"/>
              <a:gd name="connsiteY121" fmla="*/ 1677692 h 2084191"/>
              <a:gd name="connsiteX122" fmla="*/ 825556 w 2051041"/>
              <a:gd name="connsiteY122" fmla="*/ 1683134 h 2084191"/>
              <a:gd name="connsiteX123" fmla="*/ 820658 w 2051041"/>
              <a:gd name="connsiteY123" fmla="*/ 1676603 h 2084191"/>
              <a:gd name="connsiteX124" fmla="*/ 826100 w 2051041"/>
              <a:gd name="connsiteY124" fmla="*/ 1671706 h 2084191"/>
              <a:gd name="connsiteX125" fmla="*/ 989354 w 2051041"/>
              <a:gd name="connsiteY125" fmla="*/ 1661912 h 2084191"/>
              <a:gd name="connsiteX126" fmla="*/ 1004046 w 2051041"/>
              <a:gd name="connsiteY126" fmla="*/ 1676604 h 2084191"/>
              <a:gd name="connsiteX127" fmla="*/ 989354 w 2051041"/>
              <a:gd name="connsiteY127" fmla="*/ 1690209 h 2084191"/>
              <a:gd name="connsiteX128" fmla="*/ 975205 w 2051041"/>
              <a:gd name="connsiteY128" fmla="*/ 1677693 h 2084191"/>
              <a:gd name="connsiteX129" fmla="*/ 989354 w 2051041"/>
              <a:gd name="connsiteY129" fmla="*/ 1661912 h 2084191"/>
              <a:gd name="connsiteX130" fmla="*/ 1153151 w 2051041"/>
              <a:gd name="connsiteY130" fmla="*/ 1659734 h 2084191"/>
              <a:gd name="connsiteX131" fmla="*/ 1170564 w 2051041"/>
              <a:gd name="connsiteY131" fmla="*/ 1677692 h 2084191"/>
              <a:gd name="connsiteX132" fmla="*/ 1152062 w 2051041"/>
              <a:gd name="connsiteY132" fmla="*/ 1694562 h 2084191"/>
              <a:gd name="connsiteX133" fmla="*/ 1135737 w 2051041"/>
              <a:gd name="connsiteY133" fmla="*/ 1677148 h 2084191"/>
              <a:gd name="connsiteX134" fmla="*/ 1153151 w 2051041"/>
              <a:gd name="connsiteY134" fmla="*/ 1659734 h 2084191"/>
              <a:gd name="connsiteX135" fmla="*/ 1315315 w 2051041"/>
              <a:gd name="connsiteY135" fmla="*/ 1655381 h 2084191"/>
              <a:gd name="connsiteX136" fmla="*/ 1337082 w 2051041"/>
              <a:gd name="connsiteY136" fmla="*/ 1676603 h 2084191"/>
              <a:gd name="connsiteX137" fmla="*/ 1315315 w 2051041"/>
              <a:gd name="connsiteY137" fmla="*/ 1698915 h 2084191"/>
              <a:gd name="connsiteX138" fmla="*/ 1294092 w 2051041"/>
              <a:gd name="connsiteY138" fmla="*/ 1677148 h 2084191"/>
              <a:gd name="connsiteX139" fmla="*/ 1315315 w 2051041"/>
              <a:gd name="connsiteY139" fmla="*/ 1655381 h 2084191"/>
              <a:gd name="connsiteX140" fmla="*/ 1479111 w 2051041"/>
              <a:gd name="connsiteY140" fmla="*/ 1654293 h 2084191"/>
              <a:gd name="connsiteX141" fmla="*/ 1501967 w 2051041"/>
              <a:gd name="connsiteY141" fmla="*/ 1677692 h 2084191"/>
              <a:gd name="connsiteX142" fmla="*/ 1479111 w 2051041"/>
              <a:gd name="connsiteY142" fmla="*/ 1700548 h 2084191"/>
              <a:gd name="connsiteX143" fmla="*/ 1455712 w 2051041"/>
              <a:gd name="connsiteY143" fmla="*/ 1676604 h 2084191"/>
              <a:gd name="connsiteX144" fmla="*/ 1479111 w 2051041"/>
              <a:gd name="connsiteY144" fmla="*/ 1654293 h 2084191"/>
              <a:gd name="connsiteX145" fmla="*/ 1643452 w 2051041"/>
              <a:gd name="connsiteY145" fmla="*/ 1650483 h 2084191"/>
              <a:gd name="connsiteX146" fmla="*/ 1668484 w 2051041"/>
              <a:gd name="connsiteY146" fmla="*/ 1676603 h 2084191"/>
              <a:gd name="connsiteX147" fmla="*/ 1643452 w 2051041"/>
              <a:gd name="connsiteY147" fmla="*/ 1703268 h 2084191"/>
              <a:gd name="connsiteX148" fmla="*/ 1617332 w 2051041"/>
              <a:gd name="connsiteY148" fmla="*/ 1677692 h 2084191"/>
              <a:gd name="connsiteX149" fmla="*/ 1643452 w 2051041"/>
              <a:gd name="connsiteY149" fmla="*/ 1650483 h 2084191"/>
              <a:gd name="connsiteX150" fmla="*/ 1968326 w 2051041"/>
              <a:gd name="connsiteY150" fmla="*/ 1649940 h 2084191"/>
              <a:gd name="connsiteX151" fmla="*/ 1995535 w 2051041"/>
              <a:gd name="connsiteY151" fmla="*/ 1676604 h 2084191"/>
              <a:gd name="connsiteX152" fmla="*/ 1968870 w 2051041"/>
              <a:gd name="connsiteY152" fmla="*/ 1704357 h 2084191"/>
              <a:gd name="connsiteX153" fmla="*/ 1941661 w 2051041"/>
              <a:gd name="connsiteY153" fmla="*/ 1677148 h 2084191"/>
              <a:gd name="connsiteX154" fmla="*/ 1968326 w 2051041"/>
              <a:gd name="connsiteY154" fmla="*/ 1649940 h 2084191"/>
              <a:gd name="connsiteX155" fmla="*/ 1805617 w 2051041"/>
              <a:gd name="connsiteY155" fmla="*/ 1649939 h 2084191"/>
              <a:gd name="connsiteX156" fmla="*/ 1832826 w 2051041"/>
              <a:gd name="connsiteY156" fmla="*/ 1677148 h 2084191"/>
              <a:gd name="connsiteX157" fmla="*/ 1805073 w 2051041"/>
              <a:gd name="connsiteY157" fmla="*/ 1704357 h 2084191"/>
              <a:gd name="connsiteX158" fmla="*/ 1778409 w 2051041"/>
              <a:gd name="connsiteY158" fmla="*/ 1677148 h 2084191"/>
              <a:gd name="connsiteX159" fmla="*/ 1805617 w 2051041"/>
              <a:gd name="connsiteY159" fmla="*/ 1649939 h 2084191"/>
              <a:gd name="connsiteX160" fmla="*/ 744474 w 2051041"/>
              <a:gd name="connsiteY160" fmla="*/ 1588992 h 2084191"/>
              <a:gd name="connsiteX161" fmla="*/ 751004 w 2051041"/>
              <a:gd name="connsiteY161" fmla="*/ 1594978 h 2084191"/>
              <a:gd name="connsiteX162" fmla="*/ 745562 w 2051041"/>
              <a:gd name="connsiteY162" fmla="*/ 1602052 h 2084191"/>
              <a:gd name="connsiteX163" fmla="*/ 738488 w 2051041"/>
              <a:gd name="connsiteY163" fmla="*/ 1594978 h 2084191"/>
              <a:gd name="connsiteX164" fmla="*/ 744474 w 2051041"/>
              <a:gd name="connsiteY164" fmla="*/ 1588992 h 2084191"/>
              <a:gd name="connsiteX165" fmla="*/ 907183 w 2051041"/>
              <a:gd name="connsiteY165" fmla="*/ 1579741 h 2084191"/>
              <a:gd name="connsiteX166" fmla="*/ 923508 w 2051041"/>
              <a:gd name="connsiteY166" fmla="*/ 1594978 h 2084191"/>
              <a:gd name="connsiteX167" fmla="*/ 908815 w 2051041"/>
              <a:gd name="connsiteY167" fmla="*/ 1610759 h 2084191"/>
              <a:gd name="connsiteX168" fmla="*/ 892490 w 2051041"/>
              <a:gd name="connsiteY168" fmla="*/ 1595522 h 2084191"/>
              <a:gd name="connsiteX169" fmla="*/ 907183 w 2051041"/>
              <a:gd name="connsiteY169" fmla="*/ 1579741 h 2084191"/>
              <a:gd name="connsiteX170" fmla="*/ 1071524 w 2051041"/>
              <a:gd name="connsiteY170" fmla="*/ 1574843 h 2084191"/>
              <a:gd name="connsiteX171" fmla="*/ 1091114 w 2051041"/>
              <a:gd name="connsiteY171" fmla="*/ 1595522 h 2084191"/>
              <a:gd name="connsiteX172" fmla="*/ 1070980 w 2051041"/>
              <a:gd name="connsiteY172" fmla="*/ 1615656 h 2084191"/>
              <a:gd name="connsiteX173" fmla="*/ 1050301 w 2051041"/>
              <a:gd name="connsiteY173" fmla="*/ 1595522 h 2084191"/>
              <a:gd name="connsiteX174" fmla="*/ 1071524 w 2051041"/>
              <a:gd name="connsiteY174" fmla="*/ 1574843 h 2084191"/>
              <a:gd name="connsiteX175" fmla="*/ 1233688 w 2051041"/>
              <a:gd name="connsiteY175" fmla="*/ 1573210 h 2084191"/>
              <a:gd name="connsiteX176" fmla="*/ 1256544 w 2051041"/>
              <a:gd name="connsiteY176" fmla="*/ 1595522 h 2084191"/>
              <a:gd name="connsiteX177" fmla="*/ 1233688 w 2051041"/>
              <a:gd name="connsiteY177" fmla="*/ 1618377 h 2084191"/>
              <a:gd name="connsiteX178" fmla="*/ 1211377 w 2051041"/>
              <a:gd name="connsiteY178" fmla="*/ 1596610 h 2084191"/>
              <a:gd name="connsiteX179" fmla="*/ 1233688 w 2051041"/>
              <a:gd name="connsiteY179" fmla="*/ 1573210 h 2084191"/>
              <a:gd name="connsiteX180" fmla="*/ 1398030 w 2051041"/>
              <a:gd name="connsiteY180" fmla="*/ 1569402 h 2084191"/>
              <a:gd name="connsiteX181" fmla="*/ 1423062 w 2051041"/>
              <a:gd name="connsiteY181" fmla="*/ 1595522 h 2084191"/>
              <a:gd name="connsiteX182" fmla="*/ 1397485 w 2051041"/>
              <a:gd name="connsiteY182" fmla="*/ 1621099 h 2084191"/>
              <a:gd name="connsiteX183" fmla="*/ 1371365 w 2051041"/>
              <a:gd name="connsiteY183" fmla="*/ 1595522 h 2084191"/>
              <a:gd name="connsiteX184" fmla="*/ 1398030 w 2051041"/>
              <a:gd name="connsiteY184" fmla="*/ 1569402 h 2084191"/>
              <a:gd name="connsiteX185" fmla="*/ 1560194 w 2051041"/>
              <a:gd name="connsiteY185" fmla="*/ 1568313 h 2084191"/>
              <a:gd name="connsiteX186" fmla="*/ 1587947 w 2051041"/>
              <a:gd name="connsiteY186" fmla="*/ 1594433 h 2084191"/>
              <a:gd name="connsiteX187" fmla="*/ 1560194 w 2051041"/>
              <a:gd name="connsiteY187" fmla="*/ 1622730 h 2084191"/>
              <a:gd name="connsiteX188" fmla="*/ 1532985 w 2051041"/>
              <a:gd name="connsiteY188" fmla="*/ 1594977 h 2084191"/>
              <a:gd name="connsiteX189" fmla="*/ 1560194 w 2051041"/>
              <a:gd name="connsiteY189" fmla="*/ 1568313 h 2084191"/>
              <a:gd name="connsiteX190" fmla="*/ 1887244 w 2051041"/>
              <a:gd name="connsiteY190" fmla="*/ 1567225 h 2084191"/>
              <a:gd name="connsiteX191" fmla="*/ 1915541 w 2051041"/>
              <a:gd name="connsiteY191" fmla="*/ 1594978 h 2084191"/>
              <a:gd name="connsiteX192" fmla="*/ 1886699 w 2051041"/>
              <a:gd name="connsiteY192" fmla="*/ 1623819 h 2084191"/>
              <a:gd name="connsiteX193" fmla="*/ 1858947 w 2051041"/>
              <a:gd name="connsiteY193" fmla="*/ 1594978 h 2084191"/>
              <a:gd name="connsiteX194" fmla="*/ 1887244 w 2051041"/>
              <a:gd name="connsiteY194" fmla="*/ 1567225 h 2084191"/>
              <a:gd name="connsiteX195" fmla="*/ 1724535 w 2051041"/>
              <a:gd name="connsiteY195" fmla="*/ 1567225 h 2084191"/>
              <a:gd name="connsiteX196" fmla="*/ 1752288 w 2051041"/>
              <a:gd name="connsiteY196" fmla="*/ 1594978 h 2084191"/>
              <a:gd name="connsiteX197" fmla="*/ 1724535 w 2051041"/>
              <a:gd name="connsiteY197" fmla="*/ 1623275 h 2084191"/>
              <a:gd name="connsiteX198" fmla="*/ 1696238 w 2051041"/>
              <a:gd name="connsiteY198" fmla="*/ 1594978 h 2084191"/>
              <a:gd name="connsiteX199" fmla="*/ 1724535 w 2051041"/>
              <a:gd name="connsiteY199" fmla="*/ 1567225 h 2084191"/>
              <a:gd name="connsiteX200" fmla="*/ 2050496 w 2051041"/>
              <a:gd name="connsiteY200" fmla="*/ 1566680 h 2084191"/>
              <a:gd name="connsiteX201" fmla="*/ 2051041 w 2051041"/>
              <a:gd name="connsiteY201" fmla="*/ 1566888 h 2084191"/>
              <a:gd name="connsiteX202" fmla="*/ 2051041 w 2051041"/>
              <a:gd name="connsiteY202" fmla="*/ 1623794 h 2084191"/>
              <a:gd name="connsiteX203" fmla="*/ 2049408 w 2051041"/>
              <a:gd name="connsiteY203" fmla="*/ 1624363 h 2084191"/>
              <a:gd name="connsiteX204" fmla="*/ 2021655 w 2051041"/>
              <a:gd name="connsiteY204" fmla="*/ 1594977 h 2084191"/>
              <a:gd name="connsiteX205" fmla="*/ 2050496 w 2051041"/>
              <a:gd name="connsiteY205" fmla="*/ 1566680 h 2084191"/>
              <a:gd name="connsiteX206" fmla="*/ 663392 w 2051041"/>
              <a:gd name="connsiteY206" fmla="*/ 1505188 h 2084191"/>
              <a:gd name="connsiteX207" fmla="*/ 674819 w 2051041"/>
              <a:gd name="connsiteY207" fmla="*/ 1513895 h 2084191"/>
              <a:gd name="connsiteX208" fmla="*/ 662848 w 2051041"/>
              <a:gd name="connsiteY208" fmla="*/ 1522058 h 2084191"/>
              <a:gd name="connsiteX209" fmla="*/ 654685 w 2051041"/>
              <a:gd name="connsiteY209" fmla="*/ 1513351 h 2084191"/>
              <a:gd name="connsiteX210" fmla="*/ 663392 w 2051041"/>
              <a:gd name="connsiteY210" fmla="*/ 1505188 h 2084191"/>
              <a:gd name="connsiteX211" fmla="*/ 826101 w 2051041"/>
              <a:gd name="connsiteY211" fmla="*/ 1497570 h 2084191"/>
              <a:gd name="connsiteX212" fmla="*/ 842970 w 2051041"/>
              <a:gd name="connsiteY212" fmla="*/ 1513351 h 2084191"/>
              <a:gd name="connsiteX213" fmla="*/ 826645 w 2051041"/>
              <a:gd name="connsiteY213" fmla="*/ 1529676 h 2084191"/>
              <a:gd name="connsiteX214" fmla="*/ 810319 w 2051041"/>
              <a:gd name="connsiteY214" fmla="*/ 1514983 h 2084191"/>
              <a:gd name="connsiteX215" fmla="*/ 826101 w 2051041"/>
              <a:gd name="connsiteY215" fmla="*/ 1497570 h 2084191"/>
              <a:gd name="connsiteX216" fmla="*/ 988265 w 2051041"/>
              <a:gd name="connsiteY216" fmla="*/ 1492128 h 2084191"/>
              <a:gd name="connsiteX217" fmla="*/ 1010577 w 2051041"/>
              <a:gd name="connsiteY217" fmla="*/ 1513351 h 2084191"/>
              <a:gd name="connsiteX218" fmla="*/ 989354 w 2051041"/>
              <a:gd name="connsiteY218" fmla="*/ 1534574 h 2084191"/>
              <a:gd name="connsiteX219" fmla="*/ 968131 w 2051041"/>
              <a:gd name="connsiteY219" fmla="*/ 1513895 h 2084191"/>
              <a:gd name="connsiteX220" fmla="*/ 988265 w 2051041"/>
              <a:gd name="connsiteY220" fmla="*/ 1492128 h 2084191"/>
              <a:gd name="connsiteX221" fmla="*/ 1152606 w 2051041"/>
              <a:gd name="connsiteY221" fmla="*/ 1490496 h 2084191"/>
              <a:gd name="connsiteX222" fmla="*/ 1176006 w 2051041"/>
              <a:gd name="connsiteY222" fmla="*/ 1513351 h 2084191"/>
              <a:gd name="connsiteX223" fmla="*/ 1152606 w 2051041"/>
              <a:gd name="connsiteY223" fmla="*/ 1537839 h 2084191"/>
              <a:gd name="connsiteX224" fmla="*/ 1129207 w 2051041"/>
              <a:gd name="connsiteY224" fmla="*/ 1514984 h 2084191"/>
              <a:gd name="connsiteX225" fmla="*/ 1152606 w 2051041"/>
              <a:gd name="connsiteY225" fmla="*/ 1490496 h 2084191"/>
              <a:gd name="connsiteX226" fmla="*/ 1316403 w 2051041"/>
              <a:gd name="connsiteY226" fmla="*/ 1487231 h 2084191"/>
              <a:gd name="connsiteX227" fmla="*/ 1342523 w 2051041"/>
              <a:gd name="connsiteY227" fmla="*/ 1513896 h 2084191"/>
              <a:gd name="connsiteX228" fmla="*/ 1315314 w 2051041"/>
              <a:gd name="connsiteY228" fmla="*/ 1540560 h 2084191"/>
              <a:gd name="connsiteX229" fmla="*/ 1288650 w 2051041"/>
              <a:gd name="connsiteY229" fmla="*/ 1513896 h 2084191"/>
              <a:gd name="connsiteX230" fmla="*/ 1316403 w 2051041"/>
              <a:gd name="connsiteY230" fmla="*/ 1487231 h 2084191"/>
              <a:gd name="connsiteX231" fmla="*/ 1479656 w 2051041"/>
              <a:gd name="connsiteY231" fmla="*/ 1485054 h 2084191"/>
              <a:gd name="connsiteX232" fmla="*/ 1507409 w 2051041"/>
              <a:gd name="connsiteY232" fmla="*/ 1513895 h 2084191"/>
              <a:gd name="connsiteX233" fmla="*/ 1479112 w 2051041"/>
              <a:gd name="connsiteY233" fmla="*/ 1541648 h 2084191"/>
              <a:gd name="connsiteX234" fmla="*/ 1451359 w 2051041"/>
              <a:gd name="connsiteY234" fmla="*/ 1513351 h 2084191"/>
              <a:gd name="connsiteX235" fmla="*/ 1479656 w 2051041"/>
              <a:gd name="connsiteY235" fmla="*/ 1485054 h 2084191"/>
              <a:gd name="connsiteX236" fmla="*/ 1641820 w 2051041"/>
              <a:gd name="connsiteY236" fmla="*/ 1482334 h 2084191"/>
              <a:gd name="connsiteX237" fmla="*/ 1673382 w 2051041"/>
              <a:gd name="connsiteY237" fmla="*/ 1512807 h 2084191"/>
              <a:gd name="connsiteX238" fmla="*/ 1642909 w 2051041"/>
              <a:gd name="connsiteY238" fmla="*/ 1544370 h 2084191"/>
              <a:gd name="connsiteX239" fmla="*/ 1612435 w 2051041"/>
              <a:gd name="connsiteY239" fmla="*/ 1513351 h 2084191"/>
              <a:gd name="connsiteX240" fmla="*/ 1641820 w 2051041"/>
              <a:gd name="connsiteY240" fmla="*/ 1482334 h 2084191"/>
              <a:gd name="connsiteX241" fmla="*/ 1804529 w 2051041"/>
              <a:gd name="connsiteY241" fmla="*/ 1481788 h 2084191"/>
              <a:gd name="connsiteX242" fmla="*/ 1837180 w 2051041"/>
              <a:gd name="connsiteY242" fmla="*/ 1513351 h 2084191"/>
              <a:gd name="connsiteX243" fmla="*/ 1805617 w 2051041"/>
              <a:gd name="connsiteY243" fmla="*/ 1545457 h 2084191"/>
              <a:gd name="connsiteX244" fmla="*/ 1773511 w 2051041"/>
              <a:gd name="connsiteY244" fmla="*/ 1514983 h 2084191"/>
              <a:gd name="connsiteX245" fmla="*/ 1804529 w 2051041"/>
              <a:gd name="connsiteY245" fmla="*/ 1481788 h 2084191"/>
              <a:gd name="connsiteX246" fmla="*/ 1968870 w 2051041"/>
              <a:gd name="connsiteY246" fmla="*/ 1480700 h 2084191"/>
              <a:gd name="connsiteX247" fmla="*/ 2000977 w 2051041"/>
              <a:gd name="connsiteY247" fmla="*/ 1513351 h 2084191"/>
              <a:gd name="connsiteX248" fmla="*/ 1968870 w 2051041"/>
              <a:gd name="connsiteY248" fmla="*/ 1545457 h 2084191"/>
              <a:gd name="connsiteX249" fmla="*/ 1936764 w 2051041"/>
              <a:gd name="connsiteY249" fmla="*/ 1513351 h 2084191"/>
              <a:gd name="connsiteX250" fmla="*/ 1968870 w 2051041"/>
              <a:gd name="connsiteY250" fmla="*/ 1480700 h 2084191"/>
              <a:gd name="connsiteX251" fmla="*/ 581221 w 2051041"/>
              <a:gd name="connsiteY251" fmla="*/ 1423562 h 2084191"/>
              <a:gd name="connsiteX252" fmla="*/ 588840 w 2051041"/>
              <a:gd name="connsiteY252" fmla="*/ 1431725 h 2084191"/>
              <a:gd name="connsiteX253" fmla="*/ 581765 w 2051041"/>
              <a:gd name="connsiteY253" fmla="*/ 1443153 h 2084191"/>
              <a:gd name="connsiteX254" fmla="*/ 573059 w 2051041"/>
              <a:gd name="connsiteY254" fmla="*/ 1432813 h 2084191"/>
              <a:gd name="connsiteX255" fmla="*/ 581221 w 2051041"/>
              <a:gd name="connsiteY255" fmla="*/ 1423562 h 2084191"/>
              <a:gd name="connsiteX256" fmla="*/ 745562 w 2051041"/>
              <a:gd name="connsiteY256" fmla="*/ 1414855 h 2084191"/>
              <a:gd name="connsiteX257" fmla="*/ 761344 w 2051041"/>
              <a:gd name="connsiteY257" fmla="*/ 1432269 h 2084191"/>
              <a:gd name="connsiteX258" fmla="*/ 745018 w 2051041"/>
              <a:gd name="connsiteY258" fmla="*/ 1448050 h 2084191"/>
              <a:gd name="connsiteX259" fmla="*/ 728693 w 2051041"/>
              <a:gd name="connsiteY259" fmla="*/ 1431725 h 2084191"/>
              <a:gd name="connsiteX260" fmla="*/ 745562 w 2051041"/>
              <a:gd name="connsiteY260" fmla="*/ 1414855 h 2084191"/>
              <a:gd name="connsiteX261" fmla="*/ 908815 w 2051041"/>
              <a:gd name="connsiteY261" fmla="*/ 1409958 h 2084191"/>
              <a:gd name="connsiteX262" fmla="*/ 930038 w 2051041"/>
              <a:gd name="connsiteY262" fmla="*/ 1431725 h 2084191"/>
              <a:gd name="connsiteX263" fmla="*/ 907183 w 2051041"/>
              <a:gd name="connsiteY263" fmla="*/ 1453492 h 2084191"/>
              <a:gd name="connsiteX264" fmla="*/ 885960 w 2051041"/>
              <a:gd name="connsiteY264" fmla="*/ 1431725 h 2084191"/>
              <a:gd name="connsiteX265" fmla="*/ 908815 w 2051041"/>
              <a:gd name="connsiteY265" fmla="*/ 1409958 h 2084191"/>
              <a:gd name="connsiteX266" fmla="*/ 1070436 w 2051041"/>
              <a:gd name="connsiteY266" fmla="*/ 1406693 h 2084191"/>
              <a:gd name="connsiteX267" fmla="*/ 1096012 w 2051041"/>
              <a:gd name="connsiteY267" fmla="*/ 1432269 h 2084191"/>
              <a:gd name="connsiteX268" fmla="*/ 1070436 w 2051041"/>
              <a:gd name="connsiteY268" fmla="*/ 1457846 h 2084191"/>
              <a:gd name="connsiteX269" fmla="*/ 1045404 w 2051041"/>
              <a:gd name="connsiteY269" fmla="*/ 1431181 h 2084191"/>
              <a:gd name="connsiteX270" fmla="*/ 1070436 w 2051041"/>
              <a:gd name="connsiteY270" fmla="*/ 1406693 h 2084191"/>
              <a:gd name="connsiteX271" fmla="*/ 1235865 w 2051041"/>
              <a:gd name="connsiteY271" fmla="*/ 1404516 h 2084191"/>
              <a:gd name="connsiteX272" fmla="*/ 1261986 w 2051041"/>
              <a:gd name="connsiteY272" fmla="*/ 1433358 h 2084191"/>
              <a:gd name="connsiteX273" fmla="*/ 1233689 w 2051041"/>
              <a:gd name="connsiteY273" fmla="*/ 1459478 h 2084191"/>
              <a:gd name="connsiteX274" fmla="*/ 1206480 w 2051041"/>
              <a:gd name="connsiteY274" fmla="*/ 1432269 h 2084191"/>
              <a:gd name="connsiteX275" fmla="*/ 1235865 w 2051041"/>
              <a:gd name="connsiteY275" fmla="*/ 1404516 h 2084191"/>
              <a:gd name="connsiteX276" fmla="*/ 1397485 w 2051041"/>
              <a:gd name="connsiteY276" fmla="*/ 1400162 h 2084191"/>
              <a:gd name="connsiteX277" fmla="*/ 1427959 w 2051041"/>
              <a:gd name="connsiteY277" fmla="*/ 1431724 h 2084191"/>
              <a:gd name="connsiteX278" fmla="*/ 1398029 w 2051041"/>
              <a:gd name="connsiteY278" fmla="*/ 1463287 h 2084191"/>
              <a:gd name="connsiteX279" fmla="*/ 1366467 w 2051041"/>
              <a:gd name="connsiteY279" fmla="*/ 1432813 h 2084191"/>
              <a:gd name="connsiteX280" fmla="*/ 1397485 w 2051041"/>
              <a:gd name="connsiteY280" fmla="*/ 1400162 h 2084191"/>
              <a:gd name="connsiteX281" fmla="*/ 1561282 w 2051041"/>
              <a:gd name="connsiteY281" fmla="*/ 1399618 h 2084191"/>
              <a:gd name="connsiteX282" fmla="*/ 1593388 w 2051041"/>
              <a:gd name="connsiteY282" fmla="*/ 1432269 h 2084191"/>
              <a:gd name="connsiteX283" fmla="*/ 1560738 w 2051041"/>
              <a:gd name="connsiteY283" fmla="*/ 1464375 h 2084191"/>
              <a:gd name="connsiteX284" fmla="*/ 1528631 w 2051041"/>
              <a:gd name="connsiteY284" fmla="*/ 1432813 h 2084191"/>
              <a:gd name="connsiteX285" fmla="*/ 1561282 w 2051041"/>
              <a:gd name="connsiteY285" fmla="*/ 1399618 h 2084191"/>
              <a:gd name="connsiteX286" fmla="*/ 1723446 w 2051041"/>
              <a:gd name="connsiteY286" fmla="*/ 1399074 h 2084191"/>
              <a:gd name="connsiteX287" fmla="*/ 1757185 w 2051041"/>
              <a:gd name="connsiteY287" fmla="*/ 1432269 h 2084191"/>
              <a:gd name="connsiteX288" fmla="*/ 1723991 w 2051041"/>
              <a:gd name="connsiteY288" fmla="*/ 1465464 h 2084191"/>
              <a:gd name="connsiteX289" fmla="*/ 1691340 w 2051041"/>
              <a:gd name="connsiteY289" fmla="*/ 1433357 h 2084191"/>
              <a:gd name="connsiteX290" fmla="*/ 1723446 w 2051041"/>
              <a:gd name="connsiteY290" fmla="*/ 1399074 h 2084191"/>
              <a:gd name="connsiteX291" fmla="*/ 1886700 w 2051041"/>
              <a:gd name="connsiteY291" fmla="*/ 1398530 h 2084191"/>
              <a:gd name="connsiteX292" fmla="*/ 1920439 w 2051041"/>
              <a:gd name="connsiteY292" fmla="*/ 1432269 h 2084191"/>
              <a:gd name="connsiteX293" fmla="*/ 1887788 w 2051041"/>
              <a:gd name="connsiteY293" fmla="*/ 1464920 h 2084191"/>
              <a:gd name="connsiteX294" fmla="*/ 1854049 w 2051041"/>
              <a:gd name="connsiteY294" fmla="*/ 1433358 h 2084191"/>
              <a:gd name="connsiteX295" fmla="*/ 1886700 w 2051041"/>
              <a:gd name="connsiteY295" fmla="*/ 1398530 h 2084191"/>
              <a:gd name="connsiteX296" fmla="*/ 2051041 w 2051041"/>
              <a:gd name="connsiteY296" fmla="*/ 1398217 h 2084191"/>
              <a:gd name="connsiteX297" fmla="*/ 2051041 w 2051041"/>
              <a:gd name="connsiteY297" fmla="*/ 1464535 h 2084191"/>
              <a:gd name="connsiteX298" fmla="*/ 2049953 w 2051041"/>
              <a:gd name="connsiteY298" fmla="*/ 1464920 h 2084191"/>
              <a:gd name="connsiteX299" fmla="*/ 2017302 w 2051041"/>
              <a:gd name="connsiteY299" fmla="*/ 1431725 h 2084191"/>
              <a:gd name="connsiteX300" fmla="*/ 2027709 w 2051041"/>
              <a:gd name="connsiteY300" fmla="*/ 1408121 h 2084191"/>
              <a:gd name="connsiteX301" fmla="*/ 500139 w 2051041"/>
              <a:gd name="connsiteY301" fmla="*/ 1341936 h 2084191"/>
              <a:gd name="connsiteX302" fmla="*/ 511023 w 2051041"/>
              <a:gd name="connsiteY302" fmla="*/ 1350643 h 2084191"/>
              <a:gd name="connsiteX303" fmla="*/ 499595 w 2051041"/>
              <a:gd name="connsiteY303" fmla="*/ 1358261 h 2084191"/>
              <a:gd name="connsiteX304" fmla="*/ 491432 w 2051041"/>
              <a:gd name="connsiteY304" fmla="*/ 1349010 h 2084191"/>
              <a:gd name="connsiteX305" fmla="*/ 500139 w 2051041"/>
              <a:gd name="connsiteY305" fmla="*/ 1341936 h 2084191"/>
              <a:gd name="connsiteX306" fmla="*/ 662848 w 2051041"/>
              <a:gd name="connsiteY306" fmla="*/ 1333773 h 2084191"/>
              <a:gd name="connsiteX307" fmla="*/ 679173 w 2051041"/>
              <a:gd name="connsiteY307" fmla="*/ 1350643 h 2084191"/>
              <a:gd name="connsiteX308" fmla="*/ 662848 w 2051041"/>
              <a:gd name="connsiteY308" fmla="*/ 1366424 h 2084191"/>
              <a:gd name="connsiteX309" fmla="*/ 647067 w 2051041"/>
              <a:gd name="connsiteY309" fmla="*/ 1350098 h 2084191"/>
              <a:gd name="connsiteX310" fmla="*/ 662848 w 2051041"/>
              <a:gd name="connsiteY310" fmla="*/ 1333773 h 2084191"/>
              <a:gd name="connsiteX311" fmla="*/ 826645 w 2051041"/>
              <a:gd name="connsiteY311" fmla="*/ 1328331 h 2084191"/>
              <a:gd name="connsiteX312" fmla="*/ 847868 w 2051041"/>
              <a:gd name="connsiteY312" fmla="*/ 1350642 h 2084191"/>
              <a:gd name="connsiteX313" fmla="*/ 825556 w 2051041"/>
              <a:gd name="connsiteY313" fmla="*/ 1372409 h 2084191"/>
              <a:gd name="connsiteX314" fmla="*/ 804334 w 2051041"/>
              <a:gd name="connsiteY314" fmla="*/ 1349554 h 2084191"/>
              <a:gd name="connsiteX315" fmla="*/ 826645 w 2051041"/>
              <a:gd name="connsiteY315" fmla="*/ 1328331 h 2084191"/>
              <a:gd name="connsiteX316" fmla="*/ 989353 w 2051041"/>
              <a:gd name="connsiteY316" fmla="*/ 1323978 h 2084191"/>
              <a:gd name="connsiteX317" fmla="*/ 1015473 w 2051041"/>
              <a:gd name="connsiteY317" fmla="*/ 1350098 h 2084191"/>
              <a:gd name="connsiteX318" fmla="*/ 989353 w 2051041"/>
              <a:gd name="connsiteY318" fmla="*/ 1376763 h 2084191"/>
              <a:gd name="connsiteX319" fmla="*/ 963777 w 2051041"/>
              <a:gd name="connsiteY319" fmla="*/ 1350642 h 2084191"/>
              <a:gd name="connsiteX320" fmla="*/ 989353 w 2051041"/>
              <a:gd name="connsiteY320" fmla="*/ 1323978 h 2084191"/>
              <a:gd name="connsiteX321" fmla="*/ 1152606 w 2051041"/>
              <a:gd name="connsiteY321" fmla="*/ 1322889 h 2084191"/>
              <a:gd name="connsiteX322" fmla="*/ 1181447 w 2051041"/>
              <a:gd name="connsiteY322" fmla="*/ 1350098 h 2084191"/>
              <a:gd name="connsiteX323" fmla="*/ 1152606 w 2051041"/>
              <a:gd name="connsiteY323" fmla="*/ 1379483 h 2084191"/>
              <a:gd name="connsiteX324" fmla="*/ 1124853 w 2051041"/>
              <a:gd name="connsiteY324" fmla="*/ 1350642 h 2084191"/>
              <a:gd name="connsiteX325" fmla="*/ 1152606 w 2051041"/>
              <a:gd name="connsiteY325" fmla="*/ 1322889 h 2084191"/>
              <a:gd name="connsiteX326" fmla="*/ 1315315 w 2051041"/>
              <a:gd name="connsiteY326" fmla="*/ 1318536 h 2084191"/>
              <a:gd name="connsiteX327" fmla="*/ 1347966 w 2051041"/>
              <a:gd name="connsiteY327" fmla="*/ 1350098 h 2084191"/>
              <a:gd name="connsiteX328" fmla="*/ 1315315 w 2051041"/>
              <a:gd name="connsiteY328" fmla="*/ 1381661 h 2084191"/>
              <a:gd name="connsiteX329" fmla="*/ 1284297 w 2051041"/>
              <a:gd name="connsiteY329" fmla="*/ 1350098 h 2084191"/>
              <a:gd name="connsiteX330" fmla="*/ 1315315 w 2051041"/>
              <a:gd name="connsiteY330" fmla="*/ 1318536 h 2084191"/>
              <a:gd name="connsiteX331" fmla="*/ 1480744 w 2051041"/>
              <a:gd name="connsiteY331" fmla="*/ 1317448 h 2084191"/>
              <a:gd name="connsiteX332" fmla="*/ 1512306 w 2051041"/>
              <a:gd name="connsiteY332" fmla="*/ 1351731 h 2084191"/>
              <a:gd name="connsiteX333" fmla="*/ 1477479 w 2051041"/>
              <a:gd name="connsiteY333" fmla="*/ 1383293 h 2084191"/>
              <a:gd name="connsiteX334" fmla="*/ 1446461 w 2051041"/>
              <a:gd name="connsiteY334" fmla="*/ 1349554 h 2084191"/>
              <a:gd name="connsiteX335" fmla="*/ 1480744 w 2051041"/>
              <a:gd name="connsiteY335" fmla="*/ 1317448 h 2084191"/>
              <a:gd name="connsiteX336" fmla="*/ 1642908 w 2051041"/>
              <a:gd name="connsiteY336" fmla="*/ 1315815 h 2084191"/>
              <a:gd name="connsiteX337" fmla="*/ 1676647 w 2051041"/>
              <a:gd name="connsiteY337" fmla="*/ 1351731 h 2084191"/>
              <a:gd name="connsiteX338" fmla="*/ 1640732 w 2051041"/>
              <a:gd name="connsiteY338" fmla="*/ 1383837 h 2084191"/>
              <a:gd name="connsiteX339" fmla="*/ 1608081 w 2051041"/>
              <a:gd name="connsiteY339" fmla="*/ 1349554 h 2084191"/>
              <a:gd name="connsiteX340" fmla="*/ 1642908 w 2051041"/>
              <a:gd name="connsiteY340" fmla="*/ 1315815 h 2084191"/>
              <a:gd name="connsiteX341" fmla="*/ 1968870 w 2051041"/>
              <a:gd name="connsiteY341" fmla="*/ 1314183 h 2084191"/>
              <a:gd name="connsiteX342" fmla="*/ 2005329 w 2051041"/>
              <a:gd name="connsiteY342" fmla="*/ 1351187 h 2084191"/>
              <a:gd name="connsiteX343" fmla="*/ 1967781 w 2051041"/>
              <a:gd name="connsiteY343" fmla="*/ 1388191 h 2084191"/>
              <a:gd name="connsiteX344" fmla="*/ 1931866 w 2051041"/>
              <a:gd name="connsiteY344" fmla="*/ 1350098 h 2084191"/>
              <a:gd name="connsiteX345" fmla="*/ 1968870 w 2051041"/>
              <a:gd name="connsiteY345" fmla="*/ 1314183 h 2084191"/>
              <a:gd name="connsiteX346" fmla="*/ 1806161 w 2051041"/>
              <a:gd name="connsiteY346" fmla="*/ 1313639 h 2084191"/>
              <a:gd name="connsiteX347" fmla="*/ 1841533 w 2051041"/>
              <a:gd name="connsiteY347" fmla="*/ 1351187 h 2084191"/>
              <a:gd name="connsiteX348" fmla="*/ 1830105 w 2051041"/>
              <a:gd name="connsiteY348" fmla="*/ 1376763 h 2084191"/>
              <a:gd name="connsiteX349" fmla="*/ 1803984 w 2051041"/>
              <a:gd name="connsiteY349" fmla="*/ 1387102 h 2084191"/>
              <a:gd name="connsiteX350" fmla="*/ 1768613 w 2051041"/>
              <a:gd name="connsiteY350" fmla="*/ 1350098 h 2084191"/>
              <a:gd name="connsiteX351" fmla="*/ 1806161 w 2051041"/>
              <a:gd name="connsiteY351" fmla="*/ 1313639 h 2084191"/>
              <a:gd name="connsiteX352" fmla="*/ 419057 w 2051041"/>
              <a:gd name="connsiteY352" fmla="*/ 1262486 h 2084191"/>
              <a:gd name="connsiteX353" fmla="*/ 424499 w 2051041"/>
              <a:gd name="connsiteY353" fmla="*/ 1269016 h 2084191"/>
              <a:gd name="connsiteX354" fmla="*/ 417969 w 2051041"/>
              <a:gd name="connsiteY354" fmla="*/ 1278811 h 2084191"/>
              <a:gd name="connsiteX355" fmla="*/ 411983 w 2051041"/>
              <a:gd name="connsiteY355" fmla="*/ 1269016 h 2084191"/>
              <a:gd name="connsiteX356" fmla="*/ 419057 w 2051041"/>
              <a:gd name="connsiteY356" fmla="*/ 1262486 h 2084191"/>
              <a:gd name="connsiteX357" fmla="*/ 581221 w 2051041"/>
              <a:gd name="connsiteY357" fmla="*/ 1252147 h 2084191"/>
              <a:gd name="connsiteX358" fmla="*/ 597547 w 2051041"/>
              <a:gd name="connsiteY358" fmla="*/ 1269017 h 2084191"/>
              <a:gd name="connsiteX359" fmla="*/ 580133 w 2051041"/>
              <a:gd name="connsiteY359" fmla="*/ 1284254 h 2084191"/>
              <a:gd name="connsiteX360" fmla="*/ 564896 w 2051041"/>
              <a:gd name="connsiteY360" fmla="*/ 1268472 h 2084191"/>
              <a:gd name="connsiteX361" fmla="*/ 581221 w 2051041"/>
              <a:gd name="connsiteY361" fmla="*/ 1252147 h 2084191"/>
              <a:gd name="connsiteX362" fmla="*/ 745018 w 2051041"/>
              <a:gd name="connsiteY362" fmla="*/ 1246705 h 2084191"/>
              <a:gd name="connsiteX363" fmla="*/ 766241 w 2051041"/>
              <a:gd name="connsiteY363" fmla="*/ 1269560 h 2084191"/>
              <a:gd name="connsiteX364" fmla="*/ 744474 w 2051041"/>
              <a:gd name="connsiteY364" fmla="*/ 1290783 h 2084191"/>
              <a:gd name="connsiteX365" fmla="*/ 722707 w 2051041"/>
              <a:gd name="connsiteY365" fmla="*/ 1267928 h 2084191"/>
              <a:gd name="connsiteX366" fmla="*/ 745018 w 2051041"/>
              <a:gd name="connsiteY366" fmla="*/ 1246705 h 2084191"/>
              <a:gd name="connsiteX367" fmla="*/ 907727 w 2051041"/>
              <a:gd name="connsiteY367" fmla="*/ 1241807 h 2084191"/>
              <a:gd name="connsiteX368" fmla="*/ 933847 w 2051041"/>
              <a:gd name="connsiteY368" fmla="*/ 1269016 h 2084191"/>
              <a:gd name="connsiteX369" fmla="*/ 907183 w 2051041"/>
              <a:gd name="connsiteY369" fmla="*/ 1295136 h 2084191"/>
              <a:gd name="connsiteX370" fmla="*/ 880518 w 2051041"/>
              <a:gd name="connsiteY370" fmla="*/ 1267927 h 2084191"/>
              <a:gd name="connsiteX371" fmla="*/ 907727 w 2051041"/>
              <a:gd name="connsiteY371" fmla="*/ 1241807 h 2084191"/>
              <a:gd name="connsiteX372" fmla="*/ 1070979 w 2051041"/>
              <a:gd name="connsiteY372" fmla="*/ 1240719 h 2084191"/>
              <a:gd name="connsiteX373" fmla="*/ 1099821 w 2051041"/>
              <a:gd name="connsiteY373" fmla="*/ 1268472 h 2084191"/>
              <a:gd name="connsiteX374" fmla="*/ 1070435 w 2051041"/>
              <a:gd name="connsiteY374" fmla="*/ 1297858 h 2084191"/>
              <a:gd name="connsiteX375" fmla="*/ 1042138 w 2051041"/>
              <a:gd name="connsiteY375" fmla="*/ 1269560 h 2084191"/>
              <a:gd name="connsiteX376" fmla="*/ 1070979 w 2051041"/>
              <a:gd name="connsiteY376" fmla="*/ 1240719 h 2084191"/>
              <a:gd name="connsiteX377" fmla="*/ 1234233 w 2051041"/>
              <a:gd name="connsiteY377" fmla="*/ 1235821 h 2084191"/>
              <a:gd name="connsiteX378" fmla="*/ 1266883 w 2051041"/>
              <a:gd name="connsiteY378" fmla="*/ 1269016 h 2084191"/>
              <a:gd name="connsiteX379" fmla="*/ 1234233 w 2051041"/>
              <a:gd name="connsiteY379" fmla="*/ 1300578 h 2084191"/>
              <a:gd name="connsiteX380" fmla="*/ 1201582 w 2051041"/>
              <a:gd name="connsiteY380" fmla="*/ 1267383 h 2084191"/>
              <a:gd name="connsiteX381" fmla="*/ 1234233 w 2051041"/>
              <a:gd name="connsiteY381" fmla="*/ 1235821 h 2084191"/>
              <a:gd name="connsiteX382" fmla="*/ 1396397 w 2051041"/>
              <a:gd name="connsiteY382" fmla="*/ 1234733 h 2084191"/>
              <a:gd name="connsiteX383" fmla="*/ 1431224 w 2051041"/>
              <a:gd name="connsiteY383" fmla="*/ 1268472 h 2084191"/>
              <a:gd name="connsiteX384" fmla="*/ 1396941 w 2051041"/>
              <a:gd name="connsiteY384" fmla="*/ 1302755 h 2084191"/>
              <a:gd name="connsiteX385" fmla="*/ 1363746 w 2051041"/>
              <a:gd name="connsiteY385" fmla="*/ 1269016 h 2084191"/>
              <a:gd name="connsiteX386" fmla="*/ 1396397 w 2051041"/>
              <a:gd name="connsiteY386" fmla="*/ 1234733 h 2084191"/>
              <a:gd name="connsiteX387" fmla="*/ 1559649 w 2051041"/>
              <a:gd name="connsiteY387" fmla="*/ 1232557 h 2084191"/>
              <a:gd name="connsiteX388" fmla="*/ 1597742 w 2051041"/>
              <a:gd name="connsiteY388" fmla="*/ 1268472 h 2084191"/>
              <a:gd name="connsiteX389" fmla="*/ 1561826 w 2051041"/>
              <a:gd name="connsiteY389" fmla="*/ 1305476 h 2084191"/>
              <a:gd name="connsiteX390" fmla="*/ 1523734 w 2051041"/>
              <a:gd name="connsiteY390" fmla="*/ 1269561 h 2084191"/>
              <a:gd name="connsiteX391" fmla="*/ 1559649 w 2051041"/>
              <a:gd name="connsiteY391" fmla="*/ 1232557 h 2084191"/>
              <a:gd name="connsiteX392" fmla="*/ 1723990 w 2051041"/>
              <a:gd name="connsiteY392" fmla="*/ 1231468 h 2084191"/>
              <a:gd name="connsiteX393" fmla="*/ 1762083 w 2051041"/>
              <a:gd name="connsiteY393" fmla="*/ 1268472 h 2084191"/>
              <a:gd name="connsiteX394" fmla="*/ 1724535 w 2051041"/>
              <a:gd name="connsiteY394" fmla="*/ 1307109 h 2084191"/>
              <a:gd name="connsiteX395" fmla="*/ 1686442 w 2051041"/>
              <a:gd name="connsiteY395" fmla="*/ 1270105 h 2084191"/>
              <a:gd name="connsiteX396" fmla="*/ 1723990 w 2051041"/>
              <a:gd name="connsiteY396" fmla="*/ 1231468 h 2084191"/>
              <a:gd name="connsiteX397" fmla="*/ 1888332 w 2051041"/>
              <a:gd name="connsiteY397" fmla="*/ 1230924 h 2084191"/>
              <a:gd name="connsiteX398" fmla="*/ 1925336 w 2051041"/>
              <a:gd name="connsiteY398" fmla="*/ 1269561 h 2084191"/>
              <a:gd name="connsiteX399" fmla="*/ 1887243 w 2051041"/>
              <a:gd name="connsiteY399" fmla="*/ 1307653 h 2084191"/>
              <a:gd name="connsiteX400" fmla="*/ 1849151 w 2051041"/>
              <a:gd name="connsiteY400" fmla="*/ 1267928 h 2084191"/>
              <a:gd name="connsiteX401" fmla="*/ 1888332 w 2051041"/>
              <a:gd name="connsiteY401" fmla="*/ 1230924 h 2084191"/>
              <a:gd name="connsiteX402" fmla="*/ 2049952 w 2051041"/>
              <a:gd name="connsiteY402" fmla="*/ 1230380 h 2084191"/>
              <a:gd name="connsiteX403" fmla="*/ 2051041 w 2051041"/>
              <a:gd name="connsiteY403" fmla="*/ 1230805 h 2084191"/>
              <a:gd name="connsiteX404" fmla="*/ 2051041 w 2051041"/>
              <a:gd name="connsiteY404" fmla="*/ 1307109 h 2084191"/>
              <a:gd name="connsiteX405" fmla="*/ 2012404 w 2051041"/>
              <a:gd name="connsiteY405" fmla="*/ 1268472 h 2084191"/>
              <a:gd name="connsiteX406" fmla="*/ 2049952 w 2051041"/>
              <a:gd name="connsiteY406" fmla="*/ 1230380 h 2084191"/>
              <a:gd name="connsiteX407" fmla="*/ 337431 w 2051041"/>
              <a:gd name="connsiteY407" fmla="*/ 1181404 h 2084191"/>
              <a:gd name="connsiteX408" fmla="*/ 345050 w 2051041"/>
              <a:gd name="connsiteY408" fmla="*/ 1187934 h 2084191"/>
              <a:gd name="connsiteX409" fmla="*/ 336343 w 2051041"/>
              <a:gd name="connsiteY409" fmla="*/ 1192288 h 2084191"/>
              <a:gd name="connsiteX410" fmla="*/ 330901 w 2051041"/>
              <a:gd name="connsiteY410" fmla="*/ 1185758 h 2084191"/>
              <a:gd name="connsiteX411" fmla="*/ 337431 w 2051041"/>
              <a:gd name="connsiteY411" fmla="*/ 1181404 h 2084191"/>
              <a:gd name="connsiteX412" fmla="*/ 499051 w 2051041"/>
              <a:gd name="connsiteY412" fmla="*/ 1171065 h 2084191"/>
              <a:gd name="connsiteX413" fmla="*/ 516465 w 2051041"/>
              <a:gd name="connsiteY413" fmla="*/ 1187390 h 2084191"/>
              <a:gd name="connsiteX414" fmla="*/ 500140 w 2051041"/>
              <a:gd name="connsiteY414" fmla="*/ 1202627 h 2084191"/>
              <a:gd name="connsiteX415" fmla="*/ 483814 w 2051041"/>
              <a:gd name="connsiteY415" fmla="*/ 1187390 h 2084191"/>
              <a:gd name="connsiteX416" fmla="*/ 499051 w 2051041"/>
              <a:gd name="connsiteY416" fmla="*/ 1171065 h 2084191"/>
              <a:gd name="connsiteX417" fmla="*/ 662848 w 2051041"/>
              <a:gd name="connsiteY417" fmla="*/ 1165623 h 2084191"/>
              <a:gd name="connsiteX418" fmla="*/ 684615 w 2051041"/>
              <a:gd name="connsiteY418" fmla="*/ 1187390 h 2084191"/>
              <a:gd name="connsiteX419" fmla="*/ 662848 w 2051041"/>
              <a:gd name="connsiteY419" fmla="*/ 1209157 h 2084191"/>
              <a:gd name="connsiteX420" fmla="*/ 641081 w 2051041"/>
              <a:gd name="connsiteY420" fmla="*/ 1186846 h 2084191"/>
              <a:gd name="connsiteX421" fmla="*/ 662848 w 2051041"/>
              <a:gd name="connsiteY421" fmla="*/ 1165623 h 2084191"/>
              <a:gd name="connsiteX422" fmla="*/ 825556 w 2051041"/>
              <a:gd name="connsiteY422" fmla="*/ 1160725 h 2084191"/>
              <a:gd name="connsiteX423" fmla="*/ 852765 w 2051041"/>
              <a:gd name="connsiteY423" fmla="*/ 1186846 h 2084191"/>
              <a:gd name="connsiteX424" fmla="*/ 826645 w 2051041"/>
              <a:gd name="connsiteY424" fmla="*/ 1213511 h 2084191"/>
              <a:gd name="connsiteX425" fmla="*/ 798892 w 2051041"/>
              <a:gd name="connsiteY425" fmla="*/ 1188479 h 2084191"/>
              <a:gd name="connsiteX426" fmla="*/ 825556 w 2051041"/>
              <a:gd name="connsiteY426" fmla="*/ 1160725 h 2084191"/>
              <a:gd name="connsiteX427" fmla="*/ 989353 w 2051041"/>
              <a:gd name="connsiteY427" fmla="*/ 1158004 h 2084191"/>
              <a:gd name="connsiteX428" fmla="*/ 1018195 w 2051041"/>
              <a:gd name="connsiteY428" fmla="*/ 1187934 h 2084191"/>
              <a:gd name="connsiteX429" fmla="*/ 988809 w 2051041"/>
              <a:gd name="connsiteY429" fmla="*/ 1216775 h 2084191"/>
              <a:gd name="connsiteX430" fmla="*/ 959968 w 2051041"/>
              <a:gd name="connsiteY430" fmla="*/ 1187934 h 2084191"/>
              <a:gd name="connsiteX431" fmla="*/ 989353 w 2051041"/>
              <a:gd name="connsiteY431" fmla="*/ 1158004 h 2084191"/>
              <a:gd name="connsiteX432" fmla="*/ 1152062 w 2051041"/>
              <a:gd name="connsiteY432" fmla="*/ 1153651 h 2084191"/>
              <a:gd name="connsiteX433" fmla="*/ 1185801 w 2051041"/>
              <a:gd name="connsiteY433" fmla="*/ 1186301 h 2084191"/>
              <a:gd name="connsiteX434" fmla="*/ 1153150 w 2051041"/>
              <a:gd name="connsiteY434" fmla="*/ 1219496 h 2084191"/>
              <a:gd name="connsiteX435" fmla="*/ 1119956 w 2051041"/>
              <a:gd name="connsiteY435" fmla="*/ 1187390 h 2084191"/>
              <a:gd name="connsiteX436" fmla="*/ 1152062 w 2051041"/>
              <a:gd name="connsiteY436" fmla="*/ 1153651 h 2084191"/>
              <a:gd name="connsiteX437" fmla="*/ 1315315 w 2051041"/>
              <a:gd name="connsiteY437" fmla="*/ 1152018 h 2084191"/>
              <a:gd name="connsiteX438" fmla="*/ 1351230 w 2051041"/>
              <a:gd name="connsiteY438" fmla="*/ 1186845 h 2084191"/>
              <a:gd name="connsiteX439" fmla="*/ 1315859 w 2051041"/>
              <a:gd name="connsiteY439" fmla="*/ 1221673 h 2084191"/>
              <a:gd name="connsiteX440" fmla="*/ 1281576 w 2051041"/>
              <a:gd name="connsiteY440" fmla="*/ 1187390 h 2084191"/>
              <a:gd name="connsiteX441" fmla="*/ 1315315 w 2051041"/>
              <a:gd name="connsiteY441" fmla="*/ 1152018 h 2084191"/>
              <a:gd name="connsiteX442" fmla="*/ 1479656 w 2051041"/>
              <a:gd name="connsiteY442" fmla="*/ 1149298 h 2084191"/>
              <a:gd name="connsiteX443" fmla="*/ 1516660 w 2051041"/>
              <a:gd name="connsiteY443" fmla="*/ 1188479 h 2084191"/>
              <a:gd name="connsiteX444" fmla="*/ 1478023 w 2051041"/>
              <a:gd name="connsiteY444" fmla="*/ 1224394 h 2084191"/>
              <a:gd name="connsiteX445" fmla="*/ 1441563 w 2051041"/>
              <a:gd name="connsiteY445" fmla="*/ 1185758 h 2084191"/>
              <a:gd name="connsiteX446" fmla="*/ 1479656 w 2051041"/>
              <a:gd name="connsiteY446" fmla="*/ 1149298 h 2084191"/>
              <a:gd name="connsiteX447" fmla="*/ 1642365 w 2051041"/>
              <a:gd name="connsiteY447" fmla="*/ 1148209 h 2084191"/>
              <a:gd name="connsiteX448" fmla="*/ 1681001 w 2051041"/>
              <a:gd name="connsiteY448" fmla="*/ 1187390 h 2084191"/>
              <a:gd name="connsiteX449" fmla="*/ 1641821 w 2051041"/>
              <a:gd name="connsiteY449" fmla="*/ 1226026 h 2084191"/>
              <a:gd name="connsiteX450" fmla="*/ 1603728 w 2051041"/>
              <a:gd name="connsiteY450" fmla="*/ 1186846 h 2084191"/>
              <a:gd name="connsiteX451" fmla="*/ 1642365 w 2051041"/>
              <a:gd name="connsiteY451" fmla="*/ 1148209 h 2084191"/>
              <a:gd name="connsiteX452" fmla="*/ 1969414 w 2051041"/>
              <a:gd name="connsiteY452" fmla="*/ 1147665 h 2084191"/>
              <a:gd name="connsiteX453" fmla="*/ 2009139 w 2051041"/>
              <a:gd name="connsiteY453" fmla="*/ 1187934 h 2084191"/>
              <a:gd name="connsiteX454" fmla="*/ 1968870 w 2051041"/>
              <a:gd name="connsiteY454" fmla="*/ 1227114 h 2084191"/>
              <a:gd name="connsiteX455" fmla="*/ 1929145 w 2051041"/>
              <a:gd name="connsiteY455" fmla="*/ 1186301 h 2084191"/>
              <a:gd name="connsiteX456" fmla="*/ 1969414 w 2051041"/>
              <a:gd name="connsiteY456" fmla="*/ 1147665 h 2084191"/>
              <a:gd name="connsiteX457" fmla="*/ 1805617 w 2051041"/>
              <a:gd name="connsiteY457" fmla="*/ 1147665 h 2084191"/>
              <a:gd name="connsiteX458" fmla="*/ 1844798 w 2051041"/>
              <a:gd name="connsiteY458" fmla="*/ 1187934 h 2084191"/>
              <a:gd name="connsiteX459" fmla="*/ 1805073 w 2051041"/>
              <a:gd name="connsiteY459" fmla="*/ 1226571 h 2084191"/>
              <a:gd name="connsiteX460" fmla="*/ 1766981 w 2051041"/>
              <a:gd name="connsiteY460" fmla="*/ 1186845 h 2084191"/>
              <a:gd name="connsiteX461" fmla="*/ 1805617 w 2051041"/>
              <a:gd name="connsiteY461" fmla="*/ 1147665 h 2084191"/>
              <a:gd name="connsiteX462" fmla="*/ 417425 w 2051041"/>
              <a:gd name="connsiteY462" fmla="*/ 1090527 h 2084191"/>
              <a:gd name="connsiteX463" fmla="*/ 432662 w 2051041"/>
              <a:gd name="connsiteY463" fmla="*/ 1105764 h 2084191"/>
              <a:gd name="connsiteX464" fmla="*/ 417969 w 2051041"/>
              <a:gd name="connsiteY464" fmla="*/ 1120457 h 2084191"/>
              <a:gd name="connsiteX465" fmla="*/ 402732 w 2051041"/>
              <a:gd name="connsiteY465" fmla="*/ 1105219 h 2084191"/>
              <a:gd name="connsiteX466" fmla="*/ 417425 w 2051041"/>
              <a:gd name="connsiteY466" fmla="*/ 1090527 h 2084191"/>
              <a:gd name="connsiteX467" fmla="*/ 580677 w 2051041"/>
              <a:gd name="connsiteY467" fmla="*/ 1083996 h 2084191"/>
              <a:gd name="connsiteX468" fmla="*/ 602444 w 2051041"/>
              <a:gd name="connsiteY468" fmla="*/ 1105219 h 2084191"/>
              <a:gd name="connsiteX469" fmla="*/ 581221 w 2051041"/>
              <a:gd name="connsiteY469" fmla="*/ 1127530 h 2084191"/>
              <a:gd name="connsiteX470" fmla="*/ 558910 w 2051041"/>
              <a:gd name="connsiteY470" fmla="*/ 1105219 h 2084191"/>
              <a:gd name="connsiteX471" fmla="*/ 580677 w 2051041"/>
              <a:gd name="connsiteY471" fmla="*/ 1083996 h 2084191"/>
              <a:gd name="connsiteX472" fmla="*/ 743386 w 2051041"/>
              <a:gd name="connsiteY472" fmla="*/ 1079099 h 2084191"/>
              <a:gd name="connsiteX473" fmla="*/ 770595 w 2051041"/>
              <a:gd name="connsiteY473" fmla="*/ 1105219 h 2084191"/>
              <a:gd name="connsiteX474" fmla="*/ 745019 w 2051041"/>
              <a:gd name="connsiteY474" fmla="*/ 1132428 h 2084191"/>
              <a:gd name="connsiteX475" fmla="*/ 717810 w 2051041"/>
              <a:gd name="connsiteY475" fmla="*/ 1106308 h 2084191"/>
              <a:gd name="connsiteX476" fmla="*/ 743386 w 2051041"/>
              <a:gd name="connsiteY476" fmla="*/ 1079099 h 2084191"/>
              <a:gd name="connsiteX477" fmla="*/ 907727 w 2051041"/>
              <a:gd name="connsiteY477" fmla="*/ 1076378 h 2084191"/>
              <a:gd name="connsiteX478" fmla="*/ 937112 w 2051041"/>
              <a:gd name="connsiteY478" fmla="*/ 1105219 h 2084191"/>
              <a:gd name="connsiteX479" fmla="*/ 908271 w 2051041"/>
              <a:gd name="connsiteY479" fmla="*/ 1134061 h 2084191"/>
              <a:gd name="connsiteX480" fmla="*/ 878885 w 2051041"/>
              <a:gd name="connsiteY480" fmla="*/ 1105764 h 2084191"/>
              <a:gd name="connsiteX481" fmla="*/ 907727 w 2051041"/>
              <a:gd name="connsiteY481" fmla="*/ 1076378 h 2084191"/>
              <a:gd name="connsiteX482" fmla="*/ 1071524 w 2051041"/>
              <a:gd name="connsiteY482" fmla="*/ 1072569 h 2084191"/>
              <a:gd name="connsiteX483" fmla="*/ 1104174 w 2051041"/>
              <a:gd name="connsiteY483" fmla="*/ 1105220 h 2084191"/>
              <a:gd name="connsiteX484" fmla="*/ 1070435 w 2051041"/>
              <a:gd name="connsiteY484" fmla="*/ 1137870 h 2084191"/>
              <a:gd name="connsiteX485" fmla="*/ 1038329 w 2051041"/>
              <a:gd name="connsiteY485" fmla="*/ 1105764 h 2084191"/>
              <a:gd name="connsiteX486" fmla="*/ 1071524 w 2051041"/>
              <a:gd name="connsiteY486" fmla="*/ 1072569 h 2084191"/>
              <a:gd name="connsiteX487" fmla="*/ 1235865 w 2051041"/>
              <a:gd name="connsiteY487" fmla="*/ 1068760 h 2084191"/>
              <a:gd name="connsiteX488" fmla="*/ 1271237 w 2051041"/>
              <a:gd name="connsiteY488" fmla="*/ 1106852 h 2084191"/>
              <a:gd name="connsiteX489" fmla="*/ 1234777 w 2051041"/>
              <a:gd name="connsiteY489" fmla="*/ 1142223 h 2084191"/>
              <a:gd name="connsiteX490" fmla="*/ 1198861 w 2051041"/>
              <a:gd name="connsiteY490" fmla="*/ 1105219 h 2084191"/>
              <a:gd name="connsiteX491" fmla="*/ 1235865 w 2051041"/>
              <a:gd name="connsiteY491" fmla="*/ 1068760 h 2084191"/>
              <a:gd name="connsiteX492" fmla="*/ 1396397 w 2051041"/>
              <a:gd name="connsiteY492" fmla="*/ 1067127 h 2084191"/>
              <a:gd name="connsiteX493" fmla="*/ 1435578 w 2051041"/>
              <a:gd name="connsiteY493" fmla="*/ 1105219 h 2084191"/>
              <a:gd name="connsiteX494" fmla="*/ 1396941 w 2051041"/>
              <a:gd name="connsiteY494" fmla="*/ 1143856 h 2084191"/>
              <a:gd name="connsiteX495" fmla="*/ 1358849 w 2051041"/>
              <a:gd name="connsiteY495" fmla="*/ 1105763 h 2084191"/>
              <a:gd name="connsiteX496" fmla="*/ 1396397 w 2051041"/>
              <a:gd name="connsiteY496" fmla="*/ 1067127 h 2084191"/>
              <a:gd name="connsiteX497" fmla="*/ 1560738 w 2051041"/>
              <a:gd name="connsiteY497" fmla="*/ 1066582 h 2084191"/>
              <a:gd name="connsiteX498" fmla="*/ 1599919 w 2051041"/>
              <a:gd name="connsiteY498" fmla="*/ 1105763 h 2084191"/>
              <a:gd name="connsiteX499" fmla="*/ 1560738 w 2051041"/>
              <a:gd name="connsiteY499" fmla="*/ 1144400 h 2084191"/>
              <a:gd name="connsiteX500" fmla="*/ 1521013 w 2051041"/>
              <a:gd name="connsiteY500" fmla="*/ 1105763 h 2084191"/>
              <a:gd name="connsiteX501" fmla="*/ 1560738 w 2051041"/>
              <a:gd name="connsiteY501" fmla="*/ 1066582 h 2084191"/>
              <a:gd name="connsiteX502" fmla="*/ 1723447 w 2051041"/>
              <a:gd name="connsiteY502" fmla="*/ 1064406 h 2084191"/>
              <a:gd name="connsiteX503" fmla="*/ 1764260 w 2051041"/>
              <a:gd name="connsiteY503" fmla="*/ 1104675 h 2084191"/>
              <a:gd name="connsiteX504" fmla="*/ 1724535 w 2051041"/>
              <a:gd name="connsiteY504" fmla="*/ 1146032 h 2084191"/>
              <a:gd name="connsiteX505" fmla="*/ 1683178 w 2051041"/>
              <a:gd name="connsiteY505" fmla="*/ 1105764 h 2084191"/>
              <a:gd name="connsiteX506" fmla="*/ 1723447 w 2051041"/>
              <a:gd name="connsiteY506" fmla="*/ 1064406 h 2084191"/>
              <a:gd name="connsiteX507" fmla="*/ 2051041 w 2051041"/>
              <a:gd name="connsiteY507" fmla="*/ 1063318 h 2084191"/>
              <a:gd name="connsiteX508" fmla="*/ 2051041 w 2051041"/>
              <a:gd name="connsiteY508" fmla="*/ 1147740 h 2084191"/>
              <a:gd name="connsiteX509" fmla="*/ 2049952 w 2051041"/>
              <a:gd name="connsiteY509" fmla="*/ 1148210 h 2084191"/>
              <a:gd name="connsiteX510" fmla="*/ 2008051 w 2051041"/>
              <a:gd name="connsiteY510" fmla="*/ 1105764 h 2084191"/>
              <a:gd name="connsiteX511" fmla="*/ 2051041 w 2051041"/>
              <a:gd name="connsiteY511" fmla="*/ 1063318 h 2084191"/>
              <a:gd name="connsiteX512" fmla="*/ 1887787 w 2051041"/>
              <a:gd name="connsiteY512" fmla="*/ 1062773 h 2084191"/>
              <a:gd name="connsiteX513" fmla="*/ 1929145 w 2051041"/>
              <a:gd name="connsiteY513" fmla="*/ 1105763 h 2084191"/>
              <a:gd name="connsiteX514" fmla="*/ 1886699 w 2051041"/>
              <a:gd name="connsiteY514" fmla="*/ 1147665 h 2084191"/>
              <a:gd name="connsiteX515" fmla="*/ 1844798 w 2051041"/>
              <a:gd name="connsiteY515" fmla="*/ 1105219 h 2084191"/>
              <a:gd name="connsiteX516" fmla="*/ 1887787 w 2051041"/>
              <a:gd name="connsiteY516" fmla="*/ 1062773 h 2084191"/>
              <a:gd name="connsiteX517" fmla="*/ 335798 w 2051041"/>
              <a:gd name="connsiteY517" fmla="*/ 1011621 h 2084191"/>
              <a:gd name="connsiteX518" fmla="*/ 348314 w 2051041"/>
              <a:gd name="connsiteY518" fmla="*/ 1023049 h 2084191"/>
              <a:gd name="connsiteX519" fmla="*/ 336886 w 2051041"/>
              <a:gd name="connsiteY519" fmla="*/ 1036109 h 2084191"/>
              <a:gd name="connsiteX520" fmla="*/ 324370 w 2051041"/>
              <a:gd name="connsiteY520" fmla="*/ 1024681 h 2084191"/>
              <a:gd name="connsiteX521" fmla="*/ 335798 w 2051041"/>
              <a:gd name="connsiteY521" fmla="*/ 1011621 h 2084191"/>
              <a:gd name="connsiteX522" fmla="*/ 499051 w 2051041"/>
              <a:gd name="connsiteY522" fmla="*/ 1002914 h 2084191"/>
              <a:gd name="connsiteX523" fmla="*/ 520818 w 2051041"/>
              <a:gd name="connsiteY523" fmla="*/ 1024137 h 2084191"/>
              <a:gd name="connsiteX524" fmla="*/ 499595 w 2051041"/>
              <a:gd name="connsiteY524" fmla="*/ 1045360 h 2084191"/>
              <a:gd name="connsiteX525" fmla="*/ 478372 w 2051041"/>
              <a:gd name="connsiteY525" fmla="*/ 1024137 h 2084191"/>
              <a:gd name="connsiteX526" fmla="*/ 499051 w 2051041"/>
              <a:gd name="connsiteY526" fmla="*/ 1002914 h 2084191"/>
              <a:gd name="connsiteX527" fmla="*/ 663392 w 2051041"/>
              <a:gd name="connsiteY527" fmla="*/ 997473 h 2084191"/>
              <a:gd name="connsiteX528" fmla="*/ 688424 w 2051041"/>
              <a:gd name="connsiteY528" fmla="*/ 1024138 h 2084191"/>
              <a:gd name="connsiteX529" fmla="*/ 661759 w 2051041"/>
              <a:gd name="connsiteY529" fmla="*/ 1050258 h 2084191"/>
              <a:gd name="connsiteX530" fmla="*/ 636727 w 2051041"/>
              <a:gd name="connsiteY530" fmla="*/ 1023593 h 2084191"/>
              <a:gd name="connsiteX531" fmla="*/ 663392 w 2051041"/>
              <a:gd name="connsiteY531" fmla="*/ 997473 h 2084191"/>
              <a:gd name="connsiteX532" fmla="*/ 826645 w 2051041"/>
              <a:gd name="connsiteY532" fmla="*/ 995840 h 2084191"/>
              <a:gd name="connsiteX533" fmla="*/ 854942 w 2051041"/>
              <a:gd name="connsiteY533" fmla="*/ 1024137 h 2084191"/>
              <a:gd name="connsiteX534" fmla="*/ 825557 w 2051041"/>
              <a:gd name="connsiteY534" fmla="*/ 1052978 h 2084191"/>
              <a:gd name="connsiteX535" fmla="*/ 797260 w 2051041"/>
              <a:gd name="connsiteY535" fmla="*/ 1023593 h 2084191"/>
              <a:gd name="connsiteX536" fmla="*/ 826645 w 2051041"/>
              <a:gd name="connsiteY536" fmla="*/ 995840 h 2084191"/>
              <a:gd name="connsiteX537" fmla="*/ 990441 w 2051041"/>
              <a:gd name="connsiteY537" fmla="*/ 990942 h 2084191"/>
              <a:gd name="connsiteX538" fmla="*/ 1022548 w 2051041"/>
              <a:gd name="connsiteY538" fmla="*/ 1025225 h 2084191"/>
              <a:gd name="connsiteX539" fmla="*/ 988809 w 2051041"/>
              <a:gd name="connsiteY539" fmla="*/ 1056787 h 2084191"/>
              <a:gd name="connsiteX540" fmla="*/ 956702 w 2051041"/>
              <a:gd name="connsiteY540" fmla="*/ 1023593 h 2084191"/>
              <a:gd name="connsiteX541" fmla="*/ 990441 w 2051041"/>
              <a:gd name="connsiteY541" fmla="*/ 990942 h 2084191"/>
              <a:gd name="connsiteX542" fmla="*/ 1150974 w 2051041"/>
              <a:gd name="connsiteY542" fmla="*/ 987678 h 2084191"/>
              <a:gd name="connsiteX543" fmla="*/ 1189610 w 2051041"/>
              <a:gd name="connsiteY543" fmla="*/ 1023593 h 2084191"/>
              <a:gd name="connsiteX544" fmla="*/ 1152062 w 2051041"/>
              <a:gd name="connsiteY544" fmla="*/ 1061685 h 2084191"/>
              <a:gd name="connsiteX545" fmla="*/ 1115058 w 2051041"/>
              <a:gd name="connsiteY545" fmla="*/ 1024682 h 2084191"/>
              <a:gd name="connsiteX546" fmla="*/ 1150974 w 2051041"/>
              <a:gd name="connsiteY546" fmla="*/ 987678 h 2084191"/>
              <a:gd name="connsiteX547" fmla="*/ 1315314 w 2051041"/>
              <a:gd name="connsiteY547" fmla="*/ 985501 h 2084191"/>
              <a:gd name="connsiteX548" fmla="*/ 1354495 w 2051041"/>
              <a:gd name="connsiteY548" fmla="*/ 1023593 h 2084191"/>
              <a:gd name="connsiteX549" fmla="*/ 1315858 w 2051041"/>
              <a:gd name="connsiteY549" fmla="*/ 1062230 h 2084191"/>
              <a:gd name="connsiteX550" fmla="*/ 1277222 w 2051041"/>
              <a:gd name="connsiteY550" fmla="*/ 1024137 h 2084191"/>
              <a:gd name="connsiteX551" fmla="*/ 1315314 w 2051041"/>
              <a:gd name="connsiteY551" fmla="*/ 985501 h 2084191"/>
              <a:gd name="connsiteX552" fmla="*/ 1479656 w 2051041"/>
              <a:gd name="connsiteY552" fmla="*/ 984412 h 2084191"/>
              <a:gd name="connsiteX553" fmla="*/ 1519380 w 2051041"/>
              <a:gd name="connsiteY553" fmla="*/ 1025225 h 2084191"/>
              <a:gd name="connsiteX554" fmla="*/ 1478567 w 2051041"/>
              <a:gd name="connsiteY554" fmla="*/ 1063318 h 2084191"/>
              <a:gd name="connsiteX555" fmla="*/ 1439387 w 2051041"/>
              <a:gd name="connsiteY555" fmla="*/ 1023593 h 2084191"/>
              <a:gd name="connsiteX556" fmla="*/ 1479656 w 2051041"/>
              <a:gd name="connsiteY556" fmla="*/ 984412 h 2084191"/>
              <a:gd name="connsiteX557" fmla="*/ 1641820 w 2051041"/>
              <a:gd name="connsiteY557" fmla="*/ 981691 h 2084191"/>
              <a:gd name="connsiteX558" fmla="*/ 1684810 w 2051041"/>
              <a:gd name="connsiteY558" fmla="*/ 1023592 h 2084191"/>
              <a:gd name="connsiteX559" fmla="*/ 1642909 w 2051041"/>
              <a:gd name="connsiteY559" fmla="*/ 1066038 h 2084191"/>
              <a:gd name="connsiteX560" fmla="*/ 1599919 w 2051041"/>
              <a:gd name="connsiteY560" fmla="*/ 1023592 h 2084191"/>
              <a:gd name="connsiteX561" fmla="*/ 1641820 w 2051041"/>
              <a:gd name="connsiteY561" fmla="*/ 981691 h 2084191"/>
              <a:gd name="connsiteX562" fmla="*/ 1806161 w 2051041"/>
              <a:gd name="connsiteY562" fmla="*/ 980603 h 2084191"/>
              <a:gd name="connsiteX563" fmla="*/ 1849151 w 2051041"/>
              <a:gd name="connsiteY563" fmla="*/ 1023592 h 2084191"/>
              <a:gd name="connsiteX564" fmla="*/ 1805617 w 2051041"/>
              <a:gd name="connsiteY564" fmla="*/ 1067127 h 2084191"/>
              <a:gd name="connsiteX565" fmla="*/ 1762083 w 2051041"/>
              <a:gd name="connsiteY565" fmla="*/ 1023592 h 2084191"/>
              <a:gd name="connsiteX566" fmla="*/ 1806161 w 2051041"/>
              <a:gd name="connsiteY566" fmla="*/ 980603 h 2084191"/>
              <a:gd name="connsiteX567" fmla="*/ 1969414 w 2051041"/>
              <a:gd name="connsiteY567" fmla="*/ 980059 h 2084191"/>
              <a:gd name="connsiteX568" fmla="*/ 2012404 w 2051041"/>
              <a:gd name="connsiteY568" fmla="*/ 1024137 h 2084191"/>
              <a:gd name="connsiteX569" fmla="*/ 1968870 w 2051041"/>
              <a:gd name="connsiteY569" fmla="*/ 1067127 h 2084191"/>
              <a:gd name="connsiteX570" fmla="*/ 1924792 w 2051041"/>
              <a:gd name="connsiteY570" fmla="*/ 1024137 h 2084191"/>
              <a:gd name="connsiteX571" fmla="*/ 1969414 w 2051041"/>
              <a:gd name="connsiteY571" fmla="*/ 980059 h 2084191"/>
              <a:gd name="connsiteX572" fmla="*/ 254171 w 2051041"/>
              <a:gd name="connsiteY572" fmla="*/ 931083 h 2084191"/>
              <a:gd name="connsiteX573" fmla="*/ 265599 w 2051041"/>
              <a:gd name="connsiteY573" fmla="*/ 941967 h 2084191"/>
              <a:gd name="connsiteX574" fmla="*/ 254171 w 2051041"/>
              <a:gd name="connsiteY574" fmla="*/ 952850 h 2084191"/>
              <a:gd name="connsiteX575" fmla="*/ 243832 w 2051041"/>
              <a:gd name="connsiteY575" fmla="*/ 941967 h 2084191"/>
              <a:gd name="connsiteX576" fmla="*/ 254171 w 2051041"/>
              <a:gd name="connsiteY576" fmla="*/ 931083 h 2084191"/>
              <a:gd name="connsiteX577" fmla="*/ 417968 w 2051041"/>
              <a:gd name="connsiteY577" fmla="*/ 922377 h 2084191"/>
              <a:gd name="connsiteX578" fmla="*/ 437559 w 2051041"/>
              <a:gd name="connsiteY578" fmla="*/ 942511 h 2084191"/>
              <a:gd name="connsiteX579" fmla="*/ 417968 w 2051041"/>
              <a:gd name="connsiteY579" fmla="*/ 961557 h 2084191"/>
              <a:gd name="connsiteX580" fmla="*/ 397834 w 2051041"/>
              <a:gd name="connsiteY580" fmla="*/ 941423 h 2084191"/>
              <a:gd name="connsiteX581" fmla="*/ 417968 w 2051041"/>
              <a:gd name="connsiteY581" fmla="*/ 922377 h 2084191"/>
              <a:gd name="connsiteX582" fmla="*/ 581222 w 2051041"/>
              <a:gd name="connsiteY582" fmla="*/ 916934 h 2084191"/>
              <a:gd name="connsiteX583" fmla="*/ 606798 w 2051041"/>
              <a:gd name="connsiteY583" fmla="*/ 943054 h 2084191"/>
              <a:gd name="connsiteX584" fmla="*/ 581222 w 2051041"/>
              <a:gd name="connsiteY584" fmla="*/ 967542 h 2084191"/>
              <a:gd name="connsiteX585" fmla="*/ 556190 w 2051041"/>
              <a:gd name="connsiteY585" fmla="*/ 943054 h 2084191"/>
              <a:gd name="connsiteX586" fmla="*/ 581222 w 2051041"/>
              <a:gd name="connsiteY586" fmla="*/ 916934 h 2084191"/>
              <a:gd name="connsiteX587" fmla="*/ 744474 w 2051041"/>
              <a:gd name="connsiteY587" fmla="*/ 913669 h 2084191"/>
              <a:gd name="connsiteX588" fmla="*/ 773315 w 2051041"/>
              <a:gd name="connsiteY588" fmla="*/ 942510 h 2084191"/>
              <a:gd name="connsiteX589" fmla="*/ 743930 w 2051041"/>
              <a:gd name="connsiteY589" fmla="*/ 970807 h 2084191"/>
              <a:gd name="connsiteX590" fmla="*/ 716177 w 2051041"/>
              <a:gd name="connsiteY590" fmla="*/ 941966 h 2084191"/>
              <a:gd name="connsiteX591" fmla="*/ 744474 w 2051041"/>
              <a:gd name="connsiteY591" fmla="*/ 913669 h 2084191"/>
              <a:gd name="connsiteX592" fmla="*/ 908271 w 2051041"/>
              <a:gd name="connsiteY592" fmla="*/ 908772 h 2084191"/>
              <a:gd name="connsiteX593" fmla="*/ 940377 w 2051041"/>
              <a:gd name="connsiteY593" fmla="*/ 944144 h 2084191"/>
              <a:gd name="connsiteX594" fmla="*/ 906094 w 2051041"/>
              <a:gd name="connsiteY594" fmla="*/ 975162 h 2084191"/>
              <a:gd name="connsiteX595" fmla="*/ 874532 w 2051041"/>
              <a:gd name="connsiteY595" fmla="*/ 940879 h 2084191"/>
              <a:gd name="connsiteX596" fmla="*/ 908271 w 2051041"/>
              <a:gd name="connsiteY596" fmla="*/ 908772 h 2084191"/>
              <a:gd name="connsiteX597" fmla="*/ 1072068 w 2051041"/>
              <a:gd name="connsiteY597" fmla="*/ 906051 h 2084191"/>
              <a:gd name="connsiteX598" fmla="*/ 1107984 w 2051041"/>
              <a:gd name="connsiteY598" fmla="*/ 942511 h 2084191"/>
              <a:gd name="connsiteX599" fmla="*/ 1070980 w 2051041"/>
              <a:gd name="connsiteY599" fmla="*/ 979515 h 2084191"/>
              <a:gd name="connsiteX600" fmla="*/ 1034520 w 2051041"/>
              <a:gd name="connsiteY600" fmla="*/ 942511 h 2084191"/>
              <a:gd name="connsiteX601" fmla="*/ 1072068 w 2051041"/>
              <a:gd name="connsiteY601" fmla="*/ 906051 h 2084191"/>
              <a:gd name="connsiteX602" fmla="*/ 1235321 w 2051041"/>
              <a:gd name="connsiteY602" fmla="*/ 903874 h 2084191"/>
              <a:gd name="connsiteX603" fmla="*/ 1272325 w 2051041"/>
              <a:gd name="connsiteY603" fmla="*/ 943054 h 2084191"/>
              <a:gd name="connsiteX604" fmla="*/ 1233688 w 2051041"/>
              <a:gd name="connsiteY604" fmla="*/ 981147 h 2084191"/>
              <a:gd name="connsiteX605" fmla="*/ 1195596 w 2051041"/>
              <a:gd name="connsiteY605" fmla="*/ 940878 h 2084191"/>
              <a:gd name="connsiteX606" fmla="*/ 1235321 w 2051041"/>
              <a:gd name="connsiteY606" fmla="*/ 903874 h 2084191"/>
              <a:gd name="connsiteX607" fmla="*/ 1397486 w 2051041"/>
              <a:gd name="connsiteY607" fmla="*/ 901153 h 2084191"/>
              <a:gd name="connsiteX608" fmla="*/ 1438299 w 2051041"/>
              <a:gd name="connsiteY608" fmla="*/ 942511 h 2084191"/>
              <a:gd name="connsiteX609" fmla="*/ 1396941 w 2051041"/>
              <a:gd name="connsiteY609" fmla="*/ 983324 h 2084191"/>
              <a:gd name="connsiteX610" fmla="*/ 1356128 w 2051041"/>
              <a:gd name="connsiteY610" fmla="*/ 941967 h 2084191"/>
              <a:gd name="connsiteX611" fmla="*/ 1397486 w 2051041"/>
              <a:gd name="connsiteY611" fmla="*/ 901153 h 2084191"/>
              <a:gd name="connsiteX612" fmla="*/ 1560738 w 2051041"/>
              <a:gd name="connsiteY612" fmla="*/ 898977 h 2084191"/>
              <a:gd name="connsiteX613" fmla="*/ 1603728 w 2051041"/>
              <a:gd name="connsiteY613" fmla="*/ 942511 h 2084191"/>
              <a:gd name="connsiteX614" fmla="*/ 1560738 w 2051041"/>
              <a:gd name="connsiteY614" fmla="*/ 985501 h 2084191"/>
              <a:gd name="connsiteX615" fmla="*/ 1517204 w 2051041"/>
              <a:gd name="connsiteY615" fmla="*/ 941423 h 2084191"/>
              <a:gd name="connsiteX616" fmla="*/ 1560738 w 2051041"/>
              <a:gd name="connsiteY616" fmla="*/ 898977 h 2084191"/>
              <a:gd name="connsiteX617" fmla="*/ 1723990 w 2051041"/>
              <a:gd name="connsiteY617" fmla="*/ 897888 h 2084191"/>
              <a:gd name="connsiteX618" fmla="*/ 1768069 w 2051041"/>
              <a:gd name="connsiteY618" fmla="*/ 942510 h 2084191"/>
              <a:gd name="connsiteX619" fmla="*/ 1723990 w 2051041"/>
              <a:gd name="connsiteY619" fmla="*/ 986589 h 2084191"/>
              <a:gd name="connsiteX620" fmla="*/ 1679912 w 2051041"/>
              <a:gd name="connsiteY620" fmla="*/ 941422 h 2084191"/>
              <a:gd name="connsiteX621" fmla="*/ 1723990 w 2051041"/>
              <a:gd name="connsiteY621" fmla="*/ 897888 h 2084191"/>
              <a:gd name="connsiteX622" fmla="*/ 2050497 w 2051041"/>
              <a:gd name="connsiteY622" fmla="*/ 897344 h 2084191"/>
              <a:gd name="connsiteX623" fmla="*/ 2051041 w 2051041"/>
              <a:gd name="connsiteY623" fmla="*/ 897453 h 2084191"/>
              <a:gd name="connsiteX624" fmla="*/ 2051041 w 2051041"/>
              <a:gd name="connsiteY624" fmla="*/ 986917 h 2084191"/>
              <a:gd name="connsiteX625" fmla="*/ 2049952 w 2051041"/>
              <a:gd name="connsiteY625" fmla="*/ 987133 h 2084191"/>
              <a:gd name="connsiteX626" fmla="*/ 2005330 w 2051041"/>
              <a:gd name="connsiteY626" fmla="*/ 941422 h 2084191"/>
              <a:gd name="connsiteX627" fmla="*/ 2050497 w 2051041"/>
              <a:gd name="connsiteY627" fmla="*/ 897344 h 2084191"/>
              <a:gd name="connsiteX628" fmla="*/ 1887243 w 2051041"/>
              <a:gd name="connsiteY628" fmla="*/ 897344 h 2084191"/>
              <a:gd name="connsiteX629" fmla="*/ 1931866 w 2051041"/>
              <a:gd name="connsiteY629" fmla="*/ 942511 h 2084191"/>
              <a:gd name="connsiteX630" fmla="*/ 1887243 w 2051041"/>
              <a:gd name="connsiteY630" fmla="*/ 986589 h 2084191"/>
              <a:gd name="connsiteX631" fmla="*/ 1843165 w 2051041"/>
              <a:gd name="connsiteY631" fmla="*/ 941422 h 2084191"/>
              <a:gd name="connsiteX632" fmla="*/ 1887243 w 2051041"/>
              <a:gd name="connsiteY632" fmla="*/ 897344 h 2084191"/>
              <a:gd name="connsiteX633" fmla="*/ 172545 w 2051041"/>
              <a:gd name="connsiteY633" fmla="*/ 854354 h 2084191"/>
              <a:gd name="connsiteX634" fmla="*/ 179619 w 2051041"/>
              <a:gd name="connsiteY634" fmla="*/ 860884 h 2084191"/>
              <a:gd name="connsiteX635" fmla="*/ 173634 w 2051041"/>
              <a:gd name="connsiteY635" fmla="*/ 866870 h 2084191"/>
              <a:gd name="connsiteX636" fmla="*/ 166015 w 2051041"/>
              <a:gd name="connsiteY636" fmla="*/ 861973 h 2084191"/>
              <a:gd name="connsiteX637" fmla="*/ 172545 w 2051041"/>
              <a:gd name="connsiteY637" fmla="*/ 854354 h 2084191"/>
              <a:gd name="connsiteX638" fmla="*/ 336342 w 2051041"/>
              <a:gd name="connsiteY638" fmla="*/ 843471 h 2084191"/>
              <a:gd name="connsiteX639" fmla="*/ 353211 w 2051041"/>
              <a:gd name="connsiteY639" fmla="*/ 860340 h 2084191"/>
              <a:gd name="connsiteX640" fmla="*/ 336886 w 2051041"/>
              <a:gd name="connsiteY640" fmla="*/ 877210 h 2084191"/>
              <a:gd name="connsiteX641" fmla="*/ 320017 w 2051041"/>
              <a:gd name="connsiteY641" fmla="*/ 860884 h 2084191"/>
              <a:gd name="connsiteX642" fmla="*/ 336342 w 2051041"/>
              <a:gd name="connsiteY642" fmla="*/ 843471 h 2084191"/>
              <a:gd name="connsiteX643" fmla="*/ 500139 w 2051041"/>
              <a:gd name="connsiteY643" fmla="*/ 837485 h 2084191"/>
              <a:gd name="connsiteX644" fmla="*/ 522994 w 2051041"/>
              <a:gd name="connsiteY644" fmla="*/ 861428 h 2084191"/>
              <a:gd name="connsiteX645" fmla="*/ 499595 w 2051041"/>
              <a:gd name="connsiteY645" fmla="*/ 884284 h 2084191"/>
              <a:gd name="connsiteX646" fmla="*/ 476739 w 2051041"/>
              <a:gd name="connsiteY646" fmla="*/ 860340 h 2084191"/>
              <a:gd name="connsiteX647" fmla="*/ 500139 w 2051041"/>
              <a:gd name="connsiteY647" fmla="*/ 837485 h 2084191"/>
              <a:gd name="connsiteX648" fmla="*/ 662848 w 2051041"/>
              <a:gd name="connsiteY648" fmla="*/ 832587 h 2084191"/>
              <a:gd name="connsiteX649" fmla="*/ 690057 w 2051041"/>
              <a:gd name="connsiteY649" fmla="*/ 860340 h 2084191"/>
              <a:gd name="connsiteX650" fmla="*/ 662848 w 2051041"/>
              <a:gd name="connsiteY650" fmla="*/ 888637 h 2084191"/>
              <a:gd name="connsiteX651" fmla="*/ 634551 w 2051041"/>
              <a:gd name="connsiteY651" fmla="*/ 861428 h 2084191"/>
              <a:gd name="connsiteX652" fmla="*/ 662848 w 2051041"/>
              <a:gd name="connsiteY652" fmla="*/ 832587 h 2084191"/>
              <a:gd name="connsiteX653" fmla="*/ 826101 w 2051041"/>
              <a:gd name="connsiteY653" fmla="*/ 827146 h 2084191"/>
              <a:gd name="connsiteX654" fmla="*/ 859295 w 2051041"/>
              <a:gd name="connsiteY654" fmla="*/ 860885 h 2084191"/>
              <a:gd name="connsiteX655" fmla="*/ 825556 w 2051041"/>
              <a:gd name="connsiteY655" fmla="*/ 892991 h 2084191"/>
              <a:gd name="connsiteX656" fmla="*/ 793450 w 2051041"/>
              <a:gd name="connsiteY656" fmla="*/ 860885 h 2084191"/>
              <a:gd name="connsiteX657" fmla="*/ 826101 w 2051041"/>
              <a:gd name="connsiteY657" fmla="*/ 827146 h 2084191"/>
              <a:gd name="connsiteX658" fmla="*/ 988809 w 2051041"/>
              <a:gd name="connsiteY658" fmla="*/ 824424 h 2084191"/>
              <a:gd name="connsiteX659" fmla="*/ 1025813 w 2051041"/>
              <a:gd name="connsiteY659" fmla="*/ 860339 h 2084191"/>
              <a:gd name="connsiteX660" fmla="*/ 989897 w 2051041"/>
              <a:gd name="connsiteY660" fmla="*/ 897344 h 2084191"/>
              <a:gd name="connsiteX661" fmla="*/ 953437 w 2051041"/>
              <a:gd name="connsiteY661" fmla="*/ 861972 h 2084191"/>
              <a:gd name="connsiteX662" fmla="*/ 988809 w 2051041"/>
              <a:gd name="connsiteY662" fmla="*/ 824424 h 2084191"/>
              <a:gd name="connsiteX663" fmla="*/ 1153695 w 2051041"/>
              <a:gd name="connsiteY663" fmla="*/ 821704 h 2084191"/>
              <a:gd name="connsiteX664" fmla="*/ 1191243 w 2051041"/>
              <a:gd name="connsiteY664" fmla="*/ 861429 h 2084191"/>
              <a:gd name="connsiteX665" fmla="*/ 1152606 w 2051041"/>
              <a:gd name="connsiteY665" fmla="*/ 899521 h 2084191"/>
              <a:gd name="connsiteX666" fmla="*/ 1114514 w 2051041"/>
              <a:gd name="connsiteY666" fmla="*/ 859252 h 2084191"/>
              <a:gd name="connsiteX667" fmla="*/ 1153695 w 2051041"/>
              <a:gd name="connsiteY667" fmla="*/ 821704 h 2084191"/>
              <a:gd name="connsiteX668" fmla="*/ 1316403 w 2051041"/>
              <a:gd name="connsiteY668" fmla="*/ 818982 h 2084191"/>
              <a:gd name="connsiteX669" fmla="*/ 1357216 w 2051041"/>
              <a:gd name="connsiteY669" fmla="*/ 860884 h 2084191"/>
              <a:gd name="connsiteX670" fmla="*/ 1315315 w 2051041"/>
              <a:gd name="connsiteY670" fmla="*/ 901697 h 2084191"/>
              <a:gd name="connsiteX671" fmla="*/ 1274501 w 2051041"/>
              <a:gd name="connsiteY671" fmla="*/ 860340 h 2084191"/>
              <a:gd name="connsiteX672" fmla="*/ 1316403 w 2051041"/>
              <a:gd name="connsiteY672" fmla="*/ 818982 h 2084191"/>
              <a:gd name="connsiteX673" fmla="*/ 1479112 w 2051041"/>
              <a:gd name="connsiteY673" fmla="*/ 816806 h 2084191"/>
              <a:gd name="connsiteX674" fmla="*/ 1522646 w 2051041"/>
              <a:gd name="connsiteY674" fmla="*/ 860340 h 2084191"/>
              <a:gd name="connsiteX675" fmla="*/ 1479656 w 2051041"/>
              <a:gd name="connsiteY675" fmla="*/ 904419 h 2084191"/>
              <a:gd name="connsiteX676" fmla="*/ 1435578 w 2051041"/>
              <a:gd name="connsiteY676" fmla="*/ 860884 h 2084191"/>
              <a:gd name="connsiteX677" fmla="*/ 1479112 w 2051041"/>
              <a:gd name="connsiteY677" fmla="*/ 816806 h 2084191"/>
              <a:gd name="connsiteX678" fmla="*/ 1642909 w 2051041"/>
              <a:gd name="connsiteY678" fmla="*/ 815718 h 2084191"/>
              <a:gd name="connsiteX679" fmla="*/ 1686987 w 2051041"/>
              <a:gd name="connsiteY679" fmla="*/ 860885 h 2084191"/>
              <a:gd name="connsiteX680" fmla="*/ 1641276 w 2051041"/>
              <a:gd name="connsiteY680" fmla="*/ 905507 h 2084191"/>
              <a:gd name="connsiteX681" fmla="*/ 1597742 w 2051041"/>
              <a:gd name="connsiteY681" fmla="*/ 860340 h 2084191"/>
              <a:gd name="connsiteX682" fmla="*/ 1642909 w 2051041"/>
              <a:gd name="connsiteY682" fmla="*/ 815718 h 2084191"/>
              <a:gd name="connsiteX683" fmla="*/ 1806161 w 2051041"/>
              <a:gd name="connsiteY683" fmla="*/ 815173 h 2084191"/>
              <a:gd name="connsiteX684" fmla="*/ 1852416 w 2051041"/>
              <a:gd name="connsiteY684" fmla="*/ 860884 h 2084191"/>
              <a:gd name="connsiteX685" fmla="*/ 1805617 w 2051041"/>
              <a:gd name="connsiteY685" fmla="*/ 906594 h 2084191"/>
              <a:gd name="connsiteX686" fmla="*/ 1759906 w 2051041"/>
              <a:gd name="connsiteY686" fmla="*/ 860884 h 2084191"/>
              <a:gd name="connsiteX687" fmla="*/ 1806161 w 2051041"/>
              <a:gd name="connsiteY687" fmla="*/ 815173 h 2084191"/>
              <a:gd name="connsiteX688" fmla="*/ 1968326 w 2051041"/>
              <a:gd name="connsiteY688" fmla="*/ 812453 h 2084191"/>
              <a:gd name="connsiteX689" fmla="*/ 2000977 w 2051041"/>
              <a:gd name="connsiteY689" fmla="*/ 826057 h 2084191"/>
              <a:gd name="connsiteX690" fmla="*/ 2015670 w 2051041"/>
              <a:gd name="connsiteY690" fmla="*/ 859796 h 2084191"/>
              <a:gd name="connsiteX691" fmla="*/ 1969415 w 2051041"/>
              <a:gd name="connsiteY691" fmla="*/ 907684 h 2084191"/>
              <a:gd name="connsiteX692" fmla="*/ 1922071 w 2051041"/>
              <a:gd name="connsiteY692" fmla="*/ 860885 h 2084191"/>
              <a:gd name="connsiteX693" fmla="*/ 1968326 w 2051041"/>
              <a:gd name="connsiteY693" fmla="*/ 812453 h 2084191"/>
              <a:gd name="connsiteX694" fmla="*/ 255260 w 2051041"/>
              <a:gd name="connsiteY694" fmla="*/ 762932 h 2084191"/>
              <a:gd name="connsiteX695" fmla="*/ 270497 w 2051041"/>
              <a:gd name="connsiteY695" fmla="*/ 779802 h 2084191"/>
              <a:gd name="connsiteX696" fmla="*/ 254172 w 2051041"/>
              <a:gd name="connsiteY696" fmla="*/ 795038 h 2084191"/>
              <a:gd name="connsiteX697" fmla="*/ 238935 w 2051041"/>
              <a:gd name="connsiteY697" fmla="*/ 778713 h 2084191"/>
              <a:gd name="connsiteX698" fmla="*/ 255260 w 2051041"/>
              <a:gd name="connsiteY698" fmla="*/ 762932 h 2084191"/>
              <a:gd name="connsiteX699" fmla="*/ 416881 w 2051041"/>
              <a:gd name="connsiteY699" fmla="*/ 756402 h 2084191"/>
              <a:gd name="connsiteX700" fmla="*/ 440280 w 2051041"/>
              <a:gd name="connsiteY700" fmla="*/ 778713 h 2084191"/>
              <a:gd name="connsiteX701" fmla="*/ 419057 w 2051041"/>
              <a:gd name="connsiteY701" fmla="*/ 801024 h 2084191"/>
              <a:gd name="connsiteX702" fmla="*/ 396202 w 2051041"/>
              <a:gd name="connsiteY702" fmla="*/ 779257 h 2084191"/>
              <a:gd name="connsiteX703" fmla="*/ 416881 w 2051041"/>
              <a:gd name="connsiteY703" fmla="*/ 756402 h 2084191"/>
              <a:gd name="connsiteX704" fmla="*/ 581766 w 2051041"/>
              <a:gd name="connsiteY704" fmla="*/ 751505 h 2084191"/>
              <a:gd name="connsiteX705" fmla="*/ 608975 w 2051041"/>
              <a:gd name="connsiteY705" fmla="*/ 779802 h 2084191"/>
              <a:gd name="connsiteX706" fmla="*/ 580678 w 2051041"/>
              <a:gd name="connsiteY706" fmla="*/ 806467 h 2084191"/>
              <a:gd name="connsiteX707" fmla="*/ 553469 w 2051041"/>
              <a:gd name="connsiteY707" fmla="*/ 778714 h 2084191"/>
              <a:gd name="connsiteX708" fmla="*/ 581766 w 2051041"/>
              <a:gd name="connsiteY708" fmla="*/ 751505 h 2084191"/>
              <a:gd name="connsiteX709" fmla="*/ 746107 w 2051041"/>
              <a:gd name="connsiteY709" fmla="*/ 746607 h 2084191"/>
              <a:gd name="connsiteX710" fmla="*/ 777125 w 2051041"/>
              <a:gd name="connsiteY710" fmla="*/ 780346 h 2084191"/>
              <a:gd name="connsiteX711" fmla="*/ 742842 w 2051041"/>
              <a:gd name="connsiteY711" fmla="*/ 811364 h 2084191"/>
              <a:gd name="connsiteX712" fmla="*/ 712368 w 2051041"/>
              <a:gd name="connsiteY712" fmla="*/ 778713 h 2084191"/>
              <a:gd name="connsiteX713" fmla="*/ 746107 w 2051041"/>
              <a:gd name="connsiteY713" fmla="*/ 746607 h 2084191"/>
              <a:gd name="connsiteX714" fmla="*/ 907727 w 2051041"/>
              <a:gd name="connsiteY714" fmla="*/ 741710 h 2084191"/>
              <a:gd name="connsiteX715" fmla="*/ 944187 w 2051041"/>
              <a:gd name="connsiteY715" fmla="*/ 778714 h 2084191"/>
              <a:gd name="connsiteX716" fmla="*/ 907727 w 2051041"/>
              <a:gd name="connsiteY716" fmla="*/ 815174 h 2084191"/>
              <a:gd name="connsiteX717" fmla="*/ 872355 w 2051041"/>
              <a:gd name="connsiteY717" fmla="*/ 779258 h 2084191"/>
              <a:gd name="connsiteX718" fmla="*/ 907727 w 2051041"/>
              <a:gd name="connsiteY718" fmla="*/ 741710 h 2084191"/>
              <a:gd name="connsiteX719" fmla="*/ 1070979 w 2051041"/>
              <a:gd name="connsiteY719" fmla="*/ 740621 h 2084191"/>
              <a:gd name="connsiteX720" fmla="*/ 1110160 w 2051041"/>
              <a:gd name="connsiteY720" fmla="*/ 779258 h 2084191"/>
              <a:gd name="connsiteX721" fmla="*/ 1070979 w 2051041"/>
              <a:gd name="connsiteY721" fmla="*/ 817894 h 2084191"/>
              <a:gd name="connsiteX722" fmla="*/ 1031799 w 2051041"/>
              <a:gd name="connsiteY722" fmla="*/ 778714 h 2084191"/>
              <a:gd name="connsiteX723" fmla="*/ 1070979 w 2051041"/>
              <a:gd name="connsiteY723" fmla="*/ 740621 h 2084191"/>
              <a:gd name="connsiteX724" fmla="*/ 1233688 w 2051041"/>
              <a:gd name="connsiteY724" fmla="*/ 736268 h 2084191"/>
              <a:gd name="connsiteX725" fmla="*/ 1276134 w 2051041"/>
              <a:gd name="connsiteY725" fmla="*/ 777625 h 2084191"/>
              <a:gd name="connsiteX726" fmla="*/ 1235320 w 2051041"/>
              <a:gd name="connsiteY726" fmla="*/ 820615 h 2084191"/>
              <a:gd name="connsiteX727" fmla="*/ 1192331 w 2051041"/>
              <a:gd name="connsiteY727" fmla="*/ 779258 h 2084191"/>
              <a:gd name="connsiteX728" fmla="*/ 1233688 w 2051041"/>
              <a:gd name="connsiteY728" fmla="*/ 736268 h 2084191"/>
              <a:gd name="connsiteX729" fmla="*/ 1397485 w 2051041"/>
              <a:gd name="connsiteY729" fmla="*/ 735724 h 2084191"/>
              <a:gd name="connsiteX730" fmla="*/ 1441019 w 2051041"/>
              <a:gd name="connsiteY730" fmla="*/ 779802 h 2084191"/>
              <a:gd name="connsiteX731" fmla="*/ 1396397 w 2051041"/>
              <a:gd name="connsiteY731" fmla="*/ 823336 h 2084191"/>
              <a:gd name="connsiteX732" fmla="*/ 1352863 w 2051041"/>
              <a:gd name="connsiteY732" fmla="*/ 779258 h 2084191"/>
              <a:gd name="connsiteX733" fmla="*/ 1397485 w 2051041"/>
              <a:gd name="connsiteY733" fmla="*/ 735724 h 2084191"/>
              <a:gd name="connsiteX734" fmla="*/ 1562371 w 2051041"/>
              <a:gd name="connsiteY734" fmla="*/ 734636 h 2084191"/>
              <a:gd name="connsiteX735" fmla="*/ 1605905 w 2051041"/>
              <a:gd name="connsiteY735" fmla="*/ 779802 h 2084191"/>
              <a:gd name="connsiteX736" fmla="*/ 1560194 w 2051041"/>
              <a:gd name="connsiteY736" fmla="*/ 823881 h 2084191"/>
              <a:gd name="connsiteX737" fmla="*/ 1515572 w 2051041"/>
              <a:gd name="connsiteY737" fmla="*/ 777626 h 2084191"/>
              <a:gd name="connsiteX738" fmla="*/ 1562371 w 2051041"/>
              <a:gd name="connsiteY738" fmla="*/ 734636 h 2084191"/>
              <a:gd name="connsiteX739" fmla="*/ 1724535 w 2051041"/>
              <a:gd name="connsiteY739" fmla="*/ 730827 h 2084191"/>
              <a:gd name="connsiteX740" fmla="*/ 1772422 w 2051041"/>
              <a:gd name="connsiteY740" fmla="*/ 779258 h 2084191"/>
              <a:gd name="connsiteX741" fmla="*/ 1723446 w 2051041"/>
              <a:gd name="connsiteY741" fmla="*/ 826602 h 2084191"/>
              <a:gd name="connsiteX742" fmla="*/ 1676647 w 2051041"/>
              <a:gd name="connsiteY742" fmla="*/ 778714 h 2084191"/>
              <a:gd name="connsiteX743" fmla="*/ 1724535 w 2051041"/>
              <a:gd name="connsiteY743" fmla="*/ 730827 h 2084191"/>
              <a:gd name="connsiteX744" fmla="*/ 1886699 w 2051041"/>
              <a:gd name="connsiteY744" fmla="*/ 730826 h 2084191"/>
              <a:gd name="connsiteX745" fmla="*/ 1935131 w 2051041"/>
              <a:gd name="connsiteY745" fmla="*/ 778713 h 2084191"/>
              <a:gd name="connsiteX746" fmla="*/ 1887244 w 2051041"/>
              <a:gd name="connsiteY746" fmla="*/ 827145 h 2084191"/>
              <a:gd name="connsiteX747" fmla="*/ 1838812 w 2051041"/>
              <a:gd name="connsiteY747" fmla="*/ 778713 h 2084191"/>
              <a:gd name="connsiteX748" fmla="*/ 1886699 w 2051041"/>
              <a:gd name="connsiteY748" fmla="*/ 730826 h 2084191"/>
              <a:gd name="connsiteX749" fmla="*/ 2050496 w 2051041"/>
              <a:gd name="connsiteY749" fmla="*/ 730282 h 2084191"/>
              <a:gd name="connsiteX750" fmla="*/ 2051041 w 2051041"/>
              <a:gd name="connsiteY750" fmla="*/ 730396 h 2084191"/>
              <a:gd name="connsiteX751" fmla="*/ 2051041 w 2051041"/>
              <a:gd name="connsiteY751" fmla="*/ 826942 h 2084191"/>
              <a:gd name="connsiteX752" fmla="*/ 2049952 w 2051041"/>
              <a:gd name="connsiteY752" fmla="*/ 827145 h 2084191"/>
              <a:gd name="connsiteX753" fmla="*/ 2002065 w 2051041"/>
              <a:gd name="connsiteY753" fmla="*/ 778169 h 2084191"/>
              <a:gd name="connsiteX754" fmla="*/ 2050496 w 2051041"/>
              <a:gd name="connsiteY754" fmla="*/ 730282 h 2084191"/>
              <a:gd name="connsiteX755" fmla="*/ 173634 w 2051041"/>
              <a:gd name="connsiteY755" fmla="*/ 685660 h 2084191"/>
              <a:gd name="connsiteX756" fmla="*/ 184518 w 2051041"/>
              <a:gd name="connsiteY756" fmla="*/ 698176 h 2084191"/>
              <a:gd name="connsiteX757" fmla="*/ 172546 w 2051041"/>
              <a:gd name="connsiteY757" fmla="*/ 709059 h 2084191"/>
              <a:gd name="connsiteX758" fmla="*/ 161118 w 2051041"/>
              <a:gd name="connsiteY758" fmla="*/ 697088 h 2084191"/>
              <a:gd name="connsiteX759" fmla="*/ 173634 w 2051041"/>
              <a:gd name="connsiteY759" fmla="*/ 685660 h 2084191"/>
              <a:gd name="connsiteX760" fmla="*/ 335798 w 2051041"/>
              <a:gd name="connsiteY760" fmla="*/ 675320 h 2084191"/>
              <a:gd name="connsiteX761" fmla="*/ 357565 w 2051041"/>
              <a:gd name="connsiteY761" fmla="*/ 696543 h 2084191"/>
              <a:gd name="connsiteX762" fmla="*/ 336342 w 2051041"/>
              <a:gd name="connsiteY762" fmla="*/ 718854 h 2084191"/>
              <a:gd name="connsiteX763" fmla="*/ 315120 w 2051041"/>
              <a:gd name="connsiteY763" fmla="*/ 697631 h 2084191"/>
              <a:gd name="connsiteX764" fmla="*/ 335798 w 2051041"/>
              <a:gd name="connsiteY764" fmla="*/ 675320 h 2084191"/>
              <a:gd name="connsiteX765" fmla="*/ 499051 w 2051041"/>
              <a:gd name="connsiteY765" fmla="*/ 670423 h 2084191"/>
              <a:gd name="connsiteX766" fmla="*/ 526804 w 2051041"/>
              <a:gd name="connsiteY766" fmla="*/ 697088 h 2084191"/>
              <a:gd name="connsiteX767" fmla="*/ 499595 w 2051041"/>
              <a:gd name="connsiteY767" fmla="*/ 724296 h 2084191"/>
              <a:gd name="connsiteX768" fmla="*/ 472930 w 2051041"/>
              <a:gd name="connsiteY768" fmla="*/ 697632 h 2084191"/>
              <a:gd name="connsiteX769" fmla="*/ 499051 w 2051041"/>
              <a:gd name="connsiteY769" fmla="*/ 670423 h 2084191"/>
              <a:gd name="connsiteX770" fmla="*/ 662848 w 2051041"/>
              <a:gd name="connsiteY770" fmla="*/ 665525 h 2084191"/>
              <a:gd name="connsiteX771" fmla="*/ 694954 w 2051041"/>
              <a:gd name="connsiteY771" fmla="*/ 697087 h 2084191"/>
              <a:gd name="connsiteX772" fmla="*/ 663392 w 2051041"/>
              <a:gd name="connsiteY772" fmla="*/ 729194 h 2084191"/>
              <a:gd name="connsiteX773" fmla="*/ 632374 w 2051041"/>
              <a:gd name="connsiteY773" fmla="*/ 698176 h 2084191"/>
              <a:gd name="connsiteX774" fmla="*/ 662848 w 2051041"/>
              <a:gd name="connsiteY774" fmla="*/ 665525 h 2084191"/>
              <a:gd name="connsiteX775" fmla="*/ 825013 w 2051041"/>
              <a:gd name="connsiteY775" fmla="*/ 663349 h 2084191"/>
              <a:gd name="connsiteX776" fmla="*/ 860384 w 2051041"/>
              <a:gd name="connsiteY776" fmla="*/ 697632 h 2084191"/>
              <a:gd name="connsiteX777" fmla="*/ 826101 w 2051041"/>
              <a:gd name="connsiteY777" fmla="*/ 731915 h 2084191"/>
              <a:gd name="connsiteX778" fmla="*/ 791818 w 2051041"/>
              <a:gd name="connsiteY778" fmla="*/ 698176 h 2084191"/>
              <a:gd name="connsiteX779" fmla="*/ 825013 w 2051041"/>
              <a:gd name="connsiteY779" fmla="*/ 663349 h 2084191"/>
              <a:gd name="connsiteX780" fmla="*/ 988809 w 2051041"/>
              <a:gd name="connsiteY780" fmla="*/ 658995 h 2084191"/>
              <a:gd name="connsiteX781" fmla="*/ 1027446 w 2051041"/>
              <a:gd name="connsiteY781" fmla="*/ 697087 h 2084191"/>
              <a:gd name="connsiteX782" fmla="*/ 989353 w 2051041"/>
              <a:gd name="connsiteY782" fmla="*/ 735723 h 2084191"/>
              <a:gd name="connsiteX783" fmla="*/ 950717 w 2051041"/>
              <a:gd name="connsiteY783" fmla="*/ 697631 h 2084191"/>
              <a:gd name="connsiteX784" fmla="*/ 988809 w 2051041"/>
              <a:gd name="connsiteY784" fmla="*/ 658995 h 2084191"/>
              <a:gd name="connsiteX785" fmla="*/ 1152607 w 2051041"/>
              <a:gd name="connsiteY785" fmla="*/ 655729 h 2084191"/>
              <a:gd name="connsiteX786" fmla="*/ 1195052 w 2051041"/>
              <a:gd name="connsiteY786" fmla="*/ 697087 h 2084191"/>
              <a:gd name="connsiteX787" fmla="*/ 1153151 w 2051041"/>
              <a:gd name="connsiteY787" fmla="*/ 739533 h 2084191"/>
              <a:gd name="connsiteX788" fmla="*/ 1110705 w 2051041"/>
              <a:gd name="connsiteY788" fmla="*/ 697631 h 2084191"/>
              <a:gd name="connsiteX789" fmla="*/ 1152607 w 2051041"/>
              <a:gd name="connsiteY789" fmla="*/ 655729 h 2084191"/>
              <a:gd name="connsiteX790" fmla="*/ 1316948 w 2051041"/>
              <a:gd name="connsiteY790" fmla="*/ 653554 h 2084191"/>
              <a:gd name="connsiteX791" fmla="*/ 1359937 w 2051041"/>
              <a:gd name="connsiteY791" fmla="*/ 697632 h 2084191"/>
              <a:gd name="connsiteX792" fmla="*/ 1315315 w 2051041"/>
              <a:gd name="connsiteY792" fmla="*/ 740622 h 2084191"/>
              <a:gd name="connsiteX793" fmla="*/ 1271781 w 2051041"/>
              <a:gd name="connsiteY793" fmla="*/ 696544 h 2084191"/>
              <a:gd name="connsiteX794" fmla="*/ 1316948 w 2051041"/>
              <a:gd name="connsiteY794" fmla="*/ 653554 h 2084191"/>
              <a:gd name="connsiteX795" fmla="*/ 1479112 w 2051041"/>
              <a:gd name="connsiteY795" fmla="*/ 651921 h 2084191"/>
              <a:gd name="connsiteX796" fmla="*/ 1524823 w 2051041"/>
              <a:gd name="connsiteY796" fmla="*/ 697088 h 2084191"/>
              <a:gd name="connsiteX797" fmla="*/ 1479112 w 2051041"/>
              <a:gd name="connsiteY797" fmla="*/ 742254 h 2084191"/>
              <a:gd name="connsiteX798" fmla="*/ 1433945 w 2051041"/>
              <a:gd name="connsiteY798" fmla="*/ 697088 h 2084191"/>
              <a:gd name="connsiteX799" fmla="*/ 1479112 w 2051041"/>
              <a:gd name="connsiteY799" fmla="*/ 651921 h 2084191"/>
              <a:gd name="connsiteX800" fmla="*/ 1642909 w 2051041"/>
              <a:gd name="connsiteY800" fmla="*/ 649744 h 2084191"/>
              <a:gd name="connsiteX801" fmla="*/ 1690796 w 2051041"/>
              <a:gd name="connsiteY801" fmla="*/ 697087 h 2084191"/>
              <a:gd name="connsiteX802" fmla="*/ 1642909 w 2051041"/>
              <a:gd name="connsiteY802" fmla="*/ 745519 h 2084191"/>
              <a:gd name="connsiteX803" fmla="*/ 1594477 w 2051041"/>
              <a:gd name="connsiteY803" fmla="*/ 697632 h 2084191"/>
              <a:gd name="connsiteX804" fmla="*/ 1642909 w 2051041"/>
              <a:gd name="connsiteY804" fmla="*/ 649744 h 2084191"/>
              <a:gd name="connsiteX805" fmla="*/ 1805617 w 2051041"/>
              <a:gd name="connsiteY805" fmla="*/ 648112 h 2084191"/>
              <a:gd name="connsiteX806" fmla="*/ 1854593 w 2051041"/>
              <a:gd name="connsiteY806" fmla="*/ 698176 h 2084191"/>
              <a:gd name="connsiteX807" fmla="*/ 1805073 w 2051041"/>
              <a:gd name="connsiteY807" fmla="*/ 746607 h 2084191"/>
              <a:gd name="connsiteX808" fmla="*/ 1756097 w 2051041"/>
              <a:gd name="connsiteY808" fmla="*/ 697087 h 2084191"/>
              <a:gd name="connsiteX809" fmla="*/ 1805617 w 2051041"/>
              <a:gd name="connsiteY809" fmla="*/ 648112 h 2084191"/>
              <a:gd name="connsiteX810" fmla="*/ 1969414 w 2051041"/>
              <a:gd name="connsiteY810" fmla="*/ 647023 h 2084191"/>
              <a:gd name="connsiteX811" fmla="*/ 2018934 w 2051041"/>
              <a:gd name="connsiteY811" fmla="*/ 698176 h 2084191"/>
              <a:gd name="connsiteX812" fmla="*/ 1968326 w 2051041"/>
              <a:gd name="connsiteY812" fmla="*/ 746063 h 2084191"/>
              <a:gd name="connsiteX813" fmla="*/ 1918806 w 2051041"/>
              <a:gd name="connsiteY813" fmla="*/ 697087 h 2084191"/>
              <a:gd name="connsiteX814" fmla="*/ 1969414 w 2051041"/>
              <a:gd name="connsiteY814" fmla="*/ 647023 h 2084191"/>
              <a:gd name="connsiteX815" fmla="*/ 90919 w 2051041"/>
              <a:gd name="connsiteY815" fmla="*/ 606754 h 2084191"/>
              <a:gd name="connsiteX816" fmla="*/ 99626 w 2051041"/>
              <a:gd name="connsiteY816" fmla="*/ 615460 h 2084191"/>
              <a:gd name="connsiteX817" fmla="*/ 92007 w 2051041"/>
              <a:gd name="connsiteY817" fmla="*/ 627976 h 2084191"/>
              <a:gd name="connsiteX818" fmla="*/ 82756 w 2051041"/>
              <a:gd name="connsiteY818" fmla="*/ 616005 h 2084191"/>
              <a:gd name="connsiteX819" fmla="*/ 90919 w 2051041"/>
              <a:gd name="connsiteY819" fmla="*/ 606754 h 2084191"/>
              <a:gd name="connsiteX820" fmla="*/ 254172 w 2051041"/>
              <a:gd name="connsiteY820" fmla="*/ 598047 h 2084191"/>
              <a:gd name="connsiteX821" fmla="*/ 272674 w 2051041"/>
              <a:gd name="connsiteY821" fmla="*/ 614917 h 2084191"/>
              <a:gd name="connsiteX822" fmla="*/ 255260 w 2051041"/>
              <a:gd name="connsiteY822" fmla="*/ 633419 h 2084191"/>
              <a:gd name="connsiteX823" fmla="*/ 236758 w 2051041"/>
              <a:gd name="connsiteY823" fmla="*/ 616005 h 2084191"/>
              <a:gd name="connsiteX824" fmla="*/ 254172 w 2051041"/>
              <a:gd name="connsiteY824" fmla="*/ 598047 h 2084191"/>
              <a:gd name="connsiteX825" fmla="*/ 418513 w 2051041"/>
              <a:gd name="connsiteY825" fmla="*/ 590429 h 2084191"/>
              <a:gd name="connsiteX826" fmla="*/ 443001 w 2051041"/>
              <a:gd name="connsiteY826" fmla="*/ 614917 h 2084191"/>
              <a:gd name="connsiteX827" fmla="*/ 419058 w 2051041"/>
              <a:gd name="connsiteY827" fmla="*/ 640493 h 2084191"/>
              <a:gd name="connsiteX828" fmla="*/ 392937 w 2051041"/>
              <a:gd name="connsiteY828" fmla="*/ 616005 h 2084191"/>
              <a:gd name="connsiteX829" fmla="*/ 418513 w 2051041"/>
              <a:gd name="connsiteY829" fmla="*/ 590429 h 2084191"/>
              <a:gd name="connsiteX830" fmla="*/ 581222 w 2051041"/>
              <a:gd name="connsiteY830" fmla="*/ 587163 h 2084191"/>
              <a:gd name="connsiteX831" fmla="*/ 610063 w 2051041"/>
              <a:gd name="connsiteY831" fmla="*/ 616549 h 2084191"/>
              <a:gd name="connsiteX832" fmla="*/ 580677 w 2051041"/>
              <a:gd name="connsiteY832" fmla="*/ 645390 h 2084191"/>
              <a:gd name="connsiteX833" fmla="*/ 551836 w 2051041"/>
              <a:gd name="connsiteY833" fmla="*/ 615461 h 2084191"/>
              <a:gd name="connsiteX834" fmla="*/ 581222 w 2051041"/>
              <a:gd name="connsiteY834" fmla="*/ 587163 h 2084191"/>
              <a:gd name="connsiteX835" fmla="*/ 743930 w 2051041"/>
              <a:gd name="connsiteY835" fmla="*/ 582266 h 2084191"/>
              <a:gd name="connsiteX836" fmla="*/ 779301 w 2051041"/>
              <a:gd name="connsiteY836" fmla="*/ 616005 h 2084191"/>
              <a:gd name="connsiteX837" fmla="*/ 745563 w 2051041"/>
              <a:gd name="connsiteY837" fmla="*/ 649744 h 2084191"/>
              <a:gd name="connsiteX838" fmla="*/ 711824 w 2051041"/>
              <a:gd name="connsiteY838" fmla="*/ 616549 h 2084191"/>
              <a:gd name="connsiteX839" fmla="*/ 743930 w 2051041"/>
              <a:gd name="connsiteY839" fmla="*/ 582266 h 2084191"/>
              <a:gd name="connsiteX840" fmla="*/ 907183 w 2051041"/>
              <a:gd name="connsiteY840" fmla="*/ 577913 h 2084191"/>
              <a:gd name="connsiteX841" fmla="*/ 945276 w 2051041"/>
              <a:gd name="connsiteY841" fmla="*/ 615461 h 2084191"/>
              <a:gd name="connsiteX842" fmla="*/ 907727 w 2051041"/>
              <a:gd name="connsiteY842" fmla="*/ 654098 h 2084191"/>
              <a:gd name="connsiteX843" fmla="*/ 869091 w 2051041"/>
              <a:gd name="connsiteY843" fmla="*/ 616006 h 2084191"/>
              <a:gd name="connsiteX844" fmla="*/ 907183 w 2051041"/>
              <a:gd name="connsiteY844" fmla="*/ 577913 h 2084191"/>
              <a:gd name="connsiteX845" fmla="*/ 1069891 w 2051041"/>
              <a:gd name="connsiteY845" fmla="*/ 574648 h 2084191"/>
              <a:gd name="connsiteX846" fmla="*/ 1111248 w 2051041"/>
              <a:gd name="connsiteY846" fmla="*/ 615461 h 2084191"/>
              <a:gd name="connsiteX847" fmla="*/ 1070435 w 2051041"/>
              <a:gd name="connsiteY847" fmla="*/ 656274 h 2084191"/>
              <a:gd name="connsiteX848" fmla="*/ 1029622 w 2051041"/>
              <a:gd name="connsiteY848" fmla="*/ 614917 h 2084191"/>
              <a:gd name="connsiteX849" fmla="*/ 1069891 w 2051041"/>
              <a:gd name="connsiteY849" fmla="*/ 574648 h 2084191"/>
              <a:gd name="connsiteX850" fmla="*/ 1235321 w 2051041"/>
              <a:gd name="connsiteY850" fmla="*/ 572472 h 2084191"/>
              <a:gd name="connsiteX851" fmla="*/ 1277222 w 2051041"/>
              <a:gd name="connsiteY851" fmla="*/ 616550 h 2084191"/>
              <a:gd name="connsiteX852" fmla="*/ 1233688 w 2051041"/>
              <a:gd name="connsiteY852" fmla="*/ 660084 h 2084191"/>
              <a:gd name="connsiteX853" fmla="*/ 1190154 w 2051041"/>
              <a:gd name="connsiteY853" fmla="*/ 614917 h 2084191"/>
              <a:gd name="connsiteX854" fmla="*/ 1235321 w 2051041"/>
              <a:gd name="connsiteY854" fmla="*/ 572472 h 2084191"/>
              <a:gd name="connsiteX855" fmla="*/ 1397485 w 2051041"/>
              <a:gd name="connsiteY855" fmla="*/ 569206 h 2084191"/>
              <a:gd name="connsiteX856" fmla="*/ 1443196 w 2051041"/>
              <a:gd name="connsiteY856" fmla="*/ 616005 h 2084191"/>
              <a:gd name="connsiteX857" fmla="*/ 1396941 w 2051041"/>
              <a:gd name="connsiteY857" fmla="*/ 661172 h 2084191"/>
              <a:gd name="connsiteX858" fmla="*/ 1351775 w 2051041"/>
              <a:gd name="connsiteY858" fmla="*/ 614373 h 2084191"/>
              <a:gd name="connsiteX859" fmla="*/ 1397485 w 2051041"/>
              <a:gd name="connsiteY859" fmla="*/ 569206 h 2084191"/>
              <a:gd name="connsiteX860" fmla="*/ 1560738 w 2051041"/>
              <a:gd name="connsiteY860" fmla="*/ 567029 h 2084191"/>
              <a:gd name="connsiteX861" fmla="*/ 1609714 w 2051041"/>
              <a:gd name="connsiteY861" fmla="*/ 615461 h 2084191"/>
              <a:gd name="connsiteX862" fmla="*/ 1561283 w 2051041"/>
              <a:gd name="connsiteY862" fmla="*/ 663892 h 2084191"/>
              <a:gd name="connsiteX863" fmla="*/ 1512851 w 2051041"/>
              <a:gd name="connsiteY863" fmla="*/ 616005 h 2084191"/>
              <a:gd name="connsiteX864" fmla="*/ 1560738 w 2051041"/>
              <a:gd name="connsiteY864" fmla="*/ 567029 h 2084191"/>
              <a:gd name="connsiteX865" fmla="*/ 1725624 w 2051041"/>
              <a:gd name="connsiteY865" fmla="*/ 565397 h 2084191"/>
              <a:gd name="connsiteX866" fmla="*/ 1774599 w 2051041"/>
              <a:gd name="connsiteY866" fmla="*/ 616005 h 2084191"/>
              <a:gd name="connsiteX867" fmla="*/ 1723447 w 2051041"/>
              <a:gd name="connsiteY867" fmla="*/ 664981 h 2084191"/>
              <a:gd name="connsiteX868" fmla="*/ 1674471 w 2051041"/>
              <a:gd name="connsiteY868" fmla="*/ 615461 h 2084191"/>
              <a:gd name="connsiteX869" fmla="*/ 1725624 w 2051041"/>
              <a:gd name="connsiteY869" fmla="*/ 565397 h 2084191"/>
              <a:gd name="connsiteX870" fmla="*/ 1886699 w 2051041"/>
              <a:gd name="connsiteY870" fmla="*/ 564853 h 2084191"/>
              <a:gd name="connsiteX871" fmla="*/ 1938396 w 2051041"/>
              <a:gd name="connsiteY871" fmla="*/ 614917 h 2084191"/>
              <a:gd name="connsiteX872" fmla="*/ 1887787 w 2051041"/>
              <a:gd name="connsiteY872" fmla="*/ 665525 h 2084191"/>
              <a:gd name="connsiteX873" fmla="*/ 1837179 w 2051041"/>
              <a:gd name="connsiteY873" fmla="*/ 615461 h 2084191"/>
              <a:gd name="connsiteX874" fmla="*/ 1886699 w 2051041"/>
              <a:gd name="connsiteY874" fmla="*/ 564853 h 2084191"/>
              <a:gd name="connsiteX875" fmla="*/ 2050496 w 2051041"/>
              <a:gd name="connsiteY875" fmla="*/ 564852 h 2084191"/>
              <a:gd name="connsiteX876" fmla="*/ 2051041 w 2051041"/>
              <a:gd name="connsiteY876" fmla="*/ 564962 h 2084191"/>
              <a:gd name="connsiteX877" fmla="*/ 2051041 w 2051041"/>
              <a:gd name="connsiteY877" fmla="*/ 665899 h 2084191"/>
              <a:gd name="connsiteX878" fmla="*/ 2049952 w 2051041"/>
              <a:gd name="connsiteY878" fmla="*/ 666069 h 2084191"/>
              <a:gd name="connsiteX879" fmla="*/ 1999344 w 2051041"/>
              <a:gd name="connsiteY879" fmla="*/ 615460 h 2084191"/>
              <a:gd name="connsiteX880" fmla="*/ 2050496 w 2051041"/>
              <a:gd name="connsiteY880" fmla="*/ 564852 h 2084191"/>
              <a:gd name="connsiteX881" fmla="*/ 173090 w 2051041"/>
              <a:gd name="connsiteY881" fmla="*/ 517509 h 2084191"/>
              <a:gd name="connsiteX882" fmla="*/ 189959 w 2051041"/>
              <a:gd name="connsiteY882" fmla="*/ 533834 h 2084191"/>
              <a:gd name="connsiteX883" fmla="*/ 173634 w 2051041"/>
              <a:gd name="connsiteY883" fmla="*/ 550160 h 2084191"/>
              <a:gd name="connsiteX884" fmla="*/ 157308 w 2051041"/>
              <a:gd name="connsiteY884" fmla="*/ 534923 h 2084191"/>
              <a:gd name="connsiteX885" fmla="*/ 173090 w 2051041"/>
              <a:gd name="connsiteY885" fmla="*/ 517509 h 2084191"/>
              <a:gd name="connsiteX886" fmla="*/ 335798 w 2051041"/>
              <a:gd name="connsiteY886" fmla="*/ 511523 h 2084191"/>
              <a:gd name="connsiteX887" fmla="*/ 358654 w 2051041"/>
              <a:gd name="connsiteY887" fmla="*/ 533834 h 2084191"/>
              <a:gd name="connsiteX888" fmla="*/ 336343 w 2051041"/>
              <a:gd name="connsiteY888" fmla="*/ 556689 h 2084191"/>
              <a:gd name="connsiteX889" fmla="*/ 312943 w 2051041"/>
              <a:gd name="connsiteY889" fmla="*/ 534378 h 2084191"/>
              <a:gd name="connsiteX890" fmla="*/ 335798 w 2051041"/>
              <a:gd name="connsiteY890" fmla="*/ 511523 h 2084191"/>
              <a:gd name="connsiteX891" fmla="*/ 500139 w 2051041"/>
              <a:gd name="connsiteY891" fmla="*/ 506626 h 2084191"/>
              <a:gd name="connsiteX892" fmla="*/ 527348 w 2051041"/>
              <a:gd name="connsiteY892" fmla="*/ 535467 h 2084191"/>
              <a:gd name="connsiteX893" fmla="*/ 497963 w 2051041"/>
              <a:gd name="connsiteY893" fmla="*/ 561587 h 2084191"/>
              <a:gd name="connsiteX894" fmla="*/ 471842 w 2051041"/>
              <a:gd name="connsiteY894" fmla="*/ 533290 h 2084191"/>
              <a:gd name="connsiteX895" fmla="*/ 500139 w 2051041"/>
              <a:gd name="connsiteY895" fmla="*/ 506626 h 2084191"/>
              <a:gd name="connsiteX896" fmla="*/ 662304 w 2051041"/>
              <a:gd name="connsiteY896" fmla="*/ 500639 h 2084191"/>
              <a:gd name="connsiteX897" fmla="*/ 696042 w 2051041"/>
              <a:gd name="connsiteY897" fmla="*/ 533290 h 2084191"/>
              <a:gd name="connsiteX898" fmla="*/ 663392 w 2051041"/>
              <a:gd name="connsiteY898" fmla="*/ 566485 h 2084191"/>
              <a:gd name="connsiteX899" fmla="*/ 630197 w 2051041"/>
              <a:gd name="connsiteY899" fmla="*/ 534378 h 2084191"/>
              <a:gd name="connsiteX900" fmla="*/ 662304 w 2051041"/>
              <a:gd name="connsiteY900" fmla="*/ 500639 h 2084191"/>
              <a:gd name="connsiteX901" fmla="*/ 825557 w 2051041"/>
              <a:gd name="connsiteY901" fmla="*/ 496830 h 2084191"/>
              <a:gd name="connsiteX902" fmla="*/ 863649 w 2051041"/>
              <a:gd name="connsiteY902" fmla="*/ 534923 h 2084191"/>
              <a:gd name="connsiteX903" fmla="*/ 825557 w 2051041"/>
              <a:gd name="connsiteY903" fmla="*/ 571383 h 2084191"/>
              <a:gd name="connsiteX904" fmla="*/ 788553 w 2051041"/>
              <a:gd name="connsiteY904" fmla="*/ 534379 h 2084191"/>
              <a:gd name="connsiteX905" fmla="*/ 825557 w 2051041"/>
              <a:gd name="connsiteY905" fmla="*/ 496830 h 2084191"/>
              <a:gd name="connsiteX906" fmla="*/ 989898 w 2051041"/>
              <a:gd name="connsiteY906" fmla="*/ 494110 h 2084191"/>
              <a:gd name="connsiteX907" fmla="*/ 1029078 w 2051041"/>
              <a:gd name="connsiteY907" fmla="*/ 534923 h 2084191"/>
              <a:gd name="connsiteX908" fmla="*/ 989353 w 2051041"/>
              <a:gd name="connsiteY908" fmla="*/ 574104 h 2084191"/>
              <a:gd name="connsiteX909" fmla="*/ 949629 w 2051041"/>
              <a:gd name="connsiteY909" fmla="*/ 533835 h 2084191"/>
              <a:gd name="connsiteX910" fmla="*/ 989898 w 2051041"/>
              <a:gd name="connsiteY910" fmla="*/ 494110 h 2084191"/>
              <a:gd name="connsiteX911" fmla="*/ 1152062 w 2051041"/>
              <a:gd name="connsiteY911" fmla="*/ 490301 h 2084191"/>
              <a:gd name="connsiteX912" fmla="*/ 1196140 w 2051041"/>
              <a:gd name="connsiteY912" fmla="*/ 533835 h 2084191"/>
              <a:gd name="connsiteX913" fmla="*/ 1152606 w 2051041"/>
              <a:gd name="connsiteY913" fmla="*/ 577369 h 2084191"/>
              <a:gd name="connsiteX914" fmla="*/ 1109072 w 2051041"/>
              <a:gd name="connsiteY914" fmla="*/ 534379 h 2084191"/>
              <a:gd name="connsiteX915" fmla="*/ 1152062 w 2051041"/>
              <a:gd name="connsiteY915" fmla="*/ 490301 h 2084191"/>
              <a:gd name="connsiteX916" fmla="*/ 1316947 w 2051041"/>
              <a:gd name="connsiteY916" fmla="*/ 489212 h 2084191"/>
              <a:gd name="connsiteX917" fmla="*/ 1361570 w 2051041"/>
              <a:gd name="connsiteY917" fmla="*/ 534923 h 2084191"/>
              <a:gd name="connsiteX918" fmla="*/ 1315859 w 2051041"/>
              <a:gd name="connsiteY918" fmla="*/ 580090 h 2084191"/>
              <a:gd name="connsiteX919" fmla="*/ 1270693 w 2051041"/>
              <a:gd name="connsiteY919" fmla="*/ 533835 h 2084191"/>
              <a:gd name="connsiteX920" fmla="*/ 1316947 w 2051041"/>
              <a:gd name="connsiteY920" fmla="*/ 489212 h 2084191"/>
              <a:gd name="connsiteX921" fmla="*/ 1479112 w 2051041"/>
              <a:gd name="connsiteY921" fmla="*/ 484315 h 2084191"/>
              <a:gd name="connsiteX922" fmla="*/ 1528087 w 2051041"/>
              <a:gd name="connsiteY922" fmla="*/ 533835 h 2084191"/>
              <a:gd name="connsiteX923" fmla="*/ 1479656 w 2051041"/>
              <a:gd name="connsiteY923" fmla="*/ 582267 h 2084191"/>
              <a:gd name="connsiteX924" fmla="*/ 1431224 w 2051041"/>
              <a:gd name="connsiteY924" fmla="*/ 533835 h 2084191"/>
              <a:gd name="connsiteX925" fmla="*/ 1479112 w 2051041"/>
              <a:gd name="connsiteY925" fmla="*/ 484315 h 2084191"/>
              <a:gd name="connsiteX926" fmla="*/ 1643452 w 2051041"/>
              <a:gd name="connsiteY926" fmla="*/ 484314 h 2084191"/>
              <a:gd name="connsiteX927" fmla="*/ 1692973 w 2051041"/>
              <a:gd name="connsiteY927" fmla="*/ 534923 h 2084191"/>
              <a:gd name="connsiteX928" fmla="*/ 1641276 w 2051041"/>
              <a:gd name="connsiteY928" fmla="*/ 583898 h 2084191"/>
              <a:gd name="connsiteX929" fmla="*/ 1592300 w 2051041"/>
              <a:gd name="connsiteY929" fmla="*/ 532202 h 2084191"/>
              <a:gd name="connsiteX930" fmla="*/ 1643452 w 2051041"/>
              <a:gd name="connsiteY930" fmla="*/ 484314 h 2084191"/>
              <a:gd name="connsiteX931" fmla="*/ 1806162 w 2051041"/>
              <a:gd name="connsiteY931" fmla="*/ 481594 h 2084191"/>
              <a:gd name="connsiteX932" fmla="*/ 1857858 w 2051041"/>
              <a:gd name="connsiteY932" fmla="*/ 536011 h 2084191"/>
              <a:gd name="connsiteX933" fmla="*/ 1803441 w 2051041"/>
              <a:gd name="connsiteY933" fmla="*/ 586075 h 2084191"/>
              <a:gd name="connsiteX934" fmla="*/ 1753377 w 2051041"/>
              <a:gd name="connsiteY934" fmla="*/ 533290 h 2084191"/>
              <a:gd name="connsiteX935" fmla="*/ 1806162 w 2051041"/>
              <a:gd name="connsiteY935" fmla="*/ 481594 h 2084191"/>
              <a:gd name="connsiteX936" fmla="*/ 1968326 w 2051041"/>
              <a:gd name="connsiteY936" fmla="*/ 480505 h 2084191"/>
              <a:gd name="connsiteX937" fmla="*/ 2022200 w 2051041"/>
              <a:gd name="connsiteY937" fmla="*/ 534379 h 2084191"/>
              <a:gd name="connsiteX938" fmla="*/ 1969415 w 2051041"/>
              <a:gd name="connsiteY938" fmla="*/ 588252 h 2084191"/>
              <a:gd name="connsiteX939" fmla="*/ 1915541 w 2051041"/>
              <a:gd name="connsiteY939" fmla="*/ 534923 h 2084191"/>
              <a:gd name="connsiteX940" fmla="*/ 1968326 w 2051041"/>
              <a:gd name="connsiteY940" fmla="*/ 480505 h 2084191"/>
              <a:gd name="connsiteX941" fmla="*/ 91464 w 2051041"/>
              <a:gd name="connsiteY941" fmla="*/ 440780 h 2084191"/>
              <a:gd name="connsiteX942" fmla="*/ 102891 w 2051041"/>
              <a:gd name="connsiteY942" fmla="*/ 451664 h 2084191"/>
              <a:gd name="connsiteX943" fmla="*/ 92008 w 2051041"/>
              <a:gd name="connsiteY943" fmla="*/ 464179 h 2084191"/>
              <a:gd name="connsiteX944" fmla="*/ 80036 w 2051041"/>
              <a:gd name="connsiteY944" fmla="*/ 452752 h 2084191"/>
              <a:gd name="connsiteX945" fmla="*/ 91464 w 2051041"/>
              <a:gd name="connsiteY945" fmla="*/ 440780 h 2084191"/>
              <a:gd name="connsiteX946" fmla="*/ 254172 w 2051041"/>
              <a:gd name="connsiteY946" fmla="*/ 430441 h 2084191"/>
              <a:gd name="connsiteX947" fmla="*/ 275939 w 2051041"/>
              <a:gd name="connsiteY947" fmla="*/ 452208 h 2084191"/>
              <a:gd name="connsiteX948" fmla="*/ 254716 w 2051041"/>
              <a:gd name="connsiteY948" fmla="*/ 473975 h 2084191"/>
              <a:gd name="connsiteX949" fmla="*/ 232405 w 2051041"/>
              <a:gd name="connsiteY949" fmla="*/ 452752 h 2084191"/>
              <a:gd name="connsiteX950" fmla="*/ 254172 w 2051041"/>
              <a:gd name="connsiteY950" fmla="*/ 430441 h 2084191"/>
              <a:gd name="connsiteX951" fmla="*/ 417969 w 2051041"/>
              <a:gd name="connsiteY951" fmla="*/ 424999 h 2084191"/>
              <a:gd name="connsiteX952" fmla="*/ 444634 w 2051041"/>
              <a:gd name="connsiteY952" fmla="*/ 452752 h 2084191"/>
              <a:gd name="connsiteX953" fmla="*/ 417425 w 2051041"/>
              <a:gd name="connsiteY953" fmla="*/ 479417 h 2084191"/>
              <a:gd name="connsiteX954" fmla="*/ 390760 w 2051041"/>
              <a:gd name="connsiteY954" fmla="*/ 452208 h 2084191"/>
              <a:gd name="connsiteX955" fmla="*/ 417969 w 2051041"/>
              <a:gd name="connsiteY955" fmla="*/ 424999 h 2084191"/>
              <a:gd name="connsiteX956" fmla="*/ 580677 w 2051041"/>
              <a:gd name="connsiteY956" fmla="*/ 419558 h 2084191"/>
              <a:gd name="connsiteX957" fmla="*/ 612783 w 2051041"/>
              <a:gd name="connsiteY957" fmla="*/ 452208 h 2084191"/>
              <a:gd name="connsiteX958" fmla="*/ 581221 w 2051041"/>
              <a:gd name="connsiteY958" fmla="*/ 484315 h 2084191"/>
              <a:gd name="connsiteX959" fmla="*/ 549115 w 2051041"/>
              <a:gd name="connsiteY959" fmla="*/ 452208 h 2084191"/>
              <a:gd name="connsiteX960" fmla="*/ 580677 w 2051041"/>
              <a:gd name="connsiteY960" fmla="*/ 419558 h 2084191"/>
              <a:gd name="connsiteX961" fmla="*/ 743931 w 2051041"/>
              <a:gd name="connsiteY961" fmla="*/ 415748 h 2084191"/>
              <a:gd name="connsiteX962" fmla="*/ 780390 w 2051041"/>
              <a:gd name="connsiteY962" fmla="*/ 452208 h 2084191"/>
              <a:gd name="connsiteX963" fmla="*/ 744475 w 2051041"/>
              <a:gd name="connsiteY963" fmla="*/ 489212 h 2084191"/>
              <a:gd name="connsiteX964" fmla="*/ 708559 w 2051041"/>
              <a:gd name="connsiteY964" fmla="*/ 453840 h 2084191"/>
              <a:gd name="connsiteX965" fmla="*/ 743931 w 2051041"/>
              <a:gd name="connsiteY965" fmla="*/ 415748 h 2084191"/>
              <a:gd name="connsiteX966" fmla="*/ 908271 w 2051041"/>
              <a:gd name="connsiteY966" fmla="*/ 414116 h 2084191"/>
              <a:gd name="connsiteX967" fmla="*/ 946363 w 2051041"/>
              <a:gd name="connsiteY967" fmla="*/ 453296 h 2084191"/>
              <a:gd name="connsiteX968" fmla="*/ 906638 w 2051041"/>
              <a:gd name="connsiteY968" fmla="*/ 491933 h 2084191"/>
              <a:gd name="connsiteX969" fmla="*/ 868546 w 2051041"/>
              <a:gd name="connsiteY969" fmla="*/ 452208 h 2084191"/>
              <a:gd name="connsiteX970" fmla="*/ 908271 w 2051041"/>
              <a:gd name="connsiteY970" fmla="*/ 414116 h 2084191"/>
              <a:gd name="connsiteX971" fmla="*/ 1072068 w 2051041"/>
              <a:gd name="connsiteY971" fmla="*/ 409218 h 2084191"/>
              <a:gd name="connsiteX972" fmla="*/ 1113970 w 2051041"/>
              <a:gd name="connsiteY972" fmla="*/ 452752 h 2084191"/>
              <a:gd name="connsiteX973" fmla="*/ 1070436 w 2051041"/>
              <a:gd name="connsiteY973" fmla="*/ 495198 h 2084191"/>
              <a:gd name="connsiteX974" fmla="*/ 1028534 w 2051041"/>
              <a:gd name="connsiteY974" fmla="*/ 451120 h 2084191"/>
              <a:gd name="connsiteX975" fmla="*/ 1072068 w 2051041"/>
              <a:gd name="connsiteY975" fmla="*/ 409218 h 2084191"/>
              <a:gd name="connsiteX976" fmla="*/ 1235865 w 2051041"/>
              <a:gd name="connsiteY976" fmla="*/ 408130 h 2084191"/>
              <a:gd name="connsiteX977" fmla="*/ 1279400 w 2051041"/>
              <a:gd name="connsiteY977" fmla="*/ 453296 h 2084191"/>
              <a:gd name="connsiteX978" fmla="*/ 1233689 w 2051041"/>
              <a:gd name="connsiteY978" fmla="*/ 497374 h 2084191"/>
              <a:gd name="connsiteX979" fmla="*/ 1189611 w 2051041"/>
              <a:gd name="connsiteY979" fmla="*/ 451664 h 2084191"/>
              <a:gd name="connsiteX980" fmla="*/ 1235865 w 2051041"/>
              <a:gd name="connsiteY980" fmla="*/ 408130 h 2084191"/>
              <a:gd name="connsiteX981" fmla="*/ 1396941 w 2051041"/>
              <a:gd name="connsiteY981" fmla="*/ 403776 h 2084191"/>
              <a:gd name="connsiteX982" fmla="*/ 1446461 w 2051041"/>
              <a:gd name="connsiteY982" fmla="*/ 450575 h 2084191"/>
              <a:gd name="connsiteX983" fmla="*/ 1399118 w 2051041"/>
              <a:gd name="connsiteY983" fmla="*/ 500640 h 2084191"/>
              <a:gd name="connsiteX984" fmla="*/ 1349598 w 2051041"/>
              <a:gd name="connsiteY984" fmla="*/ 453296 h 2084191"/>
              <a:gd name="connsiteX985" fmla="*/ 1396941 w 2051041"/>
              <a:gd name="connsiteY985" fmla="*/ 403776 h 2084191"/>
              <a:gd name="connsiteX986" fmla="*/ 1560738 w 2051041"/>
              <a:gd name="connsiteY986" fmla="*/ 402144 h 2084191"/>
              <a:gd name="connsiteX987" fmla="*/ 1611347 w 2051041"/>
              <a:gd name="connsiteY987" fmla="*/ 453297 h 2084191"/>
              <a:gd name="connsiteX988" fmla="*/ 1560194 w 2051041"/>
              <a:gd name="connsiteY988" fmla="*/ 502272 h 2084191"/>
              <a:gd name="connsiteX989" fmla="*/ 1511218 w 2051041"/>
              <a:gd name="connsiteY989" fmla="*/ 451664 h 2084191"/>
              <a:gd name="connsiteX990" fmla="*/ 1560738 w 2051041"/>
              <a:gd name="connsiteY990" fmla="*/ 402144 h 2084191"/>
              <a:gd name="connsiteX991" fmla="*/ 1723991 w 2051041"/>
              <a:gd name="connsiteY991" fmla="*/ 399423 h 2084191"/>
              <a:gd name="connsiteX992" fmla="*/ 1776776 w 2051041"/>
              <a:gd name="connsiteY992" fmla="*/ 452752 h 2084191"/>
              <a:gd name="connsiteX993" fmla="*/ 1725079 w 2051041"/>
              <a:gd name="connsiteY993" fmla="*/ 504993 h 2084191"/>
              <a:gd name="connsiteX994" fmla="*/ 1671750 w 2051041"/>
              <a:gd name="connsiteY994" fmla="*/ 452752 h 2084191"/>
              <a:gd name="connsiteX995" fmla="*/ 1723991 w 2051041"/>
              <a:gd name="connsiteY995" fmla="*/ 399423 h 2084191"/>
              <a:gd name="connsiteX996" fmla="*/ 2051040 w 2051041"/>
              <a:gd name="connsiteY996" fmla="*/ 398335 h 2084191"/>
              <a:gd name="connsiteX997" fmla="*/ 2051041 w 2051041"/>
              <a:gd name="connsiteY997" fmla="*/ 398335 h 2084191"/>
              <a:gd name="connsiteX998" fmla="*/ 2051041 w 2051041"/>
              <a:gd name="connsiteY998" fmla="*/ 506936 h 2084191"/>
              <a:gd name="connsiteX999" fmla="*/ 2049952 w 2051041"/>
              <a:gd name="connsiteY999" fmla="*/ 507170 h 2084191"/>
              <a:gd name="connsiteX1000" fmla="*/ 1995534 w 2051041"/>
              <a:gd name="connsiteY1000" fmla="*/ 452208 h 2084191"/>
              <a:gd name="connsiteX1001" fmla="*/ 2051040 w 2051041"/>
              <a:gd name="connsiteY1001" fmla="*/ 398335 h 2084191"/>
              <a:gd name="connsiteX1002" fmla="*/ 1888332 w 2051041"/>
              <a:gd name="connsiteY1002" fmla="*/ 398335 h 2084191"/>
              <a:gd name="connsiteX1003" fmla="*/ 1941661 w 2051041"/>
              <a:gd name="connsiteY1003" fmla="*/ 452208 h 2084191"/>
              <a:gd name="connsiteX1004" fmla="*/ 1886699 w 2051041"/>
              <a:gd name="connsiteY1004" fmla="*/ 506082 h 2084191"/>
              <a:gd name="connsiteX1005" fmla="*/ 1833370 w 2051041"/>
              <a:gd name="connsiteY1005" fmla="*/ 452208 h 2084191"/>
              <a:gd name="connsiteX1006" fmla="*/ 1888332 w 2051041"/>
              <a:gd name="connsiteY1006" fmla="*/ 398335 h 2084191"/>
              <a:gd name="connsiteX1007" fmla="*/ 12014 w 2051041"/>
              <a:gd name="connsiteY1007" fmla="*/ 364052 h 2084191"/>
              <a:gd name="connsiteX1008" fmla="*/ 15823 w 2051041"/>
              <a:gd name="connsiteY1008" fmla="*/ 370038 h 2084191"/>
              <a:gd name="connsiteX1009" fmla="*/ 9293 w 2051041"/>
              <a:gd name="connsiteY1009" fmla="*/ 377656 h 2084191"/>
              <a:gd name="connsiteX1010" fmla="*/ 3307 w 2051041"/>
              <a:gd name="connsiteY1010" fmla="*/ 371126 h 2084191"/>
              <a:gd name="connsiteX1011" fmla="*/ 12014 w 2051041"/>
              <a:gd name="connsiteY1011" fmla="*/ 364052 h 2084191"/>
              <a:gd name="connsiteX1012" fmla="*/ 172545 w 2051041"/>
              <a:gd name="connsiteY1012" fmla="*/ 353713 h 2084191"/>
              <a:gd name="connsiteX1013" fmla="*/ 190503 w 2051041"/>
              <a:gd name="connsiteY1013" fmla="*/ 370582 h 2084191"/>
              <a:gd name="connsiteX1014" fmla="*/ 173090 w 2051041"/>
              <a:gd name="connsiteY1014" fmla="*/ 387996 h 2084191"/>
              <a:gd name="connsiteX1015" fmla="*/ 155676 w 2051041"/>
              <a:gd name="connsiteY1015" fmla="*/ 371126 h 2084191"/>
              <a:gd name="connsiteX1016" fmla="*/ 172545 w 2051041"/>
              <a:gd name="connsiteY1016" fmla="*/ 353713 h 2084191"/>
              <a:gd name="connsiteX1017" fmla="*/ 336886 w 2051041"/>
              <a:gd name="connsiteY1017" fmla="*/ 345550 h 2084191"/>
              <a:gd name="connsiteX1018" fmla="*/ 361374 w 2051041"/>
              <a:gd name="connsiteY1018" fmla="*/ 371670 h 2084191"/>
              <a:gd name="connsiteX1019" fmla="*/ 335798 w 2051041"/>
              <a:gd name="connsiteY1019" fmla="*/ 395070 h 2084191"/>
              <a:gd name="connsiteX1020" fmla="*/ 311854 w 2051041"/>
              <a:gd name="connsiteY1020" fmla="*/ 370038 h 2084191"/>
              <a:gd name="connsiteX1021" fmla="*/ 336886 w 2051041"/>
              <a:gd name="connsiteY1021" fmla="*/ 345550 h 2084191"/>
              <a:gd name="connsiteX1022" fmla="*/ 499596 w 2051041"/>
              <a:gd name="connsiteY1022" fmla="*/ 342284 h 2084191"/>
              <a:gd name="connsiteX1023" fmla="*/ 528437 w 2051041"/>
              <a:gd name="connsiteY1023" fmla="*/ 370582 h 2084191"/>
              <a:gd name="connsiteX1024" fmla="*/ 499051 w 2051041"/>
              <a:gd name="connsiteY1024" fmla="*/ 399423 h 2084191"/>
              <a:gd name="connsiteX1025" fmla="*/ 470210 w 2051041"/>
              <a:gd name="connsiteY1025" fmla="*/ 370037 h 2084191"/>
              <a:gd name="connsiteX1026" fmla="*/ 499596 w 2051041"/>
              <a:gd name="connsiteY1026" fmla="*/ 342284 h 2084191"/>
              <a:gd name="connsiteX1027" fmla="*/ 663392 w 2051041"/>
              <a:gd name="connsiteY1027" fmla="*/ 337387 h 2084191"/>
              <a:gd name="connsiteX1028" fmla="*/ 697131 w 2051041"/>
              <a:gd name="connsiteY1028" fmla="*/ 371126 h 2084191"/>
              <a:gd name="connsiteX1029" fmla="*/ 662304 w 2051041"/>
              <a:gd name="connsiteY1029" fmla="*/ 404321 h 2084191"/>
              <a:gd name="connsiteX1030" fmla="*/ 629109 w 2051041"/>
              <a:gd name="connsiteY1030" fmla="*/ 371126 h 2084191"/>
              <a:gd name="connsiteX1031" fmla="*/ 663392 w 2051041"/>
              <a:gd name="connsiteY1031" fmla="*/ 337387 h 2084191"/>
              <a:gd name="connsiteX1032" fmla="*/ 825556 w 2051041"/>
              <a:gd name="connsiteY1032" fmla="*/ 332489 h 2084191"/>
              <a:gd name="connsiteX1033" fmla="*/ 864737 w 2051041"/>
              <a:gd name="connsiteY1033" fmla="*/ 370037 h 2084191"/>
              <a:gd name="connsiteX1034" fmla="*/ 826645 w 2051041"/>
              <a:gd name="connsiteY1034" fmla="*/ 409218 h 2084191"/>
              <a:gd name="connsiteX1035" fmla="*/ 787464 w 2051041"/>
              <a:gd name="connsiteY1035" fmla="*/ 371126 h 2084191"/>
              <a:gd name="connsiteX1036" fmla="*/ 825556 w 2051041"/>
              <a:gd name="connsiteY1036" fmla="*/ 332489 h 2084191"/>
              <a:gd name="connsiteX1037" fmla="*/ 989898 w 2051041"/>
              <a:gd name="connsiteY1037" fmla="*/ 328680 h 2084191"/>
              <a:gd name="connsiteX1038" fmla="*/ 1031255 w 2051041"/>
              <a:gd name="connsiteY1038" fmla="*/ 371126 h 2084191"/>
              <a:gd name="connsiteX1039" fmla="*/ 989354 w 2051041"/>
              <a:gd name="connsiteY1039" fmla="*/ 413027 h 2084191"/>
              <a:gd name="connsiteX1040" fmla="*/ 947452 w 2051041"/>
              <a:gd name="connsiteY1040" fmla="*/ 370037 h 2084191"/>
              <a:gd name="connsiteX1041" fmla="*/ 989898 w 2051041"/>
              <a:gd name="connsiteY1041" fmla="*/ 328680 h 2084191"/>
              <a:gd name="connsiteX1042" fmla="*/ 1153150 w 2051041"/>
              <a:gd name="connsiteY1042" fmla="*/ 326504 h 2084191"/>
              <a:gd name="connsiteX1043" fmla="*/ 1197228 w 2051041"/>
              <a:gd name="connsiteY1043" fmla="*/ 370582 h 2084191"/>
              <a:gd name="connsiteX1044" fmla="*/ 1152606 w 2051041"/>
              <a:gd name="connsiteY1044" fmla="*/ 414661 h 2084191"/>
              <a:gd name="connsiteX1045" fmla="*/ 1108528 w 2051041"/>
              <a:gd name="connsiteY1045" fmla="*/ 370038 h 2084191"/>
              <a:gd name="connsiteX1046" fmla="*/ 1153150 w 2051041"/>
              <a:gd name="connsiteY1046" fmla="*/ 326504 h 2084191"/>
              <a:gd name="connsiteX1047" fmla="*/ 1317492 w 2051041"/>
              <a:gd name="connsiteY1047" fmla="*/ 323239 h 2084191"/>
              <a:gd name="connsiteX1048" fmla="*/ 1364835 w 2051041"/>
              <a:gd name="connsiteY1048" fmla="*/ 372215 h 2084191"/>
              <a:gd name="connsiteX1049" fmla="*/ 1314771 w 2051041"/>
              <a:gd name="connsiteY1049" fmla="*/ 419014 h 2084191"/>
              <a:gd name="connsiteX1050" fmla="*/ 1268516 w 2051041"/>
              <a:gd name="connsiteY1050" fmla="*/ 370582 h 2084191"/>
              <a:gd name="connsiteX1051" fmla="*/ 1317492 w 2051041"/>
              <a:gd name="connsiteY1051" fmla="*/ 323239 h 2084191"/>
              <a:gd name="connsiteX1052" fmla="*/ 1479112 w 2051041"/>
              <a:gd name="connsiteY1052" fmla="*/ 320517 h 2084191"/>
              <a:gd name="connsiteX1053" fmla="*/ 1529720 w 2051041"/>
              <a:gd name="connsiteY1053" fmla="*/ 371670 h 2084191"/>
              <a:gd name="connsiteX1054" fmla="*/ 1478568 w 2051041"/>
              <a:gd name="connsiteY1054" fmla="*/ 420101 h 2084191"/>
              <a:gd name="connsiteX1055" fmla="*/ 1429592 w 2051041"/>
              <a:gd name="connsiteY1055" fmla="*/ 370037 h 2084191"/>
              <a:gd name="connsiteX1056" fmla="*/ 1479112 w 2051041"/>
              <a:gd name="connsiteY1056" fmla="*/ 320517 h 2084191"/>
              <a:gd name="connsiteX1057" fmla="*/ 1642364 w 2051041"/>
              <a:gd name="connsiteY1057" fmla="*/ 318341 h 2084191"/>
              <a:gd name="connsiteX1058" fmla="*/ 1695694 w 2051041"/>
              <a:gd name="connsiteY1058" fmla="*/ 370582 h 2084191"/>
              <a:gd name="connsiteX1059" fmla="*/ 1643453 w 2051041"/>
              <a:gd name="connsiteY1059" fmla="*/ 424455 h 2084191"/>
              <a:gd name="connsiteX1060" fmla="*/ 1589035 w 2051041"/>
              <a:gd name="connsiteY1060" fmla="*/ 371670 h 2084191"/>
              <a:gd name="connsiteX1061" fmla="*/ 1642364 w 2051041"/>
              <a:gd name="connsiteY1061" fmla="*/ 318341 h 2084191"/>
              <a:gd name="connsiteX1062" fmla="*/ 90919 w 2051041"/>
              <a:gd name="connsiteY1062" fmla="*/ 273718 h 2084191"/>
              <a:gd name="connsiteX1063" fmla="*/ 106700 w 2051041"/>
              <a:gd name="connsiteY1063" fmla="*/ 288411 h 2084191"/>
              <a:gd name="connsiteX1064" fmla="*/ 91463 w 2051041"/>
              <a:gd name="connsiteY1064" fmla="*/ 303648 h 2084191"/>
              <a:gd name="connsiteX1065" fmla="*/ 76770 w 2051041"/>
              <a:gd name="connsiteY1065" fmla="*/ 288411 h 2084191"/>
              <a:gd name="connsiteX1066" fmla="*/ 90919 w 2051041"/>
              <a:gd name="connsiteY1066" fmla="*/ 273718 h 2084191"/>
              <a:gd name="connsiteX1067" fmla="*/ 254716 w 2051041"/>
              <a:gd name="connsiteY1067" fmla="*/ 267733 h 2084191"/>
              <a:gd name="connsiteX1068" fmla="*/ 276483 w 2051041"/>
              <a:gd name="connsiteY1068" fmla="*/ 288956 h 2084191"/>
              <a:gd name="connsiteX1069" fmla="*/ 254172 w 2051041"/>
              <a:gd name="connsiteY1069" fmla="*/ 311811 h 2084191"/>
              <a:gd name="connsiteX1070" fmla="*/ 232405 w 2051041"/>
              <a:gd name="connsiteY1070" fmla="*/ 289500 h 2084191"/>
              <a:gd name="connsiteX1071" fmla="*/ 254716 w 2051041"/>
              <a:gd name="connsiteY1071" fmla="*/ 267733 h 2084191"/>
              <a:gd name="connsiteX1072" fmla="*/ 1941117 w 2051041"/>
              <a:gd name="connsiteY1072" fmla="*/ 263202 h 2084191"/>
              <a:gd name="connsiteX1073" fmla="*/ 1936219 w 2051041"/>
              <a:gd name="connsiteY1073" fmla="*/ 266467 h 2084191"/>
              <a:gd name="connsiteX1074" fmla="*/ 1938396 w 2051041"/>
              <a:gd name="connsiteY1074" fmla="*/ 272453 h 2084191"/>
              <a:gd name="connsiteX1075" fmla="*/ 1932954 w 2051041"/>
              <a:gd name="connsiteY1075" fmla="*/ 325782 h 2084191"/>
              <a:gd name="connsiteX1076" fmla="*/ 1930777 w 2051041"/>
              <a:gd name="connsiteY1076" fmla="*/ 331224 h 2084191"/>
              <a:gd name="connsiteX1077" fmla="*/ 1936219 w 2051041"/>
              <a:gd name="connsiteY1077" fmla="*/ 330136 h 2084191"/>
              <a:gd name="connsiteX1078" fmla="*/ 1966693 w 2051041"/>
              <a:gd name="connsiteY1078" fmla="*/ 320340 h 2084191"/>
              <a:gd name="connsiteX1079" fmla="*/ 1998799 w 2051041"/>
              <a:gd name="connsiteY1079" fmla="*/ 328503 h 2084191"/>
              <a:gd name="connsiteX1080" fmla="*/ 2003153 w 2051041"/>
              <a:gd name="connsiteY1080" fmla="*/ 330136 h 2084191"/>
              <a:gd name="connsiteX1081" fmla="*/ 2001520 w 2051041"/>
              <a:gd name="connsiteY1081" fmla="*/ 324694 h 2084191"/>
              <a:gd name="connsiteX1082" fmla="*/ 1994446 w 2051041"/>
              <a:gd name="connsiteY1082" fmla="*/ 309457 h 2084191"/>
              <a:gd name="connsiteX1083" fmla="*/ 1998255 w 2051041"/>
              <a:gd name="connsiteY1083" fmla="*/ 267555 h 2084191"/>
              <a:gd name="connsiteX1084" fmla="*/ 2000976 w 2051041"/>
              <a:gd name="connsiteY1084" fmla="*/ 263746 h 2084191"/>
              <a:gd name="connsiteX1085" fmla="*/ 1995534 w 2051041"/>
              <a:gd name="connsiteY1085" fmla="*/ 263746 h 2084191"/>
              <a:gd name="connsiteX1086" fmla="*/ 1941117 w 2051041"/>
              <a:gd name="connsiteY1086" fmla="*/ 263202 h 2084191"/>
              <a:gd name="connsiteX1087" fmla="*/ 417425 w 2051041"/>
              <a:gd name="connsiteY1087" fmla="*/ 262291 h 2084191"/>
              <a:gd name="connsiteX1088" fmla="*/ 445178 w 2051041"/>
              <a:gd name="connsiteY1088" fmla="*/ 288956 h 2084191"/>
              <a:gd name="connsiteX1089" fmla="*/ 417969 w 2051041"/>
              <a:gd name="connsiteY1089" fmla="*/ 317253 h 2084191"/>
              <a:gd name="connsiteX1090" fmla="*/ 390216 w 2051041"/>
              <a:gd name="connsiteY1090" fmla="*/ 290044 h 2084191"/>
              <a:gd name="connsiteX1091" fmla="*/ 417425 w 2051041"/>
              <a:gd name="connsiteY1091" fmla="*/ 262291 h 2084191"/>
              <a:gd name="connsiteX1092" fmla="*/ 580678 w 2051041"/>
              <a:gd name="connsiteY1092" fmla="*/ 256304 h 2084191"/>
              <a:gd name="connsiteX1093" fmla="*/ 613872 w 2051041"/>
              <a:gd name="connsiteY1093" fmla="*/ 288955 h 2084191"/>
              <a:gd name="connsiteX1094" fmla="*/ 581222 w 2051041"/>
              <a:gd name="connsiteY1094" fmla="*/ 322150 h 2084191"/>
              <a:gd name="connsiteX1095" fmla="*/ 548027 w 2051041"/>
              <a:gd name="connsiteY1095" fmla="*/ 289499 h 2084191"/>
              <a:gd name="connsiteX1096" fmla="*/ 580678 w 2051041"/>
              <a:gd name="connsiteY1096" fmla="*/ 256304 h 2084191"/>
              <a:gd name="connsiteX1097" fmla="*/ 743930 w 2051041"/>
              <a:gd name="connsiteY1097" fmla="*/ 251951 h 2084191"/>
              <a:gd name="connsiteX1098" fmla="*/ 782022 w 2051041"/>
              <a:gd name="connsiteY1098" fmla="*/ 289499 h 2084191"/>
              <a:gd name="connsiteX1099" fmla="*/ 744474 w 2051041"/>
              <a:gd name="connsiteY1099" fmla="*/ 326503 h 2084191"/>
              <a:gd name="connsiteX1100" fmla="*/ 707470 w 2051041"/>
              <a:gd name="connsiteY1100" fmla="*/ 289499 h 2084191"/>
              <a:gd name="connsiteX1101" fmla="*/ 743930 w 2051041"/>
              <a:gd name="connsiteY1101" fmla="*/ 251951 h 2084191"/>
              <a:gd name="connsiteX1102" fmla="*/ 907183 w 2051041"/>
              <a:gd name="connsiteY1102" fmla="*/ 249775 h 2084191"/>
              <a:gd name="connsiteX1103" fmla="*/ 947452 w 2051041"/>
              <a:gd name="connsiteY1103" fmla="*/ 289500 h 2084191"/>
              <a:gd name="connsiteX1104" fmla="*/ 908271 w 2051041"/>
              <a:gd name="connsiteY1104" fmla="*/ 329225 h 2084191"/>
              <a:gd name="connsiteX1105" fmla="*/ 867458 w 2051041"/>
              <a:gd name="connsiteY1105" fmla="*/ 290044 h 2084191"/>
              <a:gd name="connsiteX1106" fmla="*/ 907183 w 2051041"/>
              <a:gd name="connsiteY1106" fmla="*/ 249775 h 2084191"/>
              <a:gd name="connsiteX1107" fmla="*/ 1070435 w 2051041"/>
              <a:gd name="connsiteY1107" fmla="*/ 245965 h 2084191"/>
              <a:gd name="connsiteX1108" fmla="*/ 1114513 w 2051041"/>
              <a:gd name="connsiteY1108" fmla="*/ 290043 h 2084191"/>
              <a:gd name="connsiteX1109" fmla="*/ 1069347 w 2051041"/>
              <a:gd name="connsiteY1109" fmla="*/ 333578 h 2084191"/>
              <a:gd name="connsiteX1110" fmla="*/ 1026357 w 2051041"/>
              <a:gd name="connsiteY1110" fmla="*/ 288955 h 2084191"/>
              <a:gd name="connsiteX1111" fmla="*/ 1070435 w 2051041"/>
              <a:gd name="connsiteY1111" fmla="*/ 245965 h 2084191"/>
              <a:gd name="connsiteX1112" fmla="*/ 1233689 w 2051041"/>
              <a:gd name="connsiteY1112" fmla="*/ 241613 h 2084191"/>
              <a:gd name="connsiteX1113" fmla="*/ 1282120 w 2051041"/>
              <a:gd name="connsiteY1113" fmla="*/ 288412 h 2084191"/>
              <a:gd name="connsiteX1114" fmla="*/ 1235321 w 2051041"/>
              <a:gd name="connsiteY1114" fmla="*/ 335755 h 2084191"/>
              <a:gd name="connsiteX1115" fmla="*/ 1187434 w 2051041"/>
              <a:gd name="connsiteY1115" fmla="*/ 289500 h 2084191"/>
              <a:gd name="connsiteX1116" fmla="*/ 1233689 w 2051041"/>
              <a:gd name="connsiteY1116" fmla="*/ 241613 h 2084191"/>
              <a:gd name="connsiteX1117" fmla="*/ 1397485 w 2051041"/>
              <a:gd name="connsiteY1117" fmla="*/ 238891 h 2084191"/>
              <a:gd name="connsiteX1118" fmla="*/ 1448094 w 2051041"/>
              <a:gd name="connsiteY1118" fmla="*/ 288955 h 2084191"/>
              <a:gd name="connsiteX1119" fmla="*/ 1398029 w 2051041"/>
              <a:gd name="connsiteY1119" fmla="*/ 338475 h 2084191"/>
              <a:gd name="connsiteX1120" fmla="*/ 1348509 w 2051041"/>
              <a:gd name="connsiteY1120" fmla="*/ 289499 h 2084191"/>
              <a:gd name="connsiteX1121" fmla="*/ 1397485 w 2051041"/>
              <a:gd name="connsiteY1121" fmla="*/ 238891 h 2084191"/>
              <a:gd name="connsiteX1122" fmla="*/ 1559650 w 2051041"/>
              <a:gd name="connsiteY1122" fmla="*/ 237258 h 2084191"/>
              <a:gd name="connsiteX1123" fmla="*/ 1613523 w 2051041"/>
              <a:gd name="connsiteY1123" fmla="*/ 288955 h 2084191"/>
              <a:gd name="connsiteX1124" fmla="*/ 1560738 w 2051041"/>
              <a:gd name="connsiteY1124" fmla="*/ 342829 h 2084191"/>
              <a:gd name="connsiteX1125" fmla="*/ 1507953 w 2051041"/>
              <a:gd name="connsiteY1125" fmla="*/ 289499 h 2084191"/>
              <a:gd name="connsiteX1126" fmla="*/ 1559650 w 2051041"/>
              <a:gd name="connsiteY1126" fmla="*/ 237258 h 2084191"/>
              <a:gd name="connsiteX1127" fmla="*/ 9837 w 2051041"/>
              <a:gd name="connsiteY1127" fmla="*/ 198078 h 2084191"/>
              <a:gd name="connsiteX1128" fmla="*/ 19632 w 2051041"/>
              <a:gd name="connsiteY1128" fmla="*/ 207873 h 2084191"/>
              <a:gd name="connsiteX1129" fmla="*/ 10381 w 2051041"/>
              <a:gd name="connsiteY1129" fmla="*/ 218213 h 2084191"/>
              <a:gd name="connsiteX1130" fmla="*/ 42 w 2051041"/>
              <a:gd name="connsiteY1130" fmla="*/ 207873 h 2084191"/>
              <a:gd name="connsiteX1131" fmla="*/ 9837 w 2051041"/>
              <a:gd name="connsiteY1131" fmla="*/ 198078 h 2084191"/>
              <a:gd name="connsiteX1132" fmla="*/ 173090 w 2051041"/>
              <a:gd name="connsiteY1132" fmla="*/ 187739 h 2084191"/>
              <a:gd name="connsiteX1133" fmla="*/ 192136 w 2051041"/>
              <a:gd name="connsiteY1133" fmla="*/ 207329 h 2084191"/>
              <a:gd name="connsiteX1134" fmla="*/ 172546 w 2051041"/>
              <a:gd name="connsiteY1134" fmla="*/ 227464 h 2084191"/>
              <a:gd name="connsiteX1135" fmla="*/ 154044 w 2051041"/>
              <a:gd name="connsiteY1135" fmla="*/ 208418 h 2084191"/>
              <a:gd name="connsiteX1136" fmla="*/ 173090 w 2051041"/>
              <a:gd name="connsiteY1136" fmla="*/ 187739 h 2084191"/>
              <a:gd name="connsiteX1137" fmla="*/ 336887 w 2051041"/>
              <a:gd name="connsiteY1137" fmla="*/ 182297 h 2084191"/>
              <a:gd name="connsiteX1138" fmla="*/ 363007 w 2051041"/>
              <a:gd name="connsiteY1138" fmla="*/ 207329 h 2084191"/>
              <a:gd name="connsiteX1139" fmla="*/ 336887 w 2051041"/>
              <a:gd name="connsiteY1139" fmla="*/ 233994 h 2084191"/>
              <a:gd name="connsiteX1140" fmla="*/ 310766 w 2051041"/>
              <a:gd name="connsiteY1140" fmla="*/ 208961 h 2084191"/>
              <a:gd name="connsiteX1141" fmla="*/ 336887 w 2051041"/>
              <a:gd name="connsiteY1141" fmla="*/ 182297 h 2084191"/>
              <a:gd name="connsiteX1142" fmla="*/ 1856225 w 2051041"/>
              <a:gd name="connsiteY1142" fmla="*/ 180487 h 2084191"/>
              <a:gd name="connsiteX1143" fmla="*/ 1855681 w 2051041"/>
              <a:gd name="connsiteY1143" fmla="*/ 185929 h 2084191"/>
              <a:gd name="connsiteX1144" fmla="*/ 1851872 w 2051041"/>
              <a:gd name="connsiteY1144" fmla="*/ 244700 h 2084191"/>
              <a:gd name="connsiteX1145" fmla="*/ 1851328 w 2051041"/>
              <a:gd name="connsiteY1145" fmla="*/ 247965 h 2084191"/>
              <a:gd name="connsiteX1146" fmla="*/ 1854593 w 2051041"/>
              <a:gd name="connsiteY1146" fmla="*/ 247421 h 2084191"/>
              <a:gd name="connsiteX1147" fmla="*/ 1899215 w 2051041"/>
              <a:gd name="connsiteY1147" fmla="*/ 238714 h 2084191"/>
              <a:gd name="connsiteX1148" fmla="*/ 1913908 w 2051041"/>
              <a:gd name="connsiteY1148" fmla="*/ 243067 h 2084191"/>
              <a:gd name="connsiteX1149" fmla="*/ 1918806 w 2051041"/>
              <a:gd name="connsiteY1149" fmla="*/ 242523 h 2084191"/>
              <a:gd name="connsiteX1150" fmla="*/ 1918261 w 2051041"/>
              <a:gd name="connsiteY1150" fmla="*/ 238170 h 2084191"/>
              <a:gd name="connsiteX1151" fmla="*/ 1917173 w 2051041"/>
              <a:gd name="connsiteY1151" fmla="*/ 185929 h 2084191"/>
              <a:gd name="connsiteX1152" fmla="*/ 1918261 w 2051041"/>
              <a:gd name="connsiteY1152" fmla="*/ 181576 h 2084191"/>
              <a:gd name="connsiteX1153" fmla="*/ 1913908 w 2051041"/>
              <a:gd name="connsiteY1153" fmla="*/ 182664 h 2084191"/>
              <a:gd name="connsiteX1154" fmla="*/ 1860579 w 2051041"/>
              <a:gd name="connsiteY1154" fmla="*/ 180487 h 2084191"/>
              <a:gd name="connsiteX1155" fmla="*/ 1856225 w 2051041"/>
              <a:gd name="connsiteY1155" fmla="*/ 180487 h 2084191"/>
              <a:gd name="connsiteX1156" fmla="*/ 499595 w 2051041"/>
              <a:gd name="connsiteY1156" fmla="*/ 175767 h 2084191"/>
              <a:gd name="connsiteX1157" fmla="*/ 531158 w 2051041"/>
              <a:gd name="connsiteY1157" fmla="*/ 207874 h 2084191"/>
              <a:gd name="connsiteX1158" fmla="*/ 498507 w 2051041"/>
              <a:gd name="connsiteY1158" fmla="*/ 238347 h 2084191"/>
              <a:gd name="connsiteX1159" fmla="*/ 468033 w 2051041"/>
              <a:gd name="connsiteY1159" fmla="*/ 207329 h 2084191"/>
              <a:gd name="connsiteX1160" fmla="*/ 499595 w 2051041"/>
              <a:gd name="connsiteY1160" fmla="*/ 175767 h 2084191"/>
              <a:gd name="connsiteX1161" fmla="*/ 662304 w 2051041"/>
              <a:gd name="connsiteY1161" fmla="*/ 173046 h 2084191"/>
              <a:gd name="connsiteX1162" fmla="*/ 697676 w 2051041"/>
              <a:gd name="connsiteY1162" fmla="*/ 207873 h 2084191"/>
              <a:gd name="connsiteX1163" fmla="*/ 662304 w 2051041"/>
              <a:gd name="connsiteY1163" fmla="*/ 242156 h 2084191"/>
              <a:gd name="connsiteX1164" fmla="*/ 628021 w 2051041"/>
              <a:gd name="connsiteY1164" fmla="*/ 207873 h 2084191"/>
              <a:gd name="connsiteX1165" fmla="*/ 662304 w 2051041"/>
              <a:gd name="connsiteY1165" fmla="*/ 173046 h 2084191"/>
              <a:gd name="connsiteX1166" fmla="*/ 826645 w 2051041"/>
              <a:gd name="connsiteY1166" fmla="*/ 168148 h 2084191"/>
              <a:gd name="connsiteX1167" fmla="*/ 864737 w 2051041"/>
              <a:gd name="connsiteY1167" fmla="*/ 207329 h 2084191"/>
              <a:gd name="connsiteX1168" fmla="*/ 826100 w 2051041"/>
              <a:gd name="connsiteY1168" fmla="*/ 247054 h 2084191"/>
              <a:gd name="connsiteX1169" fmla="*/ 787464 w 2051041"/>
              <a:gd name="connsiteY1169" fmla="*/ 207873 h 2084191"/>
              <a:gd name="connsiteX1170" fmla="*/ 826645 w 2051041"/>
              <a:gd name="connsiteY1170" fmla="*/ 168148 h 2084191"/>
              <a:gd name="connsiteX1171" fmla="*/ 987721 w 2051041"/>
              <a:gd name="connsiteY1171" fmla="*/ 164883 h 2084191"/>
              <a:gd name="connsiteX1172" fmla="*/ 1031799 w 2051041"/>
              <a:gd name="connsiteY1172" fmla="*/ 207329 h 2084191"/>
              <a:gd name="connsiteX1173" fmla="*/ 988809 w 2051041"/>
              <a:gd name="connsiteY1173" fmla="*/ 250319 h 2084191"/>
              <a:gd name="connsiteX1174" fmla="*/ 945819 w 2051041"/>
              <a:gd name="connsiteY1174" fmla="*/ 208417 h 2084191"/>
              <a:gd name="connsiteX1175" fmla="*/ 987721 w 2051041"/>
              <a:gd name="connsiteY1175" fmla="*/ 164883 h 2084191"/>
              <a:gd name="connsiteX1176" fmla="*/ 1153150 w 2051041"/>
              <a:gd name="connsiteY1176" fmla="*/ 162707 h 2084191"/>
              <a:gd name="connsiteX1177" fmla="*/ 1197772 w 2051041"/>
              <a:gd name="connsiteY1177" fmla="*/ 207874 h 2084191"/>
              <a:gd name="connsiteX1178" fmla="*/ 1151517 w 2051041"/>
              <a:gd name="connsiteY1178" fmla="*/ 253584 h 2084191"/>
              <a:gd name="connsiteX1179" fmla="*/ 1107439 w 2051041"/>
              <a:gd name="connsiteY1179" fmla="*/ 207329 h 2084191"/>
              <a:gd name="connsiteX1180" fmla="*/ 1153150 w 2051041"/>
              <a:gd name="connsiteY1180" fmla="*/ 162707 h 2084191"/>
              <a:gd name="connsiteX1181" fmla="*/ 1315315 w 2051041"/>
              <a:gd name="connsiteY1181" fmla="*/ 158353 h 2084191"/>
              <a:gd name="connsiteX1182" fmla="*/ 1365379 w 2051041"/>
              <a:gd name="connsiteY1182" fmla="*/ 206785 h 2084191"/>
              <a:gd name="connsiteX1183" fmla="*/ 1315859 w 2051041"/>
              <a:gd name="connsiteY1183" fmla="*/ 256305 h 2084191"/>
              <a:gd name="connsiteX1184" fmla="*/ 1266883 w 2051041"/>
              <a:gd name="connsiteY1184" fmla="*/ 207873 h 2084191"/>
              <a:gd name="connsiteX1185" fmla="*/ 1315315 w 2051041"/>
              <a:gd name="connsiteY1185" fmla="*/ 158353 h 2084191"/>
              <a:gd name="connsiteX1186" fmla="*/ 1478567 w 2051041"/>
              <a:gd name="connsiteY1186" fmla="*/ 156721 h 2084191"/>
              <a:gd name="connsiteX1187" fmla="*/ 1529720 w 2051041"/>
              <a:gd name="connsiteY1187" fmla="*/ 207329 h 2084191"/>
              <a:gd name="connsiteX1188" fmla="*/ 1478567 w 2051041"/>
              <a:gd name="connsiteY1188" fmla="*/ 258482 h 2084191"/>
              <a:gd name="connsiteX1189" fmla="*/ 1427959 w 2051041"/>
              <a:gd name="connsiteY1189" fmla="*/ 207874 h 2084191"/>
              <a:gd name="connsiteX1190" fmla="*/ 1478567 w 2051041"/>
              <a:gd name="connsiteY1190" fmla="*/ 156721 h 2084191"/>
              <a:gd name="connsiteX1191" fmla="*/ 1644541 w 2051041"/>
              <a:gd name="connsiteY1191" fmla="*/ 153456 h 2084191"/>
              <a:gd name="connsiteX1192" fmla="*/ 1697326 w 2051041"/>
              <a:gd name="connsiteY1192" fmla="*/ 209506 h 2084191"/>
              <a:gd name="connsiteX1193" fmla="*/ 1641276 w 2051041"/>
              <a:gd name="connsiteY1193" fmla="*/ 262835 h 2084191"/>
              <a:gd name="connsiteX1194" fmla="*/ 1587947 w 2051041"/>
              <a:gd name="connsiteY1194" fmla="*/ 206785 h 2084191"/>
              <a:gd name="connsiteX1195" fmla="*/ 1644541 w 2051041"/>
              <a:gd name="connsiteY1195" fmla="*/ 153456 h 2084191"/>
              <a:gd name="connsiteX1196" fmla="*/ 91463 w 2051041"/>
              <a:gd name="connsiteY1196" fmla="*/ 109922 h 2084191"/>
              <a:gd name="connsiteX1197" fmla="*/ 107244 w 2051041"/>
              <a:gd name="connsiteY1197" fmla="*/ 126247 h 2084191"/>
              <a:gd name="connsiteX1198" fmla="*/ 91463 w 2051041"/>
              <a:gd name="connsiteY1198" fmla="*/ 142028 h 2084191"/>
              <a:gd name="connsiteX1199" fmla="*/ 75682 w 2051041"/>
              <a:gd name="connsiteY1199" fmla="*/ 126247 h 2084191"/>
              <a:gd name="connsiteX1200" fmla="*/ 91463 w 2051041"/>
              <a:gd name="connsiteY1200" fmla="*/ 109922 h 2084191"/>
              <a:gd name="connsiteX1201" fmla="*/ 1942341 w 2051041"/>
              <a:gd name="connsiteY1201" fmla="*/ 104915 h 2084191"/>
              <a:gd name="connsiteX1202" fmla="*/ 1942205 w 2051041"/>
              <a:gd name="connsiteY1202" fmla="*/ 111377 h 2084191"/>
              <a:gd name="connsiteX1203" fmla="*/ 1946559 w 2051041"/>
              <a:gd name="connsiteY1203" fmla="*/ 131511 h 2084191"/>
              <a:gd name="connsiteX1204" fmla="*/ 1939484 w 2051041"/>
              <a:gd name="connsiteY1204" fmla="*/ 157088 h 2084191"/>
              <a:gd name="connsiteX1205" fmla="*/ 1941117 w 2051041"/>
              <a:gd name="connsiteY1205" fmla="*/ 160353 h 2084191"/>
              <a:gd name="connsiteX1206" fmla="*/ 1986828 w 2051041"/>
              <a:gd name="connsiteY1206" fmla="*/ 157088 h 2084191"/>
              <a:gd name="connsiteX1207" fmla="*/ 1987916 w 2051041"/>
              <a:gd name="connsiteY1207" fmla="*/ 157088 h 2084191"/>
              <a:gd name="connsiteX1208" fmla="*/ 1993902 w 2051041"/>
              <a:gd name="connsiteY1208" fmla="*/ 150013 h 2084191"/>
              <a:gd name="connsiteX1209" fmla="*/ 1993902 w 2051041"/>
              <a:gd name="connsiteY1209" fmla="*/ 109744 h 2084191"/>
              <a:gd name="connsiteX1210" fmla="*/ 1989004 w 2051041"/>
              <a:gd name="connsiteY1210" fmla="*/ 105391 h 2084191"/>
              <a:gd name="connsiteX1211" fmla="*/ 1948191 w 2051041"/>
              <a:gd name="connsiteY1211" fmla="*/ 105391 h 2084191"/>
              <a:gd name="connsiteX1212" fmla="*/ 1942341 w 2051041"/>
              <a:gd name="connsiteY1212" fmla="*/ 104915 h 2084191"/>
              <a:gd name="connsiteX1213" fmla="*/ 255804 w 2051041"/>
              <a:gd name="connsiteY1213" fmla="*/ 103392 h 2084191"/>
              <a:gd name="connsiteX1214" fmla="*/ 277571 w 2051041"/>
              <a:gd name="connsiteY1214" fmla="*/ 126791 h 2084191"/>
              <a:gd name="connsiteX1215" fmla="*/ 254172 w 2051041"/>
              <a:gd name="connsiteY1215" fmla="*/ 148014 h 2084191"/>
              <a:gd name="connsiteX1216" fmla="*/ 232405 w 2051041"/>
              <a:gd name="connsiteY1216" fmla="*/ 125159 h 2084191"/>
              <a:gd name="connsiteX1217" fmla="*/ 255804 w 2051041"/>
              <a:gd name="connsiteY1217" fmla="*/ 103392 h 2084191"/>
              <a:gd name="connsiteX1218" fmla="*/ 1773511 w 2051041"/>
              <a:gd name="connsiteY1218" fmla="*/ 99405 h 2084191"/>
              <a:gd name="connsiteX1219" fmla="*/ 1773511 w 2051041"/>
              <a:gd name="connsiteY1219" fmla="*/ 107023 h 2084191"/>
              <a:gd name="connsiteX1220" fmla="*/ 1780585 w 2051041"/>
              <a:gd name="connsiteY1220" fmla="*/ 130423 h 2084191"/>
              <a:gd name="connsiteX1221" fmla="*/ 1773511 w 2051041"/>
              <a:gd name="connsiteY1221" fmla="*/ 155999 h 2084191"/>
              <a:gd name="connsiteX1222" fmla="*/ 1774055 w 2051041"/>
              <a:gd name="connsiteY1222" fmla="*/ 161985 h 2084191"/>
              <a:gd name="connsiteX1223" fmla="*/ 1780041 w 2051041"/>
              <a:gd name="connsiteY1223" fmla="*/ 162529 h 2084191"/>
              <a:gd name="connsiteX1224" fmla="*/ 1811059 w 2051041"/>
              <a:gd name="connsiteY1224" fmla="*/ 157632 h 2084191"/>
              <a:gd name="connsiteX1225" fmla="*/ 1829561 w 2051041"/>
              <a:gd name="connsiteY1225" fmla="*/ 161985 h 2084191"/>
              <a:gd name="connsiteX1226" fmla="*/ 1836635 w 2051041"/>
              <a:gd name="connsiteY1226" fmla="*/ 161985 h 2084191"/>
              <a:gd name="connsiteX1227" fmla="*/ 1833914 w 2051041"/>
              <a:gd name="connsiteY1227" fmla="*/ 157088 h 2084191"/>
              <a:gd name="connsiteX1228" fmla="*/ 1834458 w 2051041"/>
              <a:gd name="connsiteY1228" fmla="*/ 104303 h 2084191"/>
              <a:gd name="connsiteX1229" fmla="*/ 1835547 w 2051041"/>
              <a:gd name="connsiteY1229" fmla="*/ 99405 h 2084191"/>
              <a:gd name="connsiteX1230" fmla="*/ 1831193 w 2051041"/>
              <a:gd name="connsiteY1230" fmla="*/ 101038 h 2084191"/>
              <a:gd name="connsiteX1231" fmla="*/ 1780041 w 2051041"/>
              <a:gd name="connsiteY1231" fmla="*/ 101582 h 2084191"/>
              <a:gd name="connsiteX1232" fmla="*/ 1773511 w 2051041"/>
              <a:gd name="connsiteY1232" fmla="*/ 99405 h 2084191"/>
              <a:gd name="connsiteX1233" fmla="*/ 417424 w 2051041"/>
              <a:gd name="connsiteY1233" fmla="*/ 97950 h 2084191"/>
              <a:gd name="connsiteX1234" fmla="*/ 445721 w 2051041"/>
              <a:gd name="connsiteY1234" fmla="*/ 126247 h 2084191"/>
              <a:gd name="connsiteX1235" fmla="*/ 417424 w 2051041"/>
              <a:gd name="connsiteY1235" fmla="*/ 153456 h 2084191"/>
              <a:gd name="connsiteX1236" fmla="*/ 390215 w 2051041"/>
              <a:gd name="connsiteY1236" fmla="*/ 125159 h 2084191"/>
              <a:gd name="connsiteX1237" fmla="*/ 417424 w 2051041"/>
              <a:gd name="connsiteY1237" fmla="*/ 97950 h 2084191"/>
              <a:gd name="connsiteX1238" fmla="*/ 580677 w 2051041"/>
              <a:gd name="connsiteY1238" fmla="*/ 92508 h 2084191"/>
              <a:gd name="connsiteX1239" fmla="*/ 614960 w 2051041"/>
              <a:gd name="connsiteY1239" fmla="*/ 125159 h 2084191"/>
              <a:gd name="connsiteX1240" fmla="*/ 581766 w 2051041"/>
              <a:gd name="connsiteY1240" fmla="*/ 158353 h 2084191"/>
              <a:gd name="connsiteX1241" fmla="*/ 548571 w 2051041"/>
              <a:gd name="connsiteY1241" fmla="*/ 125703 h 2084191"/>
              <a:gd name="connsiteX1242" fmla="*/ 580677 w 2051041"/>
              <a:gd name="connsiteY1242" fmla="*/ 92508 h 2084191"/>
              <a:gd name="connsiteX1243" fmla="*/ 745019 w 2051041"/>
              <a:gd name="connsiteY1243" fmla="*/ 88154 h 2084191"/>
              <a:gd name="connsiteX1244" fmla="*/ 782567 w 2051041"/>
              <a:gd name="connsiteY1244" fmla="*/ 126791 h 2084191"/>
              <a:gd name="connsiteX1245" fmla="*/ 743930 w 2051041"/>
              <a:gd name="connsiteY1245" fmla="*/ 164339 h 2084191"/>
              <a:gd name="connsiteX1246" fmla="*/ 706382 w 2051041"/>
              <a:gd name="connsiteY1246" fmla="*/ 125702 h 2084191"/>
              <a:gd name="connsiteX1247" fmla="*/ 745019 w 2051041"/>
              <a:gd name="connsiteY1247" fmla="*/ 88154 h 2084191"/>
              <a:gd name="connsiteX1248" fmla="*/ 1685898 w 2051041"/>
              <a:gd name="connsiteY1248" fmla="*/ 84712 h 2084191"/>
              <a:gd name="connsiteX1249" fmla="*/ 1685681 w 2051041"/>
              <a:gd name="connsiteY1249" fmla="*/ 85147 h 2084191"/>
              <a:gd name="connsiteX1250" fmla="*/ 1685354 w 2051041"/>
              <a:gd name="connsiteY1250" fmla="*/ 85256 h 2084191"/>
              <a:gd name="connsiteX1251" fmla="*/ 1685898 w 2051041"/>
              <a:gd name="connsiteY1251" fmla="*/ 84712 h 2084191"/>
              <a:gd name="connsiteX1252" fmla="*/ 907183 w 2051041"/>
              <a:gd name="connsiteY1252" fmla="*/ 84345 h 2084191"/>
              <a:gd name="connsiteX1253" fmla="*/ 934935 w 2051041"/>
              <a:gd name="connsiteY1253" fmla="*/ 95228 h 2084191"/>
              <a:gd name="connsiteX1254" fmla="*/ 949628 w 2051041"/>
              <a:gd name="connsiteY1254" fmla="*/ 125158 h 2084191"/>
              <a:gd name="connsiteX1255" fmla="*/ 908271 w 2051041"/>
              <a:gd name="connsiteY1255" fmla="*/ 167060 h 2084191"/>
              <a:gd name="connsiteX1256" fmla="*/ 866369 w 2051041"/>
              <a:gd name="connsiteY1256" fmla="*/ 125702 h 2084191"/>
              <a:gd name="connsiteX1257" fmla="*/ 907183 w 2051041"/>
              <a:gd name="connsiteY1257" fmla="*/ 84345 h 2084191"/>
              <a:gd name="connsiteX1258" fmla="*/ 1070979 w 2051041"/>
              <a:gd name="connsiteY1258" fmla="*/ 82169 h 2084191"/>
              <a:gd name="connsiteX1259" fmla="*/ 1115602 w 2051041"/>
              <a:gd name="connsiteY1259" fmla="*/ 126247 h 2084191"/>
              <a:gd name="connsiteX1260" fmla="*/ 1071524 w 2051041"/>
              <a:gd name="connsiteY1260" fmla="*/ 170325 h 2084191"/>
              <a:gd name="connsiteX1261" fmla="*/ 1026357 w 2051041"/>
              <a:gd name="connsiteY1261" fmla="*/ 125703 h 2084191"/>
              <a:gd name="connsiteX1262" fmla="*/ 1070979 w 2051041"/>
              <a:gd name="connsiteY1262" fmla="*/ 82169 h 2084191"/>
              <a:gd name="connsiteX1263" fmla="*/ 1684811 w 2051041"/>
              <a:gd name="connsiteY1263" fmla="*/ 82168 h 2084191"/>
              <a:gd name="connsiteX1264" fmla="*/ 1684266 w 2051041"/>
              <a:gd name="connsiteY1264" fmla="*/ 82713 h 2084191"/>
              <a:gd name="connsiteX1265" fmla="*/ 1684469 w 2051041"/>
              <a:gd name="connsiteY1265" fmla="*/ 82365 h 2084191"/>
              <a:gd name="connsiteX1266" fmla="*/ 1234777 w 2051041"/>
              <a:gd name="connsiteY1266" fmla="*/ 78360 h 2084191"/>
              <a:gd name="connsiteX1267" fmla="*/ 1282664 w 2051041"/>
              <a:gd name="connsiteY1267" fmla="*/ 126791 h 2084191"/>
              <a:gd name="connsiteX1268" fmla="*/ 1234232 w 2051041"/>
              <a:gd name="connsiteY1268" fmla="*/ 174135 h 2084191"/>
              <a:gd name="connsiteX1269" fmla="*/ 1186889 w 2051041"/>
              <a:gd name="connsiteY1269" fmla="*/ 126791 h 2084191"/>
              <a:gd name="connsiteX1270" fmla="*/ 1234777 w 2051041"/>
              <a:gd name="connsiteY1270" fmla="*/ 78360 h 2084191"/>
              <a:gd name="connsiteX1271" fmla="*/ 1398574 w 2051041"/>
              <a:gd name="connsiteY1271" fmla="*/ 76182 h 2084191"/>
              <a:gd name="connsiteX1272" fmla="*/ 1448094 w 2051041"/>
              <a:gd name="connsiteY1272" fmla="*/ 127335 h 2084191"/>
              <a:gd name="connsiteX1273" fmla="*/ 1396941 w 2051041"/>
              <a:gd name="connsiteY1273" fmla="*/ 175766 h 2084191"/>
              <a:gd name="connsiteX1274" fmla="*/ 1347421 w 2051041"/>
              <a:gd name="connsiteY1274" fmla="*/ 125702 h 2084191"/>
              <a:gd name="connsiteX1275" fmla="*/ 1398574 w 2051041"/>
              <a:gd name="connsiteY1275" fmla="*/ 76182 h 2084191"/>
              <a:gd name="connsiteX1276" fmla="*/ 1561282 w 2051041"/>
              <a:gd name="connsiteY1276" fmla="*/ 72373 h 2084191"/>
              <a:gd name="connsiteX1277" fmla="*/ 1614611 w 2051041"/>
              <a:gd name="connsiteY1277" fmla="*/ 126247 h 2084191"/>
              <a:gd name="connsiteX1278" fmla="*/ 1560738 w 2051041"/>
              <a:gd name="connsiteY1278" fmla="*/ 179576 h 2084191"/>
              <a:gd name="connsiteX1279" fmla="*/ 1507409 w 2051041"/>
              <a:gd name="connsiteY1279" fmla="*/ 126247 h 2084191"/>
              <a:gd name="connsiteX1280" fmla="*/ 1561282 w 2051041"/>
              <a:gd name="connsiteY1280" fmla="*/ 72373 h 2084191"/>
              <a:gd name="connsiteX1281" fmla="*/ 10381 w 2051041"/>
              <a:gd name="connsiteY1281" fmla="*/ 33737 h 2084191"/>
              <a:gd name="connsiteX1282" fmla="*/ 20720 w 2051041"/>
              <a:gd name="connsiteY1282" fmla="*/ 45165 h 2084191"/>
              <a:gd name="connsiteX1283" fmla="*/ 9292 w 2051041"/>
              <a:gd name="connsiteY1283" fmla="*/ 54960 h 2084191"/>
              <a:gd name="connsiteX1284" fmla="*/ 41 w 2051041"/>
              <a:gd name="connsiteY1284" fmla="*/ 44621 h 2084191"/>
              <a:gd name="connsiteX1285" fmla="*/ 10381 w 2051041"/>
              <a:gd name="connsiteY1285" fmla="*/ 33737 h 2084191"/>
              <a:gd name="connsiteX1286" fmla="*/ 172546 w 2051041"/>
              <a:gd name="connsiteY1286" fmla="*/ 23942 h 2084191"/>
              <a:gd name="connsiteX1287" fmla="*/ 193224 w 2051041"/>
              <a:gd name="connsiteY1287" fmla="*/ 44621 h 2084191"/>
              <a:gd name="connsiteX1288" fmla="*/ 173090 w 2051041"/>
              <a:gd name="connsiteY1288" fmla="*/ 64755 h 2084191"/>
              <a:gd name="connsiteX1289" fmla="*/ 152411 w 2051041"/>
              <a:gd name="connsiteY1289" fmla="*/ 44621 h 2084191"/>
              <a:gd name="connsiteX1290" fmla="*/ 172546 w 2051041"/>
              <a:gd name="connsiteY1290" fmla="*/ 23942 h 2084191"/>
              <a:gd name="connsiteX1291" fmla="*/ 1861123 w 2051041"/>
              <a:gd name="connsiteY1291" fmla="*/ 22132 h 2084191"/>
              <a:gd name="connsiteX1292" fmla="*/ 1861123 w 2051041"/>
              <a:gd name="connsiteY1292" fmla="*/ 35737 h 2084191"/>
              <a:gd name="connsiteX1293" fmla="*/ 1861123 w 2051041"/>
              <a:gd name="connsiteY1293" fmla="*/ 61313 h 2084191"/>
              <a:gd name="connsiteX1294" fmla="*/ 1858946 w 2051041"/>
              <a:gd name="connsiteY1294" fmla="*/ 72740 h 2084191"/>
              <a:gd name="connsiteX1295" fmla="*/ 1866021 w 2051041"/>
              <a:gd name="connsiteY1295" fmla="*/ 76550 h 2084191"/>
              <a:gd name="connsiteX1296" fmla="*/ 1873639 w 2051041"/>
              <a:gd name="connsiteY1296" fmla="*/ 74917 h 2084191"/>
              <a:gd name="connsiteX1297" fmla="*/ 1900304 w 2051041"/>
              <a:gd name="connsiteY1297" fmla="*/ 74373 h 2084191"/>
              <a:gd name="connsiteX1298" fmla="*/ 1907922 w 2051041"/>
              <a:gd name="connsiteY1298" fmla="*/ 76006 h 2084191"/>
              <a:gd name="connsiteX1299" fmla="*/ 1912820 w 2051041"/>
              <a:gd name="connsiteY1299" fmla="*/ 70020 h 2084191"/>
              <a:gd name="connsiteX1300" fmla="*/ 1912820 w 2051041"/>
              <a:gd name="connsiteY1300" fmla="*/ 27030 h 2084191"/>
              <a:gd name="connsiteX1301" fmla="*/ 1908466 w 2051041"/>
              <a:gd name="connsiteY1301" fmla="*/ 22132 h 2084191"/>
              <a:gd name="connsiteX1302" fmla="*/ 1902480 w 2051041"/>
              <a:gd name="connsiteY1302" fmla="*/ 24309 h 2084191"/>
              <a:gd name="connsiteX1303" fmla="*/ 1873095 w 2051041"/>
              <a:gd name="connsiteY1303" fmla="*/ 24309 h 2084191"/>
              <a:gd name="connsiteX1304" fmla="*/ 1861123 w 2051041"/>
              <a:gd name="connsiteY1304" fmla="*/ 22132 h 2084191"/>
              <a:gd name="connsiteX1305" fmla="*/ 336886 w 2051041"/>
              <a:gd name="connsiteY1305" fmla="*/ 17412 h 2084191"/>
              <a:gd name="connsiteX1306" fmla="*/ 363007 w 2051041"/>
              <a:gd name="connsiteY1306" fmla="*/ 44077 h 2084191"/>
              <a:gd name="connsiteX1307" fmla="*/ 337431 w 2051041"/>
              <a:gd name="connsiteY1307" fmla="*/ 71285 h 2084191"/>
              <a:gd name="connsiteX1308" fmla="*/ 310222 w 2051041"/>
              <a:gd name="connsiteY1308" fmla="*/ 45165 h 2084191"/>
              <a:gd name="connsiteX1309" fmla="*/ 336886 w 2051041"/>
              <a:gd name="connsiteY1309" fmla="*/ 17412 h 2084191"/>
              <a:gd name="connsiteX1310" fmla="*/ 498507 w 2051041"/>
              <a:gd name="connsiteY1310" fmla="*/ 13059 h 2084191"/>
              <a:gd name="connsiteX1311" fmla="*/ 531702 w 2051041"/>
              <a:gd name="connsiteY1311" fmla="*/ 44621 h 2084191"/>
              <a:gd name="connsiteX1312" fmla="*/ 499595 w 2051041"/>
              <a:gd name="connsiteY1312" fmla="*/ 76727 h 2084191"/>
              <a:gd name="connsiteX1313" fmla="*/ 467489 w 2051041"/>
              <a:gd name="connsiteY1313" fmla="*/ 45165 h 2084191"/>
              <a:gd name="connsiteX1314" fmla="*/ 498507 w 2051041"/>
              <a:gd name="connsiteY1314" fmla="*/ 13059 h 2084191"/>
              <a:gd name="connsiteX1315" fmla="*/ 662303 w 2051041"/>
              <a:gd name="connsiteY1315" fmla="*/ 7616 h 2084191"/>
              <a:gd name="connsiteX1316" fmla="*/ 698763 w 2051041"/>
              <a:gd name="connsiteY1316" fmla="*/ 44076 h 2084191"/>
              <a:gd name="connsiteX1317" fmla="*/ 662303 w 2051041"/>
              <a:gd name="connsiteY1317" fmla="*/ 81080 h 2084191"/>
              <a:gd name="connsiteX1318" fmla="*/ 626932 w 2051041"/>
              <a:gd name="connsiteY1318" fmla="*/ 44076 h 2084191"/>
              <a:gd name="connsiteX1319" fmla="*/ 662303 w 2051041"/>
              <a:gd name="connsiteY1319" fmla="*/ 7616 h 2084191"/>
              <a:gd name="connsiteX1320" fmla="*/ 825557 w 2051041"/>
              <a:gd name="connsiteY1320" fmla="*/ 5440 h 2084191"/>
              <a:gd name="connsiteX1321" fmla="*/ 865281 w 2051041"/>
              <a:gd name="connsiteY1321" fmla="*/ 44621 h 2084191"/>
              <a:gd name="connsiteX1322" fmla="*/ 826101 w 2051041"/>
              <a:gd name="connsiteY1322" fmla="*/ 83257 h 2084191"/>
              <a:gd name="connsiteX1323" fmla="*/ 786920 w 2051041"/>
              <a:gd name="connsiteY1323" fmla="*/ 44621 h 2084191"/>
              <a:gd name="connsiteX1324" fmla="*/ 825557 w 2051041"/>
              <a:gd name="connsiteY1324" fmla="*/ 5440 h 2084191"/>
              <a:gd name="connsiteX1325" fmla="*/ 989353 w 2051041"/>
              <a:gd name="connsiteY1325" fmla="*/ 1086 h 2084191"/>
              <a:gd name="connsiteX1326" fmla="*/ 1032343 w 2051041"/>
              <a:gd name="connsiteY1326" fmla="*/ 43532 h 2084191"/>
              <a:gd name="connsiteX1327" fmla="*/ 989897 w 2051041"/>
              <a:gd name="connsiteY1327" fmla="*/ 87610 h 2084191"/>
              <a:gd name="connsiteX1328" fmla="*/ 945819 w 2051041"/>
              <a:gd name="connsiteY1328" fmla="*/ 44620 h 2084191"/>
              <a:gd name="connsiteX1329" fmla="*/ 989353 w 2051041"/>
              <a:gd name="connsiteY1329" fmla="*/ 1086 h 2084191"/>
              <a:gd name="connsiteX1330" fmla="*/ 1614056 w 2051041"/>
              <a:gd name="connsiteY1330" fmla="*/ 0 h 2084191"/>
              <a:gd name="connsiteX1331" fmla="*/ 1675529 w 2051041"/>
              <a:gd name="connsiteY1331" fmla="*/ 0 h 2084191"/>
              <a:gd name="connsiteX1332" fmla="*/ 1682905 w 2051041"/>
              <a:gd name="connsiteY1332" fmla="*/ 4720 h 2084191"/>
              <a:gd name="connsiteX1333" fmla="*/ 1933639 w 2051041"/>
              <a:gd name="connsiteY1333" fmla="*/ 4720 h 2084191"/>
              <a:gd name="connsiteX1334" fmla="*/ 2016655 w 2051041"/>
              <a:gd name="connsiteY1334" fmla="*/ 39107 h 2084191"/>
              <a:gd name="connsiteX1335" fmla="*/ 2028934 w 2051041"/>
              <a:gd name="connsiteY1335" fmla="*/ 57318 h 2084191"/>
              <a:gd name="connsiteX1336" fmla="*/ 2026008 w 2051041"/>
              <a:gd name="connsiteY1336" fmla="*/ 71108 h 2084191"/>
              <a:gd name="connsiteX1337" fmla="*/ 2030906 w 2051041"/>
              <a:gd name="connsiteY1337" fmla="*/ 75461 h 2084191"/>
              <a:gd name="connsiteX1338" fmla="*/ 2039929 w 2051041"/>
              <a:gd name="connsiteY1338" fmla="*/ 73627 h 2084191"/>
              <a:gd name="connsiteX1339" fmla="*/ 2041815 w 2051041"/>
              <a:gd name="connsiteY1339" fmla="*/ 76424 h 2084191"/>
              <a:gd name="connsiteX1340" fmla="*/ 2051041 w 2051041"/>
              <a:gd name="connsiteY1340" fmla="*/ 122122 h 2084191"/>
              <a:gd name="connsiteX1341" fmla="*/ 2051041 w 2051041"/>
              <a:gd name="connsiteY1341" fmla="*/ 186473 h 2084191"/>
              <a:gd name="connsiteX1342" fmla="*/ 2029818 w 2051041"/>
              <a:gd name="connsiteY1342" fmla="*/ 186473 h 2084191"/>
              <a:gd name="connsiteX1343" fmla="*/ 2023287 w 2051041"/>
              <a:gd name="connsiteY1343" fmla="*/ 192459 h 2084191"/>
              <a:gd name="connsiteX1344" fmla="*/ 2023832 w 2051041"/>
              <a:gd name="connsiteY1344" fmla="*/ 196268 h 2084191"/>
              <a:gd name="connsiteX1345" fmla="*/ 2019478 w 2051041"/>
              <a:gd name="connsiteY1345" fmla="*/ 239258 h 2084191"/>
              <a:gd name="connsiteX1346" fmla="*/ 2020022 w 2051041"/>
              <a:gd name="connsiteY1346" fmla="*/ 242523 h 2084191"/>
              <a:gd name="connsiteX1347" fmla="*/ 2023287 w 2051041"/>
              <a:gd name="connsiteY1347" fmla="*/ 243067 h 2084191"/>
              <a:gd name="connsiteX1348" fmla="*/ 2050224 w 2051041"/>
              <a:gd name="connsiteY1348" fmla="*/ 237150 h 2084191"/>
              <a:gd name="connsiteX1349" fmla="*/ 2051041 w 2051041"/>
              <a:gd name="connsiteY1349" fmla="*/ 237329 h 2084191"/>
              <a:gd name="connsiteX1350" fmla="*/ 2051041 w 2051041"/>
              <a:gd name="connsiteY1350" fmla="*/ 348996 h 2084191"/>
              <a:gd name="connsiteX1351" fmla="*/ 2036552 w 2051041"/>
              <a:gd name="connsiteY1351" fmla="*/ 347754 h 2084191"/>
              <a:gd name="connsiteX1352" fmla="*/ 2021111 w 2051041"/>
              <a:gd name="connsiteY1352" fmla="*/ 341019 h 2084191"/>
              <a:gd name="connsiteX1353" fmla="*/ 2016757 w 2051041"/>
              <a:gd name="connsiteY1353" fmla="*/ 338842 h 2084191"/>
              <a:gd name="connsiteX1354" fmla="*/ 2017301 w 2051041"/>
              <a:gd name="connsiteY1354" fmla="*/ 344284 h 2084191"/>
              <a:gd name="connsiteX1355" fmla="*/ 2025464 w 2051041"/>
              <a:gd name="connsiteY1355" fmla="*/ 376391 h 2084191"/>
              <a:gd name="connsiteX1356" fmla="*/ 1994446 w 2051041"/>
              <a:gd name="connsiteY1356" fmla="*/ 424278 h 2084191"/>
              <a:gd name="connsiteX1357" fmla="*/ 1933498 w 2051041"/>
              <a:gd name="connsiteY1357" fmla="*/ 416115 h 2084191"/>
              <a:gd name="connsiteX1358" fmla="*/ 1920438 w 2051041"/>
              <a:gd name="connsiteY1358" fmla="*/ 352447 h 2084191"/>
              <a:gd name="connsiteX1359" fmla="*/ 1925336 w 2051041"/>
              <a:gd name="connsiteY1359" fmla="*/ 338298 h 2084191"/>
              <a:gd name="connsiteX1360" fmla="*/ 1911731 w 2051041"/>
              <a:gd name="connsiteY1360" fmla="*/ 343196 h 2084191"/>
              <a:gd name="connsiteX1361" fmla="*/ 1898671 w 2051041"/>
              <a:gd name="connsiteY1361" fmla="*/ 347005 h 2084191"/>
              <a:gd name="connsiteX1362" fmla="*/ 1854593 w 2051041"/>
              <a:gd name="connsiteY1362" fmla="*/ 336666 h 2084191"/>
              <a:gd name="connsiteX1363" fmla="*/ 1847690 w 2051041"/>
              <a:gd name="connsiteY1363" fmla="*/ 333480 h 2084191"/>
              <a:gd name="connsiteX1364" fmla="*/ 1852961 w 2051041"/>
              <a:gd name="connsiteY1364" fmla="*/ 344461 h 2084191"/>
              <a:gd name="connsiteX1365" fmla="*/ 1826840 w 2051041"/>
              <a:gd name="connsiteY1365" fmla="*/ 420646 h 2084191"/>
              <a:gd name="connsiteX1366" fmla="*/ 1765893 w 2051041"/>
              <a:gd name="connsiteY1366" fmla="*/ 408130 h 2084191"/>
              <a:gd name="connsiteX1367" fmla="*/ 1759362 w 2051041"/>
              <a:gd name="connsiteY1367" fmla="*/ 342829 h 2084191"/>
              <a:gd name="connsiteX1368" fmla="*/ 1815991 w 2051041"/>
              <a:gd name="connsiteY1368" fmla="*/ 317193 h 2084191"/>
              <a:gd name="connsiteX1369" fmla="*/ 1834459 w 2051041"/>
              <a:gd name="connsiteY1369" fmla="*/ 325415 h 2084191"/>
              <a:gd name="connsiteX1370" fmla="*/ 1845023 w 2051041"/>
              <a:gd name="connsiteY1370" fmla="*/ 330169 h 2084191"/>
              <a:gd name="connsiteX1371" fmla="*/ 1840444 w 2051041"/>
              <a:gd name="connsiteY1371" fmla="*/ 321429 h 2084191"/>
              <a:gd name="connsiteX1372" fmla="*/ 1834458 w 2051041"/>
              <a:gd name="connsiteY1372" fmla="*/ 275174 h 2084191"/>
              <a:gd name="connsiteX1373" fmla="*/ 1840988 w 2051041"/>
              <a:gd name="connsiteY1373" fmla="*/ 259937 h 2084191"/>
              <a:gd name="connsiteX1374" fmla="*/ 1842077 w 2051041"/>
              <a:gd name="connsiteY1374" fmla="*/ 255584 h 2084191"/>
              <a:gd name="connsiteX1375" fmla="*/ 1837723 w 2051041"/>
              <a:gd name="connsiteY1375" fmla="*/ 257216 h 2084191"/>
              <a:gd name="connsiteX1376" fmla="*/ 1817589 w 2051041"/>
              <a:gd name="connsiteY1376" fmla="*/ 264834 h 2084191"/>
              <a:gd name="connsiteX1377" fmla="*/ 1768069 w 2051041"/>
              <a:gd name="connsiteY1377" fmla="*/ 251774 h 2084191"/>
              <a:gd name="connsiteX1378" fmla="*/ 1764740 w 2051041"/>
              <a:gd name="connsiteY1378" fmla="*/ 250110 h 2084191"/>
              <a:gd name="connsiteX1379" fmla="*/ 1773510 w 2051041"/>
              <a:gd name="connsiteY1379" fmla="*/ 267189 h 2084191"/>
              <a:gd name="connsiteX1380" fmla="*/ 1750655 w 2051041"/>
              <a:gd name="connsiteY1380" fmla="*/ 336843 h 2084191"/>
              <a:gd name="connsiteX1381" fmla="*/ 1673926 w 2051041"/>
              <a:gd name="connsiteY1381" fmla="*/ 310723 h 2084191"/>
              <a:gd name="connsiteX1382" fmla="*/ 1681545 w 2051041"/>
              <a:gd name="connsiteY1382" fmla="*/ 254673 h 2084191"/>
              <a:gd name="connsiteX1383" fmla="*/ 1733786 w 2051041"/>
              <a:gd name="connsiteY1383" fmla="*/ 235083 h 2084191"/>
              <a:gd name="connsiteX1384" fmla="*/ 1751743 w 2051041"/>
              <a:gd name="connsiteY1384" fmla="*/ 242157 h 2084191"/>
              <a:gd name="connsiteX1385" fmla="*/ 1762506 w 2051041"/>
              <a:gd name="connsiteY1385" fmla="*/ 246769 h 2084191"/>
              <a:gd name="connsiteX1386" fmla="*/ 1757185 w 2051041"/>
              <a:gd name="connsiteY1386" fmla="*/ 236537 h 2084191"/>
              <a:gd name="connsiteX1387" fmla="*/ 1756097 w 2051041"/>
              <a:gd name="connsiteY1387" fmla="*/ 185929 h 2084191"/>
              <a:gd name="connsiteX1388" fmla="*/ 1757185 w 2051041"/>
              <a:gd name="connsiteY1388" fmla="*/ 177766 h 2084191"/>
              <a:gd name="connsiteX1389" fmla="*/ 1749023 w 2051041"/>
              <a:gd name="connsiteY1389" fmla="*/ 178311 h 2084191"/>
              <a:gd name="connsiteX1390" fmla="*/ 1676103 w 2051041"/>
              <a:gd name="connsiteY1390" fmla="*/ 154911 h 2084191"/>
              <a:gd name="connsiteX1391" fmla="*/ 1681001 w 2051041"/>
              <a:gd name="connsiteY1391" fmla="*/ 94507 h 2084191"/>
              <a:gd name="connsiteX1392" fmla="*/ 1685681 w 2051041"/>
              <a:gd name="connsiteY1392" fmla="*/ 85147 h 2084191"/>
              <a:gd name="connsiteX1393" fmla="*/ 1693517 w 2051041"/>
              <a:gd name="connsiteY1393" fmla="*/ 82536 h 2084191"/>
              <a:gd name="connsiteX1394" fmla="*/ 1747934 w 2051041"/>
              <a:gd name="connsiteY1394" fmla="*/ 77638 h 2084191"/>
              <a:gd name="connsiteX1395" fmla="*/ 1756641 w 2051041"/>
              <a:gd name="connsiteY1395" fmla="*/ 79271 h 2084191"/>
              <a:gd name="connsiteX1396" fmla="*/ 1754464 w 2051041"/>
              <a:gd name="connsiteY1396" fmla="*/ 71652 h 2084191"/>
              <a:gd name="connsiteX1397" fmla="*/ 1752832 w 2051041"/>
              <a:gd name="connsiteY1397" fmla="*/ 68387 h 2084191"/>
              <a:gd name="connsiteX1398" fmla="*/ 1756097 w 2051041"/>
              <a:gd name="connsiteY1398" fmla="*/ 20500 h 2084191"/>
              <a:gd name="connsiteX1399" fmla="*/ 1756641 w 2051041"/>
              <a:gd name="connsiteY1399" fmla="*/ 16146 h 2084191"/>
              <a:gd name="connsiteX1400" fmla="*/ 1751744 w 2051041"/>
              <a:gd name="connsiteY1400" fmla="*/ 15058 h 2084191"/>
              <a:gd name="connsiteX1401" fmla="*/ 1741404 w 2051041"/>
              <a:gd name="connsiteY1401" fmla="*/ 19955 h 2084191"/>
              <a:gd name="connsiteX1402" fmla="*/ 1691884 w 2051041"/>
              <a:gd name="connsiteY1402" fmla="*/ 11249 h 2084191"/>
              <a:gd name="connsiteX1403" fmla="*/ 1685645 w 2051041"/>
              <a:gd name="connsiteY1403" fmla="*/ 8369 h 2084191"/>
              <a:gd name="connsiteX1404" fmla="*/ 1688620 w 2051041"/>
              <a:gd name="connsiteY1404" fmla="*/ 14691 h 2084191"/>
              <a:gd name="connsiteX1405" fmla="*/ 1691885 w 2051041"/>
              <a:gd name="connsiteY1405" fmla="*/ 69652 h 2084191"/>
              <a:gd name="connsiteX1406" fmla="*/ 1684469 w 2051041"/>
              <a:gd name="connsiteY1406" fmla="*/ 82365 h 2084191"/>
              <a:gd name="connsiteX1407" fmla="*/ 1663044 w 2051041"/>
              <a:gd name="connsiteY1407" fmla="*/ 94684 h 2084191"/>
              <a:gd name="connsiteX1408" fmla="*/ 1626584 w 2051041"/>
              <a:gd name="connsiteY1408" fmla="*/ 96861 h 2084191"/>
              <a:gd name="connsiteX1409" fmla="*/ 1590124 w 2051041"/>
              <a:gd name="connsiteY1409" fmla="*/ 60401 h 2084191"/>
              <a:gd name="connsiteX1410" fmla="*/ 1591757 w 2051041"/>
              <a:gd name="connsiteY1410" fmla="*/ 25030 h 2084191"/>
              <a:gd name="connsiteX1411" fmla="*/ 1460066 w 2051041"/>
              <a:gd name="connsiteY1411" fmla="*/ 0 h 2084191"/>
              <a:gd name="connsiteX1412" fmla="*/ 1498513 w 2051041"/>
              <a:gd name="connsiteY1412" fmla="*/ 0 h 2084191"/>
              <a:gd name="connsiteX1413" fmla="*/ 1517204 w 2051041"/>
              <a:gd name="connsiteY1413" fmla="*/ 8092 h 2084191"/>
              <a:gd name="connsiteX1414" fmla="*/ 1531896 w 2051041"/>
              <a:gd name="connsiteY1414" fmla="*/ 45164 h 2084191"/>
              <a:gd name="connsiteX1415" fmla="*/ 1479111 w 2051041"/>
              <a:gd name="connsiteY1415" fmla="*/ 97949 h 2084191"/>
              <a:gd name="connsiteX1416" fmla="*/ 1426870 w 2051041"/>
              <a:gd name="connsiteY1416" fmla="*/ 45164 h 2084191"/>
              <a:gd name="connsiteX1417" fmla="*/ 1441631 w 2051041"/>
              <a:gd name="connsiteY1417" fmla="*/ 7684 h 2084191"/>
              <a:gd name="connsiteX1418" fmla="*/ 1296749 w 2051041"/>
              <a:gd name="connsiteY1418" fmla="*/ 0 h 2084191"/>
              <a:gd name="connsiteX1419" fmla="*/ 1335755 w 2051041"/>
              <a:gd name="connsiteY1419" fmla="*/ 0 h 2084191"/>
              <a:gd name="connsiteX1420" fmla="*/ 1350278 w 2051041"/>
              <a:gd name="connsiteY1420" fmla="*/ 10270 h 2084191"/>
              <a:gd name="connsiteX1421" fmla="*/ 1365923 w 2051041"/>
              <a:gd name="connsiteY1421" fmla="*/ 45165 h 2084191"/>
              <a:gd name="connsiteX1422" fmla="*/ 1315315 w 2051041"/>
              <a:gd name="connsiteY1422" fmla="*/ 93052 h 2084191"/>
              <a:gd name="connsiteX1423" fmla="*/ 1266339 w 2051041"/>
              <a:gd name="connsiteY1423" fmla="*/ 44076 h 2084191"/>
              <a:gd name="connsiteX1424" fmla="*/ 1282732 w 2051041"/>
              <a:gd name="connsiteY1424" fmla="*/ 9317 h 2084191"/>
              <a:gd name="connsiteX1425" fmla="*/ 1148085 w 2051041"/>
              <a:gd name="connsiteY1425" fmla="*/ 0 h 2084191"/>
              <a:gd name="connsiteX1426" fmla="*/ 1161802 w 2051041"/>
              <a:gd name="connsiteY1426" fmla="*/ 0 h 2084191"/>
              <a:gd name="connsiteX1427" fmla="*/ 1169637 w 2051041"/>
              <a:gd name="connsiteY1427" fmla="*/ 1315 h 2084191"/>
              <a:gd name="connsiteX1428" fmla="*/ 1199405 w 2051041"/>
              <a:gd name="connsiteY1428" fmla="*/ 45164 h 2084191"/>
              <a:gd name="connsiteX1429" fmla="*/ 1151518 w 2051041"/>
              <a:gd name="connsiteY1429" fmla="*/ 91419 h 2084191"/>
              <a:gd name="connsiteX1430" fmla="*/ 1105807 w 2051041"/>
              <a:gd name="connsiteY1430" fmla="*/ 44620 h 2084191"/>
              <a:gd name="connsiteX1431" fmla="*/ 1119139 w 2051041"/>
              <a:gd name="connsiteY1431" fmla="*/ 11902 h 20841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Lst>
            <a:rect l="l" t="t" r="r" b="b"/>
            <a:pathLst>
              <a:path w="2051041" h="2084191">
                <a:moveTo>
                  <a:pt x="2051041" y="2080382"/>
                </a:moveTo>
                <a:lnTo>
                  <a:pt x="2051041" y="2083967"/>
                </a:lnTo>
                <a:lnTo>
                  <a:pt x="2047231" y="2084191"/>
                </a:lnTo>
                <a:cubicBezTo>
                  <a:pt x="2046687" y="2084191"/>
                  <a:pt x="2046143" y="2082559"/>
                  <a:pt x="2045599" y="2081470"/>
                </a:cubicBezTo>
                <a:close/>
                <a:moveTo>
                  <a:pt x="1478568" y="1997668"/>
                </a:moveTo>
                <a:cubicBezTo>
                  <a:pt x="1484010" y="1997668"/>
                  <a:pt x="1485642" y="2000933"/>
                  <a:pt x="1484554" y="2004743"/>
                </a:cubicBezTo>
                <a:cubicBezTo>
                  <a:pt x="1484010" y="2006919"/>
                  <a:pt x="1480745" y="2008551"/>
                  <a:pt x="1478568" y="2009096"/>
                </a:cubicBezTo>
                <a:cubicBezTo>
                  <a:pt x="1474759" y="2009640"/>
                  <a:pt x="1473126" y="2007463"/>
                  <a:pt x="1473126" y="2003654"/>
                </a:cubicBezTo>
                <a:cubicBezTo>
                  <a:pt x="1473126" y="1998756"/>
                  <a:pt x="1475303" y="1997124"/>
                  <a:pt x="1478568" y="1997668"/>
                </a:cubicBezTo>
                <a:close/>
                <a:moveTo>
                  <a:pt x="1641820" y="1993859"/>
                </a:moveTo>
                <a:cubicBezTo>
                  <a:pt x="1646718" y="1993314"/>
                  <a:pt x="1652160" y="1999300"/>
                  <a:pt x="1652160" y="2003654"/>
                </a:cubicBezTo>
                <a:cubicBezTo>
                  <a:pt x="1652160" y="2008551"/>
                  <a:pt x="1646718" y="2013449"/>
                  <a:pt x="1641820" y="2013449"/>
                </a:cubicBezTo>
                <a:cubicBezTo>
                  <a:pt x="1636923" y="2013449"/>
                  <a:pt x="1632025" y="2008007"/>
                  <a:pt x="1632025" y="2003654"/>
                </a:cubicBezTo>
                <a:cubicBezTo>
                  <a:pt x="1632025" y="1999300"/>
                  <a:pt x="1638011" y="1993859"/>
                  <a:pt x="1641820" y="1993859"/>
                </a:cubicBezTo>
                <a:close/>
                <a:moveTo>
                  <a:pt x="1969414" y="1992226"/>
                </a:moveTo>
                <a:cubicBezTo>
                  <a:pt x="1976488" y="1992226"/>
                  <a:pt x="1979753" y="1996035"/>
                  <a:pt x="1979753" y="2003654"/>
                </a:cubicBezTo>
                <a:cubicBezTo>
                  <a:pt x="1979753" y="2011272"/>
                  <a:pt x="1975944" y="2014537"/>
                  <a:pt x="1968325" y="2014537"/>
                </a:cubicBezTo>
                <a:cubicBezTo>
                  <a:pt x="1960707" y="2014537"/>
                  <a:pt x="1957442" y="2010728"/>
                  <a:pt x="1957986" y="2003110"/>
                </a:cubicBezTo>
                <a:cubicBezTo>
                  <a:pt x="1957986" y="1994947"/>
                  <a:pt x="1961251" y="1992226"/>
                  <a:pt x="1969414" y="1992226"/>
                </a:cubicBezTo>
                <a:close/>
                <a:moveTo>
                  <a:pt x="1805073" y="1992226"/>
                </a:moveTo>
                <a:cubicBezTo>
                  <a:pt x="1811058" y="1992226"/>
                  <a:pt x="1815956" y="1996035"/>
                  <a:pt x="1815956" y="2002565"/>
                </a:cubicBezTo>
                <a:cubicBezTo>
                  <a:pt x="1816500" y="2009096"/>
                  <a:pt x="1812147" y="2014537"/>
                  <a:pt x="1805073" y="2014537"/>
                </a:cubicBezTo>
                <a:cubicBezTo>
                  <a:pt x="1799087" y="2014537"/>
                  <a:pt x="1794189" y="2010184"/>
                  <a:pt x="1794189" y="2004198"/>
                </a:cubicBezTo>
                <a:cubicBezTo>
                  <a:pt x="1794189" y="1997668"/>
                  <a:pt x="1799087" y="1992770"/>
                  <a:pt x="1805073" y="1992226"/>
                </a:cubicBezTo>
                <a:close/>
                <a:moveTo>
                  <a:pt x="1234233" y="1916042"/>
                </a:moveTo>
                <a:cubicBezTo>
                  <a:pt x="1238586" y="1915497"/>
                  <a:pt x="1240763" y="1917674"/>
                  <a:pt x="1240219" y="1923660"/>
                </a:cubicBezTo>
                <a:cubicBezTo>
                  <a:pt x="1239674" y="1924204"/>
                  <a:pt x="1237498" y="1926381"/>
                  <a:pt x="1236953" y="1926381"/>
                </a:cubicBezTo>
                <a:cubicBezTo>
                  <a:pt x="1234233" y="1924204"/>
                  <a:pt x="1231512" y="1921483"/>
                  <a:pt x="1229335" y="1918762"/>
                </a:cubicBezTo>
                <a:cubicBezTo>
                  <a:pt x="1230968" y="1917674"/>
                  <a:pt x="1232600" y="1916586"/>
                  <a:pt x="1234233" y="1916042"/>
                </a:cubicBezTo>
                <a:close/>
                <a:moveTo>
                  <a:pt x="1397486" y="1911144"/>
                </a:moveTo>
                <a:cubicBezTo>
                  <a:pt x="1402927" y="1911144"/>
                  <a:pt x="1408369" y="1916041"/>
                  <a:pt x="1408369" y="1921483"/>
                </a:cubicBezTo>
                <a:cubicBezTo>
                  <a:pt x="1408369" y="1926925"/>
                  <a:pt x="1404016" y="1931279"/>
                  <a:pt x="1399118" y="1931823"/>
                </a:cubicBezTo>
                <a:cubicBezTo>
                  <a:pt x="1392588" y="1932367"/>
                  <a:pt x="1387146" y="1928013"/>
                  <a:pt x="1387146" y="1922028"/>
                </a:cubicBezTo>
                <a:cubicBezTo>
                  <a:pt x="1386602" y="1916586"/>
                  <a:pt x="1391500" y="1911144"/>
                  <a:pt x="1397486" y="1911144"/>
                </a:cubicBezTo>
                <a:close/>
                <a:moveTo>
                  <a:pt x="1560194" y="1906790"/>
                </a:moveTo>
                <a:cubicBezTo>
                  <a:pt x="1566180" y="1906790"/>
                  <a:pt x="1574342" y="1914953"/>
                  <a:pt x="1574342" y="1921482"/>
                </a:cubicBezTo>
                <a:cubicBezTo>
                  <a:pt x="1574342" y="1928013"/>
                  <a:pt x="1566724" y="1936175"/>
                  <a:pt x="1560738" y="1935631"/>
                </a:cubicBezTo>
                <a:cubicBezTo>
                  <a:pt x="1554752" y="1935631"/>
                  <a:pt x="1547678" y="1928557"/>
                  <a:pt x="1547134" y="1922027"/>
                </a:cubicBezTo>
                <a:cubicBezTo>
                  <a:pt x="1546589" y="1915497"/>
                  <a:pt x="1554208" y="1907334"/>
                  <a:pt x="1560194" y="1906790"/>
                </a:cubicBezTo>
                <a:close/>
                <a:moveTo>
                  <a:pt x="2049952" y="1905702"/>
                </a:moveTo>
                <a:lnTo>
                  <a:pt x="2051041" y="1906027"/>
                </a:lnTo>
                <a:lnTo>
                  <a:pt x="2051041" y="1938133"/>
                </a:lnTo>
                <a:lnTo>
                  <a:pt x="2050496" y="1938353"/>
                </a:lnTo>
                <a:cubicBezTo>
                  <a:pt x="2039613" y="1937808"/>
                  <a:pt x="2034715" y="1933455"/>
                  <a:pt x="2034171" y="1922572"/>
                </a:cubicBezTo>
                <a:cubicBezTo>
                  <a:pt x="2034171" y="1911144"/>
                  <a:pt x="2039069" y="1905702"/>
                  <a:pt x="2049952" y="1905702"/>
                </a:cubicBezTo>
                <a:close/>
                <a:moveTo>
                  <a:pt x="1723447" y="1905702"/>
                </a:moveTo>
                <a:cubicBezTo>
                  <a:pt x="1730521" y="1905702"/>
                  <a:pt x="1739772" y="1914409"/>
                  <a:pt x="1739772" y="1920939"/>
                </a:cubicBezTo>
                <a:cubicBezTo>
                  <a:pt x="1740316" y="1929101"/>
                  <a:pt x="1732698" y="1936720"/>
                  <a:pt x="1724535" y="1937264"/>
                </a:cubicBezTo>
                <a:cubicBezTo>
                  <a:pt x="1716373" y="1937264"/>
                  <a:pt x="1708754" y="1930190"/>
                  <a:pt x="1708210" y="1922027"/>
                </a:cubicBezTo>
                <a:cubicBezTo>
                  <a:pt x="1708210" y="1914953"/>
                  <a:pt x="1716373" y="1905702"/>
                  <a:pt x="1723447" y="1905702"/>
                </a:cubicBezTo>
                <a:close/>
                <a:moveTo>
                  <a:pt x="1887787" y="1905158"/>
                </a:moveTo>
                <a:cubicBezTo>
                  <a:pt x="1898671" y="1905158"/>
                  <a:pt x="1904113" y="1911144"/>
                  <a:pt x="1904113" y="1922028"/>
                </a:cubicBezTo>
                <a:cubicBezTo>
                  <a:pt x="1904113" y="1932367"/>
                  <a:pt x="1898127" y="1937809"/>
                  <a:pt x="1886699" y="1937809"/>
                </a:cubicBezTo>
                <a:cubicBezTo>
                  <a:pt x="1876360" y="1937809"/>
                  <a:pt x="1870918" y="1931823"/>
                  <a:pt x="1870918" y="1921483"/>
                </a:cubicBezTo>
                <a:cubicBezTo>
                  <a:pt x="1870918" y="1910600"/>
                  <a:pt x="1876904" y="1904614"/>
                  <a:pt x="1887787" y="1905158"/>
                </a:cubicBezTo>
                <a:close/>
                <a:moveTo>
                  <a:pt x="1152606" y="1831693"/>
                </a:moveTo>
                <a:cubicBezTo>
                  <a:pt x="1155871" y="1832782"/>
                  <a:pt x="1160769" y="1836591"/>
                  <a:pt x="1161313" y="1839312"/>
                </a:cubicBezTo>
                <a:cubicBezTo>
                  <a:pt x="1160769" y="1843121"/>
                  <a:pt x="1156959" y="1846931"/>
                  <a:pt x="1153694" y="1852916"/>
                </a:cubicBezTo>
                <a:cubicBezTo>
                  <a:pt x="1149341" y="1847475"/>
                  <a:pt x="1146076" y="1844754"/>
                  <a:pt x="1144988" y="1841489"/>
                </a:cubicBezTo>
                <a:cubicBezTo>
                  <a:pt x="1143355" y="1837135"/>
                  <a:pt x="1148797" y="1830605"/>
                  <a:pt x="1152606" y="1831693"/>
                </a:cubicBezTo>
                <a:close/>
                <a:moveTo>
                  <a:pt x="1315315" y="1825708"/>
                </a:moveTo>
                <a:cubicBezTo>
                  <a:pt x="1321301" y="1825164"/>
                  <a:pt x="1331096" y="1834415"/>
                  <a:pt x="1330552" y="1840401"/>
                </a:cubicBezTo>
                <a:cubicBezTo>
                  <a:pt x="1330552" y="1845298"/>
                  <a:pt x="1321301" y="1854549"/>
                  <a:pt x="1316404" y="1854549"/>
                </a:cubicBezTo>
                <a:cubicBezTo>
                  <a:pt x="1310962" y="1855094"/>
                  <a:pt x="1302255" y="1846387"/>
                  <a:pt x="1301711" y="1840945"/>
                </a:cubicBezTo>
                <a:cubicBezTo>
                  <a:pt x="1301167" y="1834959"/>
                  <a:pt x="1309329" y="1826252"/>
                  <a:pt x="1315315" y="1825708"/>
                </a:cubicBezTo>
                <a:close/>
                <a:moveTo>
                  <a:pt x="1479656" y="1822987"/>
                </a:moveTo>
                <a:cubicBezTo>
                  <a:pt x="1489995" y="1823531"/>
                  <a:pt x="1495981" y="1830061"/>
                  <a:pt x="1495981" y="1840401"/>
                </a:cubicBezTo>
                <a:cubicBezTo>
                  <a:pt x="1495981" y="1851284"/>
                  <a:pt x="1490539" y="1856726"/>
                  <a:pt x="1478567" y="1856182"/>
                </a:cubicBezTo>
                <a:cubicBezTo>
                  <a:pt x="1467140" y="1856182"/>
                  <a:pt x="1462242" y="1850740"/>
                  <a:pt x="1462242" y="1839312"/>
                </a:cubicBezTo>
                <a:cubicBezTo>
                  <a:pt x="1462242" y="1828429"/>
                  <a:pt x="1468772" y="1822443"/>
                  <a:pt x="1479656" y="1822987"/>
                </a:cubicBezTo>
                <a:close/>
                <a:moveTo>
                  <a:pt x="1642365" y="1821355"/>
                </a:moveTo>
                <a:cubicBezTo>
                  <a:pt x="1653248" y="1821355"/>
                  <a:pt x="1661955" y="1829518"/>
                  <a:pt x="1660867" y="1840401"/>
                </a:cubicBezTo>
                <a:cubicBezTo>
                  <a:pt x="1659778" y="1853461"/>
                  <a:pt x="1653792" y="1857270"/>
                  <a:pt x="1642365" y="1857270"/>
                </a:cubicBezTo>
                <a:cubicBezTo>
                  <a:pt x="1630937" y="1857270"/>
                  <a:pt x="1624407" y="1850740"/>
                  <a:pt x="1624407" y="1839857"/>
                </a:cubicBezTo>
                <a:cubicBezTo>
                  <a:pt x="1624407" y="1828973"/>
                  <a:pt x="1632025" y="1821355"/>
                  <a:pt x="1642365" y="1821355"/>
                </a:cubicBezTo>
                <a:close/>
                <a:moveTo>
                  <a:pt x="1806162" y="1819723"/>
                </a:moveTo>
                <a:cubicBezTo>
                  <a:pt x="1816501" y="1819723"/>
                  <a:pt x="1827385" y="1831150"/>
                  <a:pt x="1826840" y="1840945"/>
                </a:cubicBezTo>
                <a:cubicBezTo>
                  <a:pt x="1826296" y="1850740"/>
                  <a:pt x="1813780" y="1862168"/>
                  <a:pt x="1804529" y="1861080"/>
                </a:cubicBezTo>
                <a:cubicBezTo>
                  <a:pt x="1795278" y="1860536"/>
                  <a:pt x="1783851" y="1847476"/>
                  <a:pt x="1784395" y="1839313"/>
                </a:cubicBezTo>
                <a:cubicBezTo>
                  <a:pt x="1784939" y="1828973"/>
                  <a:pt x="1796367" y="1819178"/>
                  <a:pt x="1806162" y="1819723"/>
                </a:cubicBezTo>
                <a:close/>
                <a:moveTo>
                  <a:pt x="1968870" y="1819178"/>
                </a:moveTo>
                <a:cubicBezTo>
                  <a:pt x="1980298" y="1819178"/>
                  <a:pt x="1990093" y="1828973"/>
                  <a:pt x="1990093" y="1840401"/>
                </a:cubicBezTo>
                <a:cubicBezTo>
                  <a:pt x="1990093" y="1851285"/>
                  <a:pt x="1980298" y="1861624"/>
                  <a:pt x="1968870" y="1861624"/>
                </a:cubicBezTo>
                <a:cubicBezTo>
                  <a:pt x="1957986" y="1861624"/>
                  <a:pt x="1947647" y="1851285"/>
                  <a:pt x="1947647" y="1840401"/>
                </a:cubicBezTo>
                <a:cubicBezTo>
                  <a:pt x="1947647" y="1828973"/>
                  <a:pt x="1957986" y="1819178"/>
                  <a:pt x="1968870" y="1819178"/>
                </a:cubicBezTo>
                <a:close/>
                <a:moveTo>
                  <a:pt x="1070436" y="1747347"/>
                </a:moveTo>
                <a:cubicBezTo>
                  <a:pt x="1078598" y="1747347"/>
                  <a:pt x="1081863" y="1750612"/>
                  <a:pt x="1081863" y="1758231"/>
                </a:cubicBezTo>
                <a:cubicBezTo>
                  <a:pt x="1081863" y="1766393"/>
                  <a:pt x="1078598" y="1769658"/>
                  <a:pt x="1070980" y="1769658"/>
                </a:cubicBezTo>
                <a:cubicBezTo>
                  <a:pt x="1063361" y="1769658"/>
                  <a:pt x="1060096" y="1766393"/>
                  <a:pt x="1059552" y="1758775"/>
                </a:cubicBezTo>
                <a:cubicBezTo>
                  <a:pt x="1059552" y="1751156"/>
                  <a:pt x="1062817" y="1747347"/>
                  <a:pt x="1070436" y="1747347"/>
                </a:cubicBezTo>
                <a:close/>
                <a:moveTo>
                  <a:pt x="1233688" y="1742449"/>
                </a:moveTo>
                <a:cubicBezTo>
                  <a:pt x="1242939" y="1741904"/>
                  <a:pt x="1250558" y="1750067"/>
                  <a:pt x="1250558" y="1758774"/>
                </a:cubicBezTo>
                <a:cubicBezTo>
                  <a:pt x="1250558" y="1767481"/>
                  <a:pt x="1242939" y="1775099"/>
                  <a:pt x="1233688" y="1775099"/>
                </a:cubicBezTo>
                <a:cubicBezTo>
                  <a:pt x="1224981" y="1775099"/>
                  <a:pt x="1218451" y="1768025"/>
                  <a:pt x="1217907" y="1759318"/>
                </a:cubicBezTo>
                <a:cubicBezTo>
                  <a:pt x="1217907" y="1750067"/>
                  <a:pt x="1224981" y="1742449"/>
                  <a:pt x="1233688" y="1742449"/>
                </a:cubicBezTo>
                <a:close/>
                <a:moveTo>
                  <a:pt x="1399662" y="1739728"/>
                </a:moveTo>
                <a:cubicBezTo>
                  <a:pt x="1410002" y="1740817"/>
                  <a:pt x="1418164" y="1750068"/>
                  <a:pt x="1417076" y="1760407"/>
                </a:cubicBezTo>
                <a:cubicBezTo>
                  <a:pt x="1415988" y="1769114"/>
                  <a:pt x="1404560" y="1779997"/>
                  <a:pt x="1396941" y="1779453"/>
                </a:cubicBezTo>
                <a:cubicBezTo>
                  <a:pt x="1388779" y="1778909"/>
                  <a:pt x="1376807" y="1765305"/>
                  <a:pt x="1377895" y="1757686"/>
                </a:cubicBezTo>
                <a:cubicBezTo>
                  <a:pt x="1379528" y="1746803"/>
                  <a:pt x="1389867" y="1738640"/>
                  <a:pt x="1399662" y="1739728"/>
                </a:cubicBezTo>
                <a:close/>
                <a:moveTo>
                  <a:pt x="1723991" y="1735919"/>
                </a:moveTo>
                <a:cubicBezTo>
                  <a:pt x="1738140" y="1735919"/>
                  <a:pt x="1746847" y="1744626"/>
                  <a:pt x="1746847" y="1758774"/>
                </a:cubicBezTo>
                <a:cubicBezTo>
                  <a:pt x="1746847" y="1772379"/>
                  <a:pt x="1738140" y="1781086"/>
                  <a:pt x="1723991" y="1781086"/>
                </a:cubicBezTo>
                <a:cubicBezTo>
                  <a:pt x="1709299" y="1781086"/>
                  <a:pt x="1701680" y="1773467"/>
                  <a:pt x="1701680" y="1758774"/>
                </a:cubicBezTo>
                <a:cubicBezTo>
                  <a:pt x="1701680" y="1744626"/>
                  <a:pt x="1709843" y="1735919"/>
                  <a:pt x="1723991" y="1735919"/>
                </a:cubicBezTo>
                <a:close/>
                <a:moveTo>
                  <a:pt x="1560194" y="1735919"/>
                </a:moveTo>
                <a:cubicBezTo>
                  <a:pt x="1572710" y="1736463"/>
                  <a:pt x="1582505" y="1746258"/>
                  <a:pt x="1582505" y="1758230"/>
                </a:cubicBezTo>
                <a:cubicBezTo>
                  <a:pt x="1582505" y="1770202"/>
                  <a:pt x="1572710" y="1779997"/>
                  <a:pt x="1560738" y="1779997"/>
                </a:cubicBezTo>
                <a:cubicBezTo>
                  <a:pt x="1549855" y="1779997"/>
                  <a:pt x="1538427" y="1769114"/>
                  <a:pt x="1538427" y="1758230"/>
                </a:cubicBezTo>
                <a:cubicBezTo>
                  <a:pt x="1538427" y="1746803"/>
                  <a:pt x="1548766" y="1735919"/>
                  <a:pt x="1560194" y="1735919"/>
                </a:cubicBezTo>
                <a:close/>
                <a:moveTo>
                  <a:pt x="2051041" y="1734831"/>
                </a:moveTo>
                <a:lnTo>
                  <a:pt x="2051041" y="1781438"/>
                </a:lnTo>
                <a:lnTo>
                  <a:pt x="2050496" y="1781630"/>
                </a:lnTo>
                <a:cubicBezTo>
                  <a:pt x="2033627" y="1782174"/>
                  <a:pt x="2027097" y="1772379"/>
                  <a:pt x="2027097" y="1758775"/>
                </a:cubicBezTo>
                <a:cubicBezTo>
                  <a:pt x="2027097" y="1744082"/>
                  <a:pt x="2033627" y="1734831"/>
                  <a:pt x="2051041" y="1734831"/>
                </a:cubicBezTo>
                <a:close/>
                <a:moveTo>
                  <a:pt x="1887788" y="1734831"/>
                </a:moveTo>
                <a:cubicBezTo>
                  <a:pt x="1902481" y="1735375"/>
                  <a:pt x="1910099" y="1742994"/>
                  <a:pt x="1910099" y="1758775"/>
                </a:cubicBezTo>
                <a:cubicBezTo>
                  <a:pt x="1910099" y="1771835"/>
                  <a:pt x="1903025" y="1782718"/>
                  <a:pt x="1886699" y="1781086"/>
                </a:cubicBezTo>
                <a:cubicBezTo>
                  <a:pt x="1872551" y="1782174"/>
                  <a:pt x="1863844" y="1770203"/>
                  <a:pt x="1863844" y="1757687"/>
                </a:cubicBezTo>
                <a:cubicBezTo>
                  <a:pt x="1863844" y="1742994"/>
                  <a:pt x="1874728" y="1734287"/>
                  <a:pt x="1887788" y="1734831"/>
                </a:cubicBezTo>
                <a:close/>
                <a:moveTo>
                  <a:pt x="826100" y="1671706"/>
                </a:moveTo>
                <a:cubicBezTo>
                  <a:pt x="830454" y="1670618"/>
                  <a:pt x="832086" y="1673338"/>
                  <a:pt x="832086" y="1677692"/>
                </a:cubicBezTo>
                <a:cubicBezTo>
                  <a:pt x="832086" y="1681501"/>
                  <a:pt x="829365" y="1683134"/>
                  <a:pt x="825556" y="1683134"/>
                </a:cubicBezTo>
                <a:cubicBezTo>
                  <a:pt x="821203" y="1683134"/>
                  <a:pt x="819570" y="1679869"/>
                  <a:pt x="820658" y="1676603"/>
                </a:cubicBezTo>
                <a:cubicBezTo>
                  <a:pt x="821203" y="1674427"/>
                  <a:pt x="823924" y="1672250"/>
                  <a:pt x="826100" y="1671706"/>
                </a:cubicBezTo>
                <a:close/>
                <a:moveTo>
                  <a:pt x="989354" y="1661912"/>
                </a:moveTo>
                <a:cubicBezTo>
                  <a:pt x="994251" y="1661912"/>
                  <a:pt x="1004046" y="1671707"/>
                  <a:pt x="1004046" y="1676604"/>
                </a:cubicBezTo>
                <a:cubicBezTo>
                  <a:pt x="1004046" y="1682590"/>
                  <a:pt x="996428" y="1690209"/>
                  <a:pt x="989354" y="1690209"/>
                </a:cubicBezTo>
                <a:cubicBezTo>
                  <a:pt x="982823" y="1690209"/>
                  <a:pt x="975749" y="1683679"/>
                  <a:pt x="975205" y="1677693"/>
                </a:cubicBezTo>
                <a:cubicBezTo>
                  <a:pt x="974661" y="1671707"/>
                  <a:pt x="983912" y="1661367"/>
                  <a:pt x="989354" y="1661912"/>
                </a:cubicBezTo>
                <a:close/>
                <a:moveTo>
                  <a:pt x="1153151" y="1659734"/>
                </a:moveTo>
                <a:cubicBezTo>
                  <a:pt x="1162946" y="1658646"/>
                  <a:pt x="1171108" y="1667353"/>
                  <a:pt x="1170564" y="1677692"/>
                </a:cubicBezTo>
                <a:cubicBezTo>
                  <a:pt x="1170020" y="1688575"/>
                  <a:pt x="1162946" y="1694562"/>
                  <a:pt x="1152062" y="1694562"/>
                </a:cubicBezTo>
                <a:cubicBezTo>
                  <a:pt x="1141179" y="1694017"/>
                  <a:pt x="1135737" y="1688031"/>
                  <a:pt x="1135737" y="1677148"/>
                </a:cubicBezTo>
                <a:cubicBezTo>
                  <a:pt x="1135737" y="1664632"/>
                  <a:pt x="1141179" y="1659190"/>
                  <a:pt x="1153151" y="1659734"/>
                </a:cubicBezTo>
                <a:close/>
                <a:moveTo>
                  <a:pt x="1315315" y="1655381"/>
                </a:moveTo>
                <a:cubicBezTo>
                  <a:pt x="1327287" y="1654836"/>
                  <a:pt x="1337082" y="1664088"/>
                  <a:pt x="1337082" y="1676603"/>
                </a:cubicBezTo>
                <a:cubicBezTo>
                  <a:pt x="1337082" y="1688575"/>
                  <a:pt x="1326743" y="1698915"/>
                  <a:pt x="1315315" y="1698915"/>
                </a:cubicBezTo>
                <a:cubicBezTo>
                  <a:pt x="1304976" y="1698915"/>
                  <a:pt x="1294092" y="1687487"/>
                  <a:pt x="1294092" y="1677148"/>
                </a:cubicBezTo>
                <a:cubicBezTo>
                  <a:pt x="1294092" y="1666264"/>
                  <a:pt x="1304431" y="1655925"/>
                  <a:pt x="1315315" y="1655381"/>
                </a:cubicBezTo>
                <a:close/>
                <a:moveTo>
                  <a:pt x="1479111" y="1654293"/>
                </a:moveTo>
                <a:cubicBezTo>
                  <a:pt x="1495437" y="1653204"/>
                  <a:pt x="1501967" y="1664632"/>
                  <a:pt x="1501967" y="1677692"/>
                </a:cubicBezTo>
                <a:cubicBezTo>
                  <a:pt x="1501967" y="1689664"/>
                  <a:pt x="1492716" y="1700548"/>
                  <a:pt x="1479111" y="1700548"/>
                </a:cubicBezTo>
                <a:cubicBezTo>
                  <a:pt x="1466596" y="1700548"/>
                  <a:pt x="1455712" y="1690208"/>
                  <a:pt x="1455712" y="1676604"/>
                </a:cubicBezTo>
                <a:cubicBezTo>
                  <a:pt x="1456256" y="1663544"/>
                  <a:pt x="1464963" y="1653204"/>
                  <a:pt x="1479111" y="1654293"/>
                </a:cubicBezTo>
                <a:close/>
                <a:moveTo>
                  <a:pt x="1643452" y="1650483"/>
                </a:moveTo>
                <a:cubicBezTo>
                  <a:pt x="1654880" y="1651027"/>
                  <a:pt x="1667940" y="1664087"/>
                  <a:pt x="1668484" y="1676603"/>
                </a:cubicBezTo>
                <a:cubicBezTo>
                  <a:pt x="1669029" y="1689120"/>
                  <a:pt x="1655968" y="1702724"/>
                  <a:pt x="1643452" y="1703268"/>
                </a:cubicBezTo>
                <a:cubicBezTo>
                  <a:pt x="1631480" y="1703812"/>
                  <a:pt x="1617332" y="1690208"/>
                  <a:pt x="1617332" y="1677692"/>
                </a:cubicBezTo>
                <a:cubicBezTo>
                  <a:pt x="1616788" y="1664632"/>
                  <a:pt x="1630392" y="1650483"/>
                  <a:pt x="1643452" y="1650483"/>
                </a:cubicBezTo>
                <a:close/>
                <a:moveTo>
                  <a:pt x="1968326" y="1649940"/>
                </a:moveTo>
                <a:cubicBezTo>
                  <a:pt x="1983019" y="1649395"/>
                  <a:pt x="1997167" y="1664088"/>
                  <a:pt x="1995535" y="1676604"/>
                </a:cubicBezTo>
                <a:cubicBezTo>
                  <a:pt x="1997167" y="1689664"/>
                  <a:pt x="1982474" y="1704901"/>
                  <a:pt x="1968870" y="1704357"/>
                </a:cubicBezTo>
                <a:cubicBezTo>
                  <a:pt x="1954177" y="1703813"/>
                  <a:pt x="1942205" y="1691841"/>
                  <a:pt x="1941661" y="1677148"/>
                </a:cubicBezTo>
                <a:cubicBezTo>
                  <a:pt x="1941117" y="1662456"/>
                  <a:pt x="1956354" y="1649940"/>
                  <a:pt x="1968326" y="1649940"/>
                </a:cubicBezTo>
                <a:close/>
                <a:moveTo>
                  <a:pt x="1805617" y="1649939"/>
                </a:moveTo>
                <a:cubicBezTo>
                  <a:pt x="1819222" y="1648851"/>
                  <a:pt x="1832826" y="1664088"/>
                  <a:pt x="1832826" y="1677148"/>
                </a:cubicBezTo>
                <a:cubicBezTo>
                  <a:pt x="1832282" y="1690752"/>
                  <a:pt x="1819222" y="1703812"/>
                  <a:pt x="1805073" y="1704357"/>
                </a:cubicBezTo>
                <a:cubicBezTo>
                  <a:pt x="1792557" y="1704901"/>
                  <a:pt x="1777864" y="1688031"/>
                  <a:pt x="1778409" y="1677148"/>
                </a:cubicBezTo>
                <a:cubicBezTo>
                  <a:pt x="1779497" y="1662999"/>
                  <a:pt x="1791469" y="1649939"/>
                  <a:pt x="1805617" y="1649939"/>
                </a:cubicBezTo>
                <a:close/>
                <a:moveTo>
                  <a:pt x="744474" y="1588992"/>
                </a:moveTo>
                <a:cubicBezTo>
                  <a:pt x="748827" y="1588992"/>
                  <a:pt x="751004" y="1590624"/>
                  <a:pt x="751004" y="1594978"/>
                </a:cubicBezTo>
                <a:cubicBezTo>
                  <a:pt x="751004" y="1598787"/>
                  <a:pt x="749916" y="1601508"/>
                  <a:pt x="745562" y="1602052"/>
                </a:cubicBezTo>
                <a:cubicBezTo>
                  <a:pt x="740665" y="1602052"/>
                  <a:pt x="738488" y="1600420"/>
                  <a:pt x="738488" y="1594978"/>
                </a:cubicBezTo>
                <a:cubicBezTo>
                  <a:pt x="737944" y="1590624"/>
                  <a:pt x="740121" y="1588992"/>
                  <a:pt x="744474" y="1588992"/>
                </a:cubicBezTo>
                <a:close/>
                <a:moveTo>
                  <a:pt x="907183" y="1579741"/>
                </a:moveTo>
                <a:cubicBezTo>
                  <a:pt x="913169" y="1579197"/>
                  <a:pt x="923508" y="1588992"/>
                  <a:pt x="923508" y="1594978"/>
                </a:cubicBezTo>
                <a:cubicBezTo>
                  <a:pt x="923508" y="1600964"/>
                  <a:pt x="915345" y="1610215"/>
                  <a:pt x="908815" y="1610759"/>
                </a:cubicBezTo>
                <a:cubicBezTo>
                  <a:pt x="901197" y="1611303"/>
                  <a:pt x="892490" y="1603685"/>
                  <a:pt x="892490" y="1595522"/>
                </a:cubicBezTo>
                <a:cubicBezTo>
                  <a:pt x="892490" y="1588448"/>
                  <a:pt x="900653" y="1579741"/>
                  <a:pt x="907183" y="1579741"/>
                </a:cubicBezTo>
                <a:close/>
                <a:moveTo>
                  <a:pt x="1071524" y="1574843"/>
                </a:moveTo>
                <a:cubicBezTo>
                  <a:pt x="1081319" y="1575387"/>
                  <a:pt x="1091114" y="1585726"/>
                  <a:pt x="1091114" y="1595522"/>
                </a:cubicBezTo>
                <a:cubicBezTo>
                  <a:pt x="1091114" y="1605317"/>
                  <a:pt x="1080231" y="1615656"/>
                  <a:pt x="1070980" y="1615656"/>
                </a:cubicBezTo>
                <a:cubicBezTo>
                  <a:pt x="1062273" y="1615656"/>
                  <a:pt x="1050845" y="1604228"/>
                  <a:pt x="1050301" y="1595522"/>
                </a:cubicBezTo>
                <a:cubicBezTo>
                  <a:pt x="1050301" y="1586270"/>
                  <a:pt x="1062273" y="1574299"/>
                  <a:pt x="1071524" y="1574843"/>
                </a:cubicBezTo>
                <a:close/>
                <a:moveTo>
                  <a:pt x="1233688" y="1573210"/>
                </a:moveTo>
                <a:cubicBezTo>
                  <a:pt x="1247837" y="1573210"/>
                  <a:pt x="1256544" y="1581373"/>
                  <a:pt x="1256544" y="1595522"/>
                </a:cubicBezTo>
                <a:cubicBezTo>
                  <a:pt x="1256544" y="1609670"/>
                  <a:pt x="1247837" y="1618377"/>
                  <a:pt x="1233688" y="1618377"/>
                </a:cubicBezTo>
                <a:cubicBezTo>
                  <a:pt x="1221172" y="1618377"/>
                  <a:pt x="1212465" y="1608582"/>
                  <a:pt x="1211377" y="1596610"/>
                </a:cubicBezTo>
                <a:cubicBezTo>
                  <a:pt x="1210289" y="1584638"/>
                  <a:pt x="1222261" y="1571034"/>
                  <a:pt x="1233688" y="1573210"/>
                </a:cubicBezTo>
                <a:close/>
                <a:moveTo>
                  <a:pt x="1398030" y="1569402"/>
                </a:moveTo>
                <a:cubicBezTo>
                  <a:pt x="1411634" y="1569946"/>
                  <a:pt x="1423606" y="1582462"/>
                  <a:pt x="1423062" y="1595522"/>
                </a:cubicBezTo>
                <a:cubicBezTo>
                  <a:pt x="1423062" y="1608582"/>
                  <a:pt x="1410546" y="1621099"/>
                  <a:pt x="1397485" y="1621099"/>
                </a:cubicBezTo>
                <a:cubicBezTo>
                  <a:pt x="1384969" y="1621099"/>
                  <a:pt x="1371365" y="1608038"/>
                  <a:pt x="1371365" y="1595522"/>
                </a:cubicBezTo>
                <a:cubicBezTo>
                  <a:pt x="1371365" y="1582462"/>
                  <a:pt x="1384969" y="1568857"/>
                  <a:pt x="1398030" y="1569402"/>
                </a:cubicBezTo>
                <a:close/>
                <a:moveTo>
                  <a:pt x="1560194" y="1568313"/>
                </a:moveTo>
                <a:cubicBezTo>
                  <a:pt x="1574342" y="1566680"/>
                  <a:pt x="1587403" y="1581373"/>
                  <a:pt x="1587947" y="1594433"/>
                </a:cubicBezTo>
                <a:cubicBezTo>
                  <a:pt x="1588491" y="1608582"/>
                  <a:pt x="1574887" y="1622730"/>
                  <a:pt x="1560194" y="1622730"/>
                </a:cubicBezTo>
                <a:cubicBezTo>
                  <a:pt x="1547134" y="1622730"/>
                  <a:pt x="1532985" y="1608582"/>
                  <a:pt x="1532985" y="1594977"/>
                </a:cubicBezTo>
                <a:cubicBezTo>
                  <a:pt x="1532985" y="1581917"/>
                  <a:pt x="1547134" y="1566680"/>
                  <a:pt x="1560194" y="1568313"/>
                </a:cubicBezTo>
                <a:close/>
                <a:moveTo>
                  <a:pt x="1887244" y="1567225"/>
                </a:moveTo>
                <a:cubicBezTo>
                  <a:pt x="1905202" y="1567225"/>
                  <a:pt x="1915541" y="1578109"/>
                  <a:pt x="1915541" y="1594978"/>
                </a:cubicBezTo>
                <a:cubicBezTo>
                  <a:pt x="1915541" y="1612392"/>
                  <a:pt x="1903569" y="1624363"/>
                  <a:pt x="1886699" y="1623819"/>
                </a:cubicBezTo>
                <a:cubicBezTo>
                  <a:pt x="1872551" y="1623819"/>
                  <a:pt x="1857314" y="1613480"/>
                  <a:pt x="1858947" y="1594978"/>
                </a:cubicBezTo>
                <a:cubicBezTo>
                  <a:pt x="1857858" y="1577564"/>
                  <a:pt x="1870918" y="1567225"/>
                  <a:pt x="1887244" y="1567225"/>
                </a:cubicBezTo>
                <a:close/>
                <a:moveTo>
                  <a:pt x="1724535" y="1567225"/>
                </a:moveTo>
                <a:cubicBezTo>
                  <a:pt x="1743037" y="1567225"/>
                  <a:pt x="1752288" y="1581373"/>
                  <a:pt x="1752288" y="1594978"/>
                </a:cubicBezTo>
                <a:cubicBezTo>
                  <a:pt x="1752288" y="1609127"/>
                  <a:pt x="1741949" y="1623275"/>
                  <a:pt x="1724535" y="1623275"/>
                </a:cubicBezTo>
                <a:cubicBezTo>
                  <a:pt x="1710930" y="1623819"/>
                  <a:pt x="1694605" y="1613480"/>
                  <a:pt x="1696238" y="1594978"/>
                </a:cubicBezTo>
                <a:cubicBezTo>
                  <a:pt x="1694605" y="1577564"/>
                  <a:pt x="1708754" y="1567225"/>
                  <a:pt x="1724535" y="1567225"/>
                </a:cubicBezTo>
                <a:close/>
                <a:moveTo>
                  <a:pt x="2050496" y="1566680"/>
                </a:moveTo>
                <a:lnTo>
                  <a:pt x="2051041" y="1566888"/>
                </a:lnTo>
                <a:lnTo>
                  <a:pt x="2051041" y="1623794"/>
                </a:lnTo>
                <a:lnTo>
                  <a:pt x="2049408" y="1624363"/>
                </a:lnTo>
                <a:cubicBezTo>
                  <a:pt x="2033083" y="1623818"/>
                  <a:pt x="2021111" y="1611302"/>
                  <a:pt x="2021655" y="1594977"/>
                </a:cubicBezTo>
                <a:cubicBezTo>
                  <a:pt x="2022199" y="1575931"/>
                  <a:pt x="2033627" y="1567224"/>
                  <a:pt x="2050496" y="1566680"/>
                </a:cubicBezTo>
                <a:close/>
                <a:moveTo>
                  <a:pt x="663392" y="1505188"/>
                </a:moveTo>
                <a:cubicBezTo>
                  <a:pt x="666113" y="1505188"/>
                  <a:pt x="669922" y="1510086"/>
                  <a:pt x="674819" y="1513895"/>
                </a:cubicBezTo>
                <a:cubicBezTo>
                  <a:pt x="669378" y="1517704"/>
                  <a:pt x="665569" y="1522602"/>
                  <a:pt x="662848" y="1522058"/>
                </a:cubicBezTo>
                <a:cubicBezTo>
                  <a:pt x="659583" y="1521513"/>
                  <a:pt x="654685" y="1516072"/>
                  <a:pt x="654685" y="1513351"/>
                </a:cubicBezTo>
                <a:cubicBezTo>
                  <a:pt x="654685" y="1510086"/>
                  <a:pt x="660127" y="1505188"/>
                  <a:pt x="663392" y="1505188"/>
                </a:cubicBezTo>
                <a:close/>
                <a:moveTo>
                  <a:pt x="826101" y="1497570"/>
                </a:moveTo>
                <a:cubicBezTo>
                  <a:pt x="834263" y="1497025"/>
                  <a:pt x="842426" y="1505188"/>
                  <a:pt x="842970" y="1513351"/>
                </a:cubicBezTo>
                <a:cubicBezTo>
                  <a:pt x="842970" y="1522058"/>
                  <a:pt x="835352" y="1529676"/>
                  <a:pt x="826645" y="1529676"/>
                </a:cubicBezTo>
                <a:cubicBezTo>
                  <a:pt x="818482" y="1529676"/>
                  <a:pt x="810864" y="1523146"/>
                  <a:pt x="810319" y="1514983"/>
                </a:cubicBezTo>
                <a:cubicBezTo>
                  <a:pt x="809775" y="1506276"/>
                  <a:pt x="817394" y="1498114"/>
                  <a:pt x="826101" y="1497570"/>
                </a:cubicBezTo>
                <a:close/>
                <a:moveTo>
                  <a:pt x="988265" y="1492128"/>
                </a:moveTo>
                <a:cubicBezTo>
                  <a:pt x="998605" y="1492128"/>
                  <a:pt x="1010577" y="1501379"/>
                  <a:pt x="1010577" y="1513351"/>
                </a:cubicBezTo>
                <a:cubicBezTo>
                  <a:pt x="1010577" y="1524234"/>
                  <a:pt x="1000237" y="1534574"/>
                  <a:pt x="989354" y="1534574"/>
                </a:cubicBezTo>
                <a:cubicBezTo>
                  <a:pt x="979559" y="1534574"/>
                  <a:pt x="968675" y="1523690"/>
                  <a:pt x="968131" y="1513895"/>
                </a:cubicBezTo>
                <a:cubicBezTo>
                  <a:pt x="968131" y="1503556"/>
                  <a:pt x="977926" y="1492672"/>
                  <a:pt x="988265" y="1492128"/>
                </a:cubicBezTo>
                <a:close/>
                <a:moveTo>
                  <a:pt x="1152606" y="1490496"/>
                </a:moveTo>
                <a:cubicBezTo>
                  <a:pt x="1167299" y="1489407"/>
                  <a:pt x="1176006" y="1498658"/>
                  <a:pt x="1176006" y="1513351"/>
                </a:cubicBezTo>
                <a:cubicBezTo>
                  <a:pt x="1176006" y="1530764"/>
                  <a:pt x="1166755" y="1537295"/>
                  <a:pt x="1152606" y="1537839"/>
                </a:cubicBezTo>
                <a:cubicBezTo>
                  <a:pt x="1139546" y="1537839"/>
                  <a:pt x="1129207" y="1530764"/>
                  <a:pt x="1129207" y="1514984"/>
                </a:cubicBezTo>
                <a:cubicBezTo>
                  <a:pt x="1129207" y="1498114"/>
                  <a:pt x="1138458" y="1491040"/>
                  <a:pt x="1152606" y="1490496"/>
                </a:cubicBezTo>
                <a:close/>
                <a:moveTo>
                  <a:pt x="1316403" y="1487231"/>
                </a:moveTo>
                <a:cubicBezTo>
                  <a:pt x="1331095" y="1487775"/>
                  <a:pt x="1342523" y="1499203"/>
                  <a:pt x="1342523" y="1513896"/>
                </a:cubicBezTo>
                <a:cubicBezTo>
                  <a:pt x="1342523" y="1528588"/>
                  <a:pt x="1330551" y="1540560"/>
                  <a:pt x="1315314" y="1540560"/>
                </a:cubicBezTo>
                <a:cubicBezTo>
                  <a:pt x="1303887" y="1542193"/>
                  <a:pt x="1288106" y="1527500"/>
                  <a:pt x="1288650" y="1513896"/>
                </a:cubicBezTo>
                <a:cubicBezTo>
                  <a:pt x="1289194" y="1498659"/>
                  <a:pt x="1301166" y="1486687"/>
                  <a:pt x="1316403" y="1487231"/>
                </a:cubicBezTo>
                <a:close/>
                <a:moveTo>
                  <a:pt x="1479656" y="1485054"/>
                </a:moveTo>
                <a:cubicBezTo>
                  <a:pt x="1495437" y="1485598"/>
                  <a:pt x="1508497" y="1496482"/>
                  <a:pt x="1507409" y="1513895"/>
                </a:cubicBezTo>
                <a:cubicBezTo>
                  <a:pt x="1508497" y="1527500"/>
                  <a:pt x="1498158" y="1542192"/>
                  <a:pt x="1479112" y="1541648"/>
                </a:cubicBezTo>
                <a:cubicBezTo>
                  <a:pt x="1462787" y="1541648"/>
                  <a:pt x="1451359" y="1529676"/>
                  <a:pt x="1451359" y="1513351"/>
                </a:cubicBezTo>
                <a:cubicBezTo>
                  <a:pt x="1451359" y="1493761"/>
                  <a:pt x="1466596" y="1485054"/>
                  <a:pt x="1479656" y="1485054"/>
                </a:cubicBezTo>
                <a:close/>
                <a:moveTo>
                  <a:pt x="1641820" y="1482334"/>
                </a:moveTo>
                <a:cubicBezTo>
                  <a:pt x="1657057" y="1481789"/>
                  <a:pt x="1672838" y="1496482"/>
                  <a:pt x="1673382" y="1512807"/>
                </a:cubicBezTo>
                <a:cubicBezTo>
                  <a:pt x="1673927" y="1528044"/>
                  <a:pt x="1658145" y="1544370"/>
                  <a:pt x="1642909" y="1544370"/>
                </a:cubicBezTo>
                <a:cubicBezTo>
                  <a:pt x="1626039" y="1542193"/>
                  <a:pt x="1612979" y="1532942"/>
                  <a:pt x="1612435" y="1513351"/>
                </a:cubicBezTo>
                <a:cubicBezTo>
                  <a:pt x="1611890" y="1497571"/>
                  <a:pt x="1626583" y="1483422"/>
                  <a:pt x="1641820" y="1482334"/>
                </a:cubicBezTo>
                <a:close/>
                <a:moveTo>
                  <a:pt x="1804529" y="1481788"/>
                </a:moveTo>
                <a:cubicBezTo>
                  <a:pt x="1820855" y="1481244"/>
                  <a:pt x="1836091" y="1494304"/>
                  <a:pt x="1837180" y="1513351"/>
                </a:cubicBezTo>
                <a:cubicBezTo>
                  <a:pt x="1838812" y="1528043"/>
                  <a:pt x="1825208" y="1544913"/>
                  <a:pt x="1805617" y="1545457"/>
                </a:cubicBezTo>
                <a:cubicBezTo>
                  <a:pt x="1787660" y="1544913"/>
                  <a:pt x="1774055" y="1532397"/>
                  <a:pt x="1773511" y="1514983"/>
                </a:cubicBezTo>
                <a:cubicBezTo>
                  <a:pt x="1772967" y="1494849"/>
                  <a:pt x="1788204" y="1482333"/>
                  <a:pt x="1804529" y="1481788"/>
                </a:cubicBezTo>
                <a:close/>
                <a:moveTo>
                  <a:pt x="1968870" y="1480700"/>
                </a:moveTo>
                <a:cubicBezTo>
                  <a:pt x="1984651" y="1480700"/>
                  <a:pt x="2000977" y="1495937"/>
                  <a:pt x="2000977" y="1513351"/>
                </a:cubicBezTo>
                <a:cubicBezTo>
                  <a:pt x="2001521" y="1529132"/>
                  <a:pt x="1987916" y="1546001"/>
                  <a:pt x="1968870" y="1545457"/>
                </a:cubicBezTo>
                <a:cubicBezTo>
                  <a:pt x="1949824" y="1545457"/>
                  <a:pt x="1936764" y="1530764"/>
                  <a:pt x="1936764" y="1513351"/>
                </a:cubicBezTo>
                <a:cubicBezTo>
                  <a:pt x="1936764" y="1493760"/>
                  <a:pt x="1953633" y="1480700"/>
                  <a:pt x="1968870" y="1480700"/>
                </a:cubicBezTo>
                <a:close/>
                <a:moveTo>
                  <a:pt x="581221" y="1423562"/>
                </a:moveTo>
                <a:cubicBezTo>
                  <a:pt x="586663" y="1423562"/>
                  <a:pt x="589384" y="1427371"/>
                  <a:pt x="588840" y="1431725"/>
                </a:cubicBezTo>
                <a:cubicBezTo>
                  <a:pt x="588840" y="1434990"/>
                  <a:pt x="585030" y="1438255"/>
                  <a:pt x="581765" y="1443153"/>
                </a:cubicBezTo>
                <a:cubicBezTo>
                  <a:pt x="577412" y="1438255"/>
                  <a:pt x="574147" y="1436078"/>
                  <a:pt x="573059" y="1432813"/>
                </a:cubicBezTo>
                <a:cubicBezTo>
                  <a:pt x="571426" y="1429004"/>
                  <a:pt x="576868" y="1423562"/>
                  <a:pt x="581221" y="1423562"/>
                </a:cubicBezTo>
                <a:close/>
                <a:moveTo>
                  <a:pt x="745562" y="1414855"/>
                </a:moveTo>
                <a:cubicBezTo>
                  <a:pt x="754269" y="1415399"/>
                  <a:pt x="761344" y="1423018"/>
                  <a:pt x="761344" y="1432269"/>
                </a:cubicBezTo>
                <a:cubicBezTo>
                  <a:pt x="761344" y="1442064"/>
                  <a:pt x="754813" y="1448050"/>
                  <a:pt x="745018" y="1448050"/>
                </a:cubicBezTo>
                <a:cubicBezTo>
                  <a:pt x="734679" y="1448050"/>
                  <a:pt x="728693" y="1442064"/>
                  <a:pt x="728693" y="1431725"/>
                </a:cubicBezTo>
                <a:cubicBezTo>
                  <a:pt x="728693" y="1421386"/>
                  <a:pt x="735223" y="1414311"/>
                  <a:pt x="745562" y="1414855"/>
                </a:cubicBezTo>
                <a:close/>
                <a:moveTo>
                  <a:pt x="908815" y="1409958"/>
                </a:moveTo>
                <a:cubicBezTo>
                  <a:pt x="920243" y="1410502"/>
                  <a:pt x="930038" y="1420297"/>
                  <a:pt x="930038" y="1431725"/>
                </a:cubicBezTo>
                <a:cubicBezTo>
                  <a:pt x="929494" y="1443697"/>
                  <a:pt x="919155" y="1454036"/>
                  <a:pt x="907183" y="1453492"/>
                </a:cubicBezTo>
                <a:cubicBezTo>
                  <a:pt x="896844" y="1453492"/>
                  <a:pt x="885960" y="1442064"/>
                  <a:pt x="885960" y="1431725"/>
                </a:cubicBezTo>
                <a:cubicBezTo>
                  <a:pt x="885960" y="1420297"/>
                  <a:pt x="897388" y="1409414"/>
                  <a:pt x="908815" y="1409958"/>
                </a:cubicBezTo>
                <a:close/>
                <a:moveTo>
                  <a:pt x="1070436" y="1406693"/>
                </a:moveTo>
                <a:cubicBezTo>
                  <a:pt x="1084584" y="1406693"/>
                  <a:pt x="1096012" y="1418121"/>
                  <a:pt x="1096012" y="1432269"/>
                </a:cubicBezTo>
                <a:cubicBezTo>
                  <a:pt x="1096012" y="1445329"/>
                  <a:pt x="1082952" y="1458390"/>
                  <a:pt x="1070436" y="1457846"/>
                </a:cubicBezTo>
                <a:cubicBezTo>
                  <a:pt x="1058464" y="1457301"/>
                  <a:pt x="1044860" y="1443153"/>
                  <a:pt x="1045404" y="1431181"/>
                </a:cubicBezTo>
                <a:cubicBezTo>
                  <a:pt x="1045948" y="1418665"/>
                  <a:pt x="1057920" y="1406693"/>
                  <a:pt x="1070436" y="1406693"/>
                </a:cubicBezTo>
                <a:close/>
                <a:moveTo>
                  <a:pt x="1235865" y="1404516"/>
                </a:moveTo>
                <a:cubicBezTo>
                  <a:pt x="1252191" y="1405605"/>
                  <a:pt x="1262530" y="1415944"/>
                  <a:pt x="1261986" y="1433358"/>
                </a:cubicBezTo>
                <a:cubicBezTo>
                  <a:pt x="1261442" y="1449683"/>
                  <a:pt x="1251102" y="1459478"/>
                  <a:pt x="1233689" y="1459478"/>
                </a:cubicBezTo>
                <a:cubicBezTo>
                  <a:pt x="1218452" y="1461655"/>
                  <a:pt x="1206480" y="1445329"/>
                  <a:pt x="1206480" y="1432269"/>
                </a:cubicBezTo>
                <a:cubicBezTo>
                  <a:pt x="1206480" y="1417032"/>
                  <a:pt x="1220084" y="1403428"/>
                  <a:pt x="1235865" y="1404516"/>
                </a:cubicBezTo>
                <a:close/>
                <a:moveTo>
                  <a:pt x="1397485" y="1400162"/>
                </a:moveTo>
                <a:cubicBezTo>
                  <a:pt x="1412178" y="1400162"/>
                  <a:pt x="1427959" y="1416487"/>
                  <a:pt x="1427959" y="1431724"/>
                </a:cubicBezTo>
                <a:cubicBezTo>
                  <a:pt x="1428503" y="1446961"/>
                  <a:pt x="1413810" y="1462198"/>
                  <a:pt x="1398029" y="1463287"/>
                </a:cubicBezTo>
                <a:cubicBezTo>
                  <a:pt x="1384425" y="1464375"/>
                  <a:pt x="1367555" y="1448049"/>
                  <a:pt x="1366467" y="1432813"/>
                </a:cubicBezTo>
                <a:cubicBezTo>
                  <a:pt x="1365923" y="1418120"/>
                  <a:pt x="1382792" y="1400162"/>
                  <a:pt x="1397485" y="1400162"/>
                </a:cubicBezTo>
                <a:close/>
                <a:moveTo>
                  <a:pt x="1561282" y="1399618"/>
                </a:moveTo>
                <a:cubicBezTo>
                  <a:pt x="1575975" y="1399618"/>
                  <a:pt x="1593388" y="1415943"/>
                  <a:pt x="1593388" y="1432269"/>
                </a:cubicBezTo>
                <a:cubicBezTo>
                  <a:pt x="1593388" y="1446961"/>
                  <a:pt x="1578696" y="1464919"/>
                  <a:pt x="1560738" y="1464375"/>
                </a:cubicBezTo>
                <a:cubicBezTo>
                  <a:pt x="1542236" y="1463831"/>
                  <a:pt x="1529176" y="1450226"/>
                  <a:pt x="1528631" y="1432813"/>
                </a:cubicBezTo>
                <a:cubicBezTo>
                  <a:pt x="1528087" y="1414311"/>
                  <a:pt x="1545501" y="1399618"/>
                  <a:pt x="1561282" y="1399618"/>
                </a:cubicBezTo>
                <a:close/>
                <a:moveTo>
                  <a:pt x="1723446" y="1399074"/>
                </a:moveTo>
                <a:cubicBezTo>
                  <a:pt x="1741948" y="1399074"/>
                  <a:pt x="1757185" y="1413767"/>
                  <a:pt x="1757185" y="1432269"/>
                </a:cubicBezTo>
                <a:cubicBezTo>
                  <a:pt x="1757185" y="1451315"/>
                  <a:pt x="1743037" y="1463831"/>
                  <a:pt x="1723991" y="1465464"/>
                </a:cubicBezTo>
                <a:cubicBezTo>
                  <a:pt x="1707121" y="1466552"/>
                  <a:pt x="1690252" y="1448594"/>
                  <a:pt x="1691340" y="1433357"/>
                </a:cubicBezTo>
                <a:cubicBezTo>
                  <a:pt x="1692428" y="1412678"/>
                  <a:pt x="1704400" y="1399074"/>
                  <a:pt x="1723446" y="1399074"/>
                </a:cubicBezTo>
                <a:close/>
                <a:moveTo>
                  <a:pt x="1886700" y="1398530"/>
                </a:moveTo>
                <a:cubicBezTo>
                  <a:pt x="1904113" y="1396898"/>
                  <a:pt x="1922071" y="1415944"/>
                  <a:pt x="1920439" y="1432269"/>
                </a:cubicBezTo>
                <a:cubicBezTo>
                  <a:pt x="1919350" y="1451315"/>
                  <a:pt x="1907378" y="1464920"/>
                  <a:pt x="1887788" y="1464920"/>
                </a:cubicBezTo>
                <a:cubicBezTo>
                  <a:pt x="1867109" y="1464920"/>
                  <a:pt x="1854049" y="1452948"/>
                  <a:pt x="1854049" y="1433358"/>
                </a:cubicBezTo>
                <a:cubicBezTo>
                  <a:pt x="1854049" y="1412679"/>
                  <a:pt x="1867109" y="1400163"/>
                  <a:pt x="1886700" y="1398530"/>
                </a:cubicBezTo>
                <a:close/>
                <a:moveTo>
                  <a:pt x="2051041" y="1398217"/>
                </a:moveTo>
                <a:lnTo>
                  <a:pt x="2051041" y="1464535"/>
                </a:lnTo>
                <a:lnTo>
                  <a:pt x="2049953" y="1464920"/>
                </a:lnTo>
                <a:cubicBezTo>
                  <a:pt x="2032539" y="1467096"/>
                  <a:pt x="2017302" y="1450771"/>
                  <a:pt x="2017302" y="1431725"/>
                </a:cubicBezTo>
                <a:cubicBezTo>
                  <a:pt x="2017302" y="1422746"/>
                  <a:pt x="2021383" y="1414311"/>
                  <a:pt x="2027709" y="1408121"/>
                </a:cubicBezTo>
                <a:close/>
                <a:moveTo>
                  <a:pt x="500139" y="1341936"/>
                </a:moveTo>
                <a:cubicBezTo>
                  <a:pt x="503404" y="1343568"/>
                  <a:pt x="506125" y="1346833"/>
                  <a:pt x="511023" y="1350643"/>
                </a:cubicBezTo>
                <a:cubicBezTo>
                  <a:pt x="506125" y="1354452"/>
                  <a:pt x="502860" y="1357717"/>
                  <a:pt x="499595" y="1358261"/>
                </a:cubicBezTo>
                <a:cubicBezTo>
                  <a:pt x="495241" y="1359349"/>
                  <a:pt x="490888" y="1353908"/>
                  <a:pt x="491432" y="1349010"/>
                </a:cubicBezTo>
                <a:cubicBezTo>
                  <a:pt x="491976" y="1344112"/>
                  <a:pt x="495241" y="1340848"/>
                  <a:pt x="500139" y="1341936"/>
                </a:cubicBezTo>
                <a:close/>
                <a:moveTo>
                  <a:pt x="662848" y="1333773"/>
                </a:moveTo>
                <a:cubicBezTo>
                  <a:pt x="673187" y="1333773"/>
                  <a:pt x="679173" y="1340303"/>
                  <a:pt x="679173" y="1350643"/>
                </a:cubicBezTo>
                <a:cubicBezTo>
                  <a:pt x="679173" y="1359894"/>
                  <a:pt x="672099" y="1366424"/>
                  <a:pt x="662848" y="1366424"/>
                </a:cubicBezTo>
                <a:cubicBezTo>
                  <a:pt x="653053" y="1366424"/>
                  <a:pt x="647067" y="1359894"/>
                  <a:pt x="647067" y="1350098"/>
                </a:cubicBezTo>
                <a:cubicBezTo>
                  <a:pt x="647067" y="1339759"/>
                  <a:pt x="653053" y="1333773"/>
                  <a:pt x="662848" y="1333773"/>
                </a:cubicBezTo>
                <a:close/>
                <a:moveTo>
                  <a:pt x="826645" y="1328331"/>
                </a:moveTo>
                <a:cubicBezTo>
                  <a:pt x="838617" y="1328331"/>
                  <a:pt x="848412" y="1338670"/>
                  <a:pt x="847868" y="1350642"/>
                </a:cubicBezTo>
                <a:cubicBezTo>
                  <a:pt x="847868" y="1362070"/>
                  <a:pt x="836984" y="1372409"/>
                  <a:pt x="825556" y="1372409"/>
                </a:cubicBezTo>
                <a:cubicBezTo>
                  <a:pt x="814673" y="1372409"/>
                  <a:pt x="803789" y="1360982"/>
                  <a:pt x="804334" y="1349554"/>
                </a:cubicBezTo>
                <a:cubicBezTo>
                  <a:pt x="804334" y="1337582"/>
                  <a:pt x="814673" y="1328331"/>
                  <a:pt x="826645" y="1328331"/>
                </a:cubicBezTo>
                <a:close/>
                <a:moveTo>
                  <a:pt x="989353" y="1323978"/>
                </a:moveTo>
                <a:cubicBezTo>
                  <a:pt x="1002957" y="1324522"/>
                  <a:pt x="1014385" y="1334861"/>
                  <a:pt x="1015473" y="1350098"/>
                </a:cubicBezTo>
                <a:cubicBezTo>
                  <a:pt x="1014929" y="1363702"/>
                  <a:pt x="1004046" y="1376219"/>
                  <a:pt x="989353" y="1376763"/>
                </a:cubicBezTo>
                <a:cubicBezTo>
                  <a:pt x="976293" y="1376763"/>
                  <a:pt x="963777" y="1364791"/>
                  <a:pt x="963777" y="1350642"/>
                </a:cubicBezTo>
                <a:cubicBezTo>
                  <a:pt x="963233" y="1334861"/>
                  <a:pt x="977925" y="1323434"/>
                  <a:pt x="989353" y="1323978"/>
                </a:cubicBezTo>
                <a:close/>
                <a:moveTo>
                  <a:pt x="1152606" y="1322889"/>
                </a:moveTo>
                <a:cubicBezTo>
                  <a:pt x="1170564" y="1320712"/>
                  <a:pt x="1180903" y="1335405"/>
                  <a:pt x="1181447" y="1350098"/>
                </a:cubicBezTo>
                <a:cubicBezTo>
                  <a:pt x="1181447" y="1364791"/>
                  <a:pt x="1171108" y="1379483"/>
                  <a:pt x="1152606" y="1379483"/>
                </a:cubicBezTo>
                <a:cubicBezTo>
                  <a:pt x="1137913" y="1379483"/>
                  <a:pt x="1124853" y="1367511"/>
                  <a:pt x="1124853" y="1350642"/>
                </a:cubicBezTo>
                <a:cubicBezTo>
                  <a:pt x="1124309" y="1333228"/>
                  <a:pt x="1137913" y="1320712"/>
                  <a:pt x="1152606" y="1322889"/>
                </a:cubicBezTo>
                <a:close/>
                <a:moveTo>
                  <a:pt x="1315315" y="1318536"/>
                </a:moveTo>
                <a:cubicBezTo>
                  <a:pt x="1334361" y="1318536"/>
                  <a:pt x="1345789" y="1331596"/>
                  <a:pt x="1347966" y="1350098"/>
                </a:cubicBezTo>
                <a:cubicBezTo>
                  <a:pt x="1345245" y="1369144"/>
                  <a:pt x="1334905" y="1382205"/>
                  <a:pt x="1315315" y="1381661"/>
                </a:cubicBezTo>
                <a:cubicBezTo>
                  <a:pt x="1296813" y="1381116"/>
                  <a:pt x="1284841" y="1369144"/>
                  <a:pt x="1284297" y="1350098"/>
                </a:cubicBezTo>
                <a:cubicBezTo>
                  <a:pt x="1284297" y="1331052"/>
                  <a:pt x="1297357" y="1319080"/>
                  <a:pt x="1315315" y="1318536"/>
                </a:cubicBezTo>
                <a:close/>
                <a:moveTo>
                  <a:pt x="1480744" y="1317448"/>
                </a:moveTo>
                <a:cubicBezTo>
                  <a:pt x="1499246" y="1317992"/>
                  <a:pt x="1512851" y="1332140"/>
                  <a:pt x="1512306" y="1351731"/>
                </a:cubicBezTo>
                <a:cubicBezTo>
                  <a:pt x="1511762" y="1370233"/>
                  <a:pt x="1497070" y="1383837"/>
                  <a:pt x="1477479" y="1383293"/>
                </a:cubicBezTo>
                <a:cubicBezTo>
                  <a:pt x="1458977" y="1382749"/>
                  <a:pt x="1447550" y="1368600"/>
                  <a:pt x="1446461" y="1349554"/>
                </a:cubicBezTo>
                <a:cubicBezTo>
                  <a:pt x="1445373" y="1333773"/>
                  <a:pt x="1463331" y="1314727"/>
                  <a:pt x="1480744" y="1317448"/>
                </a:cubicBezTo>
                <a:close/>
                <a:moveTo>
                  <a:pt x="1642908" y="1315815"/>
                </a:moveTo>
                <a:cubicBezTo>
                  <a:pt x="1663043" y="1315815"/>
                  <a:pt x="1677735" y="1333229"/>
                  <a:pt x="1676647" y="1351731"/>
                </a:cubicBezTo>
                <a:cubicBezTo>
                  <a:pt x="1675559" y="1371865"/>
                  <a:pt x="1661954" y="1384381"/>
                  <a:pt x="1640732" y="1383837"/>
                </a:cubicBezTo>
                <a:cubicBezTo>
                  <a:pt x="1620597" y="1384381"/>
                  <a:pt x="1608081" y="1368056"/>
                  <a:pt x="1608081" y="1349554"/>
                </a:cubicBezTo>
                <a:cubicBezTo>
                  <a:pt x="1608081" y="1329964"/>
                  <a:pt x="1623318" y="1315815"/>
                  <a:pt x="1642908" y="1315815"/>
                </a:cubicBezTo>
                <a:close/>
                <a:moveTo>
                  <a:pt x="1968870" y="1314183"/>
                </a:moveTo>
                <a:cubicBezTo>
                  <a:pt x="1989548" y="1314727"/>
                  <a:pt x="2004785" y="1329420"/>
                  <a:pt x="2005329" y="1351187"/>
                </a:cubicBezTo>
                <a:cubicBezTo>
                  <a:pt x="2004785" y="1370233"/>
                  <a:pt x="1985739" y="1388735"/>
                  <a:pt x="1967781" y="1388191"/>
                </a:cubicBezTo>
                <a:cubicBezTo>
                  <a:pt x="1949823" y="1387647"/>
                  <a:pt x="1931322" y="1367512"/>
                  <a:pt x="1931866" y="1350098"/>
                </a:cubicBezTo>
                <a:cubicBezTo>
                  <a:pt x="1932410" y="1331596"/>
                  <a:pt x="1950912" y="1313094"/>
                  <a:pt x="1968870" y="1314183"/>
                </a:cubicBezTo>
                <a:close/>
                <a:moveTo>
                  <a:pt x="1806161" y="1313639"/>
                </a:moveTo>
                <a:cubicBezTo>
                  <a:pt x="1825207" y="1314183"/>
                  <a:pt x="1843165" y="1332141"/>
                  <a:pt x="1841533" y="1351187"/>
                </a:cubicBezTo>
                <a:cubicBezTo>
                  <a:pt x="1840988" y="1360438"/>
                  <a:pt x="1838267" y="1370233"/>
                  <a:pt x="1830105" y="1376763"/>
                </a:cubicBezTo>
                <a:cubicBezTo>
                  <a:pt x="1822486" y="1383293"/>
                  <a:pt x="1813235" y="1387102"/>
                  <a:pt x="1803984" y="1387102"/>
                </a:cubicBezTo>
                <a:cubicBezTo>
                  <a:pt x="1786027" y="1387102"/>
                  <a:pt x="1768613" y="1367512"/>
                  <a:pt x="1768613" y="1350098"/>
                </a:cubicBezTo>
                <a:cubicBezTo>
                  <a:pt x="1769157" y="1331596"/>
                  <a:pt x="1788203" y="1313094"/>
                  <a:pt x="1806161" y="1313639"/>
                </a:cubicBezTo>
                <a:close/>
                <a:moveTo>
                  <a:pt x="419057" y="1262486"/>
                </a:moveTo>
                <a:cubicBezTo>
                  <a:pt x="423410" y="1262486"/>
                  <a:pt x="425587" y="1265207"/>
                  <a:pt x="424499" y="1269016"/>
                </a:cubicBezTo>
                <a:cubicBezTo>
                  <a:pt x="423410" y="1271737"/>
                  <a:pt x="421234" y="1273914"/>
                  <a:pt x="417969" y="1278811"/>
                </a:cubicBezTo>
                <a:cubicBezTo>
                  <a:pt x="414704" y="1273914"/>
                  <a:pt x="412527" y="1271737"/>
                  <a:pt x="411983" y="1269016"/>
                </a:cubicBezTo>
                <a:cubicBezTo>
                  <a:pt x="410894" y="1264118"/>
                  <a:pt x="414159" y="1262486"/>
                  <a:pt x="419057" y="1262486"/>
                </a:cubicBezTo>
                <a:close/>
                <a:moveTo>
                  <a:pt x="581221" y="1252147"/>
                </a:moveTo>
                <a:cubicBezTo>
                  <a:pt x="591016" y="1252691"/>
                  <a:pt x="598091" y="1260310"/>
                  <a:pt x="597547" y="1269017"/>
                </a:cubicBezTo>
                <a:cubicBezTo>
                  <a:pt x="597547" y="1278268"/>
                  <a:pt x="589928" y="1284798"/>
                  <a:pt x="580133" y="1284254"/>
                </a:cubicBezTo>
                <a:cubicBezTo>
                  <a:pt x="570882" y="1283709"/>
                  <a:pt x="564896" y="1277179"/>
                  <a:pt x="564896" y="1268472"/>
                </a:cubicBezTo>
                <a:cubicBezTo>
                  <a:pt x="564896" y="1259222"/>
                  <a:pt x="571970" y="1252147"/>
                  <a:pt x="581221" y="1252147"/>
                </a:cubicBezTo>
                <a:close/>
                <a:moveTo>
                  <a:pt x="745018" y="1246705"/>
                </a:moveTo>
                <a:cubicBezTo>
                  <a:pt x="757534" y="1246705"/>
                  <a:pt x="766785" y="1257044"/>
                  <a:pt x="766241" y="1269560"/>
                </a:cubicBezTo>
                <a:cubicBezTo>
                  <a:pt x="765697" y="1280988"/>
                  <a:pt x="755358" y="1290783"/>
                  <a:pt x="744474" y="1290783"/>
                </a:cubicBezTo>
                <a:cubicBezTo>
                  <a:pt x="733046" y="1290783"/>
                  <a:pt x="722707" y="1279900"/>
                  <a:pt x="722707" y="1267928"/>
                </a:cubicBezTo>
                <a:cubicBezTo>
                  <a:pt x="722707" y="1255956"/>
                  <a:pt x="733046" y="1246705"/>
                  <a:pt x="745018" y="1246705"/>
                </a:cubicBezTo>
                <a:close/>
                <a:moveTo>
                  <a:pt x="907727" y="1241807"/>
                </a:moveTo>
                <a:cubicBezTo>
                  <a:pt x="921331" y="1241807"/>
                  <a:pt x="934391" y="1257044"/>
                  <a:pt x="933847" y="1269016"/>
                </a:cubicBezTo>
                <a:cubicBezTo>
                  <a:pt x="933847" y="1282620"/>
                  <a:pt x="920787" y="1295680"/>
                  <a:pt x="907183" y="1295136"/>
                </a:cubicBezTo>
                <a:cubicBezTo>
                  <a:pt x="893578" y="1294592"/>
                  <a:pt x="880518" y="1280988"/>
                  <a:pt x="880518" y="1267927"/>
                </a:cubicBezTo>
                <a:cubicBezTo>
                  <a:pt x="881062" y="1254323"/>
                  <a:pt x="894122" y="1242351"/>
                  <a:pt x="907727" y="1241807"/>
                </a:cubicBezTo>
                <a:close/>
                <a:moveTo>
                  <a:pt x="1070979" y="1240719"/>
                </a:moveTo>
                <a:cubicBezTo>
                  <a:pt x="1091114" y="1240175"/>
                  <a:pt x="1099276" y="1252691"/>
                  <a:pt x="1099821" y="1268472"/>
                </a:cubicBezTo>
                <a:cubicBezTo>
                  <a:pt x="1099821" y="1285886"/>
                  <a:pt x="1088393" y="1297858"/>
                  <a:pt x="1070435" y="1297858"/>
                </a:cubicBezTo>
                <a:cubicBezTo>
                  <a:pt x="1053566" y="1297858"/>
                  <a:pt x="1042138" y="1286430"/>
                  <a:pt x="1042138" y="1269560"/>
                </a:cubicBezTo>
                <a:cubicBezTo>
                  <a:pt x="1042138" y="1250514"/>
                  <a:pt x="1053566" y="1240719"/>
                  <a:pt x="1070979" y="1240719"/>
                </a:cubicBezTo>
                <a:close/>
                <a:moveTo>
                  <a:pt x="1234233" y="1235821"/>
                </a:moveTo>
                <a:cubicBezTo>
                  <a:pt x="1250558" y="1235821"/>
                  <a:pt x="1267972" y="1252691"/>
                  <a:pt x="1266883" y="1269016"/>
                </a:cubicBezTo>
                <a:cubicBezTo>
                  <a:pt x="1266339" y="1285885"/>
                  <a:pt x="1251646" y="1301122"/>
                  <a:pt x="1234233" y="1300578"/>
                </a:cubicBezTo>
                <a:cubicBezTo>
                  <a:pt x="1216275" y="1300578"/>
                  <a:pt x="1201582" y="1286430"/>
                  <a:pt x="1201582" y="1267383"/>
                </a:cubicBezTo>
                <a:cubicBezTo>
                  <a:pt x="1201582" y="1249425"/>
                  <a:pt x="1217907" y="1235821"/>
                  <a:pt x="1234233" y="1235821"/>
                </a:cubicBezTo>
                <a:close/>
                <a:moveTo>
                  <a:pt x="1396397" y="1234733"/>
                </a:moveTo>
                <a:cubicBezTo>
                  <a:pt x="1413810" y="1233645"/>
                  <a:pt x="1433945" y="1250514"/>
                  <a:pt x="1431224" y="1268472"/>
                </a:cubicBezTo>
                <a:cubicBezTo>
                  <a:pt x="1433401" y="1286430"/>
                  <a:pt x="1415443" y="1303299"/>
                  <a:pt x="1396941" y="1302755"/>
                </a:cubicBezTo>
                <a:cubicBezTo>
                  <a:pt x="1381160" y="1302211"/>
                  <a:pt x="1363202" y="1290783"/>
                  <a:pt x="1363746" y="1269016"/>
                </a:cubicBezTo>
                <a:cubicBezTo>
                  <a:pt x="1364290" y="1248881"/>
                  <a:pt x="1376806" y="1235821"/>
                  <a:pt x="1396397" y="1234733"/>
                </a:cubicBezTo>
                <a:close/>
                <a:moveTo>
                  <a:pt x="1559649" y="1232557"/>
                </a:moveTo>
                <a:cubicBezTo>
                  <a:pt x="1580328" y="1232013"/>
                  <a:pt x="1595021" y="1246705"/>
                  <a:pt x="1597742" y="1268472"/>
                </a:cubicBezTo>
                <a:cubicBezTo>
                  <a:pt x="1598286" y="1286974"/>
                  <a:pt x="1580872" y="1304932"/>
                  <a:pt x="1561826" y="1305476"/>
                </a:cubicBezTo>
                <a:cubicBezTo>
                  <a:pt x="1543868" y="1306564"/>
                  <a:pt x="1524822" y="1288063"/>
                  <a:pt x="1523734" y="1269561"/>
                </a:cubicBezTo>
                <a:cubicBezTo>
                  <a:pt x="1522645" y="1252147"/>
                  <a:pt x="1541147" y="1232557"/>
                  <a:pt x="1559649" y="1232557"/>
                </a:cubicBezTo>
                <a:close/>
                <a:moveTo>
                  <a:pt x="1723990" y="1231468"/>
                </a:moveTo>
                <a:cubicBezTo>
                  <a:pt x="1743037" y="1231468"/>
                  <a:pt x="1761539" y="1249426"/>
                  <a:pt x="1762083" y="1268472"/>
                </a:cubicBezTo>
                <a:cubicBezTo>
                  <a:pt x="1762627" y="1290239"/>
                  <a:pt x="1741404" y="1306020"/>
                  <a:pt x="1724535" y="1307109"/>
                </a:cubicBezTo>
                <a:cubicBezTo>
                  <a:pt x="1706033" y="1306564"/>
                  <a:pt x="1687531" y="1290239"/>
                  <a:pt x="1686442" y="1270105"/>
                </a:cubicBezTo>
                <a:cubicBezTo>
                  <a:pt x="1685354" y="1254323"/>
                  <a:pt x="1701679" y="1231468"/>
                  <a:pt x="1723990" y="1231468"/>
                </a:cubicBezTo>
                <a:close/>
                <a:moveTo>
                  <a:pt x="1888332" y="1230924"/>
                </a:moveTo>
                <a:cubicBezTo>
                  <a:pt x="1905745" y="1229836"/>
                  <a:pt x="1928056" y="1250514"/>
                  <a:pt x="1925336" y="1269561"/>
                </a:cubicBezTo>
                <a:cubicBezTo>
                  <a:pt x="1925336" y="1289695"/>
                  <a:pt x="1907378" y="1306564"/>
                  <a:pt x="1887243" y="1307653"/>
                </a:cubicBezTo>
                <a:cubicBezTo>
                  <a:pt x="1870918" y="1308197"/>
                  <a:pt x="1847519" y="1288063"/>
                  <a:pt x="1849151" y="1267928"/>
                </a:cubicBezTo>
                <a:cubicBezTo>
                  <a:pt x="1850239" y="1247794"/>
                  <a:pt x="1867653" y="1231468"/>
                  <a:pt x="1888332" y="1230924"/>
                </a:cubicBezTo>
                <a:close/>
                <a:moveTo>
                  <a:pt x="2049952" y="1230380"/>
                </a:moveTo>
                <a:lnTo>
                  <a:pt x="2051041" y="1230805"/>
                </a:lnTo>
                <a:lnTo>
                  <a:pt x="2051041" y="1307109"/>
                </a:lnTo>
                <a:cubicBezTo>
                  <a:pt x="2033627" y="1309830"/>
                  <a:pt x="2011316" y="1286974"/>
                  <a:pt x="2012404" y="1268472"/>
                </a:cubicBezTo>
                <a:cubicBezTo>
                  <a:pt x="2013493" y="1247794"/>
                  <a:pt x="2029274" y="1230380"/>
                  <a:pt x="2049952" y="1230380"/>
                </a:cubicBezTo>
                <a:close/>
                <a:moveTo>
                  <a:pt x="337431" y="1181404"/>
                </a:moveTo>
                <a:cubicBezTo>
                  <a:pt x="339608" y="1182493"/>
                  <a:pt x="341240" y="1184669"/>
                  <a:pt x="345050" y="1187934"/>
                </a:cubicBezTo>
                <a:cubicBezTo>
                  <a:pt x="340696" y="1190111"/>
                  <a:pt x="338519" y="1192288"/>
                  <a:pt x="336343" y="1192288"/>
                </a:cubicBezTo>
                <a:cubicBezTo>
                  <a:pt x="331445" y="1192832"/>
                  <a:pt x="330901" y="1189567"/>
                  <a:pt x="330901" y="1185758"/>
                </a:cubicBezTo>
                <a:cubicBezTo>
                  <a:pt x="330901" y="1181404"/>
                  <a:pt x="334166" y="1180860"/>
                  <a:pt x="337431" y="1181404"/>
                </a:cubicBezTo>
                <a:close/>
                <a:moveTo>
                  <a:pt x="499051" y="1171065"/>
                </a:moveTo>
                <a:cubicBezTo>
                  <a:pt x="506125" y="1170521"/>
                  <a:pt x="516465" y="1179772"/>
                  <a:pt x="516465" y="1187390"/>
                </a:cubicBezTo>
                <a:cubicBezTo>
                  <a:pt x="515921" y="1193920"/>
                  <a:pt x="507214" y="1202627"/>
                  <a:pt x="500140" y="1202627"/>
                </a:cubicBezTo>
                <a:cubicBezTo>
                  <a:pt x="493065" y="1202627"/>
                  <a:pt x="484358" y="1195008"/>
                  <a:pt x="483814" y="1187390"/>
                </a:cubicBezTo>
                <a:cubicBezTo>
                  <a:pt x="483270" y="1180316"/>
                  <a:pt x="491977" y="1171065"/>
                  <a:pt x="499051" y="1171065"/>
                </a:cubicBezTo>
                <a:close/>
                <a:moveTo>
                  <a:pt x="662848" y="1165623"/>
                </a:moveTo>
                <a:cubicBezTo>
                  <a:pt x="675364" y="1165623"/>
                  <a:pt x="684615" y="1174874"/>
                  <a:pt x="684615" y="1187390"/>
                </a:cubicBezTo>
                <a:cubicBezTo>
                  <a:pt x="684615" y="1199362"/>
                  <a:pt x="674820" y="1209157"/>
                  <a:pt x="662848" y="1209157"/>
                </a:cubicBezTo>
                <a:cubicBezTo>
                  <a:pt x="651420" y="1209157"/>
                  <a:pt x="641081" y="1198274"/>
                  <a:pt x="641081" y="1186846"/>
                </a:cubicBezTo>
                <a:cubicBezTo>
                  <a:pt x="641081" y="1175418"/>
                  <a:pt x="651420" y="1165623"/>
                  <a:pt x="662848" y="1165623"/>
                </a:cubicBezTo>
                <a:close/>
                <a:moveTo>
                  <a:pt x="825556" y="1160725"/>
                </a:moveTo>
                <a:cubicBezTo>
                  <a:pt x="840249" y="1161270"/>
                  <a:pt x="851677" y="1171609"/>
                  <a:pt x="852765" y="1186846"/>
                </a:cubicBezTo>
                <a:cubicBezTo>
                  <a:pt x="853309" y="1199906"/>
                  <a:pt x="840249" y="1213511"/>
                  <a:pt x="826645" y="1213511"/>
                </a:cubicBezTo>
                <a:cubicBezTo>
                  <a:pt x="813585" y="1214055"/>
                  <a:pt x="799980" y="1200995"/>
                  <a:pt x="798892" y="1188479"/>
                </a:cubicBezTo>
                <a:cubicBezTo>
                  <a:pt x="797803" y="1173241"/>
                  <a:pt x="814129" y="1160181"/>
                  <a:pt x="825556" y="1160725"/>
                </a:cubicBezTo>
                <a:close/>
                <a:moveTo>
                  <a:pt x="989353" y="1158004"/>
                </a:moveTo>
                <a:cubicBezTo>
                  <a:pt x="1007855" y="1159092"/>
                  <a:pt x="1018739" y="1168888"/>
                  <a:pt x="1018195" y="1187934"/>
                </a:cubicBezTo>
                <a:cubicBezTo>
                  <a:pt x="1017651" y="1206436"/>
                  <a:pt x="1007311" y="1216231"/>
                  <a:pt x="988809" y="1216775"/>
                </a:cubicBezTo>
                <a:cubicBezTo>
                  <a:pt x="972484" y="1217319"/>
                  <a:pt x="960512" y="1203715"/>
                  <a:pt x="959968" y="1187934"/>
                </a:cubicBezTo>
                <a:cubicBezTo>
                  <a:pt x="959968" y="1170520"/>
                  <a:pt x="972484" y="1158004"/>
                  <a:pt x="989353" y="1158004"/>
                </a:cubicBezTo>
                <a:close/>
                <a:moveTo>
                  <a:pt x="1152062" y="1153651"/>
                </a:moveTo>
                <a:cubicBezTo>
                  <a:pt x="1166755" y="1152562"/>
                  <a:pt x="1186345" y="1171065"/>
                  <a:pt x="1185801" y="1186301"/>
                </a:cubicBezTo>
                <a:cubicBezTo>
                  <a:pt x="1184713" y="1205348"/>
                  <a:pt x="1171652" y="1218952"/>
                  <a:pt x="1153150" y="1219496"/>
                </a:cubicBezTo>
                <a:cubicBezTo>
                  <a:pt x="1135193" y="1221129"/>
                  <a:pt x="1119412" y="1204259"/>
                  <a:pt x="1119956" y="1187390"/>
                </a:cubicBezTo>
                <a:cubicBezTo>
                  <a:pt x="1120500" y="1168888"/>
                  <a:pt x="1134648" y="1154739"/>
                  <a:pt x="1152062" y="1153651"/>
                </a:cubicBezTo>
                <a:close/>
                <a:moveTo>
                  <a:pt x="1315315" y="1152018"/>
                </a:moveTo>
                <a:cubicBezTo>
                  <a:pt x="1336537" y="1151474"/>
                  <a:pt x="1351230" y="1169432"/>
                  <a:pt x="1351230" y="1186845"/>
                </a:cubicBezTo>
                <a:cubicBezTo>
                  <a:pt x="1350686" y="1205891"/>
                  <a:pt x="1338714" y="1222217"/>
                  <a:pt x="1315859" y="1221673"/>
                </a:cubicBezTo>
                <a:cubicBezTo>
                  <a:pt x="1294092" y="1221128"/>
                  <a:pt x="1282120" y="1209157"/>
                  <a:pt x="1281576" y="1187390"/>
                </a:cubicBezTo>
                <a:cubicBezTo>
                  <a:pt x="1281031" y="1167255"/>
                  <a:pt x="1295724" y="1152562"/>
                  <a:pt x="1315315" y="1152018"/>
                </a:cubicBezTo>
                <a:close/>
                <a:moveTo>
                  <a:pt x="1479656" y="1149298"/>
                </a:moveTo>
                <a:cubicBezTo>
                  <a:pt x="1500878" y="1149842"/>
                  <a:pt x="1517204" y="1168888"/>
                  <a:pt x="1516660" y="1188479"/>
                </a:cubicBezTo>
                <a:cubicBezTo>
                  <a:pt x="1515027" y="1210246"/>
                  <a:pt x="1495981" y="1224938"/>
                  <a:pt x="1478023" y="1224394"/>
                </a:cubicBezTo>
                <a:cubicBezTo>
                  <a:pt x="1457889" y="1223850"/>
                  <a:pt x="1439931" y="1205892"/>
                  <a:pt x="1441563" y="1185758"/>
                </a:cubicBezTo>
                <a:cubicBezTo>
                  <a:pt x="1442652" y="1166167"/>
                  <a:pt x="1458977" y="1149298"/>
                  <a:pt x="1479656" y="1149298"/>
                </a:cubicBezTo>
                <a:close/>
                <a:moveTo>
                  <a:pt x="1642365" y="1148209"/>
                </a:moveTo>
                <a:cubicBezTo>
                  <a:pt x="1659779" y="1147121"/>
                  <a:pt x="1681001" y="1166711"/>
                  <a:pt x="1681001" y="1187390"/>
                </a:cubicBezTo>
                <a:cubicBezTo>
                  <a:pt x="1681001" y="1208613"/>
                  <a:pt x="1658690" y="1226026"/>
                  <a:pt x="1641821" y="1226026"/>
                </a:cubicBezTo>
                <a:cubicBezTo>
                  <a:pt x="1624407" y="1226026"/>
                  <a:pt x="1601007" y="1205348"/>
                  <a:pt x="1603728" y="1186846"/>
                </a:cubicBezTo>
                <a:cubicBezTo>
                  <a:pt x="1603728" y="1165623"/>
                  <a:pt x="1621686" y="1149298"/>
                  <a:pt x="1642365" y="1148209"/>
                </a:cubicBezTo>
                <a:close/>
                <a:moveTo>
                  <a:pt x="1969414" y="1147665"/>
                </a:moveTo>
                <a:cubicBezTo>
                  <a:pt x="1991725" y="1146032"/>
                  <a:pt x="2009139" y="1165623"/>
                  <a:pt x="2009139" y="1187934"/>
                </a:cubicBezTo>
                <a:cubicBezTo>
                  <a:pt x="2008595" y="1209157"/>
                  <a:pt x="1990093" y="1227114"/>
                  <a:pt x="1968870" y="1227114"/>
                </a:cubicBezTo>
                <a:cubicBezTo>
                  <a:pt x="1949824" y="1227114"/>
                  <a:pt x="1928601" y="1209701"/>
                  <a:pt x="1929145" y="1186301"/>
                </a:cubicBezTo>
                <a:cubicBezTo>
                  <a:pt x="1929145" y="1165623"/>
                  <a:pt x="1948191" y="1145488"/>
                  <a:pt x="1969414" y="1147665"/>
                </a:cubicBezTo>
                <a:close/>
                <a:moveTo>
                  <a:pt x="1805617" y="1147665"/>
                </a:moveTo>
                <a:cubicBezTo>
                  <a:pt x="1825752" y="1147665"/>
                  <a:pt x="1845342" y="1165078"/>
                  <a:pt x="1844798" y="1187934"/>
                </a:cubicBezTo>
                <a:cubicBezTo>
                  <a:pt x="1844254" y="1208612"/>
                  <a:pt x="1824664" y="1227115"/>
                  <a:pt x="1805073" y="1226571"/>
                </a:cubicBezTo>
                <a:cubicBezTo>
                  <a:pt x="1787115" y="1226571"/>
                  <a:pt x="1764260" y="1209701"/>
                  <a:pt x="1766981" y="1186845"/>
                </a:cubicBezTo>
                <a:cubicBezTo>
                  <a:pt x="1764804" y="1165623"/>
                  <a:pt x="1786027" y="1147665"/>
                  <a:pt x="1805617" y="1147665"/>
                </a:cubicBezTo>
                <a:close/>
                <a:moveTo>
                  <a:pt x="417425" y="1090527"/>
                </a:moveTo>
                <a:cubicBezTo>
                  <a:pt x="423955" y="1090527"/>
                  <a:pt x="433206" y="1099234"/>
                  <a:pt x="432662" y="1105764"/>
                </a:cubicBezTo>
                <a:cubicBezTo>
                  <a:pt x="432662" y="1111206"/>
                  <a:pt x="423955" y="1119912"/>
                  <a:pt x="417969" y="1120457"/>
                </a:cubicBezTo>
                <a:cubicBezTo>
                  <a:pt x="411439" y="1121001"/>
                  <a:pt x="402188" y="1111750"/>
                  <a:pt x="402732" y="1105219"/>
                </a:cubicBezTo>
                <a:cubicBezTo>
                  <a:pt x="402732" y="1099234"/>
                  <a:pt x="411439" y="1090527"/>
                  <a:pt x="417425" y="1090527"/>
                </a:cubicBezTo>
                <a:close/>
                <a:moveTo>
                  <a:pt x="580677" y="1083996"/>
                </a:moveTo>
                <a:cubicBezTo>
                  <a:pt x="592105" y="1083996"/>
                  <a:pt x="601900" y="1093791"/>
                  <a:pt x="602444" y="1105219"/>
                </a:cubicBezTo>
                <a:cubicBezTo>
                  <a:pt x="602988" y="1116647"/>
                  <a:pt x="593193" y="1126986"/>
                  <a:pt x="581221" y="1127530"/>
                </a:cubicBezTo>
                <a:cubicBezTo>
                  <a:pt x="570338" y="1127530"/>
                  <a:pt x="558910" y="1116102"/>
                  <a:pt x="558910" y="1105219"/>
                </a:cubicBezTo>
                <a:cubicBezTo>
                  <a:pt x="558910" y="1094880"/>
                  <a:pt x="570338" y="1083996"/>
                  <a:pt x="580677" y="1083996"/>
                </a:cubicBezTo>
                <a:close/>
                <a:moveTo>
                  <a:pt x="743386" y="1079099"/>
                </a:moveTo>
                <a:cubicBezTo>
                  <a:pt x="756991" y="1079099"/>
                  <a:pt x="769507" y="1088894"/>
                  <a:pt x="770595" y="1105219"/>
                </a:cubicBezTo>
                <a:cubicBezTo>
                  <a:pt x="771683" y="1116103"/>
                  <a:pt x="760800" y="1131340"/>
                  <a:pt x="745019" y="1132428"/>
                </a:cubicBezTo>
                <a:cubicBezTo>
                  <a:pt x="734135" y="1134061"/>
                  <a:pt x="717810" y="1118280"/>
                  <a:pt x="717810" y="1106308"/>
                </a:cubicBezTo>
                <a:cubicBezTo>
                  <a:pt x="717810" y="1091071"/>
                  <a:pt x="731414" y="1079099"/>
                  <a:pt x="743386" y="1079099"/>
                </a:cubicBezTo>
                <a:close/>
                <a:moveTo>
                  <a:pt x="907727" y="1076378"/>
                </a:moveTo>
                <a:cubicBezTo>
                  <a:pt x="926773" y="1076378"/>
                  <a:pt x="937112" y="1087262"/>
                  <a:pt x="937112" y="1105219"/>
                </a:cubicBezTo>
                <a:cubicBezTo>
                  <a:pt x="937112" y="1121545"/>
                  <a:pt x="928950" y="1134061"/>
                  <a:pt x="908271" y="1134061"/>
                </a:cubicBezTo>
                <a:cubicBezTo>
                  <a:pt x="888681" y="1134605"/>
                  <a:pt x="878341" y="1122633"/>
                  <a:pt x="878885" y="1105764"/>
                </a:cubicBezTo>
                <a:cubicBezTo>
                  <a:pt x="878341" y="1086173"/>
                  <a:pt x="892490" y="1076378"/>
                  <a:pt x="907727" y="1076378"/>
                </a:cubicBezTo>
                <a:close/>
                <a:moveTo>
                  <a:pt x="1071524" y="1072569"/>
                </a:moveTo>
                <a:cubicBezTo>
                  <a:pt x="1089482" y="1072569"/>
                  <a:pt x="1104174" y="1087806"/>
                  <a:pt x="1104174" y="1105220"/>
                </a:cubicBezTo>
                <a:cubicBezTo>
                  <a:pt x="1104174" y="1123722"/>
                  <a:pt x="1090026" y="1137870"/>
                  <a:pt x="1070435" y="1137870"/>
                </a:cubicBezTo>
                <a:cubicBezTo>
                  <a:pt x="1054110" y="1140047"/>
                  <a:pt x="1037241" y="1121545"/>
                  <a:pt x="1038329" y="1105764"/>
                </a:cubicBezTo>
                <a:cubicBezTo>
                  <a:pt x="1039417" y="1086173"/>
                  <a:pt x="1052478" y="1072569"/>
                  <a:pt x="1071524" y="1072569"/>
                </a:cubicBezTo>
                <a:close/>
                <a:moveTo>
                  <a:pt x="1235865" y="1068760"/>
                </a:moveTo>
                <a:cubicBezTo>
                  <a:pt x="1254912" y="1070392"/>
                  <a:pt x="1272325" y="1088894"/>
                  <a:pt x="1271237" y="1106852"/>
                </a:cubicBezTo>
                <a:cubicBezTo>
                  <a:pt x="1270149" y="1124810"/>
                  <a:pt x="1252735" y="1142223"/>
                  <a:pt x="1234777" y="1142223"/>
                </a:cubicBezTo>
                <a:cubicBezTo>
                  <a:pt x="1215187" y="1142223"/>
                  <a:pt x="1197773" y="1124265"/>
                  <a:pt x="1198861" y="1105219"/>
                </a:cubicBezTo>
                <a:cubicBezTo>
                  <a:pt x="1199406" y="1085629"/>
                  <a:pt x="1217908" y="1067127"/>
                  <a:pt x="1235865" y="1068760"/>
                </a:cubicBezTo>
                <a:close/>
                <a:moveTo>
                  <a:pt x="1396397" y="1067127"/>
                </a:moveTo>
                <a:cubicBezTo>
                  <a:pt x="1416532" y="1065494"/>
                  <a:pt x="1437755" y="1087806"/>
                  <a:pt x="1435578" y="1105219"/>
                </a:cubicBezTo>
                <a:cubicBezTo>
                  <a:pt x="1437210" y="1125898"/>
                  <a:pt x="1413267" y="1144400"/>
                  <a:pt x="1396941" y="1143856"/>
                </a:cubicBezTo>
                <a:cubicBezTo>
                  <a:pt x="1377895" y="1143856"/>
                  <a:pt x="1358305" y="1122633"/>
                  <a:pt x="1358849" y="1105763"/>
                </a:cubicBezTo>
                <a:cubicBezTo>
                  <a:pt x="1359393" y="1085629"/>
                  <a:pt x="1376807" y="1068759"/>
                  <a:pt x="1396397" y="1067127"/>
                </a:cubicBezTo>
                <a:close/>
                <a:moveTo>
                  <a:pt x="1560738" y="1066582"/>
                </a:moveTo>
                <a:cubicBezTo>
                  <a:pt x="1581961" y="1063862"/>
                  <a:pt x="1599919" y="1083452"/>
                  <a:pt x="1599919" y="1105763"/>
                </a:cubicBezTo>
                <a:cubicBezTo>
                  <a:pt x="1599919" y="1127530"/>
                  <a:pt x="1581417" y="1144400"/>
                  <a:pt x="1560738" y="1144400"/>
                </a:cubicBezTo>
                <a:cubicBezTo>
                  <a:pt x="1538971" y="1144400"/>
                  <a:pt x="1521557" y="1125898"/>
                  <a:pt x="1521013" y="1105763"/>
                </a:cubicBezTo>
                <a:cubicBezTo>
                  <a:pt x="1521013" y="1085629"/>
                  <a:pt x="1538971" y="1063862"/>
                  <a:pt x="1560738" y="1066582"/>
                </a:cubicBezTo>
                <a:close/>
                <a:moveTo>
                  <a:pt x="1723447" y="1064406"/>
                </a:moveTo>
                <a:cubicBezTo>
                  <a:pt x="1744126" y="1063862"/>
                  <a:pt x="1763716" y="1076378"/>
                  <a:pt x="1764260" y="1104675"/>
                </a:cubicBezTo>
                <a:cubicBezTo>
                  <a:pt x="1764804" y="1130796"/>
                  <a:pt x="1745758" y="1145488"/>
                  <a:pt x="1724535" y="1146032"/>
                </a:cubicBezTo>
                <a:cubicBezTo>
                  <a:pt x="1703313" y="1147121"/>
                  <a:pt x="1683722" y="1130796"/>
                  <a:pt x="1683178" y="1105764"/>
                </a:cubicBezTo>
                <a:cubicBezTo>
                  <a:pt x="1684266" y="1082364"/>
                  <a:pt x="1698415" y="1064950"/>
                  <a:pt x="1723447" y="1064406"/>
                </a:cubicBezTo>
                <a:close/>
                <a:moveTo>
                  <a:pt x="2051041" y="1063318"/>
                </a:moveTo>
                <a:lnTo>
                  <a:pt x="2051041" y="1147740"/>
                </a:lnTo>
                <a:lnTo>
                  <a:pt x="2049952" y="1148210"/>
                </a:lnTo>
                <a:cubicBezTo>
                  <a:pt x="2028730" y="1147121"/>
                  <a:pt x="2008051" y="1128619"/>
                  <a:pt x="2008051" y="1105764"/>
                </a:cubicBezTo>
                <a:cubicBezTo>
                  <a:pt x="2008595" y="1081276"/>
                  <a:pt x="2027641" y="1063862"/>
                  <a:pt x="2051041" y="1063318"/>
                </a:cubicBezTo>
                <a:close/>
                <a:moveTo>
                  <a:pt x="1887787" y="1062773"/>
                </a:moveTo>
                <a:cubicBezTo>
                  <a:pt x="1909554" y="1063862"/>
                  <a:pt x="1930233" y="1084540"/>
                  <a:pt x="1929145" y="1105763"/>
                </a:cubicBezTo>
                <a:cubicBezTo>
                  <a:pt x="1928056" y="1130251"/>
                  <a:pt x="1908466" y="1147121"/>
                  <a:pt x="1886699" y="1147665"/>
                </a:cubicBezTo>
                <a:cubicBezTo>
                  <a:pt x="1862755" y="1145488"/>
                  <a:pt x="1845886" y="1127530"/>
                  <a:pt x="1844798" y="1105219"/>
                </a:cubicBezTo>
                <a:cubicBezTo>
                  <a:pt x="1844253" y="1083996"/>
                  <a:pt x="1867109" y="1061685"/>
                  <a:pt x="1887787" y="1062773"/>
                </a:cubicBezTo>
                <a:close/>
                <a:moveTo>
                  <a:pt x="335798" y="1011621"/>
                </a:moveTo>
                <a:cubicBezTo>
                  <a:pt x="343960" y="1011621"/>
                  <a:pt x="347770" y="1014886"/>
                  <a:pt x="348314" y="1023049"/>
                </a:cubicBezTo>
                <a:cubicBezTo>
                  <a:pt x="348314" y="1031755"/>
                  <a:pt x="344505" y="1036109"/>
                  <a:pt x="336886" y="1036109"/>
                </a:cubicBezTo>
                <a:cubicBezTo>
                  <a:pt x="329268" y="1036109"/>
                  <a:pt x="324914" y="1032300"/>
                  <a:pt x="324370" y="1024681"/>
                </a:cubicBezTo>
                <a:cubicBezTo>
                  <a:pt x="323826" y="1015974"/>
                  <a:pt x="327635" y="1011621"/>
                  <a:pt x="335798" y="1011621"/>
                </a:cubicBezTo>
                <a:close/>
                <a:moveTo>
                  <a:pt x="499051" y="1002914"/>
                </a:moveTo>
                <a:cubicBezTo>
                  <a:pt x="508846" y="1002370"/>
                  <a:pt x="520818" y="1014342"/>
                  <a:pt x="520818" y="1024137"/>
                </a:cubicBezTo>
                <a:cubicBezTo>
                  <a:pt x="520818" y="1032844"/>
                  <a:pt x="508846" y="1045360"/>
                  <a:pt x="499595" y="1045360"/>
                </a:cubicBezTo>
                <a:cubicBezTo>
                  <a:pt x="490888" y="1045360"/>
                  <a:pt x="478372" y="1032844"/>
                  <a:pt x="478372" y="1024137"/>
                </a:cubicBezTo>
                <a:cubicBezTo>
                  <a:pt x="478372" y="1014886"/>
                  <a:pt x="489800" y="1002914"/>
                  <a:pt x="499051" y="1002914"/>
                </a:cubicBezTo>
                <a:close/>
                <a:moveTo>
                  <a:pt x="663392" y="997473"/>
                </a:moveTo>
                <a:cubicBezTo>
                  <a:pt x="675908" y="998561"/>
                  <a:pt x="688968" y="1011622"/>
                  <a:pt x="688424" y="1024138"/>
                </a:cubicBezTo>
                <a:cubicBezTo>
                  <a:pt x="687880" y="1039374"/>
                  <a:pt x="676452" y="1050802"/>
                  <a:pt x="661759" y="1050258"/>
                </a:cubicBezTo>
                <a:cubicBezTo>
                  <a:pt x="647066" y="1049170"/>
                  <a:pt x="637271" y="1036109"/>
                  <a:pt x="636727" y="1023593"/>
                </a:cubicBezTo>
                <a:cubicBezTo>
                  <a:pt x="637271" y="1010533"/>
                  <a:pt x="651420" y="996929"/>
                  <a:pt x="663392" y="997473"/>
                </a:cubicBezTo>
                <a:close/>
                <a:moveTo>
                  <a:pt x="826645" y="995840"/>
                </a:moveTo>
                <a:cubicBezTo>
                  <a:pt x="845147" y="995296"/>
                  <a:pt x="855486" y="1007267"/>
                  <a:pt x="854942" y="1024137"/>
                </a:cubicBezTo>
                <a:cubicBezTo>
                  <a:pt x="855486" y="1039374"/>
                  <a:pt x="845147" y="1052978"/>
                  <a:pt x="825557" y="1052978"/>
                </a:cubicBezTo>
                <a:cubicBezTo>
                  <a:pt x="808143" y="1052434"/>
                  <a:pt x="796715" y="1041006"/>
                  <a:pt x="797260" y="1023593"/>
                </a:cubicBezTo>
                <a:cubicBezTo>
                  <a:pt x="797260" y="1005635"/>
                  <a:pt x="808687" y="995840"/>
                  <a:pt x="826645" y="995840"/>
                </a:cubicBezTo>
                <a:close/>
                <a:moveTo>
                  <a:pt x="990441" y="990942"/>
                </a:moveTo>
                <a:cubicBezTo>
                  <a:pt x="1008943" y="990942"/>
                  <a:pt x="1023092" y="1006179"/>
                  <a:pt x="1022548" y="1025225"/>
                </a:cubicBezTo>
                <a:cubicBezTo>
                  <a:pt x="1022004" y="1043183"/>
                  <a:pt x="1007311" y="1056243"/>
                  <a:pt x="988809" y="1056787"/>
                </a:cubicBezTo>
                <a:cubicBezTo>
                  <a:pt x="973028" y="1057332"/>
                  <a:pt x="956702" y="1041551"/>
                  <a:pt x="956702" y="1023593"/>
                </a:cubicBezTo>
                <a:cubicBezTo>
                  <a:pt x="956158" y="1006723"/>
                  <a:pt x="973572" y="988221"/>
                  <a:pt x="990441" y="990942"/>
                </a:cubicBezTo>
                <a:close/>
                <a:moveTo>
                  <a:pt x="1150974" y="987678"/>
                </a:moveTo>
                <a:cubicBezTo>
                  <a:pt x="1170020" y="986045"/>
                  <a:pt x="1189066" y="1004547"/>
                  <a:pt x="1189610" y="1023593"/>
                </a:cubicBezTo>
                <a:cubicBezTo>
                  <a:pt x="1190154" y="1042095"/>
                  <a:pt x="1170564" y="1061685"/>
                  <a:pt x="1152062" y="1061685"/>
                </a:cubicBezTo>
                <a:cubicBezTo>
                  <a:pt x="1134104" y="1061685"/>
                  <a:pt x="1115602" y="1042639"/>
                  <a:pt x="1115058" y="1024682"/>
                </a:cubicBezTo>
                <a:cubicBezTo>
                  <a:pt x="1115058" y="1006724"/>
                  <a:pt x="1133016" y="988222"/>
                  <a:pt x="1150974" y="987678"/>
                </a:cubicBezTo>
                <a:close/>
                <a:moveTo>
                  <a:pt x="1315314" y="985501"/>
                </a:moveTo>
                <a:cubicBezTo>
                  <a:pt x="1335993" y="983868"/>
                  <a:pt x="1354495" y="1005635"/>
                  <a:pt x="1354495" y="1023593"/>
                </a:cubicBezTo>
                <a:cubicBezTo>
                  <a:pt x="1355039" y="1042639"/>
                  <a:pt x="1333816" y="1065495"/>
                  <a:pt x="1315858" y="1062230"/>
                </a:cubicBezTo>
                <a:cubicBezTo>
                  <a:pt x="1294636" y="1062230"/>
                  <a:pt x="1277222" y="1045360"/>
                  <a:pt x="1277222" y="1024137"/>
                </a:cubicBezTo>
                <a:cubicBezTo>
                  <a:pt x="1277222" y="1002914"/>
                  <a:pt x="1294091" y="986589"/>
                  <a:pt x="1315314" y="985501"/>
                </a:cubicBezTo>
                <a:close/>
                <a:moveTo>
                  <a:pt x="1479656" y="984412"/>
                </a:moveTo>
                <a:cubicBezTo>
                  <a:pt x="1503055" y="984412"/>
                  <a:pt x="1519925" y="1000737"/>
                  <a:pt x="1519380" y="1025225"/>
                </a:cubicBezTo>
                <a:cubicBezTo>
                  <a:pt x="1518836" y="1045904"/>
                  <a:pt x="1502511" y="1065494"/>
                  <a:pt x="1478567" y="1063318"/>
                </a:cubicBezTo>
                <a:cubicBezTo>
                  <a:pt x="1454624" y="1064950"/>
                  <a:pt x="1438842" y="1044816"/>
                  <a:pt x="1439387" y="1023593"/>
                </a:cubicBezTo>
                <a:cubicBezTo>
                  <a:pt x="1439931" y="1000193"/>
                  <a:pt x="1455712" y="983868"/>
                  <a:pt x="1479656" y="984412"/>
                </a:cubicBezTo>
                <a:close/>
                <a:moveTo>
                  <a:pt x="1641820" y="981691"/>
                </a:moveTo>
                <a:cubicBezTo>
                  <a:pt x="1665220" y="981691"/>
                  <a:pt x="1683178" y="999649"/>
                  <a:pt x="1684810" y="1023592"/>
                </a:cubicBezTo>
                <a:cubicBezTo>
                  <a:pt x="1683722" y="1048625"/>
                  <a:pt x="1665220" y="1066038"/>
                  <a:pt x="1642909" y="1066038"/>
                </a:cubicBezTo>
                <a:cubicBezTo>
                  <a:pt x="1618421" y="1066038"/>
                  <a:pt x="1599919" y="1047536"/>
                  <a:pt x="1599919" y="1023592"/>
                </a:cubicBezTo>
                <a:cubicBezTo>
                  <a:pt x="1599919" y="1001281"/>
                  <a:pt x="1616788" y="982235"/>
                  <a:pt x="1641820" y="981691"/>
                </a:cubicBezTo>
                <a:close/>
                <a:moveTo>
                  <a:pt x="1806161" y="980603"/>
                </a:moveTo>
                <a:cubicBezTo>
                  <a:pt x="1829561" y="980603"/>
                  <a:pt x="1848607" y="1000737"/>
                  <a:pt x="1849151" y="1023592"/>
                </a:cubicBezTo>
                <a:cubicBezTo>
                  <a:pt x="1849151" y="1046992"/>
                  <a:pt x="1827928" y="1068215"/>
                  <a:pt x="1805617" y="1067127"/>
                </a:cubicBezTo>
                <a:cubicBezTo>
                  <a:pt x="1781673" y="1068215"/>
                  <a:pt x="1762083" y="1044815"/>
                  <a:pt x="1762083" y="1023592"/>
                </a:cubicBezTo>
                <a:cubicBezTo>
                  <a:pt x="1762083" y="1002370"/>
                  <a:pt x="1781673" y="980058"/>
                  <a:pt x="1806161" y="980603"/>
                </a:cubicBezTo>
                <a:close/>
                <a:moveTo>
                  <a:pt x="1969414" y="980059"/>
                </a:moveTo>
                <a:cubicBezTo>
                  <a:pt x="1993358" y="980603"/>
                  <a:pt x="2012404" y="1001282"/>
                  <a:pt x="2012404" y="1024137"/>
                </a:cubicBezTo>
                <a:cubicBezTo>
                  <a:pt x="2012404" y="1046449"/>
                  <a:pt x="1991726" y="1069304"/>
                  <a:pt x="1968870" y="1067127"/>
                </a:cubicBezTo>
                <a:cubicBezTo>
                  <a:pt x="1946015" y="1068760"/>
                  <a:pt x="1925336" y="1044272"/>
                  <a:pt x="1924792" y="1024137"/>
                </a:cubicBezTo>
                <a:cubicBezTo>
                  <a:pt x="1924792" y="1002914"/>
                  <a:pt x="1944382" y="980059"/>
                  <a:pt x="1969414" y="980059"/>
                </a:cubicBezTo>
                <a:close/>
                <a:moveTo>
                  <a:pt x="254171" y="931083"/>
                </a:moveTo>
                <a:cubicBezTo>
                  <a:pt x="260701" y="931083"/>
                  <a:pt x="265599" y="935437"/>
                  <a:pt x="265599" y="941967"/>
                </a:cubicBezTo>
                <a:cubicBezTo>
                  <a:pt x="265599" y="948497"/>
                  <a:pt x="260701" y="952850"/>
                  <a:pt x="254171" y="952850"/>
                </a:cubicBezTo>
                <a:cubicBezTo>
                  <a:pt x="247641" y="952850"/>
                  <a:pt x="243832" y="948497"/>
                  <a:pt x="243832" y="941967"/>
                </a:cubicBezTo>
                <a:cubicBezTo>
                  <a:pt x="243832" y="935437"/>
                  <a:pt x="247641" y="931627"/>
                  <a:pt x="254171" y="931083"/>
                </a:cubicBezTo>
                <a:close/>
                <a:moveTo>
                  <a:pt x="417968" y="922377"/>
                </a:moveTo>
                <a:cubicBezTo>
                  <a:pt x="427219" y="921833"/>
                  <a:pt x="437559" y="932716"/>
                  <a:pt x="437559" y="942511"/>
                </a:cubicBezTo>
                <a:cubicBezTo>
                  <a:pt x="437559" y="951762"/>
                  <a:pt x="427219" y="961557"/>
                  <a:pt x="417968" y="961557"/>
                </a:cubicBezTo>
                <a:cubicBezTo>
                  <a:pt x="409262" y="961557"/>
                  <a:pt x="397290" y="949585"/>
                  <a:pt x="397834" y="941423"/>
                </a:cubicBezTo>
                <a:cubicBezTo>
                  <a:pt x="398378" y="933260"/>
                  <a:pt x="409806" y="922377"/>
                  <a:pt x="417968" y="922377"/>
                </a:cubicBezTo>
                <a:close/>
                <a:moveTo>
                  <a:pt x="581222" y="916934"/>
                </a:moveTo>
                <a:cubicBezTo>
                  <a:pt x="593738" y="916934"/>
                  <a:pt x="607342" y="931082"/>
                  <a:pt x="606798" y="943054"/>
                </a:cubicBezTo>
                <a:cubicBezTo>
                  <a:pt x="606254" y="955570"/>
                  <a:pt x="593738" y="967542"/>
                  <a:pt x="581222" y="967542"/>
                </a:cubicBezTo>
                <a:cubicBezTo>
                  <a:pt x="567617" y="966454"/>
                  <a:pt x="557278" y="958291"/>
                  <a:pt x="556190" y="943054"/>
                </a:cubicBezTo>
                <a:cubicBezTo>
                  <a:pt x="555101" y="929994"/>
                  <a:pt x="568161" y="916934"/>
                  <a:pt x="581222" y="916934"/>
                </a:cubicBezTo>
                <a:close/>
                <a:moveTo>
                  <a:pt x="744474" y="913669"/>
                </a:moveTo>
                <a:cubicBezTo>
                  <a:pt x="765153" y="913669"/>
                  <a:pt x="773860" y="927273"/>
                  <a:pt x="773315" y="942510"/>
                </a:cubicBezTo>
                <a:cubicBezTo>
                  <a:pt x="772771" y="959924"/>
                  <a:pt x="761344" y="971352"/>
                  <a:pt x="743930" y="970807"/>
                </a:cubicBezTo>
                <a:cubicBezTo>
                  <a:pt x="727061" y="970807"/>
                  <a:pt x="716177" y="959380"/>
                  <a:pt x="716177" y="941966"/>
                </a:cubicBezTo>
                <a:cubicBezTo>
                  <a:pt x="716177" y="923464"/>
                  <a:pt x="727605" y="914213"/>
                  <a:pt x="744474" y="913669"/>
                </a:cubicBezTo>
                <a:close/>
                <a:moveTo>
                  <a:pt x="908271" y="908772"/>
                </a:moveTo>
                <a:cubicBezTo>
                  <a:pt x="927317" y="910405"/>
                  <a:pt x="940922" y="924553"/>
                  <a:pt x="940377" y="944144"/>
                </a:cubicBezTo>
                <a:cubicBezTo>
                  <a:pt x="939833" y="962101"/>
                  <a:pt x="925141" y="975162"/>
                  <a:pt x="906094" y="975162"/>
                </a:cubicBezTo>
                <a:cubicBezTo>
                  <a:pt x="890313" y="975162"/>
                  <a:pt x="873988" y="959925"/>
                  <a:pt x="874532" y="940879"/>
                </a:cubicBezTo>
                <a:cubicBezTo>
                  <a:pt x="874532" y="925641"/>
                  <a:pt x="891402" y="907684"/>
                  <a:pt x="908271" y="908772"/>
                </a:cubicBezTo>
                <a:close/>
                <a:moveTo>
                  <a:pt x="1072068" y="906051"/>
                </a:moveTo>
                <a:cubicBezTo>
                  <a:pt x="1093291" y="907683"/>
                  <a:pt x="1105807" y="921832"/>
                  <a:pt x="1107984" y="942511"/>
                </a:cubicBezTo>
                <a:cubicBezTo>
                  <a:pt x="1107984" y="961013"/>
                  <a:pt x="1088938" y="979515"/>
                  <a:pt x="1070980" y="979515"/>
                </a:cubicBezTo>
                <a:cubicBezTo>
                  <a:pt x="1053022" y="979515"/>
                  <a:pt x="1034520" y="960469"/>
                  <a:pt x="1034520" y="942511"/>
                </a:cubicBezTo>
                <a:cubicBezTo>
                  <a:pt x="1034520" y="923465"/>
                  <a:pt x="1053566" y="904419"/>
                  <a:pt x="1072068" y="906051"/>
                </a:cubicBezTo>
                <a:close/>
                <a:moveTo>
                  <a:pt x="1235321" y="903874"/>
                </a:moveTo>
                <a:cubicBezTo>
                  <a:pt x="1257088" y="903874"/>
                  <a:pt x="1272325" y="920199"/>
                  <a:pt x="1272325" y="943054"/>
                </a:cubicBezTo>
                <a:cubicBezTo>
                  <a:pt x="1275045" y="962645"/>
                  <a:pt x="1251646" y="982779"/>
                  <a:pt x="1233688" y="981147"/>
                </a:cubicBezTo>
                <a:cubicBezTo>
                  <a:pt x="1211921" y="979514"/>
                  <a:pt x="1195052" y="963189"/>
                  <a:pt x="1195596" y="940878"/>
                </a:cubicBezTo>
                <a:cubicBezTo>
                  <a:pt x="1196140" y="919111"/>
                  <a:pt x="1212465" y="903330"/>
                  <a:pt x="1235321" y="903874"/>
                </a:cubicBezTo>
                <a:close/>
                <a:moveTo>
                  <a:pt x="1397486" y="901153"/>
                </a:moveTo>
                <a:cubicBezTo>
                  <a:pt x="1420885" y="901698"/>
                  <a:pt x="1437755" y="917479"/>
                  <a:pt x="1438299" y="942511"/>
                </a:cubicBezTo>
                <a:cubicBezTo>
                  <a:pt x="1437210" y="966999"/>
                  <a:pt x="1420341" y="983324"/>
                  <a:pt x="1396941" y="983324"/>
                </a:cubicBezTo>
                <a:cubicBezTo>
                  <a:pt x="1371909" y="983324"/>
                  <a:pt x="1355584" y="963190"/>
                  <a:pt x="1356128" y="941967"/>
                </a:cubicBezTo>
                <a:cubicBezTo>
                  <a:pt x="1356128" y="919655"/>
                  <a:pt x="1373542" y="900609"/>
                  <a:pt x="1397486" y="901153"/>
                </a:cubicBezTo>
                <a:close/>
                <a:moveTo>
                  <a:pt x="1560738" y="898977"/>
                </a:moveTo>
                <a:cubicBezTo>
                  <a:pt x="1584138" y="899521"/>
                  <a:pt x="1603728" y="917479"/>
                  <a:pt x="1603728" y="942511"/>
                </a:cubicBezTo>
                <a:cubicBezTo>
                  <a:pt x="1603728" y="966999"/>
                  <a:pt x="1581961" y="985501"/>
                  <a:pt x="1560738" y="985501"/>
                </a:cubicBezTo>
                <a:cubicBezTo>
                  <a:pt x="1537883" y="985501"/>
                  <a:pt x="1516660" y="963734"/>
                  <a:pt x="1517204" y="941423"/>
                </a:cubicBezTo>
                <a:cubicBezTo>
                  <a:pt x="1517748" y="919656"/>
                  <a:pt x="1535706" y="898977"/>
                  <a:pt x="1560738" y="898977"/>
                </a:cubicBezTo>
                <a:close/>
                <a:moveTo>
                  <a:pt x="1723990" y="897888"/>
                </a:moveTo>
                <a:cubicBezTo>
                  <a:pt x="1747934" y="897888"/>
                  <a:pt x="1769701" y="919111"/>
                  <a:pt x="1768069" y="942510"/>
                </a:cubicBezTo>
                <a:cubicBezTo>
                  <a:pt x="1770245" y="965366"/>
                  <a:pt x="1746302" y="987133"/>
                  <a:pt x="1723990" y="986589"/>
                </a:cubicBezTo>
                <a:cubicBezTo>
                  <a:pt x="1701679" y="986589"/>
                  <a:pt x="1679912" y="964278"/>
                  <a:pt x="1679912" y="941422"/>
                </a:cubicBezTo>
                <a:cubicBezTo>
                  <a:pt x="1680456" y="919655"/>
                  <a:pt x="1700047" y="897888"/>
                  <a:pt x="1723990" y="897888"/>
                </a:cubicBezTo>
                <a:close/>
                <a:moveTo>
                  <a:pt x="2050497" y="897344"/>
                </a:moveTo>
                <a:lnTo>
                  <a:pt x="2051041" y="897453"/>
                </a:lnTo>
                <a:lnTo>
                  <a:pt x="2051041" y="986917"/>
                </a:lnTo>
                <a:lnTo>
                  <a:pt x="2049952" y="987133"/>
                </a:lnTo>
                <a:cubicBezTo>
                  <a:pt x="2026553" y="987133"/>
                  <a:pt x="2004786" y="965366"/>
                  <a:pt x="2005330" y="941422"/>
                </a:cubicBezTo>
                <a:cubicBezTo>
                  <a:pt x="2005874" y="918023"/>
                  <a:pt x="2026009" y="897344"/>
                  <a:pt x="2050497" y="897344"/>
                </a:cubicBezTo>
                <a:close/>
                <a:moveTo>
                  <a:pt x="1887243" y="897344"/>
                </a:moveTo>
                <a:cubicBezTo>
                  <a:pt x="1910099" y="897344"/>
                  <a:pt x="1931866" y="916390"/>
                  <a:pt x="1931866" y="942511"/>
                </a:cubicBezTo>
                <a:cubicBezTo>
                  <a:pt x="1931866" y="965910"/>
                  <a:pt x="1910099" y="986589"/>
                  <a:pt x="1887243" y="986589"/>
                </a:cubicBezTo>
                <a:cubicBezTo>
                  <a:pt x="1864932" y="987133"/>
                  <a:pt x="1839900" y="965910"/>
                  <a:pt x="1843165" y="941422"/>
                </a:cubicBezTo>
                <a:cubicBezTo>
                  <a:pt x="1840444" y="918567"/>
                  <a:pt x="1863299" y="897344"/>
                  <a:pt x="1887243" y="897344"/>
                </a:cubicBezTo>
                <a:close/>
                <a:moveTo>
                  <a:pt x="172545" y="854354"/>
                </a:moveTo>
                <a:cubicBezTo>
                  <a:pt x="176899" y="854354"/>
                  <a:pt x="179619" y="855442"/>
                  <a:pt x="179619" y="860884"/>
                </a:cubicBezTo>
                <a:cubicBezTo>
                  <a:pt x="180164" y="864693"/>
                  <a:pt x="177987" y="866870"/>
                  <a:pt x="173634" y="866870"/>
                </a:cubicBezTo>
                <a:cubicBezTo>
                  <a:pt x="169824" y="866870"/>
                  <a:pt x="166559" y="866870"/>
                  <a:pt x="166015" y="861973"/>
                </a:cubicBezTo>
                <a:cubicBezTo>
                  <a:pt x="165471" y="857075"/>
                  <a:pt x="167103" y="854354"/>
                  <a:pt x="172545" y="854354"/>
                </a:cubicBezTo>
                <a:close/>
                <a:moveTo>
                  <a:pt x="336342" y="843471"/>
                </a:moveTo>
                <a:cubicBezTo>
                  <a:pt x="346681" y="844015"/>
                  <a:pt x="353211" y="849457"/>
                  <a:pt x="353211" y="860340"/>
                </a:cubicBezTo>
                <a:cubicBezTo>
                  <a:pt x="353211" y="872312"/>
                  <a:pt x="348858" y="876665"/>
                  <a:pt x="336886" y="877210"/>
                </a:cubicBezTo>
                <a:cubicBezTo>
                  <a:pt x="324370" y="877210"/>
                  <a:pt x="320561" y="872856"/>
                  <a:pt x="320017" y="860884"/>
                </a:cubicBezTo>
                <a:cubicBezTo>
                  <a:pt x="319473" y="851089"/>
                  <a:pt x="327635" y="842927"/>
                  <a:pt x="336342" y="843471"/>
                </a:cubicBezTo>
                <a:close/>
                <a:moveTo>
                  <a:pt x="500139" y="837485"/>
                </a:moveTo>
                <a:cubicBezTo>
                  <a:pt x="514832" y="837485"/>
                  <a:pt x="522994" y="846735"/>
                  <a:pt x="522994" y="861428"/>
                </a:cubicBezTo>
                <a:cubicBezTo>
                  <a:pt x="522994" y="876121"/>
                  <a:pt x="513743" y="884284"/>
                  <a:pt x="499595" y="884284"/>
                </a:cubicBezTo>
                <a:cubicBezTo>
                  <a:pt x="485446" y="883740"/>
                  <a:pt x="475651" y="875033"/>
                  <a:pt x="476739" y="860340"/>
                </a:cubicBezTo>
                <a:cubicBezTo>
                  <a:pt x="476195" y="842926"/>
                  <a:pt x="489256" y="836940"/>
                  <a:pt x="500139" y="837485"/>
                </a:cubicBezTo>
                <a:close/>
                <a:moveTo>
                  <a:pt x="662848" y="832587"/>
                </a:moveTo>
                <a:cubicBezTo>
                  <a:pt x="677541" y="832587"/>
                  <a:pt x="691689" y="842926"/>
                  <a:pt x="690057" y="860340"/>
                </a:cubicBezTo>
                <a:cubicBezTo>
                  <a:pt x="691689" y="876121"/>
                  <a:pt x="679718" y="888637"/>
                  <a:pt x="662848" y="888637"/>
                </a:cubicBezTo>
                <a:cubicBezTo>
                  <a:pt x="644890" y="888637"/>
                  <a:pt x="634551" y="874489"/>
                  <a:pt x="634551" y="861428"/>
                </a:cubicBezTo>
                <a:cubicBezTo>
                  <a:pt x="634551" y="842926"/>
                  <a:pt x="647611" y="832587"/>
                  <a:pt x="662848" y="832587"/>
                </a:cubicBezTo>
                <a:close/>
                <a:moveTo>
                  <a:pt x="826101" y="827146"/>
                </a:moveTo>
                <a:cubicBezTo>
                  <a:pt x="840249" y="826602"/>
                  <a:pt x="859840" y="843471"/>
                  <a:pt x="859295" y="860885"/>
                </a:cubicBezTo>
                <a:cubicBezTo>
                  <a:pt x="858751" y="875033"/>
                  <a:pt x="844603" y="894624"/>
                  <a:pt x="825556" y="892991"/>
                </a:cubicBezTo>
                <a:cubicBezTo>
                  <a:pt x="808687" y="894079"/>
                  <a:pt x="793450" y="877754"/>
                  <a:pt x="793450" y="860885"/>
                </a:cubicBezTo>
                <a:cubicBezTo>
                  <a:pt x="793994" y="842927"/>
                  <a:pt x="808143" y="828234"/>
                  <a:pt x="826101" y="827146"/>
                </a:cubicBezTo>
                <a:close/>
                <a:moveTo>
                  <a:pt x="988809" y="824424"/>
                </a:moveTo>
                <a:cubicBezTo>
                  <a:pt x="1010576" y="825512"/>
                  <a:pt x="1024180" y="839661"/>
                  <a:pt x="1025813" y="860339"/>
                </a:cubicBezTo>
                <a:cubicBezTo>
                  <a:pt x="1026901" y="878842"/>
                  <a:pt x="1008399" y="896799"/>
                  <a:pt x="989897" y="897344"/>
                </a:cubicBezTo>
                <a:cubicBezTo>
                  <a:pt x="971939" y="897344"/>
                  <a:pt x="953982" y="880474"/>
                  <a:pt x="953437" y="861972"/>
                </a:cubicBezTo>
                <a:cubicBezTo>
                  <a:pt x="951805" y="842926"/>
                  <a:pt x="969763" y="824968"/>
                  <a:pt x="988809" y="824424"/>
                </a:cubicBezTo>
                <a:close/>
                <a:moveTo>
                  <a:pt x="1153695" y="821704"/>
                </a:moveTo>
                <a:cubicBezTo>
                  <a:pt x="1175462" y="822248"/>
                  <a:pt x="1191243" y="839118"/>
                  <a:pt x="1191243" y="861429"/>
                </a:cubicBezTo>
                <a:cubicBezTo>
                  <a:pt x="1193964" y="882107"/>
                  <a:pt x="1169476" y="900610"/>
                  <a:pt x="1152606" y="899521"/>
                </a:cubicBezTo>
                <a:cubicBezTo>
                  <a:pt x="1130839" y="898433"/>
                  <a:pt x="1114514" y="882107"/>
                  <a:pt x="1114514" y="859252"/>
                </a:cubicBezTo>
                <a:cubicBezTo>
                  <a:pt x="1115058" y="837485"/>
                  <a:pt x="1131928" y="821704"/>
                  <a:pt x="1153695" y="821704"/>
                </a:cubicBezTo>
                <a:close/>
                <a:moveTo>
                  <a:pt x="1316403" y="818982"/>
                </a:moveTo>
                <a:cubicBezTo>
                  <a:pt x="1341979" y="820071"/>
                  <a:pt x="1356128" y="838573"/>
                  <a:pt x="1357216" y="860884"/>
                </a:cubicBezTo>
                <a:cubicBezTo>
                  <a:pt x="1356128" y="884828"/>
                  <a:pt x="1337626" y="901697"/>
                  <a:pt x="1315315" y="901697"/>
                </a:cubicBezTo>
                <a:cubicBezTo>
                  <a:pt x="1293003" y="901697"/>
                  <a:pt x="1273957" y="884284"/>
                  <a:pt x="1274501" y="860340"/>
                </a:cubicBezTo>
                <a:cubicBezTo>
                  <a:pt x="1275046" y="835852"/>
                  <a:pt x="1291915" y="818438"/>
                  <a:pt x="1316403" y="818982"/>
                </a:cubicBezTo>
                <a:close/>
                <a:moveTo>
                  <a:pt x="1479112" y="816806"/>
                </a:moveTo>
                <a:cubicBezTo>
                  <a:pt x="1501423" y="816806"/>
                  <a:pt x="1523190" y="835852"/>
                  <a:pt x="1522646" y="860340"/>
                </a:cubicBezTo>
                <a:cubicBezTo>
                  <a:pt x="1523735" y="885372"/>
                  <a:pt x="1499791" y="904419"/>
                  <a:pt x="1479656" y="904419"/>
                </a:cubicBezTo>
                <a:cubicBezTo>
                  <a:pt x="1457889" y="904419"/>
                  <a:pt x="1436122" y="883740"/>
                  <a:pt x="1435578" y="860884"/>
                </a:cubicBezTo>
                <a:cubicBezTo>
                  <a:pt x="1435578" y="838573"/>
                  <a:pt x="1455713" y="816806"/>
                  <a:pt x="1479112" y="816806"/>
                </a:cubicBezTo>
                <a:close/>
                <a:moveTo>
                  <a:pt x="1642909" y="815718"/>
                </a:moveTo>
                <a:cubicBezTo>
                  <a:pt x="1665764" y="816262"/>
                  <a:pt x="1686987" y="835852"/>
                  <a:pt x="1686987" y="860885"/>
                </a:cubicBezTo>
                <a:cubicBezTo>
                  <a:pt x="1686987" y="884284"/>
                  <a:pt x="1666308" y="906051"/>
                  <a:pt x="1641276" y="905507"/>
                </a:cubicBezTo>
                <a:cubicBezTo>
                  <a:pt x="1619509" y="905507"/>
                  <a:pt x="1595021" y="884284"/>
                  <a:pt x="1597742" y="860340"/>
                </a:cubicBezTo>
                <a:cubicBezTo>
                  <a:pt x="1595021" y="836941"/>
                  <a:pt x="1619509" y="815174"/>
                  <a:pt x="1642909" y="815718"/>
                </a:cubicBezTo>
                <a:close/>
                <a:moveTo>
                  <a:pt x="1806161" y="815173"/>
                </a:moveTo>
                <a:cubicBezTo>
                  <a:pt x="1832282" y="815717"/>
                  <a:pt x="1854593" y="836396"/>
                  <a:pt x="1852416" y="860884"/>
                </a:cubicBezTo>
                <a:cubicBezTo>
                  <a:pt x="1850240" y="885372"/>
                  <a:pt x="1837179" y="906050"/>
                  <a:pt x="1805617" y="906594"/>
                </a:cubicBezTo>
                <a:cubicBezTo>
                  <a:pt x="1776776" y="906594"/>
                  <a:pt x="1759362" y="885916"/>
                  <a:pt x="1759906" y="860884"/>
                </a:cubicBezTo>
                <a:cubicBezTo>
                  <a:pt x="1759906" y="834219"/>
                  <a:pt x="1776776" y="815717"/>
                  <a:pt x="1806161" y="815173"/>
                </a:cubicBezTo>
                <a:close/>
                <a:moveTo>
                  <a:pt x="1968326" y="812453"/>
                </a:moveTo>
                <a:cubicBezTo>
                  <a:pt x="1979754" y="812453"/>
                  <a:pt x="1991726" y="817351"/>
                  <a:pt x="2000977" y="826057"/>
                </a:cubicBezTo>
                <a:cubicBezTo>
                  <a:pt x="2010772" y="835308"/>
                  <a:pt x="2016214" y="847280"/>
                  <a:pt x="2015670" y="859796"/>
                </a:cubicBezTo>
                <a:cubicBezTo>
                  <a:pt x="2014581" y="884828"/>
                  <a:pt x="2000977" y="904963"/>
                  <a:pt x="1969415" y="907684"/>
                </a:cubicBezTo>
                <a:cubicBezTo>
                  <a:pt x="1942206" y="906051"/>
                  <a:pt x="1923704" y="890270"/>
                  <a:pt x="1922071" y="860885"/>
                </a:cubicBezTo>
                <a:cubicBezTo>
                  <a:pt x="1920983" y="836397"/>
                  <a:pt x="1943294" y="812453"/>
                  <a:pt x="1968326" y="812453"/>
                </a:cubicBezTo>
                <a:close/>
                <a:moveTo>
                  <a:pt x="255260" y="762932"/>
                </a:moveTo>
                <a:cubicBezTo>
                  <a:pt x="261790" y="763476"/>
                  <a:pt x="271041" y="773271"/>
                  <a:pt x="270497" y="779802"/>
                </a:cubicBezTo>
                <a:cubicBezTo>
                  <a:pt x="270497" y="786332"/>
                  <a:pt x="261246" y="795038"/>
                  <a:pt x="254172" y="795038"/>
                </a:cubicBezTo>
                <a:cubicBezTo>
                  <a:pt x="246553" y="795038"/>
                  <a:pt x="238391" y="786332"/>
                  <a:pt x="238935" y="778713"/>
                </a:cubicBezTo>
                <a:cubicBezTo>
                  <a:pt x="239479" y="771095"/>
                  <a:pt x="248186" y="762388"/>
                  <a:pt x="255260" y="762932"/>
                </a:cubicBezTo>
                <a:close/>
                <a:moveTo>
                  <a:pt x="416881" y="756402"/>
                </a:moveTo>
                <a:cubicBezTo>
                  <a:pt x="430485" y="756402"/>
                  <a:pt x="439736" y="765109"/>
                  <a:pt x="440280" y="778713"/>
                </a:cubicBezTo>
                <a:cubicBezTo>
                  <a:pt x="440280" y="791229"/>
                  <a:pt x="431573" y="801024"/>
                  <a:pt x="419057" y="801024"/>
                </a:cubicBezTo>
                <a:cubicBezTo>
                  <a:pt x="405997" y="801569"/>
                  <a:pt x="396202" y="792317"/>
                  <a:pt x="396202" y="779257"/>
                </a:cubicBezTo>
                <a:cubicBezTo>
                  <a:pt x="396202" y="766741"/>
                  <a:pt x="404909" y="756946"/>
                  <a:pt x="416881" y="756402"/>
                </a:cubicBezTo>
                <a:close/>
                <a:moveTo>
                  <a:pt x="581766" y="751505"/>
                </a:moveTo>
                <a:cubicBezTo>
                  <a:pt x="598091" y="752594"/>
                  <a:pt x="607887" y="762933"/>
                  <a:pt x="608975" y="779802"/>
                </a:cubicBezTo>
                <a:cubicBezTo>
                  <a:pt x="608975" y="792318"/>
                  <a:pt x="596459" y="808644"/>
                  <a:pt x="580678" y="806467"/>
                </a:cubicBezTo>
                <a:cubicBezTo>
                  <a:pt x="565985" y="808100"/>
                  <a:pt x="553469" y="792318"/>
                  <a:pt x="553469" y="778714"/>
                </a:cubicBezTo>
                <a:cubicBezTo>
                  <a:pt x="553469" y="764021"/>
                  <a:pt x="567618" y="750417"/>
                  <a:pt x="581766" y="751505"/>
                </a:cubicBezTo>
                <a:close/>
                <a:moveTo>
                  <a:pt x="746107" y="746607"/>
                </a:moveTo>
                <a:cubicBezTo>
                  <a:pt x="762432" y="747695"/>
                  <a:pt x="778213" y="765653"/>
                  <a:pt x="777125" y="780346"/>
                </a:cubicBezTo>
                <a:cubicBezTo>
                  <a:pt x="776581" y="795038"/>
                  <a:pt x="762432" y="811908"/>
                  <a:pt x="742842" y="811364"/>
                </a:cubicBezTo>
                <a:cubicBezTo>
                  <a:pt x="725428" y="810276"/>
                  <a:pt x="712368" y="795583"/>
                  <a:pt x="712368" y="778713"/>
                </a:cubicBezTo>
                <a:cubicBezTo>
                  <a:pt x="712368" y="760755"/>
                  <a:pt x="730870" y="745519"/>
                  <a:pt x="746107" y="746607"/>
                </a:cubicBezTo>
                <a:close/>
                <a:moveTo>
                  <a:pt x="907727" y="741710"/>
                </a:moveTo>
                <a:cubicBezTo>
                  <a:pt x="925684" y="741710"/>
                  <a:pt x="944187" y="760756"/>
                  <a:pt x="944187" y="778714"/>
                </a:cubicBezTo>
                <a:cubicBezTo>
                  <a:pt x="944187" y="796672"/>
                  <a:pt x="926229" y="815174"/>
                  <a:pt x="907727" y="815174"/>
                </a:cubicBezTo>
                <a:cubicBezTo>
                  <a:pt x="889225" y="815174"/>
                  <a:pt x="872899" y="798848"/>
                  <a:pt x="872355" y="779258"/>
                </a:cubicBezTo>
                <a:cubicBezTo>
                  <a:pt x="871811" y="759668"/>
                  <a:pt x="888136" y="742254"/>
                  <a:pt x="907727" y="741710"/>
                </a:cubicBezTo>
                <a:close/>
                <a:moveTo>
                  <a:pt x="1070979" y="740621"/>
                </a:moveTo>
                <a:cubicBezTo>
                  <a:pt x="1091114" y="737357"/>
                  <a:pt x="1110704" y="761300"/>
                  <a:pt x="1110160" y="779258"/>
                </a:cubicBezTo>
                <a:cubicBezTo>
                  <a:pt x="1110160" y="798304"/>
                  <a:pt x="1089481" y="817894"/>
                  <a:pt x="1070979" y="817894"/>
                </a:cubicBezTo>
                <a:cubicBezTo>
                  <a:pt x="1049757" y="817894"/>
                  <a:pt x="1031255" y="797216"/>
                  <a:pt x="1031799" y="778714"/>
                </a:cubicBezTo>
                <a:cubicBezTo>
                  <a:pt x="1033431" y="756947"/>
                  <a:pt x="1049212" y="740621"/>
                  <a:pt x="1070979" y="740621"/>
                </a:cubicBezTo>
                <a:close/>
                <a:moveTo>
                  <a:pt x="1233688" y="736268"/>
                </a:moveTo>
                <a:cubicBezTo>
                  <a:pt x="1254367" y="735723"/>
                  <a:pt x="1276134" y="756402"/>
                  <a:pt x="1276134" y="777625"/>
                </a:cubicBezTo>
                <a:cubicBezTo>
                  <a:pt x="1276134" y="801025"/>
                  <a:pt x="1258720" y="819526"/>
                  <a:pt x="1235320" y="820615"/>
                </a:cubicBezTo>
                <a:cubicBezTo>
                  <a:pt x="1211377" y="821159"/>
                  <a:pt x="1193419" y="802657"/>
                  <a:pt x="1192331" y="779258"/>
                </a:cubicBezTo>
                <a:cubicBezTo>
                  <a:pt x="1190698" y="758579"/>
                  <a:pt x="1213009" y="736812"/>
                  <a:pt x="1233688" y="736268"/>
                </a:cubicBezTo>
                <a:close/>
                <a:moveTo>
                  <a:pt x="1397485" y="735724"/>
                </a:moveTo>
                <a:cubicBezTo>
                  <a:pt x="1421973" y="734091"/>
                  <a:pt x="1441564" y="757491"/>
                  <a:pt x="1441019" y="779802"/>
                </a:cubicBezTo>
                <a:cubicBezTo>
                  <a:pt x="1441019" y="803746"/>
                  <a:pt x="1418708" y="823336"/>
                  <a:pt x="1396397" y="823336"/>
                </a:cubicBezTo>
                <a:cubicBezTo>
                  <a:pt x="1374630" y="823336"/>
                  <a:pt x="1352863" y="802113"/>
                  <a:pt x="1352863" y="779258"/>
                </a:cubicBezTo>
                <a:cubicBezTo>
                  <a:pt x="1353407" y="758579"/>
                  <a:pt x="1372453" y="733547"/>
                  <a:pt x="1397485" y="735724"/>
                </a:cubicBezTo>
                <a:close/>
                <a:moveTo>
                  <a:pt x="1562371" y="734636"/>
                </a:moveTo>
                <a:cubicBezTo>
                  <a:pt x="1586314" y="732459"/>
                  <a:pt x="1605905" y="754226"/>
                  <a:pt x="1605905" y="779802"/>
                </a:cubicBezTo>
                <a:cubicBezTo>
                  <a:pt x="1605361" y="805923"/>
                  <a:pt x="1585226" y="823881"/>
                  <a:pt x="1560194" y="823881"/>
                </a:cubicBezTo>
                <a:cubicBezTo>
                  <a:pt x="1535706" y="823881"/>
                  <a:pt x="1515027" y="803202"/>
                  <a:pt x="1515572" y="777626"/>
                </a:cubicBezTo>
                <a:cubicBezTo>
                  <a:pt x="1516116" y="755859"/>
                  <a:pt x="1535162" y="731371"/>
                  <a:pt x="1562371" y="734636"/>
                </a:cubicBezTo>
                <a:close/>
                <a:moveTo>
                  <a:pt x="1724535" y="730827"/>
                </a:moveTo>
                <a:cubicBezTo>
                  <a:pt x="1748478" y="731371"/>
                  <a:pt x="1772422" y="755314"/>
                  <a:pt x="1772422" y="779258"/>
                </a:cubicBezTo>
                <a:cubicBezTo>
                  <a:pt x="1771878" y="804290"/>
                  <a:pt x="1748478" y="826602"/>
                  <a:pt x="1723446" y="826602"/>
                </a:cubicBezTo>
                <a:cubicBezTo>
                  <a:pt x="1696238" y="823881"/>
                  <a:pt x="1677736" y="807011"/>
                  <a:pt x="1676647" y="778714"/>
                </a:cubicBezTo>
                <a:cubicBezTo>
                  <a:pt x="1676103" y="753138"/>
                  <a:pt x="1699503" y="730282"/>
                  <a:pt x="1724535" y="730827"/>
                </a:cubicBezTo>
                <a:close/>
                <a:moveTo>
                  <a:pt x="1886699" y="730826"/>
                </a:moveTo>
                <a:cubicBezTo>
                  <a:pt x="1914452" y="730826"/>
                  <a:pt x="1934587" y="749872"/>
                  <a:pt x="1935131" y="778713"/>
                </a:cubicBezTo>
                <a:cubicBezTo>
                  <a:pt x="1936219" y="804834"/>
                  <a:pt x="1916085" y="826601"/>
                  <a:pt x="1887244" y="827145"/>
                </a:cubicBezTo>
                <a:cubicBezTo>
                  <a:pt x="1860579" y="826601"/>
                  <a:pt x="1838812" y="805922"/>
                  <a:pt x="1838812" y="778713"/>
                </a:cubicBezTo>
                <a:cubicBezTo>
                  <a:pt x="1839356" y="750416"/>
                  <a:pt x="1860035" y="730282"/>
                  <a:pt x="1886699" y="730826"/>
                </a:cubicBezTo>
                <a:close/>
                <a:moveTo>
                  <a:pt x="2050496" y="730282"/>
                </a:moveTo>
                <a:lnTo>
                  <a:pt x="2051041" y="730396"/>
                </a:lnTo>
                <a:lnTo>
                  <a:pt x="2051041" y="826942"/>
                </a:lnTo>
                <a:lnTo>
                  <a:pt x="2049952" y="827145"/>
                </a:lnTo>
                <a:cubicBezTo>
                  <a:pt x="2023832" y="827145"/>
                  <a:pt x="2001521" y="804290"/>
                  <a:pt x="2002065" y="778169"/>
                </a:cubicBezTo>
                <a:cubicBezTo>
                  <a:pt x="2002609" y="751505"/>
                  <a:pt x="2024376" y="730282"/>
                  <a:pt x="2050496" y="730282"/>
                </a:cubicBezTo>
                <a:close/>
                <a:moveTo>
                  <a:pt x="173634" y="685660"/>
                </a:moveTo>
                <a:cubicBezTo>
                  <a:pt x="181253" y="685660"/>
                  <a:pt x="185062" y="690013"/>
                  <a:pt x="184518" y="698176"/>
                </a:cubicBezTo>
                <a:cubicBezTo>
                  <a:pt x="183973" y="705250"/>
                  <a:pt x="180164" y="709059"/>
                  <a:pt x="172546" y="709059"/>
                </a:cubicBezTo>
                <a:cubicBezTo>
                  <a:pt x="164383" y="709059"/>
                  <a:pt x="160574" y="705250"/>
                  <a:pt x="161118" y="697088"/>
                </a:cubicBezTo>
                <a:cubicBezTo>
                  <a:pt x="161662" y="688925"/>
                  <a:pt x="164927" y="685660"/>
                  <a:pt x="173634" y="685660"/>
                </a:cubicBezTo>
                <a:close/>
                <a:moveTo>
                  <a:pt x="335798" y="675320"/>
                </a:moveTo>
                <a:cubicBezTo>
                  <a:pt x="345593" y="675320"/>
                  <a:pt x="357565" y="685115"/>
                  <a:pt x="357565" y="696543"/>
                </a:cubicBezTo>
                <a:cubicBezTo>
                  <a:pt x="357565" y="707426"/>
                  <a:pt x="346682" y="718854"/>
                  <a:pt x="336342" y="718854"/>
                </a:cubicBezTo>
                <a:cubicBezTo>
                  <a:pt x="327091" y="718854"/>
                  <a:pt x="315664" y="707426"/>
                  <a:pt x="315120" y="697631"/>
                </a:cubicBezTo>
                <a:cubicBezTo>
                  <a:pt x="314575" y="687292"/>
                  <a:pt x="325459" y="675864"/>
                  <a:pt x="335798" y="675320"/>
                </a:cubicBezTo>
                <a:close/>
                <a:moveTo>
                  <a:pt x="499051" y="670423"/>
                </a:moveTo>
                <a:cubicBezTo>
                  <a:pt x="512111" y="669335"/>
                  <a:pt x="526804" y="684027"/>
                  <a:pt x="526804" y="697088"/>
                </a:cubicBezTo>
                <a:cubicBezTo>
                  <a:pt x="526804" y="711236"/>
                  <a:pt x="513744" y="724296"/>
                  <a:pt x="499595" y="724296"/>
                </a:cubicBezTo>
                <a:cubicBezTo>
                  <a:pt x="486535" y="724296"/>
                  <a:pt x="472930" y="711236"/>
                  <a:pt x="472930" y="697632"/>
                </a:cubicBezTo>
                <a:cubicBezTo>
                  <a:pt x="472386" y="684027"/>
                  <a:pt x="485446" y="670423"/>
                  <a:pt x="499051" y="670423"/>
                </a:cubicBezTo>
                <a:close/>
                <a:moveTo>
                  <a:pt x="662848" y="665525"/>
                </a:moveTo>
                <a:cubicBezTo>
                  <a:pt x="678629" y="665525"/>
                  <a:pt x="694410" y="681306"/>
                  <a:pt x="694954" y="697087"/>
                </a:cubicBezTo>
                <a:cubicBezTo>
                  <a:pt x="695499" y="712868"/>
                  <a:pt x="679173" y="729194"/>
                  <a:pt x="663392" y="729194"/>
                </a:cubicBezTo>
                <a:cubicBezTo>
                  <a:pt x="647611" y="729194"/>
                  <a:pt x="632374" y="713957"/>
                  <a:pt x="632374" y="698176"/>
                </a:cubicBezTo>
                <a:cubicBezTo>
                  <a:pt x="631286" y="681850"/>
                  <a:pt x="647067" y="665525"/>
                  <a:pt x="662848" y="665525"/>
                </a:cubicBezTo>
                <a:close/>
                <a:moveTo>
                  <a:pt x="825013" y="663349"/>
                </a:moveTo>
                <a:cubicBezTo>
                  <a:pt x="844603" y="662260"/>
                  <a:pt x="861472" y="676953"/>
                  <a:pt x="860384" y="697632"/>
                </a:cubicBezTo>
                <a:cubicBezTo>
                  <a:pt x="861472" y="716134"/>
                  <a:pt x="846780" y="731915"/>
                  <a:pt x="826101" y="731915"/>
                </a:cubicBezTo>
                <a:cubicBezTo>
                  <a:pt x="806511" y="731915"/>
                  <a:pt x="791818" y="719399"/>
                  <a:pt x="791818" y="698176"/>
                </a:cubicBezTo>
                <a:cubicBezTo>
                  <a:pt x="791818" y="676409"/>
                  <a:pt x="805967" y="663893"/>
                  <a:pt x="825013" y="663349"/>
                </a:cubicBezTo>
                <a:close/>
                <a:moveTo>
                  <a:pt x="988809" y="658995"/>
                </a:moveTo>
                <a:cubicBezTo>
                  <a:pt x="1008400" y="657362"/>
                  <a:pt x="1028534" y="679129"/>
                  <a:pt x="1027446" y="697087"/>
                </a:cubicBezTo>
                <a:cubicBezTo>
                  <a:pt x="1026902" y="718310"/>
                  <a:pt x="1010576" y="735723"/>
                  <a:pt x="989353" y="735723"/>
                </a:cubicBezTo>
                <a:cubicBezTo>
                  <a:pt x="968675" y="735723"/>
                  <a:pt x="950717" y="718310"/>
                  <a:pt x="950717" y="697631"/>
                </a:cubicBezTo>
                <a:cubicBezTo>
                  <a:pt x="950717" y="676408"/>
                  <a:pt x="968131" y="660627"/>
                  <a:pt x="988809" y="658995"/>
                </a:cubicBezTo>
                <a:close/>
                <a:moveTo>
                  <a:pt x="1152607" y="655729"/>
                </a:moveTo>
                <a:cubicBezTo>
                  <a:pt x="1173829" y="654097"/>
                  <a:pt x="1194508" y="675864"/>
                  <a:pt x="1195052" y="697087"/>
                </a:cubicBezTo>
                <a:cubicBezTo>
                  <a:pt x="1195596" y="717766"/>
                  <a:pt x="1173829" y="739533"/>
                  <a:pt x="1153151" y="739533"/>
                </a:cubicBezTo>
                <a:cubicBezTo>
                  <a:pt x="1132472" y="740077"/>
                  <a:pt x="1110705" y="718310"/>
                  <a:pt x="1110705" y="697631"/>
                </a:cubicBezTo>
                <a:cubicBezTo>
                  <a:pt x="1112882" y="674231"/>
                  <a:pt x="1127574" y="657362"/>
                  <a:pt x="1152607" y="655729"/>
                </a:cubicBezTo>
                <a:close/>
                <a:moveTo>
                  <a:pt x="1316948" y="653554"/>
                </a:moveTo>
                <a:cubicBezTo>
                  <a:pt x="1340347" y="654098"/>
                  <a:pt x="1359937" y="674777"/>
                  <a:pt x="1359937" y="697632"/>
                </a:cubicBezTo>
                <a:cubicBezTo>
                  <a:pt x="1359937" y="718855"/>
                  <a:pt x="1339803" y="743343"/>
                  <a:pt x="1315315" y="740622"/>
                </a:cubicBezTo>
                <a:cubicBezTo>
                  <a:pt x="1293004" y="742799"/>
                  <a:pt x="1271237" y="718311"/>
                  <a:pt x="1271781" y="696544"/>
                </a:cubicBezTo>
                <a:cubicBezTo>
                  <a:pt x="1271781" y="675321"/>
                  <a:pt x="1292460" y="653010"/>
                  <a:pt x="1316948" y="653554"/>
                </a:cubicBezTo>
                <a:close/>
                <a:moveTo>
                  <a:pt x="1479112" y="651921"/>
                </a:moveTo>
                <a:cubicBezTo>
                  <a:pt x="1506321" y="651377"/>
                  <a:pt x="1524823" y="669335"/>
                  <a:pt x="1524823" y="697088"/>
                </a:cubicBezTo>
                <a:cubicBezTo>
                  <a:pt x="1524823" y="722664"/>
                  <a:pt x="1506865" y="743343"/>
                  <a:pt x="1479112" y="742254"/>
                </a:cubicBezTo>
                <a:cubicBezTo>
                  <a:pt x="1450815" y="743343"/>
                  <a:pt x="1433401" y="721031"/>
                  <a:pt x="1433945" y="697088"/>
                </a:cubicBezTo>
                <a:cubicBezTo>
                  <a:pt x="1434490" y="670423"/>
                  <a:pt x="1451903" y="652465"/>
                  <a:pt x="1479112" y="651921"/>
                </a:cubicBezTo>
                <a:close/>
                <a:moveTo>
                  <a:pt x="1642909" y="649744"/>
                </a:moveTo>
                <a:cubicBezTo>
                  <a:pt x="1671750" y="650288"/>
                  <a:pt x="1690252" y="668790"/>
                  <a:pt x="1690796" y="697087"/>
                </a:cubicBezTo>
                <a:cubicBezTo>
                  <a:pt x="1691340" y="723752"/>
                  <a:pt x="1672294" y="743342"/>
                  <a:pt x="1642909" y="745519"/>
                </a:cubicBezTo>
                <a:cubicBezTo>
                  <a:pt x="1614067" y="743887"/>
                  <a:pt x="1594477" y="725384"/>
                  <a:pt x="1594477" y="697632"/>
                </a:cubicBezTo>
                <a:cubicBezTo>
                  <a:pt x="1594477" y="668790"/>
                  <a:pt x="1614611" y="649200"/>
                  <a:pt x="1642909" y="649744"/>
                </a:cubicBezTo>
                <a:close/>
                <a:moveTo>
                  <a:pt x="1805617" y="648112"/>
                </a:moveTo>
                <a:cubicBezTo>
                  <a:pt x="1829561" y="648112"/>
                  <a:pt x="1857314" y="672055"/>
                  <a:pt x="1854593" y="698176"/>
                </a:cubicBezTo>
                <a:cubicBezTo>
                  <a:pt x="1856770" y="719399"/>
                  <a:pt x="1832826" y="747151"/>
                  <a:pt x="1805073" y="746607"/>
                </a:cubicBezTo>
                <a:cubicBezTo>
                  <a:pt x="1779497" y="746063"/>
                  <a:pt x="1756097" y="721575"/>
                  <a:pt x="1756097" y="697087"/>
                </a:cubicBezTo>
                <a:cubicBezTo>
                  <a:pt x="1756097" y="670423"/>
                  <a:pt x="1782218" y="647567"/>
                  <a:pt x="1805617" y="648112"/>
                </a:cubicBezTo>
                <a:close/>
                <a:moveTo>
                  <a:pt x="1969414" y="647023"/>
                </a:moveTo>
                <a:cubicBezTo>
                  <a:pt x="1992814" y="647023"/>
                  <a:pt x="2020567" y="672055"/>
                  <a:pt x="2018934" y="698176"/>
                </a:cubicBezTo>
                <a:cubicBezTo>
                  <a:pt x="2017302" y="725384"/>
                  <a:pt x="1996623" y="746063"/>
                  <a:pt x="1968326" y="746063"/>
                </a:cubicBezTo>
                <a:cubicBezTo>
                  <a:pt x="1941661" y="748784"/>
                  <a:pt x="1919350" y="721031"/>
                  <a:pt x="1918806" y="697087"/>
                </a:cubicBezTo>
                <a:cubicBezTo>
                  <a:pt x="1918806" y="669878"/>
                  <a:pt x="1945471" y="647023"/>
                  <a:pt x="1969414" y="647023"/>
                </a:cubicBezTo>
                <a:close/>
                <a:moveTo>
                  <a:pt x="90919" y="606754"/>
                </a:moveTo>
                <a:cubicBezTo>
                  <a:pt x="94728" y="608386"/>
                  <a:pt x="99626" y="612195"/>
                  <a:pt x="99626" y="615460"/>
                </a:cubicBezTo>
                <a:cubicBezTo>
                  <a:pt x="100170" y="618181"/>
                  <a:pt x="95816" y="621990"/>
                  <a:pt x="92007" y="627976"/>
                </a:cubicBezTo>
                <a:cubicBezTo>
                  <a:pt x="87654" y="623079"/>
                  <a:pt x="84389" y="619814"/>
                  <a:pt x="82756" y="616005"/>
                </a:cubicBezTo>
                <a:cubicBezTo>
                  <a:pt x="81668" y="613284"/>
                  <a:pt x="88198" y="605665"/>
                  <a:pt x="90919" y="606754"/>
                </a:cubicBezTo>
                <a:close/>
                <a:moveTo>
                  <a:pt x="254172" y="598047"/>
                </a:moveTo>
                <a:cubicBezTo>
                  <a:pt x="265599" y="597503"/>
                  <a:pt x="273218" y="606210"/>
                  <a:pt x="272674" y="614917"/>
                </a:cubicBezTo>
                <a:cubicBezTo>
                  <a:pt x="272674" y="625800"/>
                  <a:pt x="266688" y="632874"/>
                  <a:pt x="255260" y="633419"/>
                </a:cubicBezTo>
                <a:cubicBezTo>
                  <a:pt x="244376" y="633963"/>
                  <a:pt x="237302" y="626889"/>
                  <a:pt x="236758" y="616005"/>
                </a:cubicBezTo>
                <a:cubicBezTo>
                  <a:pt x="236758" y="605122"/>
                  <a:pt x="243832" y="598047"/>
                  <a:pt x="254172" y="598047"/>
                </a:cubicBezTo>
                <a:close/>
                <a:moveTo>
                  <a:pt x="418513" y="590429"/>
                </a:moveTo>
                <a:cubicBezTo>
                  <a:pt x="431029" y="590429"/>
                  <a:pt x="442457" y="601857"/>
                  <a:pt x="443001" y="614917"/>
                </a:cubicBezTo>
                <a:cubicBezTo>
                  <a:pt x="443545" y="627977"/>
                  <a:pt x="432118" y="640493"/>
                  <a:pt x="419058" y="640493"/>
                </a:cubicBezTo>
                <a:cubicBezTo>
                  <a:pt x="404365" y="640493"/>
                  <a:pt x="394570" y="630698"/>
                  <a:pt x="392937" y="616005"/>
                </a:cubicBezTo>
                <a:cubicBezTo>
                  <a:pt x="391849" y="604033"/>
                  <a:pt x="405997" y="590429"/>
                  <a:pt x="418513" y="590429"/>
                </a:cubicBezTo>
                <a:close/>
                <a:moveTo>
                  <a:pt x="581222" y="587163"/>
                </a:moveTo>
                <a:cubicBezTo>
                  <a:pt x="600812" y="588252"/>
                  <a:pt x="610063" y="598047"/>
                  <a:pt x="610063" y="616549"/>
                </a:cubicBezTo>
                <a:cubicBezTo>
                  <a:pt x="610063" y="634507"/>
                  <a:pt x="599179" y="644846"/>
                  <a:pt x="580677" y="645390"/>
                </a:cubicBezTo>
                <a:cubicBezTo>
                  <a:pt x="565440" y="644846"/>
                  <a:pt x="551836" y="634507"/>
                  <a:pt x="551836" y="615461"/>
                </a:cubicBezTo>
                <a:cubicBezTo>
                  <a:pt x="551836" y="594782"/>
                  <a:pt x="567073" y="586075"/>
                  <a:pt x="581222" y="587163"/>
                </a:cubicBezTo>
                <a:close/>
                <a:moveTo>
                  <a:pt x="743930" y="582266"/>
                </a:moveTo>
                <a:cubicBezTo>
                  <a:pt x="761344" y="581178"/>
                  <a:pt x="779301" y="599136"/>
                  <a:pt x="779301" y="616005"/>
                </a:cubicBezTo>
                <a:cubicBezTo>
                  <a:pt x="779301" y="632874"/>
                  <a:pt x="762976" y="649744"/>
                  <a:pt x="745563" y="649744"/>
                </a:cubicBezTo>
                <a:cubicBezTo>
                  <a:pt x="728149" y="649200"/>
                  <a:pt x="710191" y="635595"/>
                  <a:pt x="711824" y="616549"/>
                </a:cubicBezTo>
                <a:cubicBezTo>
                  <a:pt x="711824" y="596415"/>
                  <a:pt x="724340" y="583355"/>
                  <a:pt x="743930" y="582266"/>
                </a:cubicBezTo>
                <a:close/>
                <a:moveTo>
                  <a:pt x="907183" y="577913"/>
                </a:moveTo>
                <a:cubicBezTo>
                  <a:pt x="927318" y="576825"/>
                  <a:pt x="947452" y="598592"/>
                  <a:pt x="945276" y="615461"/>
                </a:cubicBezTo>
                <a:cubicBezTo>
                  <a:pt x="945276" y="635596"/>
                  <a:pt x="927318" y="653554"/>
                  <a:pt x="907727" y="654098"/>
                </a:cubicBezTo>
                <a:cubicBezTo>
                  <a:pt x="890314" y="654642"/>
                  <a:pt x="869091" y="635052"/>
                  <a:pt x="869091" y="616006"/>
                </a:cubicBezTo>
                <a:cubicBezTo>
                  <a:pt x="869635" y="595871"/>
                  <a:pt x="887049" y="578457"/>
                  <a:pt x="907183" y="577913"/>
                </a:cubicBezTo>
                <a:close/>
                <a:moveTo>
                  <a:pt x="1069891" y="574648"/>
                </a:moveTo>
                <a:cubicBezTo>
                  <a:pt x="1092202" y="574648"/>
                  <a:pt x="1111793" y="589885"/>
                  <a:pt x="1111248" y="615461"/>
                </a:cubicBezTo>
                <a:cubicBezTo>
                  <a:pt x="1111793" y="639405"/>
                  <a:pt x="1093835" y="656274"/>
                  <a:pt x="1070435" y="656274"/>
                </a:cubicBezTo>
                <a:cubicBezTo>
                  <a:pt x="1045403" y="656274"/>
                  <a:pt x="1029622" y="635052"/>
                  <a:pt x="1029622" y="614917"/>
                </a:cubicBezTo>
                <a:cubicBezTo>
                  <a:pt x="1030166" y="593150"/>
                  <a:pt x="1046491" y="574648"/>
                  <a:pt x="1069891" y="574648"/>
                </a:cubicBezTo>
                <a:close/>
                <a:moveTo>
                  <a:pt x="1235321" y="572472"/>
                </a:moveTo>
                <a:cubicBezTo>
                  <a:pt x="1256543" y="572472"/>
                  <a:pt x="1279399" y="590973"/>
                  <a:pt x="1277222" y="616550"/>
                </a:cubicBezTo>
                <a:cubicBezTo>
                  <a:pt x="1278855" y="639949"/>
                  <a:pt x="1255455" y="660084"/>
                  <a:pt x="1233688" y="660084"/>
                </a:cubicBezTo>
                <a:cubicBezTo>
                  <a:pt x="1211377" y="660084"/>
                  <a:pt x="1189610" y="637773"/>
                  <a:pt x="1190154" y="614917"/>
                </a:cubicBezTo>
                <a:cubicBezTo>
                  <a:pt x="1190698" y="594783"/>
                  <a:pt x="1209200" y="571927"/>
                  <a:pt x="1235321" y="572472"/>
                </a:cubicBezTo>
                <a:close/>
                <a:moveTo>
                  <a:pt x="1397485" y="569206"/>
                </a:moveTo>
                <a:cubicBezTo>
                  <a:pt x="1423606" y="569750"/>
                  <a:pt x="1443196" y="587708"/>
                  <a:pt x="1443196" y="616005"/>
                </a:cubicBezTo>
                <a:cubicBezTo>
                  <a:pt x="1443196" y="642670"/>
                  <a:pt x="1424150" y="661716"/>
                  <a:pt x="1396941" y="661172"/>
                </a:cubicBezTo>
                <a:cubicBezTo>
                  <a:pt x="1369188" y="661172"/>
                  <a:pt x="1350686" y="638860"/>
                  <a:pt x="1351775" y="614373"/>
                </a:cubicBezTo>
                <a:cubicBezTo>
                  <a:pt x="1352319" y="587164"/>
                  <a:pt x="1371365" y="569206"/>
                  <a:pt x="1397485" y="569206"/>
                </a:cubicBezTo>
                <a:close/>
                <a:moveTo>
                  <a:pt x="1560738" y="567029"/>
                </a:moveTo>
                <a:cubicBezTo>
                  <a:pt x="1586859" y="567029"/>
                  <a:pt x="1608082" y="587708"/>
                  <a:pt x="1609714" y="615461"/>
                </a:cubicBezTo>
                <a:cubicBezTo>
                  <a:pt x="1608082" y="641581"/>
                  <a:pt x="1589580" y="663892"/>
                  <a:pt x="1561283" y="663892"/>
                </a:cubicBezTo>
                <a:cubicBezTo>
                  <a:pt x="1534074" y="663892"/>
                  <a:pt x="1512851" y="642669"/>
                  <a:pt x="1512851" y="616005"/>
                </a:cubicBezTo>
                <a:cubicBezTo>
                  <a:pt x="1512851" y="587163"/>
                  <a:pt x="1535706" y="567029"/>
                  <a:pt x="1560738" y="567029"/>
                </a:cubicBezTo>
                <a:close/>
                <a:moveTo>
                  <a:pt x="1725624" y="565397"/>
                </a:moveTo>
                <a:cubicBezTo>
                  <a:pt x="1747935" y="565941"/>
                  <a:pt x="1775144" y="590429"/>
                  <a:pt x="1774599" y="616005"/>
                </a:cubicBezTo>
                <a:cubicBezTo>
                  <a:pt x="1774055" y="638317"/>
                  <a:pt x="1751744" y="668246"/>
                  <a:pt x="1723447" y="664981"/>
                </a:cubicBezTo>
                <a:cubicBezTo>
                  <a:pt x="1700592" y="667158"/>
                  <a:pt x="1674471" y="643758"/>
                  <a:pt x="1674471" y="615461"/>
                </a:cubicBezTo>
                <a:cubicBezTo>
                  <a:pt x="1674471" y="588797"/>
                  <a:pt x="1700592" y="565397"/>
                  <a:pt x="1725624" y="565397"/>
                </a:cubicBezTo>
                <a:close/>
                <a:moveTo>
                  <a:pt x="1886699" y="564853"/>
                </a:moveTo>
                <a:cubicBezTo>
                  <a:pt x="1914996" y="564309"/>
                  <a:pt x="1938396" y="589341"/>
                  <a:pt x="1938396" y="614917"/>
                </a:cubicBezTo>
                <a:cubicBezTo>
                  <a:pt x="1938396" y="640493"/>
                  <a:pt x="1917717" y="667702"/>
                  <a:pt x="1887787" y="665525"/>
                </a:cubicBezTo>
                <a:cubicBezTo>
                  <a:pt x="1860034" y="667702"/>
                  <a:pt x="1837723" y="644302"/>
                  <a:pt x="1837179" y="615461"/>
                </a:cubicBezTo>
                <a:cubicBezTo>
                  <a:pt x="1837179" y="586620"/>
                  <a:pt x="1861667" y="565397"/>
                  <a:pt x="1886699" y="564853"/>
                </a:cubicBezTo>
                <a:close/>
                <a:moveTo>
                  <a:pt x="2050496" y="564852"/>
                </a:moveTo>
                <a:lnTo>
                  <a:pt x="2051041" y="564962"/>
                </a:lnTo>
                <a:lnTo>
                  <a:pt x="2051041" y="665899"/>
                </a:lnTo>
                <a:lnTo>
                  <a:pt x="2049952" y="666069"/>
                </a:lnTo>
                <a:cubicBezTo>
                  <a:pt x="2018934" y="667157"/>
                  <a:pt x="1999344" y="642669"/>
                  <a:pt x="1999344" y="615460"/>
                </a:cubicBezTo>
                <a:cubicBezTo>
                  <a:pt x="1999344" y="587163"/>
                  <a:pt x="2021655" y="564852"/>
                  <a:pt x="2050496" y="564852"/>
                </a:cubicBezTo>
                <a:close/>
                <a:moveTo>
                  <a:pt x="173090" y="517509"/>
                </a:moveTo>
                <a:cubicBezTo>
                  <a:pt x="181252" y="517509"/>
                  <a:pt x="189415" y="525672"/>
                  <a:pt x="189959" y="533834"/>
                </a:cubicBezTo>
                <a:cubicBezTo>
                  <a:pt x="189959" y="542541"/>
                  <a:pt x="182341" y="550160"/>
                  <a:pt x="173634" y="550160"/>
                </a:cubicBezTo>
                <a:cubicBezTo>
                  <a:pt x="165471" y="550160"/>
                  <a:pt x="157853" y="543085"/>
                  <a:pt x="157308" y="534923"/>
                </a:cubicBezTo>
                <a:cubicBezTo>
                  <a:pt x="156764" y="526216"/>
                  <a:pt x="164383" y="518053"/>
                  <a:pt x="173090" y="517509"/>
                </a:cubicBezTo>
                <a:close/>
                <a:moveTo>
                  <a:pt x="335798" y="511523"/>
                </a:moveTo>
                <a:cubicBezTo>
                  <a:pt x="349947" y="512067"/>
                  <a:pt x="357565" y="519686"/>
                  <a:pt x="358654" y="533834"/>
                </a:cubicBezTo>
                <a:cubicBezTo>
                  <a:pt x="359742" y="547439"/>
                  <a:pt x="348314" y="557778"/>
                  <a:pt x="336343" y="556689"/>
                </a:cubicBezTo>
                <a:cubicBezTo>
                  <a:pt x="324371" y="558322"/>
                  <a:pt x="312943" y="545806"/>
                  <a:pt x="312943" y="534378"/>
                </a:cubicBezTo>
                <a:cubicBezTo>
                  <a:pt x="312943" y="522951"/>
                  <a:pt x="322738" y="510979"/>
                  <a:pt x="335798" y="511523"/>
                </a:cubicBezTo>
                <a:close/>
                <a:moveTo>
                  <a:pt x="500139" y="506626"/>
                </a:moveTo>
                <a:cubicBezTo>
                  <a:pt x="517553" y="507170"/>
                  <a:pt x="527892" y="517509"/>
                  <a:pt x="527348" y="535467"/>
                </a:cubicBezTo>
                <a:cubicBezTo>
                  <a:pt x="526804" y="552880"/>
                  <a:pt x="515920" y="562131"/>
                  <a:pt x="497963" y="561587"/>
                </a:cubicBezTo>
                <a:cubicBezTo>
                  <a:pt x="481093" y="561043"/>
                  <a:pt x="472386" y="550704"/>
                  <a:pt x="471842" y="533290"/>
                </a:cubicBezTo>
                <a:cubicBezTo>
                  <a:pt x="471298" y="516965"/>
                  <a:pt x="485447" y="506081"/>
                  <a:pt x="500139" y="506626"/>
                </a:cubicBezTo>
                <a:close/>
                <a:moveTo>
                  <a:pt x="662304" y="500639"/>
                </a:moveTo>
                <a:cubicBezTo>
                  <a:pt x="677540" y="497919"/>
                  <a:pt x="696587" y="518597"/>
                  <a:pt x="696042" y="533290"/>
                </a:cubicBezTo>
                <a:cubicBezTo>
                  <a:pt x="694954" y="551792"/>
                  <a:pt x="681894" y="565396"/>
                  <a:pt x="663392" y="566485"/>
                </a:cubicBezTo>
                <a:cubicBezTo>
                  <a:pt x="643802" y="567573"/>
                  <a:pt x="629653" y="549615"/>
                  <a:pt x="630197" y="534378"/>
                </a:cubicBezTo>
                <a:cubicBezTo>
                  <a:pt x="630741" y="515876"/>
                  <a:pt x="644346" y="501184"/>
                  <a:pt x="662304" y="500639"/>
                </a:cubicBezTo>
                <a:close/>
                <a:moveTo>
                  <a:pt x="825557" y="496830"/>
                </a:moveTo>
                <a:cubicBezTo>
                  <a:pt x="846780" y="496286"/>
                  <a:pt x="862561" y="513700"/>
                  <a:pt x="863649" y="534923"/>
                </a:cubicBezTo>
                <a:cubicBezTo>
                  <a:pt x="862017" y="556690"/>
                  <a:pt x="845147" y="571927"/>
                  <a:pt x="825557" y="571383"/>
                </a:cubicBezTo>
                <a:cubicBezTo>
                  <a:pt x="805422" y="570838"/>
                  <a:pt x="788553" y="555057"/>
                  <a:pt x="788553" y="534379"/>
                </a:cubicBezTo>
                <a:cubicBezTo>
                  <a:pt x="788553" y="514244"/>
                  <a:pt x="804334" y="497375"/>
                  <a:pt x="825557" y="496830"/>
                </a:cubicBezTo>
                <a:close/>
                <a:moveTo>
                  <a:pt x="989898" y="494110"/>
                </a:moveTo>
                <a:cubicBezTo>
                  <a:pt x="1012209" y="494654"/>
                  <a:pt x="1029622" y="513156"/>
                  <a:pt x="1029078" y="534923"/>
                </a:cubicBezTo>
                <a:cubicBezTo>
                  <a:pt x="1028534" y="556146"/>
                  <a:pt x="1010576" y="574104"/>
                  <a:pt x="989353" y="574104"/>
                </a:cubicBezTo>
                <a:cubicBezTo>
                  <a:pt x="969763" y="574648"/>
                  <a:pt x="947452" y="556690"/>
                  <a:pt x="949629" y="533835"/>
                </a:cubicBezTo>
                <a:cubicBezTo>
                  <a:pt x="947996" y="512068"/>
                  <a:pt x="968675" y="494110"/>
                  <a:pt x="989898" y="494110"/>
                </a:cubicBezTo>
                <a:close/>
                <a:moveTo>
                  <a:pt x="1152062" y="490301"/>
                </a:moveTo>
                <a:cubicBezTo>
                  <a:pt x="1174917" y="490301"/>
                  <a:pt x="1196140" y="509347"/>
                  <a:pt x="1196140" y="533835"/>
                </a:cubicBezTo>
                <a:cubicBezTo>
                  <a:pt x="1197228" y="558867"/>
                  <a:pt x="1173829" y="577913"/>
                  <a:pt x="1152606" y="577369"/>
                </a:cubicBezTo>
                <a:cubicBezTo>
                  <a:pt x="1130839" y="577369"/>
                  <a:pt x="1109616" y="556690"/>
                  <a:pt x="1109072" y="534379"/>
                </a:cubicBezTo>
                <a:cubicBezTo>
                  <a:pt x="1108528" y="510980"/>
                  <a:pt x="1128662" y="490301"/>
                  <a:pt x="1152062" y="490301"/>
                </a:cubicBezTo>
                <a:close/>
                <a:moveTo>
                  <a:pt x="1316947" y="489212"/>
                </a:moveTo>
                <a:cubicBezTo>
                  <a:pt x="1343612" y="489756"/>
                  <a:pt x="1361570" y="510435"/>
                  <a:pt x="1361570" y="534923"/>
                </a:cubicBezTo>
                <a:cubicBezTo>
                  <a:pt x="1361570" y="560499"/>
                  <a:pt x="1341980" y="580090"/>
                  <a:pt x="1315859" y="580090"/>
                </a:cubicBezTo>
                <a:cubicBezTo>
                  <a:pt x="1291915" y="580090"/>
                  <a:pt x="1269060" y="560499"/>
                  <a:pt x="1270693" y="533835"/>
                </a:cubicBezTo>
                <a:cubicBezTo>
                  <a:pt x="1269604" y="508258"/>
                  <a:pt x="1291371" y="488124"/>
                  <a:pt x="1316947" y="489212"/>
                </a:cubicBezTo>
                <a:close/>
                <a:moveTo>
                  <a:pt x="1479112" y="484315"/>
                </a:moveTo>
                <a:cubicBezTo>
                  <a:pt x="1503599" y="484315"/>
                  <a:pt x="1528087" y="508259"/>
                  <a:pt x="1528087" y="533835"/>
                </a:cubicBezTo>
                <a:cubicBezTo>
                  <a:pt x="1528087" y="558867"/>
                  <a:pt x="1506865" y="582267"/>
                  <a:pt x="1479656" y="582267"/>
                </a:cubicBezTo>
                <a:cubicBezTo>
                  <a:pt x="1453535" y="582267"/>
                  <a:pt x="1431224" y="560500"/>
                  <a:pt x="1431224" y="533835"/>
                </a:cubicBezTo>
                <a:cubicBezTo>
                  <a:pt x="1430680" y="506626"/>
                  <a:pt x="1454624" y="485403"/>
                  <a:pt x="1479112" y="484315"/>
                </a:cubicBezTo>
                <a:close/>
                <a:moveTo>
                  <a:pt x="1643452" y="484314"/>
                </a:moveTo>
                <a:cubicBezTo>
                  <a:pt x="1667396" y="481049"/>
                  <a:pt x="1693517" y="509891"/>
                  <a:pt x="1692973" y="534923"/>
                </a:cubicBezTo>
                <a:cubicBezTo>
                  <a:pt x="1692428" y="558867"/>
                  <a:pt x="1669573" y="584987"/>
                  <a:pt x="1641276" y="583898"/>
                </a:cubicBezTo>
                <a:cubicBezTo>
                  <a:pt x="1616788" y="583354"/>
                  <a:pt x="1592300" y="562676"/>
                  <a:pt x="1592300" y="532202"/>
                </a:cubicBezTo>
                <a:cubicBezTo>
                  <a:pt x="1592300" y="509891"/>
                  <a:pt x="1615155" y="481049"/>
                  <a:pt x="1643452" y="484314"/>
                </a:cubicBezTo>
                <a:close/>
                <a:moveTo>
                  <a:pt x="1806162" y="481594"/>
                </a:moveTo>
                <a:cubicBezTo>
                  <a:pt x="1839901" y="484859"/>
                  <a:pt x="1858947" y="504993"/>
                  <a:pt x="1857858" y="536011"/>
                </a:cubicBezTo>
                <a:cubicBezTo>
                  <a:pt x="1855682" y="568662"/>
                  <a:pt x="1834459" y="584987"/>
                  <a:pt x="1803441" y="586075"/>
                </a:cubicBezTo>
                <a:cubicBezTo>
                  <a:pt x="1775144" y="584443"/>
                  <a:pt x="1751744" y="559955"/>
                  <a:pt x="1753377" y="533290"/>
                </a:cubicBezTo>
                <a:cubicBezTo>
                  <a:pt x="1755009" y="504993"/>
                  <a:pt x="1780041" y="479417"/>
                  <a:pt x="1806162" y="481594"/>
                </a:cubicBezTo>
                <a:close/>
                <a:moveTo>
                  <a:pt x="1968326" y="480505"/>
                </a:moveTo>
                <a:cubicBezTo>
                  <a:pt x="1998256" y="483226"/>
                  <a:pt x="2020023" y="501728"/>
                  <a:pt x="2022200" y="534379"/>
                </a:cubicBezTo>
                <a:cubicBezTo>
                  <a:pt x="2023832" y="560499"/>
                  <a:pt x="1996079" y="588252"/>
                  <a:pt x="1969415" y="588252"/>
                </a:cubicBezTo>
                <a:cubicBezTo>
                  <a:pt x="1943294" y="588796"/>
                  <a:pt x="1916085" y="561587"/>
                  <a:pt x="1915541" y="534923"/>
                </a:cubicBezTo>
                <a:cubicBezTo>
                  <a:pt x="1914453" y="508258"/>
                  <a:pt x="1941117" y="480505"/>
                  <a:pt x="1968326" y="480505"/>
                </a:cubicBezTo>
                <a:close/>
                <a:moveTo>
                  <a:pt x="91464" y="440780"/>
                </a:moveTo>
                <a:cubicBezTo>
                  <a:pt x="99082" y="440780"/>
                  <a:pt x="102347" y="443501"/>
                  <a:pt x="102891" y="451664"/>
                </a:cubicBezTo>
                <a:cubicBezTo>
                  <a:pt x="102891" y="460915"/>
                  <a:pt x="100171" y="464179"/>
                  <a:pt x="92008" y="464179"/>
                </a:cubicBezTo>
                <a:cubicBezTo>
                  <a:pt x="83301" y="464179"/>
                  <a:pt x="80036" y="461459"/>
                  <a:pt x="80036" y="452752"/>
                </a:cubicBezTo>
                <a:cubicBezTo>
                  <a:pt x="80036" y="444045"/>
                  <a:pt x="83301" y="440780"/>
                  <a:pt x="91464" y="440780"/>
                </a:cubicBezTo>
                <a:close/>
                <a:moveTo>
                  <a:pt x="254172" y="430441"/>
                </a:moveTo>
                <a:cubicBezTo>
                  <a:pt x="263967" y="430441"/>
                  <a:pt x="276483" y="440236"/>
                  <a:pt x="275939" y="452208"/>
                </a:cubicBezTo>
                <a:cubicBezTo>
                  <a:pt x="275939" y="463092"/>
                  <a:pt x="265600" y="473975"/>
                  <a:pt x="254716" y="473975"/>
                </a:cubicBezTo>
                <a:cubicBezTo>
                  <a:pt x="244377" y="473975"/>
                  <a:pt x="232949" y="463092"/>
                  <a:pt x="232405" y="452752"/>
                </a:cubicBezTo>
                <a:cubicBezTo>
                  <a:pt x="232405" y="442413"/>
                  <a:pt x="243833" y="430985"/>
                  <a:pt x="254172" y="430441"/>
                </a:cubicBezTo>
                <a:close/>
                <a:moveTo>
                  <a:pt x="417969" y="424999"/>
                </a:moveTo>
                <a:cubicBezTo>
                  <a:pt x="432118" y="424999"/>
                  <a:pt x="444634" y="438059"/>
                  <a:pt x="444634" y="452752"/>
                </a:cubicBezTo>
                <a:cubicBezTo>
                  <a:pt x="445178" y="464180"/>
                  <a:pt x="432662" y="481049"/>
                  <a:pt x="417425" y="479417"/>
                </a:cubicBezTo>
                <a:cubicBezTo>
                  <a:pt x="405453" y="481049"/>
                  <a:pt x="389672" y="465268"/>
                  <a:pt x="390760" y="452208"/>
                </a:cubicBezTo>
                <a:cubicBezTo>
                  <a:pt x="391849" y="437515"/>
                  <a:pt x="403276" y="424999"/>
                  <a:pt x="417969" y="424999"/>
                </a:cubicBezTo>
                <a:close/>
                <a:moveTo>
                  <a:pt x="580677" y="419558"/>
                </a:moveTo>
                <a:cubicBezTo>
                  <a:pt x="596458" y="419013"/>
                  <a:pt x="612783" y="434795"/>
                  <a:pt x="612783" y="452208"/>
                </a:cubicBezTo>
                <a:cubicBezTo>
                  <a:pt x="612783" y="469622"/>
                  <a:pt x="599723" y="483226"/>
                  <a:pt x="581221" y="484315"/>
                </a:cubicBezTo>
                <a:cubicBezTo>
                  <a:pt x="561087" y="482138"/>
                  <a:pt x="549659" y="470710"/>
                  <a:pt x="549115" y="452208"/>
                </a:cubicBezTo>
                <a:cubicBezTo>
                  <a:pt x="548571" y="433162"/>
                  <a:pt x="564352" y="420102"/>
                  <a:pt x="580677" y="419558"/>
                </a:cubicBezTo>
                <a:close/>
                <a:moveTo>
                  <a:pt x="743931" y="415748"/>
                </a:moveTo>
                <a:cubicBezTo>
                  <a:pt x="761888" y="414660"/>
                  <a:pt x="779846" y="432618"/>
                  <a:pt x="780390" y="452208"/>
                </a:cubicBezTo>
                <a:cubicBezTo>
                  <a:pt x="780934" y="471254"/>
                  <a:pt x="764065" y="488668"/>
                  <a:pt x="744475" y="489212"/>
                </a:cubicBezTo>
                <a:cubicBezTo>
                  <a:pt x="727061" y="489212"/>
                  <a:pt x="709103" y="472342"/>
                  <a:pt x="708559" y="453840"/>
                </a:cubicBezTo>
                <a:cubicBezTo>
                  <a:pt x="707471" y="435883"/>
                  <a:pt x="725428" y="416836"/>
                  <a:pt x="743931" y="415748"/>
                </a:cubicBezTo>
                <a:close/>
                <a:moveTo>
                  <a:pt x="908271" y="414116"/>
                </a:moveTo>
                <a:cubicBezTo>
                  <a:pt x="927861" y="411395"/>
                  <a:pt x="946907" y="431529"/>
                  <a:pt x="946363" y="453296"/>
                </a:cubicBezTo>
                <a:cubicBezTo>
                  <a:pt x="946363" y="473975"/>
                  <a:pt x="927317" y="491933"/>
                  <a:pt x="906638" y="491933"/>
                </a:cubicBezTo>
                <a:cubicBezTo>
                  <a:pt x="887048" y="491933"/>
                  <a:pt x="866913" y="473431"/>
                  <a:pt x="868546" y="452208"/>
                </a:cubicBezTo>
                <a:cubicBezTo>
                  <a:pt x="870179" y="428808"/>
                  <a:pt x="884871" y="413571"/>
                  <a:pt x="908271" y="414116"/>
                </a:cubicBezTo>
                <a:close/>
                <a:moveTo>
                  <a:pt x="1072068" y="409218"/>
                </a:moveTo>
                <a:cubicBezTo>
                  <a:pt x="1097100" y="410307"/>
                  <a:pt x="1113970" y="427720"/>
                  <a:pt x="1113970" y="452752"/>
                </a:cubicBezTo>
                <a:cubicBezTo>
                  <a:pt x="1113970" y="478329"/>
                  <a:pt x="1092203" y="495198"/>
                  <a:pt x="1070436" y="495198"/>
                </a:cubicBezTo>
                <a:cubicBezTo>
                  <a:pt x="1048124" y="494654"/>
                  <a:pt x="1027446" y="475063"/>
                  <a:pt x="1028534" y="451120"/>
                </a:cubicBezTo>
                <a:cubicBezTo>
                  <a:pt x="1029622" y="427720"/>
                  <a:pt x="1048669" y="408130"/>
                  <a:pt x="1072068" y="409218"/>
                </a:cubicBezTo>
                <a:close/>
                <a:moveTo>
                  <a:pt x="1235865" y="408130"/>
                </a:moveTo>
                <a:cubicBezTo>
                  <a:pt x="1258721" y="405953"/>
                  <a:pt x="1279400" y="427176"/>
                  <a:pt x="1279400" y="453296"/>
                </a:cubicBezTo>
                <a:cubicBezTo>
                  <a:pt x="1278855" y="478328"/>
                  <a:pt x="1258177" y="497374"/>
                  <a:pt x="1233689" y="497374"/>
                </a:cubicBezTo>
                <a:cubicBezTo>
                  <a:pt x="1209745" y="496830"/>
                  <a:pt x="1189066" y="476151"/>
                  <a:pt x="1189611" y="451664"/>
                </a:cubicBezTo>
                <a:cubicBezTo>
                  <a:pt x="1189611" y="429352"/>
                  <a:pt x="1209201" y="404864"/>
                  <a:pt x="1235865" y="408130"/>
                </a:cubicBezTo>
                <a:close/>
                <a:moveTo>
                  <a:pt x="1396941" y="403776"/>
                </a:moveTo>
                <a:cubicBezTo>
                  <a:pt x="1425238" y="403232"/>
                  <a:pt x="1445373" y="423911"/>
                  <a:pt x="1446461" y="450575"/>
                </a:cubicBezTo>
                <a:cubicBezTo>
                  <a:pt x="1447005" y="476696"/>
                  <a:pt x="1426327" y="500096"/>
                  <a:pt x="1399118" y="500640"/>
                </a:cubicBezTo>
                <a:cubicBezTo>
                  <a:pt x="1372453" y="501184"/>
                  <a:pt x="1349598" y="479961"/>
                  <a:pt x="1349598" y="453296"/>
                </a:cubicBezTo>
                <a:cubicBezTo>
                  <a:pt x="1349598" y="424999"/>
                  <a:pt x="1370277" y="404865"/>
                  <a:pt x="1396941" y="403776"/>
                </a:cubicBezTo>
                <a:close/>
                <a:moveTo>
                  <a:pt x="1560738" y="402144"/>
                </a:moveTo>
                <a:cubicBezTo>
                  <a:pt x="1588491" y="402144"/>
                  <a:pt x="1611347" y="427176"/>
                  <a:pt x="1611347" y="453297"/>
                </a:cubicBezTo>
                <a:cubicBezTo>
                  <a:pt x="1610803" y="476152"/>
                  <a:pt x="1590668" y="502817"/>
                  <a:pt x="1560194" y="502272"/>
                </a:cubicBezTo>
                <a:cubicBezTo>
                  <a:pt x="1534074" y="501728"/>
                  <a:pt x="1508498" y="479961"/>
                  <a:pt x="1511218" y="451664"/>
                </a:cubicBezTo>
                <a:cubicBezTo>
                  <a:pt x="1508498" y="425544"/>
                  <a:pt x="1534618" y="402144"/>
                  <a:pt x="1560738" y="402144"/>
                </a:cubicBezTo>
                <a:close/>
                <a:moveTo>
                  <a:pt x="1723991" y="399423"/>
                </a:moveTo>
                <a:cubicBezTo>
                  <a:pt x="1756097" y="402688"/>
                  <a:pt x="1777320" y="422278"/>
                  <a:pt x="1776776" y="452752"/>
                </a:cubicBezTo>
                <a:cubicBezTo>
                  <a:pt x="1776232" y="483226"/>
                  <a:pt x="1757730" y="501728"/>
                  <a:pt x="1725079" y="504993"/>
                </a:cubicBezTo>
                <a:cubicBezTo>
                  <a:pt x="1697870" y="507714"/>
                  <a:pt x="1670117" y="479961"/>
                  <a:pt x="1671750" y="452752"/>
                </a:cubicBezTo>
                <a:cubicBezTo>
                  <a:pt x="1673382" y="420102"/>
                  <a:pt x="1692428" y="403232"/>
                  <a:pt x="1723991" y="399423"/>
                </a:cubicBezTo>
                <a:close/>
                <a:moveTo>
                  <a:pt x="2051040" y="398335"/>
                </a:moveTo>
                <a:lnTo>
                  <a:pt x="2051041" y="398335"/>
                </a:lnTo>
                <a:lnTo>
                  <a:pt x="2051041" y="506936"/>
                </a:lnTo>
                <a:lnTo>
                  <a:pt x="2049952" y="507170"/>
                </a:lnTo>
                <a:cubicBezTo>
                  <a:pt x="2020566" y="506626"/>
                  <a:pt x="1995534" y="481593"/>
                  <a:pt x="1995534" y="452208"/>
                </a:cubicBezTo>
                <a:cubicBezTo>
                  <a:pt x="1996078" y="424455"/>
                  <a:pt x="2021655" y="397246"/>
                  <a:pt x="2051040" y="398335"/>
                </a:cubicBezTo>
                <a:close/>
                <a:moveTo>
                  <a:pt x="1888332" y="398335"/>
                </a:moveTo>
                <a:cubicBezTo>
                  <a:pt x="1915541" y="398879"/>
                  <a:pt x="1941661" y="423911"/>
                  <a:pt x="1941661" y="452208"/>
                </a:cubicBezTo>
                <a:cubicBezTo>
                  <a:pt x="1941661" y="481594"/>
                  <a:pt x="1916085" y="507170"/>
                  <a:pt x="1886699" y="506082"/>
                </a:cubicBezTo>
                <a:cubicBezTo>
                  <a:pt x="1857314" y="505538"/>
                  <a:pt x="1833914" y="481594"/>
                  <a:pt x="1833370" y="452208"/>
                </a:cubicBezTo>
                <a:cubicBezTo>
                  <a:pt x="1833370" y="423911"/>
                  <a:pt x="1860035" y="398335"/>
                  <a:pt x="1888332" y="398335"/>
                </a:cubicBezTo>
                <a:close/>
                <a:moveTo>
                  <a:pt x="12014" y="364052"/>
                </a:moveTo>
                <a:cubicBezTo>
                  <a:pt x="13102" y="365140"/>
                  <a:pt x="15279" y="367317"/>
                  <a:pt x="15823" y="370038"/>
                </a:cubicBezTo>
                <a:cubicBezTo>
                  <a:pt x="16911" y="374391"/>
                  <a:pt x="14191" y="377656"/>
                  <a:pt x="9293" y="377656"/>
                </a:cubicBezTo>
                <a:cubicBezTo>
                  <a:pt x="4940" y="377656"/>
                  <a:pt x="3307" y="374936"/>
                  <a:pt x="3307" y="371126"/>
                </a:cubicBezTo>
                <a:cubicBezTo>
                  <a:pt x="3307" y="367317"/>
                  <a:pt x="4940" y="364052"/>
                  <a:pt x="12014" y="364052"/>
                </a:cubicBezTo>
                <a:close/>
                <a:moveTo>
                  <a:pt x="172545" y="353713"/>
                </a:moveTo>
                <a:cubicBezTo>
                  <a:pt x="184517" y="353713"/>
                  <a:pt x="190503" y="359154"/>
                  <a:pt x="190503" y="370582"/>
                </a:cubicBezTo>
                <a:cubicBezTo>
                  <a:pt x="190503" y="381466"/>
                  <a:pt x="184517" y="387996"/>
                  <a:pt x="173090" y="387996"/>
                </a:cubicBezTo>
                <a:cubicBezTo>
                  <a:pt x="163839" y="388540"/>
                  <a:pt x="155676" y="381466"/>
                  <a:pt x="155676" y="371126"/>
                </a:cubicBezTo>
                <a:cubicBezTo>
                  <a:pt x="155676" y="362419"/>
                  <a:pt x="161662" y="352080"/>
                  <a:pt x="172545" y="353713"/>
                </a:cubicBezTo>
                <a:close/>
                <a:moveTo>
                  <a:pt x="336886" y="345550"/>
                </a:moveTo>
                <a:cubicBezTo>
                  <a:pt x="350490" y="346094"/>
                  <a:pt x="362462" y="358610"/>
                  <a:pt x="361374" y="371670"/>
                </a:cubicBezTo>
                <a:cubicBezTo>
                  <a:pt x="360286" y="385275"/>
                  <a:pt x="348858" y="395614"/>
                  <a:pt x="335798" y="395070"/>
                </a:cubicBezTo>
                <a:cubicBezTo>
                  <a:pt x="319472" y="394526"/>
                  <a:pt x="311854" y="381466"/>
                  <a:pt x="311854" y="370038"/>
                </a:cubicBezTo>
                <a:cubicBezTo>
                  <a:pt x="311854" y="356978"/>
                  <a:pt x="324370" y="345550"/>
                  <a:pt x="336886" y="345550"/>
                </a:cubicBezTo>
                <a:close/>
                <a:moveTo>
                  <a:pt x="499596" y="342284"/>
                </a:moveTo>
                <a:cubicBezTo>
                  <a:pt x="518642" y="341196"/>
                  <a:pt x="528437" y="354256"/>
                  <a:pt x="528437" y="370582"/>
                </a:cubicBezTo>
                <a:cubicBezTo>
                  <a:pt x="528437" y="386363"/>
                  <a:pt x="518642" y="399967"/>
                  <a:pt x="499051" y="399423"/>
                </a:cubicBezTo>
                <a:cubicBezTo>
                  <a:pt x="481094" y="399423"/>
                  <a:pt x="470210" y="387995"/>
                  <a:pt x="470210" y="370037"/>
                </a:cubicBezTo>
                <a:cubicBezTo>
                  <a:pt x="470754" y="352624"/>
                  <a:pt x="481638" y="341740"/>
                  <a:pt x="499596" y="342284"/>
                </a:cubicBezTo>
                <a:close/>
                <a:moveTo>
                  <a:pt x="663392" y="337387"/>
                </a:moveTo>
                <a:cubicBezTo>
                  <a:pt x="680262" y="337387"/>
                  <a:pt x="697675" y="354801"/>
                  <a:pt x="697131" y="371126"/>
                </a:cubicBezTo>
                <a:cubicBezTo>
                  <a:pt x="696043" y="390172"/>
                  <a:pt x="682982" y="404321"/>
                  <a:pt x="662304" y="404321"/>
                </a:cubicBezTo>
                <a:cubicBezTo>
                  <a:pt x="643258" y="405953"/>
                  <a:pt x="629109" y="389084"/>
                  <a:pt x="629109" y="371126"/>
                </a:cubicBezTo>
                <a:cubicBezTo>
                  <a:pt x="629109" y="352624"/>
                  <a:pt x="645434" y="337387"/>
                  <a:pt x="663392" y="337387"/>
                </a:cubicBezTo>
                <a:close/>
                <a:moveTo>
                  <a:pt x="825556" y="332489"/>
                </a:moveTo>
                <a:cubicBezTo>
                  <a:pt x="847323" y="333577"/>
                  <a:pt x="864193" y="349358"/>
                  <a:pt x="864737" y="370037"/>
                </a:cubicBezTo>
                <a:cubicBezTo>
                  <a:pt x="864193" y="391260"/>
                  <a:pt x="847323" y="409218"/>
                  <a:pt x="826645" y="409218"/>
                </a:cubicBezTo>
                <a:cubicBezTo>
                  <a:pt x="808687" y="412483"/>
                  <a:pt x="788008" y="387995"/>
                  <a:pt x="787464" y="371126"/>
                </a:cubicBezTo>
                <a:cubicBezTo>
                  <a:pt x="787464" y="353712"/>
                  <a:pt x="808687" y="331945"/>
                  <a:pt x="825556" y="332489"/>
                </a:cubicBezTo>
                <a:close/>
                <a:moveTo>
                  <a:pt x="989898" y="328680"/>
                </a:moveTo>
                <a:cubicBezTo>
                  <a:pt x="1013297" y="329224"/>
                  <a:pt x="1030167" y="347182"/>
                  <a:pt x="1031255" y="371126"/>
                </a:cubicBezTo>
                <a:cubicBezTo>
                  <a:pt x="1029623" y="396702"/>
                  <a:pt x="1010576" y="413027"/>
                  <a:pt x="989354" y="413027"/>
                </a:cubicBezTo>
                <a:cubicBezTo>
                  <a:pt x="964866" y="412483"/>
                  <a:pt x="946908" y="393981"/>
                  <a:pt x="947452" y="370037"/>
                </a:cubicBezTo>
                <a:cubicBezTo>
                  <a:pt x="947996" y="346094"/>
                  <a:pt x="964866" y="328680"/>
                  <a:pt x="989898" y="328680"/>
                </a:cubicBezTo>
                <a:close/>
                <a:moveTo>
                  <a:pt x="1153150" y="326504"/>
                </a:moveTo>
                <a:cubicBezTo>
                  <a:pt x="1177094" y="326504"/>
                  <a:pt x="1197228" y="347727"/>
                  <a:pt x="1197228" y="370582"/>
                </a:cubicBezTo>
                <a:cubicBezTo>
                  <a:pt x="1197228" y="392894"/>
                  <a:pt x="1176550" y="417925"/>
                  <a:pt x="1152606" y="414661"/>
                </a:cubicBezTo>
                <a:cubicBezTo>
                  <a:pt x="1130295" y="417925"/>
                  <a:pt x="1107984" y="393982"/>
                  <a:pt x="1108528" y="370038"/>
                </a:cubicBezTo>
                <a:cubicBezTo>
                  <a:pt x="1109072" y="347727"/>
                  <a:pt x="1129751" y="326504"/>
                  <a:pt x="1153150" y="326504"/>
                </a:cubicBezTo>
                <a:close/>
                <a:moveTo>
                  <a:pt x="1317492" y="323239"/>
                </a:moveTo>
                <a:cubicBezTo>
                  <a:pt x="1341979" y="322151"/>
                  <a:pt x="1367012" y="348271"/>
                  <a:pt x="1364835" y="372215"/>
                </a:cubicBezTo>
                <a:cubicBezTo>
                  <a:pt x="1361026" y="399968"/>
                  <a:pt x="1344700" y="416837"/>
                  <a:pt x="1314771" y="419014"/>
                </a:cubicBezTo>
                <a:cubicBezTo>
                  <a:pt x="1286474" y="415205"/>
                  <a:pt x="1267972" y="398879"/>
                  <a:pt x="1268516" y="370582"/>
                </a:cubicBezTo>
                <a:cubicBezTo>
                  <a:pt x="1268516" y="341197"/>
                  <a:pt x="1288650" y="324327"/>
                  <a:pt x="1317492" y="323239"/>
                </a:cubicBezTo>
                <a:close/>
                <a:moveTo>
                  <a:pt x="1479112" y="320517"/>
                </a:moveTo>
                <a:cubicBezTo>
                  <a:pt x="1503600" y="319973"/>
                  <a:pt x="1530265" y="343917"/>
                  <a:pt x="1529720" y="371670"/>
                </a:cubicBezTo>
                <a:cubicBezTo>
                  <a:pt x="1528632" y="395069"/>
                  <a:pt x="1506321" y="423366"/>
                  <a:pt x="1478568" y="420101"/>
                </a:cubicBezTo>
                <a:cubicBezTo>
                  <a:pt x="1452447" y="422822"/>
                  <a:pt x="1429592" y="397246"/>
                  <a:pt x="1429592" y="370037"/>
                </a:cubicBezTo>
                <a:cubicBezTo>
                  <a:pt x="1429592" y="342284"/>
                  <a:pt x="1455713" y="320517"/>
                  <a:pt x="1479112" y="320517"/>
                </a:cubicBezTo>
                <a:close/>
                <a:moveTo>
                  <a:pt x="1642364" y="318341"/>
                </a:moveTo>
                <a:cubicBezTo>
                  <a:pt x="1670661" y="318341"/>
                  <a:pt x="1692973" y="339020"/>
                  <a:pt x="1695694" y="370582"/>
                </a:cubicBezTo>
                <a:cubicBezTo>
                  <a:pt x="1696238" y="397791"/>
                  <a:pt x="1671206" y="423367"/>
                  <a:pt x="1643453" y="424455"/>
                </a:cubicBezTo>
                <a:cubicBezTo>
                  <a:pt x="1616788" y="425544"/>
                  <a:pt x="1589035" y="398335"/>
                  <a:pt x="1589035" y="371670"/>
                </a:cubicBezTo>
                <a:cubicBezTo>
                  <a:pt x="1589035" y="345006"/>
                  <a:pt x="1615155" y="317797"/>
                  <a:pt x="1642364" y="318341"/>
                </a:cubicBezTo>
                <a:close/>
                <a:moveTo>
                  <a:pt x="90919" y="273718"/>
                </a:moveTo>
                <a:cubicBezTo>
                  <a:pt x="96361" y="273174"/>
                  <a:pt x="106156" y="282425"/>
                  <a:pt x="106700" y="288411"/>
                </a:cubicBezTo>
                <a:cubicBezTo>
                  <a:pt x="106700" y="294941"/>
                  <a:pt x="97993" y="303648"/>
                  <a:pt x="91463" y="303648"/>
                </a:cubicBezTo>
                <a:cubicBezTo>
                  <a:pt x="84933" y="303648"/>
                  <a:pt x="76226" y="294941"/>
                  <a:pt x="76770" y="288411"/>
                </a:cubicBezTo>
                <a:cubicBezTo>
                  <a:pt x="76770" y="283513"/>
                  <a:pt x="86021" y="274262"/>
                  <a:pt x="90919" y="273718"/>
                </a:cubicBezTo>
                <a:close/>
                <a:moveTo>
                  <a:pt x="254716" y="267733"/>
                </a:moveTo>
                <a:cubicBezTo>
                  <a:pt x="267776" y="267733"/>
                  <a:pt x="276483" y="276440"/>
                  <a:pt x="276483" y="288956"/>
                </a:cubicBezTo>
                <a:cubicBezTo>
                  <a:pt x="276483" y="301472"/>
                  <a:pt x="266688" y="311811"/>
                  <a:pt x="254172" y="311811"/>
                </a:cubicBezTo>
                <a:cubicBezTo>
                  <a:pt x="243289" y="311811"/>
                  <a:pt x="232405" y="300384"/>
                  <a:pt x="232405" y="289500"/>
                </a:cubicBezTo>
                <a:cubicBezTo>
                  <a:pt x="232405" y="276984"/>
                  <a:pt x="242744" y="267733"/>
                  <a:pt x="254716" y="267733"/>
                </a:cubicBezTo>
                <a:close/>
                <a:moveTo>
                  <a:pt x="1941117" y="263202"/>
                </a:moveTo>
                <a:cubicBezTo>
                  <a:pt x="1937852" y="261570"/>
                  <a:pt x="1936219" y="263202"/>
                  <a:pt x="1936219" y="266467"/>
                </a:cubicBezTo>
                <a:cubicBezTo>
                  <a:pt x="1936763" y="268644"/>
                  <a:pt x="1937852" y="270276"/>
                  <a:pt x="1938396" y="272453"/>
                </a:cubicBezTo>
                <a:cubicBezTo>
                  <a:pt x="1944382" y="290955"/>
                  <a:pt x="1943838" y="308913"/>
                  <a:pt x="1932954" y="325782"/>
                </a:cubicBezTo>
                <a:cubicBezTo>
                  <a:pt x="1931866" y="327415"/>
                  <a:pt x="1931866" y="329047"/>
                  <a:pt x="1930777" y="331224"/>
                </a:cubicBezTo>
                <a:cubicBezTo>
                  <a:pt x="1932410" y="331224"/>
                  <a:pt x="1935131" y="331224"/>
                  <a:pt x="1936219" y="330136"/>
                </a:cubicBezTo>
                <a:cubicBezTo>
                  <a:pt x="1945470" y="323061"/>
                  <a:pt x="1955265" y="320885"/>
                  <a:pt x="1966693" y="320340"/>
                </a:cubicBezTo>
                <a:cubicBezTo>
                  <a:pt x="1978121" y="319796"/>
                  <a:pt x="1989004" y="323061"/>
                  <a:pt x="1998799" y="328503"/>
                </a:cubicBezTo>
                <a:cubicBezTo>
                  <a:pt x="2000432" y="329047"/>
                  <a:pt x="2001520" y="329592"/>
                  <a:pt x="2003153" y="330136"/>
                </a:cubicBezTo>
                <a:cubicBezTo>
                  <a:pt x="2002609" y="328503"/>
                  <a:pt x="2002609" y="326326"/>
                  <a:pt x="2001520" y="324694"/>
                </a:cubicBezTo>
                <a:cubicBezTo>
                  <a:pt x="1999344" y="319796"/>
                  <a:pt x="1995534" y="314899"/>
                  <a:pt x="1994446" y="309457"/>
                </a:cubicBezTo>
                <a:cubicBezTo>
                  <a:pt x="1992269" y="295308"/>
                  <a:pt x="1990093" y="281160"/>
                  <a:pt x="1998255" y="267555"/>
                </a:cubicBezTo>
                <a:cubicBezTo>
                  <a:pt x="2000432" y="267555"/>
                  <a:pt x="2000432" y="265923"/>
                  <a:pt x="2000976" y="263746"/>
                </a:cubicBezTo>
                <a:cubicBezTo>
                  <a:pt x="1998799" y="263746"/>
                  <a:pt x="1996623" y="262658"/>
                  <a:pt x="1995534" y="263746"/>
                </a:cubicBezTo>
                <a:cubicBezTo>
                  <a:pt x="1977577" y="272997"/>
                  <a:pt x="1959075" y="272997"/>
                  <a:pt x="1941117" y="263202"/>
                </a:cubicBezTo>
                <a:close/>
                <a:moveTo>
                  <a:pt x="417425" y="262291"/>
                </a:moveTo>
                <a:cubicBezTo>
                  <a:pt x="434839" y="262291"/>
                  <a:pt x="445178" y="272086"/>
                  <a:pt x="445178" y="288956"/>
                </a:cubicBezTo>
                <a:cubicBezTo>
                  <a:pt x="445178" y="305825"/>
                  <a:pt x="434839" y="316164"/>
                  <a:pt x="417969" y="317253"/>
                </a:cubicBezTo>
                <a:cubicBezTo>
                  <a:pt x="404909" y="317797"/>
                  <a:pt x="389672" y="306369"/>
                  <a:pt x="390216" y="290044"/>
                </a:cubicBezTo>
                <a:cubicBezTo>
                  <a:pt x="391305" y="272086"/>
                  <a:pt x="400011" y="262291"/>
                  <a:pt x="417425" y="262291"/>
                </a:cubicBezTo>
                <a:close/>
                <a:moveTo>
                  <a:pt x="580678" y="256304"/>
                </a:moveTo>
                <a:cubicBezTo>
                  <a:pt x="596459" y="255760"/>
                  <a:pt x="616049" y="273174"/>
                  <a:pt x="613872" y="288955"/>
                </a:cubicBezTo>
                <a:cubicBezTo>
                  <a:pt x="615505" y="304736"/>
                  <a:pt x="598635" y="322150"/>
                  <a:pt x="581222" y="322150"/>
                </a:cubicBezTo>
                <a:cubicBezTo>
                  <a:pt x="564352" y="322150"/>
                  <a:pt x="548571" y="308001"/>
                  <a:pt x="548027" y="289499"/>
                </a:cubicBezTo>
                <a:cubicBezTo>
                  <a:pt x="547483" y="272086"/>
                  <a:pt x="565441" y="256849"/>
                  <a:pt x="580678" y="256304"/>
                </a:cubicBezTo>
                <a:close/>
                <a:moveTo>
                  <a:pt x="743930" y="251951"/>
                </a:moveTo>
                <a:cubicBezTo>
                  <a:pt x="764609" y="251951"/>
                  <a:pt x="782566" y="268820"/>
                  <a:pt x="782022" y="289499"/>
                </a:cubicBezTo>
                <a:cubicBezTo>
                  <a:pt x="781478" y="311266"/>
                  <a:pt x="765153" y="326503"/>
                  <a:pt x="744474" y="326503"/>
                </a:cubicBezTo>
                <a:cubicBezTo>
                  <a:pt x="723795" y="326503"/>
                  <a:pt x="708014" y="311266"/>
                  <a:pt x="707470" y="289499"/>
                </a:cubicBezTo>
                <a:cubicBezTo>
                  <a:pt x="706926" y="271541"/>
                  <a:pt x="722163" y="252495"/>
                  <a:pt x="743930" y="251951"/>
                </a:cubicBezTo>
                <a:close/>
                <a:moveTo>
                  <a:pt x="907183" y="249775"/>
                </a:moveTo>
                <a:cubicBezTo>
                  <a:pt x="929494" y="249775"/>
                  <a:pt x="946908" y="263924"/>
                  <a:pt x="947452" y="289500"/>
                </a:cubicBezTo>
                <a:cubicBezTo>
                  <a:pt x="947996" y="311811"/>
                  <a:pt x="931127" y="330313"/>
                  <a:pt x="908271" y="329225"/>
                </a:cubicBezTo>
                <a:cubicBezTo>
                  <a:pt x="885960" y="330857"/>
                  <a:pt x="868002" y="312355"/>
                  <a:pt x="867458" y="290044"/>
                </a:cubicBezTo>
                <a:cubicBezTo>
                  <a:pt x="867458" y="266100"/>
                  <a:pt x="884872" y="249775"/>
                  <a:pt x="907183" y="249775"/>
                </a:cubicBezTo>
                <a:close/>
                <a:moveTo>
                  <a:pt x="1070435" y="245965"/>
                </a:moveTo>
                <a:cubicBezTo>
                  <a:pt x="1093291" y="245421"/>
                  <a:pt x="1116146" y="264467"/>
                  <a:pt x="1114513" y="290043"/>
                </a:cubicBezTo>
                <a:cubicBezTo>
                  <a:pt x="1115602" y="312899"/>
                  <a:pt x="1092202" y="334122"/>
                  <a:pt x="1069347" y="333578"/>
                </a:cubicBezTo>
                <a:cubicBezTo>
                  <a:pt x="1047036" y="333034"/>
                  <a:pt x="1026357" y="311266"/>
                  <a:pt x="1026357" y="288955"/>
                </a:cubicBezTo>
                <a:cubicBezTo>
                  <a:pt x="1026901" y="268276"/>
                  <a:pt x="1045403" y="245965"/>
                  <a:pt x="1070435" y="245965"/>
                </a:cubicBezTo>
                <a:close/>
                <a:moveTo>
                  <a:pt x="1233689" y="241613"/>
                </a:moveTo>
                <a:cubicBezTo>
                  <a:pt x="1257632" y="241068"/>
                  <a:pt x="1281032" y="263924"/>
                  <a:pt x="1282120" y="288412"/>
                </a:cubicBezTo>
                <a:cubicBezTo>
                  <a:pt x="1282665" y="312900"/>
                  <a:pt x="1260898" y="336299"/>
                  <a:pt x="1235321" y="335755"/>
                </a:cubicBezTo>
                <a:cubicBezTo>
                  <a:pt x="1206480" y="335211"/>
                  <a:pt x="1190155" y="318886"/>
                  <a:pt x="1187434" y="289500"/>
                </a:cubicBezTo>
                <a:cubicBezTo>
                  <a:pt x="1184713" y="266100"/>
                  <a:pt x="1208657" y="242701"/>
                  <a:pt x="1233689" y="241613"/>
                </a:cubicBezTo>
                <a:close/>
                <a:moveTo>
                  <a:pt x="1397485" y="238891"/>
                </a:moveTo>
                <a:cubicBezTo>
                  <a:pt x="1421973" y="237259"/>
                  <a:pt x="1448638" y="264467"/>
                  <a:pt x="1448094" y="288955"/>
                </a:cubicBezTo>
                <a:cubicBezTo>
                  <a:pt x="1447005" y="312355"/>
                  <a:pt x="1424150" y="341196"/>
                  <a:pt x="1398029" y="338475"/>
                </a:cubicBezTo>
                <a:cubicBezTo>
                  <a:pt x="1372453" y="340652"/>
                  <a:pt x="1347421" y="315620"/>
                  <a:pt x="1348509" y="289499"/>
                </a:cubicBezTo>
                <a:cubicBezTo>
                  <a:pt x="1349598" y="261202"/>
                  <a:pt x="1369732" y="240524"/>
                  <a:pt x="1397485" y="238891"/>
                </a:cubicBezTo>
                <a:close/>
                <a:moveTo>
                  <a:pt x="1559650" y="237258"/>
                </a:moveTo>
                <a:cubicBezTo>
                  <a:pt x="1590668" y="236170"/>
                  <a:pt x="1611891" y="259570"/>
                  <a:pt x="1613523" y="288955"/>
                </a:cubicBezTo>
                <a:cubicBezTo>
                  <a:pt x="1613523" y="316164"/>
                  <a:pt x="1587403" y="342829"/>
                  <a:pt x="1560738" y="342829"/>
                </a:cubicBezTo>
                <a:cubicBezTo>
                  <a:pt x="1534618" y="342829"/>
                  <a:pt x="1505776" y="315620"/>
                  <a:pt x="1507953" y="289499"/>
                </a:cubicBezTo>
                <a:cubicBezTo>
                  <a:pt x="1510130" y="261202"/>
                  <a:pt x="1526455" y="238347"/>
                  <a:pt x="1559650" y="237258"/>
                </a:cubicBezTo>
                <a:close/>
                <a:moveTo>
                  <a:pt x="9837" y="198078"/>
                </a:moveTo>
                <a:cubicBezTo>
                  <a:pt x="14190" y="198078"/>
                  <a:pt x="19632" y="202976"/>
                  <a:pt x="19632" y="207873"/>
                </a:cubicBezTo>
                <a:cubicBezTo>
                  <a:pt x="19632" y="212227"/>
                  <a:pt x="14190" y="217668"/>
                  <a:pt x="10381" y="218213"/>
                </a:cubicBezTo>
                <a:cubicBezTo>
                  <a:pt x="5483" y="218757"/>
                  <a:pt x="-503" y="212771"/>
                  <a:pt x="42" y="207873"/>
                </a:cubicBezTo>
                <a:cubicBezTo>
                  <a:pt x="42" y="202976"/>
                  <a:pt x="5483" y="198078"/>
                  <a:pt x="9837" y="198078"/>
                </a:cubicBezTo>
                <a:close/>
                <a:moveTo>
                  <a:pt x="173090" y="187739"/>
                </a:moveTo>
                <a:cubicBezTo>
                  <a:pt x="183429" y="188283"/>
                  <a:pt x="192136" y="196990"/>
                  <a:pt x="192136" y="207329"/>
                </a:cubicBezTo>
                <a:cubicBezTo>
                  <a:pt x="192136" y="217669"/>
                  <a:pt x="182341" y="228008"/>
                  <a:pt x="172546" y="227464"/>
                </a:cubicBezTo>
                <a:cubicBezTo>
                  <a:pt x="163839" y="226920"/>
                  <a:pt x="154588" y="217669"/>
                  <a:pt x="154044" y="208418"/>
                </a:cubicBezTo>
                <a:cubicBezTo>
                  <a:pt x="153500" y="198078"/>
                  <a:pt x="162751" y="187739"/>
                  <a:pt x="173090" y="187739"/>
                </a:cubicBezTo>
                <a:close/>
                <a:moveTo>
                  <a:pt x="336887" y="182297"/>
                </a:moveTo>
                <a:cubicBezTo>
                  <a:pt x="350491" y="182841"/>
                  <a:pt x="361919" y="191548"/>
                  <a:pt x="363007" y="207329"/>
                </a:cubicBezTo>
                <a:cubicBezTo>
                  <a:pt x="363551" y="219845"/>
                  <a:pt x="349947" y="233449"/>
                  <a:pt x="336887" y="233994"/>
                </a:cubicBezTo>
                <a:cubicBezTo>
                  <a:pt x="324371" y="233994"/>
                  <a:pt x="311311" y="221478"/>
                  <a:pt x="310766" y="208961"/>
                </a:cubicBezTo>
                <a:cubicBezTo>
                  <a:pt x="310222" y="195357"/>
                  <a:pt x="323282" y="181753"/>
                  <a:pt x="336887" y="182297"/>
                </a:cubicBezTo>
                <a:close/>
                <a:moveTo>
                  <a:pt x="1856225" y="180487"/>
                </a:moveTo>
                <a:cubicBezTo>
                  <a:pt x="1856225" y="182664"/>
                  <a:pt x="1855137" y="184841"/>
                  <a:pt x="1855681" y="185929"/>
                </a:cubicBezTo>
                <a:cubicBezTo>
                  <a:pt x="1863844" y="206064"/>
                  <a:pt x="1863844" y="226198"/>
                  <a:pt x="1851872" y="244700"/>
                </a:cubicBezTo>
                <a:cubicBezTo>
                  <a:pt x="1851328" y="245788"/>
                  <a:pt x="1851328" y="246877"/>
                  <a:pt x="1851328" y="247965"/>
                </a:cubicBezTo>
                <a:cubicBezTo>
                  <a:pt x="1852416" y="247965"/>
                  <a:pt x="1854049" y="247965"/>
                  <a:pt x="1854593" y="247421"/>
                </a:cubicBezTo>
                <a:cubicBezTo>
                  <a:pt x="1868197" y="237082"/>
                  <a:pt x="1883434" y="237082"/>
                  <a:pt x="1899215" y="238714"/>
                </a:cubicBezTo>
                <a:cubicBezTo>
                  <a:pt x="1904113" y="239258"/>
                  <a:pt x="1909010" y="241979"/>
                  <a:pt x="1913908" y="243067"/>
                </a:cubicBezTo>
                <a:cubicBezTo>
                  <a:pt x="1915541" y="243612"/>
                  <a:pt x="1917173" y="242523"/>
                  <a:pt x="1918806" y="242523"/>
                </a:cubicBezTo>
                <a:cubicBezTo>
                  <a:pt x="1918806" y="240891"/>
                  <a:pt x="1918806" y="239258"/>
                  <a:pt x="1918261" y="238170"/>
                </a:cubicBezTo>
                <a:cubicBezTo>
                  <a:pt x="1908466" y="220756"/>
                  <a:pt x="1910099" y="203887"/>
                  <a:pt x="1917173" y="185929"/>
                </a:cubicBezTo>
                <a:cubicBezTo>
                  <a:pt x="1917717" y="184297"/>
                  <a:pt x="1917717" y="183208"/>
                  <a:pt x="1918261" y="181576"/>
                </a:cubicBezTo>
                <a:cubicBezTo>
                  <a:pt x="1916629" y="182120"/>
                  <a:pt x="1914996" y="182120"/>
                  <a:pt x="1913908" y="182664"/>
                </a:cubicBezTo>
                <a:cubicBezTo>
                  <a:pt x="1895950" y="189738"/>
                  <a:pt x="1877992" y="190827"/>
                  <a:pt x="1860579" y="180487"/>
                </a:cubicBezTo>
                <a:cubicBezTo>
                  <a:pt x="1858946" y="181031"/>
                  <a:pt x="1857858" y="181031"/>
                  <a:pt x="1856225" y="180487"/>
                </a:cubicBezTo>
                <a:close/>
                <a:moveTo>
                  <a:pt x="499595" y="175767"/>
                </a:moveTo>
                <a:cubicBezTo>
                  <a:pt x="514832" y="175767"/>
                  <a:pt x="531702" y="193181"/>
                  <a:pt x="531158" y="207874"/>
                </a:cubicBezTo>
                <a:cubicBezTo>
                  <a:pt x="530613" y="223110"/>
                  <a:pt x="513744" y="239980"/>
                  <a:pt x="498507" y="238347"/>
                </a:cubicBezTo>
                <a:cubicBezTo>
                  <a:pt x="479461" y="236715"/>
                  <a:pt x="469666" y="224743"/>
                  <a:pt x="468033" y="207329"/>
                </a:cubicBezTo>
                <a:cubicBezTo>
                  <a:pt x="466945" y="192636"/>
                  <a:pt x="484903" y="175767"/>
                  <a:pt x="499595" y="175767"/>
                </a:cubicBezTo>
                <a:close/>
                <a:moveTo>
                  <a:pt x="662304" y="173046"/>
                </a:moveTo>
                <a:cubicBezTo>
                  <a:pt x="683527" y="171958"/>
                  <a:pt x="698220" y="189916"/>
                  <a:pt x="697676" y="207873"/>
                </a:cubicBezTo>
                <a:cubicBezTo>
                  <a:pt x="697131" y="227464"/>
                  <a:pt x="684615" y="243245"/>
                  <a:pt x="662304" y="242156"/>
                </a:cubicBezTo>
                <a:cubicBezTo>
                  <a:pt x="639993" y="241612"/>
                  <a:pt x="628565" y="229096"/>
                  <a:pt x="628021" y="207873"/>
                </a:cubicBezTo>
                <a:cubicBezTo>
                  <a:pt x="628021" y="187739"/>
                  <a:pt x="642714" y="172502"/>
                  <a:pt x="662304" y="173046"/>
                </a:cubicBezTo>
                <a:close/>
                <a:moveTo>
                  <a:pt x="826645" y="168148"/>
                </a:moveTo>
                <a:cubicBezTo>
                  <a:pt x="844602" y="168148"/>
                  <a:pt x="867458" y="187194"/>
                  <a:pt x="864737" y="207329"/>
                </a:cubicBezTo>
                <a:cubicBezTo>
                  <a:pt x="867458" y="229096"/>
                  <a:pt x="844058" y="247054"/>
                  <a:pt x="826100" y="247054"/>
                </a:cubicBezTo>
                <a:cubicBezTo>
                  <a:pt x="808687" y="247054"/>
                  <a:pt x="787464" y="228552"/>
                  <a:pt x="787464" y="207873"/>
                </a:cubicBezTo>
                <a:cubicBezTo>
                  <a:pt x="787464" y="187194"/>
                  <a:pt x="807054" y="168148"/>
                  <a:pt x="826645" y="168148"/>
                </a:cubicBezTo>
                <a:close/>
                <a:moveTo>
                  <a:pt x="987721" y="164883"/>
                </a:moveTo>
                <a:cubicBezTo>
                  <a:pt x="1012209" y="164339"/>
                  <a:pt x="1030711" y="181753"/>
                  <a:pt x="1031799" y="207329"/>
                </a:cubicBezTo>
                <a:cubicBezTo>
                  <a:pt x="1031255" y="232361"/>
                  <a:pt x="1011665" y="250319"/>
                  <a:pt x="988809" y="250319"/>
                </a:cubicBezTo>
                <a:cubicBezTo>
                  <a:pt x="965954" y="250319"/>
                  <a:pt x="946364" y="231273"/>
                  <a:pt x="945819" y="208417"/>
                </a:cubicBezTo>
                <a:cubicBezTo>
                  <a:pt x="945275" y="185018"/>
                  <a:pt x="962689" y="165428"/>
                  <a:pt x="987721" y="164883"/>
                </a:cubicBezTo>
                <a:close/>
                <a:moveTo>
                  <a:pt x="1153150" y="162707"/>
                </a:moveTo>
                <a:cubicBezTo>
                  <a:pt x="1177638" y="161619"/>
                  <a:pt x="1197772" y="180665"/>
                  <a:pt x="1197772" y="207874"/>
                </a:cubicBezTo>
                <a:cubicBezTo>
                  <a:pt x="1197772" y="235083"/>
                  <a:pt x="1176005" y="253584"/>
                  <a:pt x="1151517" y="253584"/>
                </a:cubicBezTo>
                <a:cubicBezTo>
                  <a:pt x="1128118" y="253040"/>
                  <a:pt x="1106895" y="234538"/>
                  <a:pt x="1107439" y="207329"/>
                </a:cubicBezTo>
                <a:cubicBezTo>
                  <a:pt x="1107983" y="179576"/>
                  <a:pt x="1129206" y="161075"/>
                  <a:pt x="1153150" y="162707"/>
                </a:cubicBezTo>
                <a:close/>
                <a:moveTo>
                  <a:pt x="1315315" y="158353"/>
                </a:moveTo>
                <a:cubicBezTo>
                  <a:pt x="1341435" y="156177"/>
                  <a:pt x="1365923" y="184474"/>
                  <a:pt x="1365379" y="206785"/>
                </a:cubicBezTo>
                <a:cubicBezTo>
                  <a:pt x="1365379" y="229640"/>
                  <a:pt x="1344156" y="256849"/>
                  <a:pt x="1315859" y="256305"/>
                </a:cubicBezTo>
                <a:cubicBezTo>
                  <a:pt x="1290283" y="256305"/>
                  <a:pt x="1267427" y="233994"/>
                  <a:pt x="1266883" y="207873"/>
                </a:cubicBezTo>
                <a:cubicBezTo>
                  <a:pt x="1265795" y="181209"/>
                  <a:pt x="1292460" y="157265"/>
                  <a:pt x="1315315" y="158353"/>
                </a:cubicBezTo>
                <a:close/>
                <a:moveTo>
                  <a:pt x="1478567" y="156721"/>
                </a:moveTo>
                <a:cubicBezTo>
                  <a:pt x="1510129" y="156721"/>
                  <a:pt x="1530264" y="180665"/>
                  <a:pt x="1529720" y="207329"/>
                </a:cubicBezTo>
                <a:cubicBezTo>
                  <a:pt x="1530264" y="236715"/>
                  <a:pt x="1510129" y="258482"/>
                  <a:pt x="1478567" y="258482"/>
                </a:cubicBezTo>
                <a:cubicBezTo>
                  <a:pt x="1449182" y="257938"/>
                  <a:pt x="1428503" y="238892"/>
                  <a:pt x="1427959" y="207874"/>
                </a:cubicBezTo>
                <a:cubicBezTo>
                  <a:pt x="1427415" y="179576"/>
                  <a:pt x="1447549" y="156721"/>
                  <a:pt x="1478567" y="156721"/>
                </a:cubicBezTo>
                <a:close/>
                <a:moveTo>
                  <a:pt x="1644541" y="153456"/>
                </a:moveTo>
                <a:cubicBezTo>
                  <a:pt x="1672294" y="154544"/>
                  <a:pt x="1697870" y="180665"/>
                  <a:pt x="1697326" y="209506"/>
                </a:cubicBezTo>
                <a:cubicBezTo>
                  <a:pt x="1696782" y="238347"/>
                  <a:pt x="1669573" y="263924"/>
                  <a:pt x="1641276" y="262835"/>
                </a:cubicBezTo>
                <a:cubicBezTo>
                  <a:pt x="1612979" y="261203"/>
                  <a:pt x="1587402" y="236715"/>
                  <a:pt x="1587947" y="206785"/>
                </a:cubicBezTo>
                <a:cubicBezTo>
                  <a:pt x="1587947" y="180121"/>
                  <a:pt x="1613523" y="152368"/>
                  <a:pt x="1644541" y="153456"/>
                </a:cubicBezTo>
                <a:close/>
                <a:moveTo>
                  <a:pt x="91463" y="109922"/>
                </a:moveTo>
                <a:cubicBezTo>
                  <a:pt x="97993" y="109922"/>
                  <a:pt x="107244" y="119173"/>
                  <a:pt x="107244" y="126247"/>
                </a:cubicBezTo>
                <a:cubicBezTo>
                  <a:pt x="107788" y="132777"/>
                  <a:pt x="98537" y="142028"/>
                  <a:pt x="91463" y="142028"/>
                </a:cubicBezTo>
                <a:cubicBezTo>
                  <a:pt x="83845" y="142028"/>
                  <a:pt x="75682" y="133866"/>
                  <a:pt x="75682" y="126247"/>
                </a:cubicBezTo>
                <a:cubicBezTo>
                  <a:pt x="75682" y="118629"/>
                  <a:pt x="84389" y="109922"/>
                  <a:pt x="91463" y="109922"/>
                </a:cubicBezTo>
                <a:close/>
                <a:moveTo>
                  <a:pt x="1942341" y="104915"/>
                </a:moveTo>
                <a:cubicBezTo>
                  <a:pt x="1941389" y="105799"/>
                  <a:pt x="1941389" y="107840"/>
                  <a:pt x="1942205" y="111377"/>
                </a:cubicBezTo>
                <a:cubicBezTo>
                  <a:pt x="1943294" y="118451"/>
                  <a:pt x="1944926" y="124437"/>
                  <a:pt x="1946559" y="131511"/>
                </a:cubicBezTo>
                <a:cubicBezTo>
                  <a:pt x="1944382" y="139674"/>
                  <a:pt x="1941661" y="148381"/>
                  <a:pt x="1939484" y="157088"/>
                </a:cubicBezTo>
                <a:cubicBezTo>
                  <a:pt x="1939484" y="158176"/>
                  <a:pt x="1941117" y="160353"/>
                  <a:pt x="1941117" y="160353"/>
                </a:cubicBezTo>
                <a:cubicBezTo>
                  <a:pt x="1955810" y="154367"/>
                  <a:pt x="1971046" y="150558"/>
                  <a:pt x="1986828" y="157088"/>
                </a:cubicBezTo>
                <a:cubicBezTo>
                  <a:pt x="1987372" y="157088"/>
                  <a:pt x="1987916" y="157088"/>
                  <a:pt x="1987916" y="157088"/>
                </a:cubicBezTo>
                <a:cubicBezTo>
                  <a:pt x="1994990" y="157632"/>
                  <a:pt x="1996623" y="155999"/>
                  <a:pt x="1993902" y="150013"/>
                </a:cubicBezTo>
                <a:cubicBezTo>
                  <a:pt x="1988460" y="136409"/>
                  <a:pt x="1988460" y="123349"/>
                  <a:pt x="1993902" y="109744"/>
                </a:cubicBezTo>
                <a:cubicBezTo>
                  <a:pt x="1995534" y="105935"/>
                  <a:pt x="1994446" y="103214"/>
                  <a:pt x="1989004" y="105391"/>
                </a:cubicBezTo>
                <a:cubicBezTo>
                  <a:pt x="1975400" y="109744"/>
                  <a:pt x="1961796" y="109744"/>
                  <a:pt x="1948191" y="105391"/>
                </a:cubicBezTo>
                <a:cubicBezTo>
                  <a:pt x="1945198" y="104303"/>
                  <a:pt x="1943294" y="104031"/>
                  <a:pt x="1942341" y="104915"/>
                </a:cubicBezTo>
                <a:close/>
                <a:moveTo>
                  <a:pt x="255804" y="103392"/>
                </a:moveTo>
                <a:cubicBezTo>
                  <a:pt x="269409" y="103392"/>
                  <a:pt x="277571" y="112643"/>
                  <a:pt x="277571" y="126791"/>
                </a:cubicBezTo>
                <a:cubicBezTo>
                  <a:pt x="277027" y="139852"/>
                  <a:pt x="267776" y="148558"/>
                  <a:pt x="254172" y="148014"/>
                </a:cubicBezTo>
                <a:cubicBezTo>
                  <a:pt x="241112" y="148014"/>
                  <a:pt x="231861" y="138763"/>
                  <a:pt x="232405" y="125159"/>
                </a:cubicBezTo>
                <a:cubicBezTo>
                  <a:pt x="232405" y="112099"/>
                  <a:pt x="242200" y="102848"/>
                  <a:pt x="255804" y="103392"/>
                </a:cubicBezTo>
                <a:close/>
                <a:moveTo>
                  <a:pt x="1773511" y="99405"/>
                </a:moveTo>
                <a:cubicBezTo>
                  <a:pt x="1773511" y="102126"/>
                  <a:pt x="1772966" y="104303"/>
                  <a:pt x="1773511" y="107023"/>
                </a:cubicBezTo>
                <a:cubicBezTo>
                  <a:pt x="1776232" y="114098"/>
                  <a:pt x="1778408" y="121716"/>
                  <a:pt x="1780585" y="130423"/>
                </a:cubicBezTo>
                <a:cubicBezTo>
                  <a:pt x="1778408" y="139130"/>
                  <a:pt x="1775687" y="147293"/>
                  <a:pt x="1773511" y="155999"/>
                </a:cubicBezTo>
                <a:cubicBezTo>
                  <a:pt x="1772966" y="157632"/>
                  <a:pt x="1772966" y="160897"/>
                  <a:pt x="1774055" y="161985"/>
                </a:cubicBezTo>
                <a:cubicBezTo>
                  <a:pt x="1775143" y="163074"/>
                  <a:pt x="1778408" y="163074"/>
                  <a:pt x="1780041" y="162529"/>
                </a:cubicBezTo>
                <a:cubicBezTo>
                  <a:pt x="1789836" y="155455"/>
                  <a:pt x="1800719" y="157632"/>
                  <a:pt x="1811059" y="157632"/>
                </a:cubicBezTo>
                <a:cubicBezTo>
                  <a:pt x="1817589" y="157632"/>
                  <a:pt x="1824119" y="156543"/>
                  <a:pt x="1829561" y="161985"/>
                </a:cubicBezTo>
                <a:cubicBezTo>
                  <a:pt x="1830649" y="163074"/>
                  <a:pt x="1834458" y="161985"/>
                  <a:pt x="1836635" y="161985"/>
                </a:cubicBezTo>
                <a:cubicBezTo>
                  <a:pt x="1835547" y="160353"/>
                  <a:pt x="1835002" y="158720"/>
                  <a:pt x="1833914" y="157088"/>
                </a:cubicBezTo>
                <a:cubicBezTo>
                  <a:pt x="1826840" y="139674"/>
                  <a:pt x="1826296" y="121716"/>
                  <a:pt x="1834458" y="104303"/>
                </a:cubicBezTo>
                <a:cubicBezTo>
                  <a:pt x="1835002" y="102670"/>
                  <a:pt x="1835547" y="101038"/>
                  <a:pt x="1835547" y="99405"/>
                </a:cubicBezTo>
                <a:cubicBezTo>
                  <a:pt x="1833914" y="99949"/>
                  <a:pt x="1832282" y="99949"/>
                  <a:pt x="1831193" y="101038"/>
                </a:cubicBezTo>
                <a:cubicBezTo>
                  <a:pt x="1814324" y="109200"/>
                  <a:pt x="1797454" y="109200"/>
                  <a:pt x="1780041" y="101582"/>
                </a:cubicBezTo>
                <a:cubicBezTo>
                  <a:pt x="1777864" y="100493"/>
                  <a:pt x="1775687" y="100493"/>
                  <a:pt x="1773511" y="99405"/>
                </a:cubicBezTo>
                <a:close/>
                <a:moveTo>
                  <a:pt x="417424" y="97950"/>
                </a:moveTo>
                <a:cubicBezTo>
                  <a:pt x="435382" y="97950"/>
                  <a:pt x="445721" y="108289"/>
                  <a:pt x="445721" y="126247"/>
                </a:cubicBezTo>
                <a:cubicBezTo>
                  <a:pt x="445721" y="143661"/>
                  <a:pt x="435382" y="153456"/>
                  <a:pt x="417424" y="153456"/>
                </a:cubicBezTo>
                <a:cubicBezTo>
                  <a:pt x="402187" y="155088"/>
                  <a:pt x="389127" y="141484"/>
                  <a:pt x="390215" y="125159"/>
                </a:cubicBezTo>
                <a:cubicBezTo>
                  <a:pt x="391304" y="107745"/>
                  <a:pt x="400555" y="97950"/>
                  <a:pt x="417424" y="97950"/>
                </a:cubicBezTo>
                <a:close/>
                <a:moveTo>
                  <a:pt x="580677" y="92508"/>
                </a:moveTo>
                <a:cubicBezTo>
                  <a:pt x="599724" y="92508"/>
                  <a:pt x="613328" y="106112"/>
                  <a:pt x="614960" y="125159"/>
                </a:cubicBezTo>
                <a:cubicBezTo>
                  <a:pt x="616049" y="141484"/>
                  <a:pt x="598091" y="161618"/>
                  <a:pt x="581766" y="158353"/>
                </a:cubicBezTo>
                <a:cubicBezTo>
                  <a:pt x="561631" y="158353"/>
                  <a:pt x="548571" y="145293"/>
                  <a:pt x="548571" y="125703"/>
                </a:cubicBezTo>
                <a:cubicBezTo>
                  <a:pt x="548571" y="106657"/>
                  <a:pt x="562175" y="92508"/>
                  <a:pt x="580677" y="92508"/>
                </a:cubicBezTo>
                <a:close/>
                <a:moveTo>
                  <a:pt x="745019" y="88154"/>
                </a:moveTo>
                <a:cubicBezTo>
                  <a:pt x="763521" y="87610"/>
                  <a:pt x="783111" y="107745"/>
                  <a:pt x="782567" y="126791"/>
                </a:cubicBezTo>
                <a:cubicBezTo>
                  <a:pt x="782023" y="147469"/>
                  <a:pt x="761344" y="164339"/>
                  <a:pt x="743930" y="164339"/>
                </a:cubicBezTo>
                <a:cubicBezTo>
                  <a:pt x="723796" y="163795"/>
                  <a:pt x="705838" y="144204"/>
                  <a:pt x="706382" y="125702"/>
                </a:cubicBezTo>
                <a:cubicBezTo>
                  <a:pt x="706926" y="109377"/>
                  <a:pt x="723252" y="87066"/>
                  <a:pt x="745019" y="88154"/>
                </a:cubicBezTo>
                <a:close/>
                <a:moveTo>
                  <a:pt x="1685898" y="84712"/>
                </a:moveTo>
                <a:lnTo>
                  <a:pt x="1685681" y="85147"/>
                </a:lnTo>
                <a:lnTo>
                  <a:pt x="1685354" y="85256"/>
                </a:lnTo>
                <a:cubicBezTo>
                  <a:pt x="1685354" y="85256"/>
                  <a:pt x="1685898" y="84712"/>
                  <a:pt x="1685898" y="84712"/>
                </a:cubicBezTo>
                <a:close/>
                <a:moveTo>
                  <a:pt x="907183" y="84345"/>
                </a:moveTo>
                <a:cubicBezTo>
                  <a:pt x="916978" y="84345"/>
                  <a:pt x="926773" y="87610"/>
                  <a:pt x="934935" y="95228"/>
                </a:cubicBezTo>
                <a:cubicBezTo>
                  <a:pt x="944187" y="103935"/>
                  <a:pt x="946907" y="114819"/>
                  <a:pt x="949628" y="125158"/>
                </a:cubicBezTo>
                <a:cubicBezTo>
                  <a:pt x="946907" y="150190"/>
                  <a:pt x="932759" y="166515"/>
                  <a:pt x="908271" y="167060"/>
                </a:cubicBezTo>
                <a:cubicBezTo>
                  <a:pt x="884871" y="167604"/>
                  <a:pt x="867458" y="150734"/>
                  <a:pt x="866369" y="125702"/>
                </a:cubicBezTo>
                <a:cubicBezTo>
                  <a:pt x="865825" y="103935"/>
                  <a:pt x="884871" y="83801"/>
                  <a:pt x="907183" y="84345"/>
                </a:cubicBezTo>
                <a:close/>
                <a:moveTo>
                  <a:pt x="1070979" y="82169"/>
                </a:moveTo>
                <a:cubicBezTo>
                  <a:pt x="1095467" y="79448"/>
                  <a:pt x="1115602" y="103936"/>
                  <a:pt x="1115602" y="126247"/>
                </a:cubicBezTo>
                <a:cubicBezTo>
                  <a:pt x="1115602" y="148014"/>
                  <a:pt x="1094923" y="170325"/>
                  <a:pt x="1071524" y="170325"/>
                </a:cubicBezTo>
                <a:cubicBezTo>
                  <a:pt x="1047580" y="170325"/>
                  <a:pt x="1026357" y="148558"/>
                  <a:pt x="1026357" y="125703"/>
                </a:cubicBezTo>
                <a:cubicBezTo>
                  <a:pt x="1026357" y="103936"/>
                  <a:pt x="1047036" y="79448"/>
                  <a:pt x="1070979" y="82169"/>
                </a:cubicBezTo>
                <a:close/>
                <a:moveTo>
                  <a:pt x="1684811" y="82168"/>
                </a:moveTo>
                <a:cubicBezTo>
                  <a:pt x="1684811" y="82168"/>
                  <a:pt x="1684266" y="82713"/>
                  <a:pt x="1684266" y="82713"/>
                </a:cubicBezTo>
                <a:lnTo>
                  <a:pt x="1684469" y="82365"/>
                </a:lnTo>
                <a:close/>
                <a:moveTo>
                  <a:pt x="1234777" y="78360"/>
                </a:moveTo>
                <a:cubicBezTo>
                  <a:pt x="1259809" y="76727"/>
                  <a:pt x="1284297" y="101759"/>
                  <a:pt x="1282664" y="126791"/>
                </a:cubicBezTo>
                <a:cubicBezTo>
                  <a:pt x="1280487" y="152912"/>
                  <a:pt x="1264162" y="171958"/>
                  <a:pt x="1234232" y="174135"/>
                </a:cubicBezTo>
                <a:cubicBezTo>
                  <a:pt x="1205935" y="172502"/>
                  <a:pt x="1186345" y="153456"/>
                  <a:pt x="1186889" y="126791"/>
                </a:cubicBezTo>
                <a:cubicBezTo>
                  <a:pt x="1187433" y="96318"/>
                  <a:pt x="1207024" y="79992"/>
                  <a:pt x="1234777" y="78360"/>
                </a:cubicBezTo>
                <a:close/>
                <a:moveTo>
                  <a:pt x="1398574" y="76182"/>
                </a:moveTo>
                <a:cubicBezTo>
                  <a:pt x="1424150" y="74006"/>
                  <a:pt x="1448638" y="99582"/>
                  <a:pt x="1448094" y="127335"/>
                </a:cubicBezTo>
                <a:cubicBezTo>
                  <a:pt x="1447549" y="151823"/>
                  <a:pt x="1426327" y="176311"/>
                  <a:pt x="1396941" y="175766"/>
                </a:cubicBezTo>
                <a:cubicBezTo>
                  <a:pt x="1367011" y="175222"/>
                  <a:pt x="1347421" y="151278"/>
                  <a:pt x="1347421" y="125702"/>
                </a:cubicBezTo>
                <a:cubicBezTo>
                  <a:pt x="1347421" y="99038"/>
                  <a:pt x="1369732" y="74006"/>
                  <a:pt x="1398574" y="76182"/>
                </a:cubicBezTo>
                <a:close/>
                <a:moveTo>
                  <a:pt x="1561282" y="72373"/>
                </a:moveTo>
                <a:cubicBezTo>
                  <a:pt x="1588491" y="72373"/>
                  <a:pt x="1614611" y="96861"/>
                  <a:pt x="1614611" y="126247"/>
                </a:cubicBezTo>
                <a:cubicBezTo>
                  <a:pt x="1614067" y="155632"/>
                  <a:pt x="1590667" y="180120"/>
                  <a:pt x="1560738" y="179576"/>
                </a:cubicBezTo>
                <a:cubicBezTo>
                  <a:pt x="1530808" y="179576"/>
                  <a:pt x="1507953" y="156176"/>
                  <a:pt x="1507409" y="126247"/>
                </a:cubicBezTo>
                <a:cubicBezTo>
                  <a:pt x="1506864" y="96861"/>
                  <a:pt x="1532441" y="72373"/>
                  <a:pt x="1561282" y="72373"/>
                </a:cubicBezTo>
                <a:close/>
                <a:moveTo>
                  <a:pt x="10381" y="33737"/>
                </a:moveTo>
                <a:cubicBezTo>
                  <a:pt x="15822" y="33737"/>
                  <a:pt x="20720" y="39179"/>
                  <a:pt x="20720" y="45165"/>
                </a:cubicBezTo>
                <a:cubicBezTo>
                  <a:pt x="20176" y="50606"/>
                  <a:pt x="14734" y="55504"/>
                  <a:pt x="9292" y="54960"/>
                </a:cubicBezTo>
                <a:cubicBezTo>
                  <a:pt x="4395" y="54416"/>
                  <a:pt x="41" y="49518"/>
                  <a:pt x="41" y="44621"/>
                </a:cubicBezTo>
                <a:cubicBezTo>
                  <a:pt x="-503" y="38635"/>
                  <a:pt x="4395" y="33737"/>
                  <a:pt x="10381" y="33737"/>
                </a:cubicBezTo>
                <a:close/>
                <a:moveTo>
                  <a:pt x="172546" y="23942"/>
                </a:moveTo>
                <a:cubicBezTo>
                  <a:pt x="181796" y="22854"/>
                  <a:pt x="193224" y="34826"/>
                  <a:pt x="193224" y="44621"/>
                </a:cubicBezTo>
                <a:cubicBezTo>
                  <a:pt x="193224" y="53872"/>
                  <a:pt x="182341" y="64755"/>
                  <a:pt x="173090" y="64755"/>
                </a:cubicBezTo>
                <a:cubicBezTo>
                  <a:pt x="164383" y="64755"/>
                  <a:pt x="152411" y="52784"/>
                  <a:pt x="152411" y="44621"/>
                </a:cubicBezTo>
                <a:cubicBezTo>
                  <a:pt x="152411" y="36458"/>
                  <a:pt x="164927" y="24486"/>
                  <a:pt x="172546" y="23942"/>
                </a:cubicBezTo>
                <a:close/>
                <a:moveTo>
                  <a:pt x="1861123" y="22132"/>
                </a:moveTo>
                <a:cubicBezTo>
                  <a:pt x="1861123" y="26485"/>
                  <a:pt x="1860035" y="31383"/>
                  <a:pt x="1861123" y="35737"/>
                </a:cubicBezTo>
                <a:cubicBezTo>
                  <a:pt x="1863844" y="44443"/>
                  <a:pt x="1864932" y="52606"/>
                  <a:pt x="1861123" y="61313"/>
                </a:cubicBezTo>
                <a:cubicBezTo>
                  <a:pt x="1860035" y="64034"/>
                  <a:pt x="1860035" y="67299"/>
                  <a:pt x="1858946" y="72740"/>
                </a:cubicBezTo>
                <a:cubicBezTo>
                  <a:pt x="1858402" y="76550"/>
                  <a:pt x="1861123" y="77638"/>
                  <a:pt x="1866021" y="76550"/>
                </a:cubicBezTo>
                <a:cubicBezTo>
                  <a:pt x="1868741" y="76006"/>
                  <a:pt x="1871462" y="76006"/>
                  <a:pt x="1873639" y="74917"/>
                </a:cubicBezTo>
                <a:cubicBezTo>
                  <a:pt x="1882346" y="71108"/>
                  <a:pt x="1891053" y="71108"/>
                  <a:pt x="1900304" y="74373"/>
                </a:cubicBezTo>
                <a:cubicBezTo>
                  <a:pt x="1902480" y="75461"/>
                  <a:pt x="1905201" y="76006"/>
                  <a:pt x="1907922" y="76006"/>
                </a:cubicBezTo>
                <a:cubicBezTo>
                  <a:pt x="1912276" y="76550"/>
                  <a:pt x="1914996" y="75461"/>
                  <a:pt x="1912820" y="70020"/>
                </a:cubicBezTo>
                <a:cubicBezTo>
                  <a:pt x="1907378" y="55871"/>
                  <a:pt x="1906834" y="41178"/>
                  <a:pt x="1912820" y="27030"/>
                </a:cubicBezTo>
                <a:cubicBezTo>
                  <a:pt x="1914996" y="22132"/>
                  <a:pt x="1911731" y="21588"/>
                  <a:pt x="1908466" y="22132"/>
                </a:cubicBezTo>
                <a:cubicBezTo>
                  <a:pt x="1906290" y="22676"/>
                  <a:pt x="1904657" y="24309"/>
                  <a:pt x="1902480" y="24309"/>
                </a:cubicBezTo>
                <a:cubicBezTo>
                  <a:pt x="1892685" y="24309"/>
                  <a:pt x="1882890" y="24853"/>
                  <a:pt x="1873095" y="24309"/>
                </a:cubicBezTo>
                <a:cubicBezTo>
                  <a:pt x="1868741" y="24309"/>
                  <a:pt x="1864932" y="22676"/>
                  <a:pt x="1861123" y="22132"/>
                </a:cubicBezTo>
                <a:close/>
                <a:moveTo>
                  <a:pt x="336886" y="17412"/>
                </a:moveTo>
                <a:cubicBezTo>
                  <a:pt x="347770" y="17412"/>
                  <a:pt x="363551" y="31016"/>
                  <a:pt x="363007" y="44077"/>
                </a:cubicBezTo>
                <a:cubicBezTo>
                  <a:pt x="363007" y="57681"/>
                  <a:pt x="350491" y="70741"/>
                  <a:pt x="337431" y="71285"/>
                </a:cubicBezTo>
                <a:cubicBezTo>
                  <a:pt x="324370" y="71830"/>
                  <a:pt x="310766" y="58769"/>
                  <a:pt x="310222" y="45165"/>
                </a:cubicBezTo>
                <a:cubicBezTo>
                  <a:pt x="309678" y="31016"/>
                  <a:pt x="323282" y="17956"/>
                  <a:pt x="336886" y="17412"/>
                </a:cubicBezTo>
                <a:close/>
                <a:moveTo>
                  <a:pt x="498507" y="13059"/>
                </a:moveTo>
                <a:cubicBezTo>
                  <a:pt x="514832" y="11970"/>
                  <a:pt x="531702" y="28296"/>
                  <a:pt x="531702" y="44621"/>
                </a:cubicBezTo>
                <a:cubicBezTo>
                  <a:pt x="531702" y="60402"/>
                  <a:pt x="515376" y="76183"/>
                  <a:pt x="499595" y="76727"/>
                </a:cubicBezTo>
                <a:cubicBezTo>
                  <a:pt x="483270" y="76727"/>
                  <a:pt x="467489" y="61490"/>
                  <a:pt x="467489" y="45165"/>
                </a:cubicBezTo>
                <a:cubicBezTo>
                  <a:pt x="467489" y="28840"/>
                  <a:pt x="482182" y="13059"/>
                  <a:pt x="498507" y="13059"/>
                </a:cubicBezTo>
                <a:close/>
                <a:moveTo>
                  <a:pt x="662303" y="7616"/>
                </a:moveTo>
                <a:cubicBezTo>
                  <a:pt x="680805" y="7072"/>
                  <a:pt x="698763" y="25030"/>
                  <a:pt x="698763" y="44076"/>
                </a:cubicBezTo>
                <a:cubicBezTo>
                  <a:pt x="698763" y="62578"/>
                  <a:pt x="680261" y="81624"/>
                  <a:pt x="662303" y="81080"/>
                </a:cubicBezTo>
                <a:cubicBezTo>
                  <a:pt x="644346" y="80536"/>
                  <a:pt x="626932" y="62578"/>
                  <a:pt x="626932" y="44076"/>
                </a:cubicBezTo>
                <a:cubicBezTo>
                  <a:pt x="626932" y="25574"/>
                  <a:pt x="643257" y="8160"/>
                  <a:pt x="662303" y="7616"/>
                </a:cubicBezTo>
                <a:close/>
                <a:moveTo>
                  <a:pt x="825557" y="5440"/>
                </a:moveTo>
                <a:cubicBezTo>
                  <a:pt x="847868" y="5440"/>
                  <a:pt x="865281" y="23942"/>
                  <a:pt x="865281" y="44621"/>
                </a:cubicBezTo>
                <a:cubicBezTo>
                  <a:pt x="865281" y="63667"/>
                  <a:pt x="847324" y="85978"/>
                  <a:pt x="826101" y="83257"/>
                </a:cubicBezTo>
                <a:cubicBezTo>
                  <a:pt x="805422" y="85978"/>
                  <a:pt x="786920" y="64211"/>
                  <a:pt x="786920" y="44621"/>
                </a:cubicBezTo>
                <a:cubicBezTo>
                  <a:pt x="786920" y="22854"/>
                  <a:pt x="805422" y="5440"/>
                  <a:pt x="825557" y="5440"/>
                </a:cubicBezTo>
                <a:close/>
                <a:moveTo>
                  <a:pt x="989353" y="1086"/>
                </a:moveTo>
                <a:cubicBezTo>
                  <a:pt x="1013297" y="1086"/>
                  <a:pt x="1032343" y="21220"/>
                  <a:pt x="1032343" y="43532"/>
                </a:cubicBezTo>
                <a:cubicBezTo>
                  <a:pt x="1032887" y="66931"/>
                  <a:pt x="1012753" y="88698"/>
                  <a:pt x="989897" y="87610"/>
                </a:cubicBezTo>
                <a:cubicBezTo>
                  <a:pt x="967042" y="88698"/>
                  <a:pt x="945819" y="65843"/>
                  <a:pt x="945819" y="44620"/>
                </a:cubicBezTo>
                <a:cubicBezTo>
                  <a:pt x="945819" y="23941"/>
                  <a:pt x="964321" y="1086"/>
                  <a:pt x="989353" y="1086"/>
                </a:cubicBezTo>
                <a:close/>
                <a:moveTo>
                  <a:pt x="1614056" y="0"/>
                </a:moveTo>
                <a:lnTo>
                  <a:pt x="1675529" y="0"/>
                </a:lnTo>
                <a:lnTo>
                  <a:pt x="1682905" y="4720"/>
                </a:lnTo>
                <a:lnTo>
                  <a:pt x="1933639" y="4720"/>
                </a:lnTo>
                <a:cubicBezTo>
                  <a:pt x="1966059" y="4720"/>
                  <a:pt x="1995409" y="17861"/>
                  <a:pt x="2016655" y="39107"/>
                </a:cubicBezTo>
                <a:lnTo>
                  <a:pt x="2028934" y="57318"/>
                </a:lnTo>
                <a:lnTo>
                  <a:pt x="2026008" y="71108"/>
                </a:lnTo>
                <a:cubicBezTo>
                  <a:pt x="2023832" y="74917"/>
                  <a:pt x="2026552" y="77094"/>
                  <a:pt x="2030906" y="75461"/>
                </a:cubicBezTo>
                <a:lnTo>
                  <a:pt x="2039929" y="73627"/>
                </a:lnTo>
                <a:lnTo>
                  <a:pt x="2041815" y="76424"/>
                </a:lnTo>
                <a:cubicBezTo>
                  <a:pt x="2047756" y="90470"/>
                  <a:pt x="2051041" y="105912"/>
                  <a:pt x="2051041" y="122122"/>
                </a:cubicBezTo>
                <a:lnTo>
                  <a:pt x="2051041" y="186473"/>
                </a:lnTo>
                <a:lnTo>
                  <a:pt x="2029818" y="186473"/>
                </a:lnTo>
                <a:cubicBezTo>
                  <a:pt x="2023832" y="184297"/>
                  <a:pt x="2022743" y="185929"/>
                  <a:pt x="2023287" y="192459"/>
                </a:cubicBezTo>
                <a:cubicBezTo>
                  <a:pt x="2023287" y="193548"/>
                  <a:pt x="2023287" y="195180"/>
                  <a:pt x="2023832" y="196268"/>
                </a:cubicBezTo>
                <a:cubicBezTo>
                  <a:pt x="2028185" y="210961"/>
                  <a:pt x="2026008" y="225110"/>
                  <a:pt x="2019478" y="239258"/>
                </a:cubicBezTo>
                <a:cubicBezTo>
                  <a:pt x="2018934" y="240347"/>
                  <a:pt x="2019478" y="241979"/>
                  <a:pt x="2020022" y="242523"/>
                </a:cubicBezTo>
                <a:cubicBezTo>
                  <a:pt x="2020566" y="243067"/>
                  <a:pt x="2022743" y="243612"/>
                  <a:pt x="2023287" y="243067"/>
                </a:cubicBezTo>
                <a:cubicBezTo>
                  <a:pt x="2032266" y="238986"/>
                  <a:pt x="2041245" y="237082"/>
                  <a:pt x="2050224" y="237150"/>
                </a:cubicBezTo>
                <a:lnTo>
                  <a:pt x="2051041" y="237329"/>
                </a:lnTo>
                <a:lnTo>
                  <a:pt x="2051041" y="348996"/>
                </a:lnTo>
                <a:lnTo>
                  <a:pt x="2036552" y="347754"/>
                </a:lnTo>
                <a:cubicBezTo>
                  <a:pt x="2031178" y="346733"/>
                  <a:pt x="2026009" y="344829"/>
                  <a:pt x="2021111" y="341019"/>
                </a:cubicBezTo>
                <a:cubicBezTo>
                  <a:pt x="2020022" y="339931"/>
                  <a:pt x="2018390" y="339387"/>
                  <a:pt x="2016757" y="338842"/>
                </a:cubicBezTo>
                <a:cubicBezTo>
                  <a:pt x="2016757" y="340475"/>
                  <a:pt x="2016757" y="343196"/>
                  <a:pt x="2017301" y="344284"/>
                </a:cubicBezTo>
                <a:cubicBezTo>
                  <a:pt x="2022743" y="354079"/>
                  <a:pt x="2026008" y="364419"/>
                  <a:pt x="2025464" y="376391"/>
                </a:cubicBezTo>
                <a:cubicBezTo>
                  <a:pt x="2024376" y="398702"/>
                  <a:pt x="2014580" y="413939"/>
                  <a:pt x="1994446" y="424278"/>
                </a:cubicBezTo>
                <a:cubicBezTo>
                  <a:pt x="1972135" y="435706"/>
                  <a:pt x="1950912" y="431352"/>
                  <a:pt x="1933498" y="416115"/>
                </a:cubicBezTo>
                <a:cubicBezTo>
                  <a:pt x="1917173" y="401967"/>
                  <a:pt x="1908466" y="378567"/>
                  <a:pt x="1920438" y="352447"/>
                </a:cubicBezTo>
                <a:cubicBezTo>
                  <a:pt x="1922615" y="348093"/>
                  <a:pt x="1923703" y="343196"/>
                  <a:pt x="1925336" y="338298"/>
                </a:cubicBezTo>
                <a:cubicBezTo>
                  <a:pt x="1920982" y="339931"/>
                  <a:pt x="1916085" y="341563"/>
                  <a:pt x="1911731" y="343196"/>
                </a:cubicBezTo>
                <a:cubicBezTo>
                  <a:pt x="1907378" y="344828"/>
                  <a:pt x="1903024" y="347005"/>
                  <a:pt x="1898671" y="347005"/>
                </a:cubicBezTo>
                <a:cubicBezTo>
                  <a:pt x="1882890" y="348638"/>
                  <a:pt x="1867653" y="348638"/>
                  <a:pt x="1854593" y="336666"/>
                </a:cubicBezTo>
                <a:lnTo>
                  <a:pt x="1847690" y="333480"/>
                </a:lnTo>
                <a:lnTo>
                  <a:pt x="1852961" y="344461"/>
                </a:lnTo>
                <a:cubicBezTo>
                  <a:pt x="1868742" y="372214"/>
                  <a:pt x="1855137" y="408674"/>
                  <a:pt x="1826840" y="420646"/>
                </a:cubicBezTo>
                <a:cubicBezTo>
                  <a:pt x="1803441" y="430985"/>
                  <a:pt x="1777864" y="422278"/>
                  <a:pt x="1765893" y="408130"/>
                </a:cubicBezTo>
                <a:cubicBezTo>
                  <a:pt x="1749567" y="388539"/>
                  <a:pt x="1744126" y="368405"/>
                  <a:pt x="1759362" y="342829"/>
                </a:cubicBezTo>
                <a:cubicBezTo>
                  <a:pt x="1771199" y="322422"/>
                  <a:pt x="1795584" y="313341"/>
                  <a:pt x="1815991" y="317193"/>
                </a:cubicBezTo>
                <a:cubicBezTo>
                  <a:pt x="1822793" y="318477"/>
                  <a:pt x="1829153" y="321198"/>
                  <a:pt x="1834459" y="325415"/>
                </a:cubicBezTo>
                <a:lnTo>
                  <a:pt x="1845023" y="330169"/>
                </a:lnTo>
                <a:lnTo>
                  <a:pt x="1840444" y="321429"/>
                </a:lnTo>
                <a:cubicBezTo>
                  <a:pt x="1831193" y="306736"/>
                  <a:pt x="1832282" y="290955"/>
                  <a:pt x="1834458" y="275174"/>
                </a:cubicBezTo>
                <a:cubicBezTo>
                  <a:pt x="1835002" y="269732"/>
                  <a:pt x="1838812" y="265379"/>
                  <a:pt x="1840988" y="259937"/>
                </a:cubicBezTo>
                <a:cubicBezTo>
                  <a:pt x="1841533" y="258849"/>
                  <a:pt x="1842077" y="257216"/>
                  <a:pt x="1842077" y="255584"/>
                </a:cubicBezTo>
                <a:cubicBezTo>
                  <a:pt x="1840444" y="256128"/>
                  <a:pt x="1838812" y="256672"/>
                  <a:pt x="1837723" y="257216"/>
                </a:cubicBezTo>
                <a:cubicBezTo>
                  <a:pt x="1831193" y="259937"/>
                  <a:pt x="1824663" y="263746"/>
                  <a:pt x="1817589" y="264834"/>
                </a:cubicBezTo>
                <a:cubicBezTo>
                  <a:pt x="1799631" y="268100"/>
                  <a:pt x="1782762" y="264290"/>
                  <a:pt x="1768069" y="251774"/>
                </a:cubicBezTo>
                <a:lnTo>
                  <a:pt x="1764740" y="250110"/>
                </a:lnTo>
                <a:lnTo>
                  <a:pt x="1773510" y="267189"/>
                </a:lnTo>
                <a:cubicBezTo>
                  <a:pt x="1786571" y="292765"/>
                  <a:pt x="1773510" y="323239"/>
                  <a:pt x="1750655" y="336843"/>
                </a:cubicBezTo>
                <a:cubicBezTo>
                  <a:pt x="1721270" y="354257"/>
                  <a:pt x="1685354" y="337388"/>
                  <a:pt x="1673926" y="310723"/>
                </a:cubicBezTo>
                <a:cubicBezTo>
                  <a:pt x="1664675" y="289500"/>
                  <a:pt x="1669029" y="271542"/>
                  <a:pt x="1681545" y="254673"/>
                </a:cubicBezTo>
                <a:cubicBezTo>
                  <a:pt x="1694605" y="237803"/>
                  <a:pt x="1712563" y="231817"/>
                  <a:pt x="1733786" y="235083"/>
                </a:cubicBezTo>
                <a:cubicBezTo>
                  <a:pt x="1739771" y="236171"/>
                  <a:pt x="1745757" y="239980"/>
                  <a:pt x="1751743" y="242157"/>
                </a:cubicBezTo>
                <a:lnTo>
                  <a:pt x="1762506" y="246769"/>
                </a:lnTo>
                <a:lnTo>
                  <a:pt x="1757185" y="236537"/>
                </a:lnTo>
                <a:cubicBezTo>
                  <a:pt x="1747934" y="219668"/>
                  <a:pt x="1747390" y="203343"/>
                  <a:pt x="1756097" y="185929"/>
                </a:cubicBezTo>
                <a:cubicBezTo>
                  <a:pt x="1757185" y="183752"/>
                  <a:pt x="1756641" y="180487"/>
                  <a:pt x="1757185" y="177766"/>
                </a:cubicBezTo>
                <a:cubicBezTo>
                  <a:pt x="1754464" y="177766"/>
                  <a:pt x="1751199" y="177222"/>
                  <a:pt x="1749023" y="178311"/>
                </a:cubicBezTo>
                <a:cubicBezTo>
                  <a:pt x="1722358" y="193003"/>
                  <a:pt x="1688075" y="178855"/>
                  <a:pt x="1676103" y="154911"/>
                </a:cubicBezTo>
                <a:cubicBezTo>
                  <a:pt x="1665220" y="133688"/>
                  <a:pt x="1667396" y="113554"/>
                  <a:pt x="1681001" y="94507"/>
                </a:cubicBezTo>
                <a:lnTo>
                  <a:pt x="1685681" y="85147"/>
                </a:lnTo>
                <a:lnTo>
                  <a:pt x="1693517" y="82536"/>
                </a:lnTo>
                <a:cubicBezTo>
                  <a:pt x="1710930" y="71108"/>
                  <a:pt x="1728888" y="71108"/>
                  <a:pt x="1747934" y="77638"/>
                </a:cubicBezTo>
                <a:cubicBezTo>
                  <a:pt x="1750655" y="78726"/>
                  <a:pt x="1753920" y="78726"/>
                  <a:pt x="1756641" y="79271"/>
                </a:cubicBezTo>
                <a:cubicBezTo>
                  <a:pt x="1756097" y="76550"/>
                  <a:pt x="1755553" y="74373"/>
                  <a:pt x="1754464" y="71652"/>
                </a:cubicBezTo>
                <a:cubicBezTo>
                  <a:pt x="1753920" y="70564"/>
                  <a:pt x="1753376" y="69475"/>
                  <a:pt x="1752832" y="68387"/>
                </a:cubicBezTo>
                <a:cubicBezTo>
                  <a:pt x="1747934" y="52062"/>
                  <a:pt x="1747390" y="35737"/>
                  <a:pt x="1756097" y="20500"/>
                </a:cubicBezTo>
                <a:cubicBezTo>
                  <a:pt x="1756641" y="19411"/>
                  <a:pt x="1757185" y="16690"/>
                  <a:pt x="1756641" y="16146"/>
                </a:cubicBezTo>
                <a:cubicBezTo>
                  <a:pt x="1755553" y="15058"/>
                  <a:pt x="1753376" y="14514"/>
                  <a:pt x="1751744" y="15058"/>
                </a:cubicBezTo>
                <a:cubicBezTo>
                  <a:pt x="1747934" y="16146"/>
                  <a:pt x="1744669" y="19411"/>
                  <a:pt x="1741404" y="19955"/>
                </a:cubicBezTo>
                <a:cubicBezTo>
                  <a:pt x="1724535" y="21588"/>
                  <a:pt x="1707121" y="23765"/>
                  <a:pt x="1691884" y="11249"/>
                </a:cubicBezTo>
                <a:lnTo>
                  <a:pt x="1685645" y="8369"/>
                </a:lnTo>
                <a:lnTo>
                  <a:pt x="1688620" y="14691"/>
                </a:lnTo>
                <a:cubicBezTo>
                  <a:pt x="1700048" y="32648"/>
                  <a:pt x="1700048" y="50606"/>
                  <a:pt x="1691885" y="69652"/>
                </a:cubicBezTo>
                <a:lnTo>
                  <a:pt x="1684469" y="82365"/>
                </a:lnTo>
                <a:lnTo>
                  <a:pt x="1663044" y="94684"/>
                </a:lnTo>
                <a:cubicBezTo>
                  <a:pt x="1651072" y="101759"/>
                  <a:pt x="1638556" y="100126"/>
                  <a:pt x="1626584" y="96861"/>
                </a:cubicBezTo>
                <a:cubicBezTo>
                  <a:pt x="1608082" y="91419"/>
                  <a:pt x="1595566" y="78359"/>
                  <a:pt x="1590124" y="60401"/>
                </a:cubicBezTo>
                <a:cubicBezTo>
                  <a:pt x="1586315" y="48974"/>
                  <a:pt x="1586315" y="37002"/>
                  <a:pt x="1591757" y="25030"/>
                </a:cubicBezTo>
                <a:close/>
                <a:moveTo>
                  <a:pt x="1460066" y="0"/>
                </a:moveTo>
                <a:lnTo>
                  <a:pt x="1498513" y="0"/>
                </a:lnTo>
                <a:lnTo>
                  <a:pt x="1517204" y="8092"/>
                </a:lnTo>
                <a:cubicBezTo>
                  <a:pt x="1526183" y="17411"/>
                  <a:pt x="1531352" y="30199"/>
                  <a:pt x="1531896" y="45164"/>
                </a:cubicBezTo>
                <a:cubicBezTo>
                  <a:pt x="1532985" y="71829"/>
                  <a:pt x="1505776" y="97949"/>
                  <a:pt x="1479111" y="97949"/>
                </a:cubicBezTo>
                <a:cubicBezTo>
                  <a:pt x="1451902" y="97949"/>
                  <a:pt x="1425238" y="71829"/>
                  <a:pt x="1426870" y="45164"/>
                </a:cubicBezTo>
                <a:cubicBezTo>
                  <a:pt x="1427687" y="29655"/>
                  <a:pt x="1432720" y="16867"/>
                  <a:pt x="1441631" y="7684"/>
                </a:cubicBezTo>
                <a:close/>
                <a:moveTo>
                  <a:pt x="1296749" y="0"/>
                </a:moveTo>
                <a:lnTo>
                  <a:pt x="1335755" y="0"/>
                </a:lnTo>
                <a:lnTo>
                  <a:pt x="1350278" y="10270"/>
                </a:lnTo>
                <a:cubicBezTo>
                  <a:pt x="1359937" y="19861"/>
                  <a:pt x="1366467" y="32649"/>
                  <a:pt x="1365923" y="45165"/>
                </a:cubicBezTo>
                <a:cubicBezTo>
                  <a:pt x="1364291" y="71829"/>
                  <a:pt x="1343068" y="93052"/>
                  <a:pt x="1315315" y="93052"/>
                </a:cubicBezTo>
                <a:cubicBezTo>
                  <a:pt x="1290283" y="95229"/>
                  <a:pt x="1266339" y="69109"/>
                  <a:pt x="1266339" y="44076"/>
                </a:cubicBezTo>
                <a:cubicBezTo>
                  <a:pt x="1266339" y="30472"/>
                  <a:pt x="1273141" y="18228"/>
                  <a:pt x="1282732" y="9317"/>
                </a:cubicBezTo>
                <a:close/>
                <a:moveTo>
                  <a:pt x="1148085" y="0"/>
                </a:moveTo>
                <a:lnTo>
                  <a:pt x="1161802" y="0"/>
                </a:lnTo>
                <a:lnTo>
                  <a:pt x="1169637" y="1315"/>
                </a:lnTo>
                <a:cubicBezTo>
                  <a:pt x="1186447" y="8432"/>
                  <a:pt x="1199813" y="26798"/>
                  <a:pt x="1199405" y="45164"/>
                </a:cubicBezTo>
                <a:cubicBezTo>
                  <a:pt x="1198861" y="69652"/>
                  <a:pt x="1175462" y="93596"/>
                  <a:pt x="1151518" y="91419"/>
                </a:cubicBezTo>
                <a:cubicBezTo>
                  <a:pt x="1123765" y="88154"/>
                  <a:pt x="1109072" y="72373"/>
                  <a:pt x="1105807" y="44620"/>
                </a:cubicBezTo>
                <a:cubicBezTo>
                  <a:pt x="1107440" y="30472"/>
                  <a:pt x="1111657" y="19588"/>
                  <a:pt x="1119139" y="11902"/>
                </a:cubicBezTo>
                <a:close/>
              </a:path>
            </a:pathLst>
          </a:custGeom>
          <a:solidFill>
            <a:schemeClr val="accent5">
              <a:lumMod val="75000"/>
              <a:alpha val="28000"/>
            </a:schemeClr>
          </a:solidFill>
          <a:ln w="5432" cap="flat">
            <a:noFill/>
            <a:prstDash val="solid"/>
            <a:miter/>
          </a:ln>
        </p:spPr>
        <p:txBody>
          <a:bodyPr rtlCol="0" anchor="ctr"/>
          <a:lstStyle/>
          <a:p>
            <a:endParaRPr lang="en-IN"/>
          </a:p>
        </p:txBody>
      </p:sp>
      <p:sp>
        <p:nvSpPr>
          <p:cNvPr id="11" name="Slide Number Placeholder 5">
            <a:extLst>
              <a:ext uri="{FF2B5EF4-FFF2-40B4-BE49-F238E27FC236}">
                <a16:creationId xmlns:a16="http://schemas.microsoft.com/office/drawing/2014/main" id="{E07E4633-376B-43BA-921B-1EACB1C10AD2}"/>
              </a:ext>
            </a:extLst>
          </p:cNvPr>
          <p:cNvSpPr txBox="1">
            <a:spLocks/>
          </p:cNvSpPr>
          <p:nvPr userDrawn="1"/>
        </p:nvSpPr>
        <p:spPr>
          <a:xfrm>
            <a:off x="11373135" y="6506785"/>
            <a:ext cx="609600" cy="261610"/>
          </a:xfrm>
          <a:prstGeom prst="rect">
            <a:avLst/>
          </a:prstGeom>
          <a:noFill/>
        </p:spPr>
        <p:txBody>
          <a:bodyPr>
            <a:spAutoFit/>
          </a:bodyPr>
          <a:lstStyle>
            <a:defPPr>
              <a:defRPr lang="en-US"/>
            </a:defPPr>
            <a:lvl1pPr marL="0" algn="ctr" defTabSz="914400" rtl="0" eaLnBrk="1" latinLnBrk="0" hangingPunct="1">
              <a:defRPr lang="en-US" sz="1800" kern="1200" smtClean="0">
                <a:solidFill>
                  <a:schemeClr val="bg1"/>
                </a:solidFill>
                <a:latin typeface="Tahoma" pitchFamily="34" charset="0"/>
                <a:ea typeface="Tahoma" pitchFamily="34" charset="0"/>
                <a:cs typeface="Tahoma"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fld id="{3413C1ED-5599-4BB6-878F-244F2E6B8E4A}" type="slidenum">
              <a:rPr lang="en-IN" sz="1100">
                <a:solidFill>
                  <a:schemeClr val="bg1"/>
                </a:solidFill>
              </a:rPr>
              <a:pPr fontAlgn="auto">
                <a:spcBef>
                  <a:spcPts val="0"/>
                </a:spcBef>
                <a:spcAft>
                  <a:spcPts val="0"/>
                </a:spcAft>
                <a:defRPr/>
              </a:pPr>
              <a:t>‹#›</a:t>
            </a:fld>
            <a:endParaRPr lang="en-IN" sz="1100">
              <a:solidFill>
                <a:schemeClr val="bg1"/>
              </a:solidFill>
            </a:endParaRPr>
          </a:p>
        </p:txBody>
      </p:sp>
      <p:pic>
        <p:nvPicPr>
          <p:cNvPr id="12" name="Picture 11">
            <a:extLst>
              <a:ext uri="{FF2B5EF4-FFF2-40B4-BE49-F238E27FC236}">
                <a16:creationId xmlns:a16="http://schemas.microsoft.com/office/drawing/2014/main" id="{ECCDE20A-F1FF-412A-9F28-41245DB9E51D}"/>
              </a:ext>
            </a:extLst>
          </p:cNvPr>
          <p:cNvPicPr>
            <a:picLocks noChangeAspect="1"/>
          </p:cNvPicPr>
          <p:nvPr userDrawn="1"/>
        </p:nvPicPr>
        <p:blipFill>
          <a:blip r:embed="rId2">
            <a:biLevel thresh="25000"/>
          </a:blip>
          <a:stretch>
            <a:fillRect/>
          </a:stretch>
        </p:blipFill>
        <p:spPr>
          <a:xfrm>
            <a:off x="464908" y="6506785"/>
            <a:ext cx="1148260" cy="138938"/>
          </a:xfrm>
          <a:prstGeom prst="rect">
            <a:avLst/>
          </a:prstGeom>
        </p:spPr>
      </p:pic>
    </p:spTree>
    <p:extLst>
      <p:ext uri="{BB962C8B-B14F-4D97-AF65-F5344CB8AC3E}">
        <p14:creationId xmlns:p14="http://schemas.microsoft.com/office/powerpoint/2010/main" val="201903972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4_Custom Layout">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D8729FF-C550-4A54-A372-C33F9B2418B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12971" y="574056"/>
            <a:ext cx="2560320" cy="309794"/>
          </a:xfrm>
          <a:prstGeom prst="rect">
            <a:avLst/>
          </a:prstGeom>
        </p:spPr>
      </p:pic>
      <p:sp>
        <p:nvSpPr>
          <p:cNvPr id="5" name="Freeform: Shape 4">
            <a:extLst>
              <a:ext uri="{FF2B5EF4-FFF2-40B4-BE49-F238E27FC236}">
                <a16:creationId xmlns:a16="http://schemas.microsoft.com/office/drawing/2014/main" id="{E0720BF7-36FF-4FF3-B8FF-4D966D6D625B}"/>
              </a:ext>
            </a:extLst>
          </p:cNvPr>
          <p:cNvSpPr/>
          <p:nvPr userDrawn="1"/>
        </p:nvSpPr>
        <p:spPr>
          <a:xfrm rot="5400000" flipH="1">
            <a:off x="10496535" y="1468844"/>
            <a:ext cx="1681874" cy="1709057"/>
          </a:xfrm>
          <a:custGeom>
            <a:avLst/>
            <a:gdLst>
              <a:gd name="connsiteX0" fmla="*/ 2051041 w 2051041"/>
              <a:gd name="connsiteY0" fmla="*/ 2080382 h 2084191"/>
              <a:gd name="connsiteX1" fmla="*/ 2051041 w 2051041"/>
              <a:gd name="connsiteY1" fmla="*/ 2083967 h 2084191"/>
              <a:gd name="connsiteX2" fmla="*/ 2047231 w 2051041"/>
              <a:gd name="connsiteY2" fmla="*/ 2084191 h 2084191"/>
              <a:gd name="connsiteX3" fmla="*/ 2045599 w 2051041"/>
              <a:gd name="connsiteY3" fmla="*/ 2081470 h 2084191"/>
              <a:gd name="connsiteX4" fmla="*/ 1478568 w 2051041"/>
              <a:gd name="connsiteY4" fmla="*/ 1997668 h 2084191"/>
              <a:gd name="connsiteX5" fmla="*/ 1484554 w 2051041"/>
              <a:gd name="connsiteY5" fmla="*/ 2004743 h 2084191"/>
              <a:gd name="connsiteX6" fmla="*/ 1478568 w 2051041"/>
              <a:gd name="connsiteY6" fmla="*/ 2009096 h 2084191"/>
              <a:gd name="connsiteX7" fmla="*/ 1473126 w 2051041"/>
              <a:gd name="connsiteY7" fmla="*/ 2003654 h 2084191"/>
              <a:gd name="connsiteX8" fmla="*/ 1478568 w 2051041"/>
              <a:gd name="connsiteY8" fmla="*/ 1997668 h 2084191"/>
              <a:gd name="connsiteX9" fmla="*/ 1641820 w 2051041"/>
              <a:gd name="connsiteY9" fmla="*/ 1993859 h 2084191"/>
              <a:gd name="connsiteX10" fmla="*/ 1652160 w 2051041"/>
              <a:gd name="connsiteY10" fmla="*/ 2003654 h 2084191"/>
              <a:gd name="connsiteX11" fmla="*/ 1641820 w 2051041"/>
              <a:gd name="connsiteY11" fmla="*/ 2013449 h 2084191"/>
              <a:gd name="connsiteX12" fmla="*/ 1632025 w 2051041"/>
              <a:gd name="connsiteY12" fmla="*/ 2003654 h 2084191"/>
              <a:gd name="connsiteX13" fmla="*/ 1641820 w 2051041"/>
              <a:gd name="connsiteY13" fmla="*/ 1993859 h 2084191"/>
              <a:gd name="connsiteX14" fmla="*/ 1969414 w 2051041"/>
              <a:gd name="connsiteY14" fmla="*/ 1992226 h 2084191"/>
              <a:gd name="connsiteX15" fmla="*/ 1979753 w 2051041"/>
              <a:gd name="connsiteY15" fmla="*/ 2003654 h 2084191"/>
              <a:gd name="connsiteX16" fmla="*/ 1968325 w 2051041"/>
              <a:gd name="connsiteY16" fmla="*/ 2014537 h 2084191"/>
              <a:gd name="connsiteX17" fmla="*/ 1957986 w 2051041"/>
              <a:gd name="connsiteY17" fmla="*/ 2003110 h 2084191"/>
              <a:gd name="connsiteX18" fmla="*/ 1969414 w 2051041"/>
              <a:gd name="connsiteY18" fmla="*/ 1992226 h 2084191"/>
              <a:gd name="connsiteX19" fmla="*/ 1805073 w 2051041"/>
              <a:gd name="connsiteY19" fmla="*/ 1992226 h 2084191"/>
              <a:gd name="connsiteX20" fmla="*/ 1815956 w 2051041"/>
              <a:gd name="connsiteY20" fmla="*/ 2002565 h 2084191"/>
              <a:gd name="connsiteX21" fmla="*/ 1805073 w 2051041"/>
              <a:gd name="connsiteY21" fmla="*/ 2014537 h 2084191"/>
              <a:gd name="connsiteX22" fmla="*/ 1794189 w 2051041"/>
              <a:gd name="connsiteY22" fmla="*/ 2004198 h 2084191"/>
              <a:gd name="connsiteX23" fmla="*/ 1805073 w 2051041"/>
              <a:gd name="connsiteY23" fmla="*/ 1992226 h 2084191"/>
              <a:gd name="connsiteX24" fmla="*/ 1234233 w 2051041"/>
              <a:gd name="connsiteY24" fmla="*/ 1916042 h 2084191"/>
              <a:gd name="connsiteX25" fmla="*/ 1240219 w 2051041"/>
              <a:gd name="connsiteY25" fmla="*/ 1923660 h 2084191"/>
              <a:gd name="connsiteX26" fmla="*/ 1236953 w 2051041"/>
              <a:gd name="connsiteY26" fmla="*/ 1926381 h 2084191"/>
              <a:gd name="connsiteX27" fmla="*/ 1229335 w 2051041"/>
              <a:gd name="connsiteY27" fmla="*/ 1918762 h 2084191"/>
              <a:gd name="connsiteX28" fmla="*/ 1234233 w 2051041"/>
              <a:gd name="connsiteY28" fmla="*/ 1916042 h 2084191"/>
              <a:gd name="connsiteX29" fmla="*/ 1397486 w 2051041"/>
              <a:gd name="connsiteY29" fmla="*/ 1911144 h 2084191"/>
              <a:gd name="connsiteX30" fmla="*/ 1408369 w 2051041"/>
              <a:gd name="connsiteY30" fmla="*/ 1921483 h 2084191"/>
              <a:gd name="connsiteX31" fmla="*/ 1399118 w 2051041"/>
              <a:gd name="connsiteY31" fmla="*/ 1931823 h 2084191"/>
              <a:gd name="connsiteX32" fmla="*/ 1387146 w 2051041"/>
              <a:gd name="connsiteY32" fmla="*/ 1922028 h 2084191"/>
              <a:gd name="connsiteX33" fmla="*/ 1397486 w 2051041"/>
              <a:gd name="connsiteY33" fmla="*/ 1911144 h 2084191"/>
              <a:gd name="connsiteX34" fmla="*/ 1560194 w 2051041"/>
              <a:gd name="connsiteY34" fmla="*/ 1906790 h 2084191"/>
              <a:gd name="connsiteX35" fmla="*/ 1574342 w 2051041"/>
              <a:gd name="connsiteY35" fmla="*/ 1921482 h 2084191"/>
              <a:gd name="connsiteX36" fmla="*/ 1560738 w 2051041"/>
              <a:gd name="connsiteY36" fmla="*/ 1935631 h 2084191"/>
              <a:gd name="connsiteX37" fmla="*/ 1547134 w 2051041"/>
              <a:gd name="connsiteY37" fmla="*/ 1922027 h 2084191"/>
              <a:gd name="connsiteX38" fmla="*/ 1560194 w 2051041"/>
              <a:gd name="connsiteY38" fmla="*/ 1906790 h 2084191"/>
              <a:gd name="connsiteX39" fmla="*/ 2049952 w 2051041"/>
              <a:gd name="connsiteY39" fmla="*/ 1905702 h 2084191"/>
              <a:gd name="connsiteX40" fmla="*/ 2051041 w 2051041"/>
              <a:gd name="connsiteY40" fmla="*/ 1906027 h 2084191"/>
              <a:gd name="connsiteX41" fmla="*/ 2051041 w 2051041"/>
              <a:gd name="connsiteY41" fmla="*/ 1938133 h 2084191"/>
              <a:gd name="connsiteX42" fmla="*/ 2050496 w 2051041"/>
              <a:gd name="connsiteY42" fmla="*/ 1938353 h 2084191"/>
              <a:gd name="connsiteX43" fmla="*/ 2034171 w 2051041"/>
              <a:gd name="connsiteY43" fmla="*/ 1922572 h 2084191"/>
              <a:gd name="connsiteX44" fmla="*/ 2049952 w 2051041"/>
              <a:gd name="connsiteY44" fmla="*/ 1905702 h 2084191"/>
              <a:gd name="connsiteX45" fmla="*/ 1723447 w 2051041"/>
              <a:gd name="connsiteY45" fmla="*/ 1905702 h 2084191"/>
              <a:gd name="connsiteX46" fmla="*/ 1739772 w 2051041"/>
              <a:gd name="connsiteY46" fmla="*/ 1920939 h 2084191"/>
              <a:gd name="connsiteX47" fmla="*/ 1724535 w 2051041"/>
              <a:gd name="connsiteY47" fmla="*/ 1937264 h 2084191"/>
              <a:gd name="connsiteX48" fmla="*/ 1708210 w 2051041"/>
              <a:gd name="connsiteY48" fmla="*/ 1922027 h 2084191"/>
              <a:gd name="connsiteX49" fmla="*/ 1723447 w 2051041"/>
              <a:gd name="connsiteY49" fmla="*/ 1905702 h 2084191"/>
              <a:gd name="connsiteX50" fmla="*/ 1887787 w 2051041"/>
              <a:gd name="connsiteY50" fmla="*/ 1905158 h 2084191"/>
              <a:gd name="connsiteX51" fmla="*/ 1904113 w 2051041"/>
              <a:gd name="connsiteY51" fmla="*/ 1922028 h 2084191"/>
              <a:gd name="connsiteX52" fmla="*/ 1886699 w 2051041"/>
              <a:gd name="connsiteY52" fmla="*/ 1937809 h 2084191"/>
              <a:gd name="connsiteX53" fmla="*/ 1870918 w 2051041"/>
              <a:gd name="connsiteY53" fmla="*/ 1921483 h 2084191"/>
              <a:gd name="connsiteX54" fmla="*/ 1887787 w 2051041"/>
              <a:gd name="connsiteY54" fmla="*/ 1905158 h 2084191"/>
              <a:gd name="connsiteX55" fmla="*/ 1152606 w 2051041"/>
              <a:gd name="connsiteY55" fmla="*/ 1831693 h 2084191"/>
              <a:gd name="connsiteX56" fmla="*/ 1161313 w 2051041"/>
              <a:gd name="connsiteY56" fmla="*/ 1839312 h 2084191"/>
              <a:gd name="connsiteX57" fmla="*/ 1153694 w 2051041"/>
              <a:gd name="connsiteY57" fmla="*/ 1852916 h 2084191"/>
              <a:gd name="connsiteX58" fmla="*/ 1144988 w 2051041"/>
              <a:gd name="connsiteY58" fmla="*/ 1841489 h 2084191"/>
              <a:gd name="connsiteX59" fmla="*/ 1152606 w 2051041"/>
              <a:gd name="connsiteY59" fmla="*/ 1831693 h 2084191"/>
              <a:gd name="connsiteX60" fmla="*/ 1315315 w 2051041"/>
              <a:gd name="connsiteY60" fmla="*/ 1825708 h 2084191"/>
              <a:gd name="connsiteX61" fmla="*/ 1330552 w 2051041"/>
              <a:gd name="connsiteY61" fmla="*/ 1840401 h 2084191"/>
              <a:gd name="connsiteX62" fmla="*/ 1316404 w 2051041"/>
              <a:gd name="connsiteY62" fmla="*/ 1854549 h 2084191"/>
              <a:gd name="connsiteX63" fmla="*/ 1301711 w 2051041"/>
              <a:gd name="connsiteY63" fmla="*/ 1840945 h 2084191"/>
              <a:gd name="connsiteX64" fmla="*/ 1315315 w 2051041"/>
              <a:gd name="connsiteY64" fmla="*/ 1825708 h 2084191"/>
              <a:gd name="connsiteX65" fmla="*/ 1479656 w 2051041"/>
              <a:gd name="connsiteY65" fmla="*/ 1822987 h 2084191"/>
              <a:gd name="connsiteX66" fmla="*/ 1495981 w 2051041"/>
              <a:gd name="connsiteY66" fmla="*/ 1840401 h 2084191"/>
              <a:gd name="connsiteX67" fmla="*/ 1478567 w 2051041"/>
              <a:gd name="connsiteY67" fmla="*/ 1856182 h 2084191"/>
              <a:gd name="connsiteX68" fmla="*/ 1462242 w 2051041"/>
              <a:gd name="connsiteY68" fmla="*/ 1839312 h 2084191"/>
              <a:gd name="connsiteX69" fmla="*/ 1479656 w 2051041"/>
              <a:gd name="connsiteY69" fmla="*/ 1822987 h 2084191"/>
              <a:gd name="connsiteX70" fmla="*/ 1642365 w 2051041"/>
              <a:gd name="connsiteY70" fmla="*/ 1821355 h 2084191"/>
              <a:gd name="connsiteX71" fmla="*/ 1660867 w 2051041"/>
              <a:gd name="connsiteY71" fmla="*/ 1840401 h 2084191"/>
              <a:gd name="connsiteX72" fmla="*/ 1642365 w 2051041"/>
              <a:gd name="connsiteY72" fmla="*/ 1857270 h 2084191"/>
              <a:gd name="connsiteX73" fmla="*/ 1624407 w 2051041"/>
              <a:gd name="connsiteY73" fmla="*/ 1839857 h 2084191"/>
              <a:gd name="connsiteX74" fmla="*/ 1642365 w 2051041"/>
              <a:gd name="connsiteY74" fmla="*/ 1821355 h 2084191"/>
              <a:gd name="connsiteX75" fmla="*/ 1806162 w 2051041"/>
              <a:gd name="connsiteY75" fmla="*/ 1819723 h 2084191"/>
              <a:gd name="connsiteX76" fmla="*/ 1826840 w 2051041"/>
              <a:gd name="connsiteY76" fmla="*/ 1840945 h 2084191"/>
              <a:gd name="connsiteX77" fmla="*/ 1804529 w 2051041"/>
              <a:gd name="connsiteY77" fmla="*/ 1861080 h 2084191"/>
              <a:gd name="connsiteX78" fmla="*/ 1784395 w 2051041"/>
              <a:gd name="connsiteY78" fmla="*/ 1839313 h 2084191"/>
              <a:gd name="connsiteX79" fmla="*/ 1806162 w 2051041"/>
              <a:gd name="connsiteY79" fmla="*/ 1819723 h 2084191"/>
              <a:gd name="connsiteX80" fmla="*/ 1968870 w 2051041"/>
              <a:gd name="connsiteY80" fmla="*/ 1819178 h 2084191"/>
              <a:gd name="connsiteX81" fmla="*/ 1990093 w 2051041"/>
              <a:gd name="connsiteY81" fmla="*/ 1840401 h 2084191"/>
              <a:gd name="connsiteX82" fmla="*/ 1968870 w 2051041"/>
              <a:gd name="connsiteY82" fmla="*/ 1861624 h 2084191"/>
              <a:gd name="connsiteX83" fmla="*/ 1947647 w 2051041"/>
              <a:gd name="connsiteY83" fmla="*/ 1840401 h 2084191"/>
              <a:gd name="connsiteX84" fmla="*/ 1968870 w 2051041"/>
              <a:gd name="connsiteY84" fmla="*/ 1819178 h 2084191"/>
              <a:gd name="connsiteX85" fmla="*/ 1070436 w 2051041"/>
              <a:gd name="connsiteY85" fmla="*/ 1747347 h 2084191"/>
              <a:gd name="connsiteX86" fmla="*/ 1081863 w 2051041"/>
              <a:gd name="connsiteY86" fmla="*/ 1758231 h 2084191"/>
              <a:gd name="connsiteX87" fmla="*/ 1070980 w 2051041"/>
              <a:gd name="connsiteY87" fmla="*/ 1769658 h 2084191"/>
              <a:gd name="connsiteX88" fmla="*/ 1059552 w 2051041"/>
              <a:gd name="connsiteY88" fmla="*/ 1758775 h 2084191"/>
              <a:gd name="connsiteX89" fmla="*/ 1070436 w 2051041"/>
              <a:gd name="connsiteY89" fmla="*/ 1747347 h 2084191"/>
              <a:gd name="connsiteX90" fmla="*/ 1233688 w 2051041"/>
              <a:gd name="connsiteY90" fmla="*/ 1742449 h 2084191"/>
              <a:gd name="connsiteX91" fmla="*/ 1250558 w 2051041"/>
              <a:gd name="connsiteY91" fmla="*/ 1758774 h 2084191"/>
              <a:gd name="connsiteX92" fmla="*/ 1233688 w 2051041"/>
              <a:gd name="connsiteY92" fmla="*/ 1775099 h 2084191"/>
              <a:gd name="connsiteX93" fmla="*/ 1217907 w 2051041"/>
              <a:gd name="connsiteY93" fmla="*/ 1759318 h 2084191"/>
              <a:gd name="connsiteX94" fmla="*/ 1233688 w 2051041"/>
              <a:gd name="connsiteY94" fmla="*/ 1742449 h 2084191"/>
              <a:gd name="connsiteX95" fmla="*/ 1399662 w 2051041"/>
              <a:gd name="connsiteY95" fmla="*/ 1739728 h 2084191"/>
              <a:gd name="connsiteX96" fmla="*/ 1417076 w 2051041"/>
              <a:gd name="connsiteY96" fmla="*/ 1760407 h 2084191"/>
              <a:gd name="connsiteX97" fmla="*/ 1396941 w 2051041"/>
              <a:gd name="connsiteY97" fmla="*/ 1779453 h 2084191"/>
              <a:gd name="connsiteX98" fmla="*/ 1377895 w 2051041"/>
              <a:gd name="connsiteY98" fmla="*/ 1757686 h 2084191"/>
              <a:gd name="connsiteX99" fmla="*/ 1399662 w 2051041"/>
              <a:gd name="connsiteY99" fmla="*/ 1739728 h 2084191"/>
              <a:gd name="connsiteX100" fmla="*/ 1723991 w 2051041"/>
              <a:gd name="connsiteY100" fmla="*/ 1735919 h 2084191"/>
              <a:gd name="connsiteX101" fmla="*/ 1746847 w 2051041"/>
              <a:gd name="connsiteY101" fmla="*/ 1758774 h 2084191"/>
              <a:gd name="connsiteX102" fmla="*/ 1723991 w 2051041"/>
              <a:gd name="connsiteY102" fmla="*/ 1781086 h 2084191"/>
              <a:gd name="connsiteX103" fmla="*/ 1701680 w 2051041"/>
              <a:gd name="connsiteY103" fmla="*/ 1758774 h 2084191"/>
              <a:gd name="connsiteX104" fmla="*/ 1723991 w 2051041"/>
              <a:gd name="connsiteY104" fmla="*/ 1735919 h 2084191"/>
              <a:gd name="connsiteX105" fmla="*/ 1560194 w 2051041"/>
              <a:gd name="connsiteY105" fmla="*/ 1735919 h 2084191"/>
              <a:gd name="connsiteX106" fmla="*/ 1582505 w 2051041"/>
              <a:gd name="connsiteY106" fmla="*/ 1758230 h 2084191"/>
              <a:gd name="connsiteX107" fmla="*/ 1560738 w 2051041"/>
              <a:gd name="connsiteY107" fmla="*/ 1779997 h 2084191"/>
              <a:gd name="connsiteX108" fmla="*/ 1538427 w 2051041"/>
              <a:gd name="connsiteY108" fmla="*/ 1758230 h 2084191"/>
              <a:gd name="connsiteX109" fmla="*/ 1560194 w 2051041"/>
              <a:gd name="connsiteY109" fmla="*/ 1735919 h 2084191"/>
              <a:gd name="connsiteX110" fmla="*/ 2051041 w 2051041"/>
              <a:gd name="connsiteY110" fmla="*/ 1734831 h 2084191"/>
              <a:gd name="connsiteX111" fmla="*/ 2051041 w 2051041"/>
              <a:gd name="connsiteY111" fmla="*/ 1781438 h 2084191"/>
              <a:gd name="connsiteX112" fmla="*/ 2050496 w 2051041"/>
              <a:gd name="connsiteY112" fmla="*/ 1781630 h 2084191"/>
              <a:gd name="connsiteX113" fmla="*/ 2027097 w 2051041"/>
              <a:gd name="connsiteY113" fmla="*/ 1758775 h 2084191"/>
              <a:gd name="connsiteX114" fmla="*/ 2051041 w 2051041"/>
              <a:gd name="connsiteY114" fmla="*/ 1734831 h 2084191"/>
              <a:gd name="connsiteX115" fmla="*/ 1887788 w 2051041"/>
              <a:gd name="connsiteY115" fmla="*/ 1734831 h 2084191"/>
              <a:gd name="connsiteX116" fmla="*/ 1910099 w 2051041"/>
              <a:gd name="connsiteY116" fmla="*/ 1758775 h 2084191"/>
              <a:gd name="connsiteX117" fmla="*/ 1886699 w 2051041"/>
              <a:gd name="connsiteY117" fmla="*/ 1781086 h 2084191"/>
              <a:gd name="connsiteX118" fmla="*/ 1863844 w 2051041"/>
              <a:gd name="connsiteY118" fmla="*/ 1757687 h 2084191"/>
              <a:gd name="connsiteX119" fmla="*/ 1887788 w 2051041"/>
              <a:gd name="connsiteY119" fmla="*/ 1734831 h 2084191"/>
              <a:gd name="connsiteX120" fmla="*/ 826100 w 2051041"/>
              <a:gd name="connsiteY120" fmla="*/ 1671706 h 2084191"/>
              <a:gd name="connsiteX121" fmla="*/ 832086 w 2051041"/>
              <a:gd name="connsiteY121" fmla="*/ 1677692 h 2084191"/>
              <a:gd name="connsiteX122" fmla="*/ 825556 w 2051041"/>
              <a:gd name="connsiteY122" fmla="*/ 1683134 h 2084191"/>
              <a:gd name="connsiteX123" fmla="*/ 820658 w 2051041"/>
              <a:gd name="connsiteY123" fmla="*/ 1676603 h 2084191"/>
              <a:gd name="connsiteX124" fmla="*/ 826100 w 2051041"/>
              <a:gd name="connsiteY124" fmla="*/ 1671706 h 2084191"/>
              <a:gd name="connsiteX125" fmla="*/ 989354 w 2051041"/>
              <a:gd name="connsiteY125" fmla="*/ 1661912 h 2084191"/>
              <a:gd name="connsiteX126" fmla="*/ 1004046 w 2051041"/>
              <a:gd name="connsiteY126" fmla="*/ 1676604 h 2084191"/>
              <a:gd name="connsiteX127" fmla="*/ 989354 w 2051041"/>
              <a:gd name="connsiteY127" fmla="*/ 1690209 h 2084191"/>
              <a:gd name="connsiteX128" fmla="*/ 975205 w 2051041"/>
              <a:gd name="connsiteY128" fmla="*/ 1677693 h 2084191"/>
              <a:gd name="connsiteX129" fmla="*/ 989354 w 2051041"/>
              <a:gd name="connsiteY129" fmla="*/ 1661912 h 2084191"/>
              <a:gd name="connsiteX130" fmla="*/ 1153151 w 2051041"/>
              <a:gd name="connsiteY130" fmla="*/ 1659734 h 2084191"/>
              <a:gd name="connsiteX131" fmla="*/ 1170564 w 2051041"/>
              <a:gd name="connsiteY131" fmla="*/ 1677692 h 2084191"/>
              <a:gd name="connsiteX132" fmla="*/ 1152062 w 2051041"/>
              <a:gd name="connsiteY132" fmla="*/ 1694562 h 2084191"/>
              <a:gd name="connsiteX133" fmla="*/ 1135737 w 2051041"/>
              <a:gd name="connsiteY133" fmla="*/ 1677148 h 2084191"/>
              <a:gd name="connsiteX134" fmla="*/ 1153151 w 2051041"/>
              <a:gd name="connsiteY134" fmla="*/ 1659734 h 2084191"/>
              <a:gd name="connsiteX135" fmla="*/ 1315315 w 2051041"/>
              <a:gd name="connsiteY135" fmla="*/ 1655381 h 2084191"/>
              <a:gd name="connsiteX136" fmla="*/ 1337082 w 2051041"/>
              <a:gd name="connsiteY136" fmla="*/ 1676603 h 2084191"/>
              <a:gd name="connsiteX137" fmla="*/ 1315315 w 2051041"/>
              <a:gd name="connsiteY137" fmla="*/ 1698915 h 2084191"/>
              <a:gd name="connsiteX138" fmla="*/ 1294092 w 2051041"/>
              <a:gd name="connsiteY138" fmla="*/ 1677148 h 2084191"/>
              <a:gd name="connsiteX139" fmla="*/ 1315315 w 2051041"/>
              <a:gd name="connsiteY139" fmla="*/ 1655381 h 2084191"/>
              <a:gd name="connsiteX140" fmla="*/ 1479111 w 2051041"/>
              <a:gd name="connsiteY140" fmla="*/ 1654293 h 2084191"/>
              <a:gd name="connsiteX141" fmla="*/ 1501967 w 2051041"/>
              <a:gd name="connsiteY141" fmla="*/ 1677692 h 2084191"/>
              <a:gd name="connsiteX142" fmla="*/ 1479111 w 2051041"/>
              <a:gd name="connsiteY142" fmla="*/ 1700548 h 2084191"/>
              <a:gd name="connsiteX143" fmla="*/ 1455712 w 2051041"/>
              <a:gd name="connsiteY143" fmla="*/ 1676604 h 2084191"/>
              <a:gd name="connsiteX144" fmla="*/ 1479111 w 2051041"/>
              <a:gd name="connsiteY144" fmla="*/ 1654293 h 2084191"/>
              <a:gd name="connsiteX145" fmla="*/ 1643452 w 2051041"/>
              <a:gd name="connsiteY145" fmla="*/ 1650483 h 2084191"/>
              <a:gd name="connsiteX146" fmla="*/ 1668484 w 2051041"/>
              <a:gd name="connsiteY146" fmla="*/ 1676603 h 2084191"/>
              <a:gd name="connsiteX147" fmla="*/ 1643452 w 2051041"/>
              <a:gd name="connsiteY147" fmla="*/ 1703268 h 2084191"/>
              <a:gd name="connsiteX148" fmla="*/ 1617332 w 2051041"/>
              <a:gd name="connsiteY148" fmla="*/ 1677692 h 2084191"/>
              <a:gd name="connsiteX149" fmla="*/ 1643452 w 2051041"/>
              <a:gd name="connsiteY149" fmla="*/ 1650483 h 2084191"/>
              <a:gd name="connsiteX150" fmla="*/ 1968326 w 2051041"/>
              <a:gd name="connsiteY150" fmla="*/ 1649940 h 2084191"/>
              <a:gd name="connsiteX151" fmla="*/ 1995535 w 2051041"/>
              <a:gd name="connsiteY151" fmla="*/ 1676604 h 2084191"/>
              <a:gd name="connsiteX152" fmla="*/ 1968870 w 2051041"/>
              <a:gd name="connsiteY152" fmla="*/ 1704357 h 2084191"/>
              <a:gd name="connsiteX153" fmla="*/ 1941661 w 2051041"/>
              <a:gd name="connsiteY153" fmla="*/ 1677148 h 2084191"/>
              <a:gd name="connsiteX154" fmla="*/ 1968326 w 2051041"/>
              <a:gd name="connsiteY154" fmla="*/ 1649940 h 2084191"/>
              <a:gd name="connsiteX155" fmla="*/ 1805617 w 2051041"/>
              <a:gd name="connsiteY155" fmla="*/ 1649939 h 2084191"/>
              <a:gd name="connsiteX156" fmla="*/ 1832826 w 2051041"/>
              <a:gd name="connsiteY156" fmla="*/ 1677148 h 2084191"/>
              <a:gd name="connsiteX157" fmla="*/ 1805073 w 2051041"/>
              <a:gd name="connsiteY157" fmla="*/ 1704357 h 2084191"/>
              <a:gd name="connsiteX158" fmla="*/ 1778409 w 2051041"/>
              <a:gd name="connsiteY158" fmla="*/ 1677148 h 2084191"/>
              <a:gd name="connsiteX159" fmla="*/ 1805617 w 2051041"/>
              <a:gd name="connsiteY159" fmla="*/ 1649939 h 2084191"/>
              <a:gd name="connsiteX160" fmla="*/ 744474 w 2051041"/>
              <a:gd name="connsiteY160" fmla="*/ 1588992 h 2084191"/>
              <a:gd name="connsiteX161" fmla="*/ 751004 w 2051041"/>
              <a:gd name="connsiteY161" fmla="*/ 1594978 h 2084191"/>
              <a:gd name="connsiteX162" fmla="*/ 745562 w 2051041"/>
              <a:gd name="connsiteY162" fmla="*/ 1602052 h 2084191"/>
              <a:gd name="connsiteX163" fmla="*/ 738488 w 2051041"/>
              <a:gd name="connsiteY163" fmla="*/ 1594978 h 2084191"/>
              <a:gd name="connsiteX164" fmla="*/ 744474 w 2051041"/>
              <a:gd name="connsiteY164" fmla="*/ 1588992 h 2084191"/>
              <a:gd name="connsiteX165" fmla="*/ 907183 w 2051041"/>
              <a:gd name="connsiteY165" fmla="*/ 1579741 h 2084191"/>
              <a:gd name="connsiteX166" fmla="*/ 923508 w 2051041"/>
              <a:gd name="connsiteY166" fmla="*/ 1594978 h 2084191"/>
              <a:gd name="connsiteX167" fmla="*/ 908815 w 2051041"/>
              <a:gd name="connsiteY167" fmla="*/ 1610759 h 2084191"/>
              <a:gd name="connsiteX168" fmla="*/ 892490 w 2051041"/>
              <a:gd name="connsiteY168" fmla="*/ 1595522 h 2084191"/>
              <a:gd name="connsiteX169" fmla="*/ 907183 w 2051041"/>
              <a:gd name="connsiteY169" fmla="*/ 1579741 h 2084191"/>
              <a:gd name="connsiteX170" fmla="*/ 1071524 w 2051041"/>
              <a:gd name="connsiteY170" fmla="*/ 1574843 h 2084191"/>
              <a:gd name="connsiteX171" fmla="*/ 1091114 w 2051041"/>
              <a:gd name="connsiteY171" fmla="*/ 1595522 h 2084191"/>
              <a:gd name="connsiteX172" fmla="*/ 1070980 w 2051041"/>
              <a:gd name="connsiteY172" fmla="*/ 1615656 h 2084191"/>
              <a:gd name="connsiteX173" fmla="*/ 1050301 w 2051041"/>
              <a:gd name="connsiteY173" fmla="*/ 1595522 h 2084191"/>
              <a:gd name="connsiteX174" fmla="*/ 1071524 w 2051041"/>
              <a:gd name="connsiteY174" fmla="*/ 1574843 h 2084191"/>
              <a:gd name="connsiteX175" fmla="*/ 1233688 w 2051041"/>
              <a:gd name="connsiteY175" fmla="*/ 1573210 h 2084191"/>
              <a:gd name="connsiteX176" fmla="*/ 1256544 w 2051041"/>
              <a:gd name="connsiteY176" fmla="*/ 1595522 h 2084191"/>
              <a:gd name="connsiteX177" fmla="*/ 1233688 w 2051041"/>
              <a:gd name="connsiteY177" fmla="*/ 1618377 h 2084191"/>
              <a:gd name="connsiteX178" fmla="*/ 1211377 w 2051041"/>
              <a:gd name="connsiteY178" fmla="*/ 1596610 h 2084191"/>
              <a:gd name="connsiteX179" fmla="*/ 1233688 w 2051041"/>
              <a:gd name="connsiteY179" fmla="*/ 1573210 h 2084191"/>
              <a:gd name="connsiteX180" fmla="*/ 1398030 w 2051041"/>
              <a:gd name="connsiteY180" fmla="*/ 1569402 h 2084191"/>
              <a:gd name="connsiteX181" fmla="*/ 1423062 w 2051041"/>
              <a:gd name="connsiteY181" fmla="*/ 1595522 h 2084191"/>
              <a:gd name="connsiteX182" fmla="*/ 1397485 w 2051041"/>
              <a:gd name="connsiteY182" fmla="*/ 1621099 h 2084191"/>
              <a:gd name="connsiteX183" fmla="*/ 1371365 w 2051041"/>
              <a:gd name="connsiteY183" fmla="*/ 1595522 h 2084191"/>
              <a:gd name="connsiteX184" fmla="*/ 1398030 w 2051041"/>
              <a:gd name="connsiteY184" fmla="*/ 1569402 h 2084191"/>
              <a:gd name="connsiteX185" fmla="*/ 1560194 w 2051041"/>
              <a:gd name="connsiteY185" fmla="*/ 1568313 h 2084191"/>
              <a:gd name="connsiteX186" fmla="*/ 1587947 w 2051041"/>
              <a:gd name="connsiteY186" fmla="*/ 1594433 h 2084191"/>
              <a:gd name="connsiteX187" fmla="*/ 1560194 w 2051041"/>
              <a:gd name="connsiteY187" fmla="*/ 1622730 h 2084191"/>
              <a:gd name="connsiteX188" fmla="*/ 1532985 w 2051041"/>
              <a:gd name="connsiteY188" fmla="*/ 1594977 h 2084191"/>
              <a:gd name="connsiteX189" fmla="*/ 1560194 w 2051041"/>
              <a:gd name="connsiteY189" fmla="*/ 1568313 h 2084191"/>
              <a:gd name="connsiteX190" fmla="*/ 1887244 w 2051041"/>
              <a:gd name="connsiteY190" fmla="*/ 1567225 h 2084191"/>
              <a:gd name="connsiteX191" fmla="*/ 1915541 w 2051041"/>
              <a:gd name="connsiteY191" fmla="*/ 1594978 h 2084191"/>
              <a:gd name="connsiteX192" fmla="*/ 1886699 w 2051041"/>
              <a:gd name="connsiteY192" fmla="*/ 1623819 h 2084191"/>
              <a:gd name="connsiteX193" fmla="*/ 1858947 w 2051041"/>
              <a:gd name="connsiteY193" fmla="*/ 1594978 h 2084191"/>
              <a:gd name="connsiteX194" fmla="*/ 1887244 w 2051041"/>
              <a:gd name="connsiteY194" fmla="*/ 1567225 h 2084191"/>
              <a:gd name="connsiteX195" fmla="*/ 1724535 w 2051041"/>
              <a:gd name="connsiteY195" fmla="*/ 1567225 h 2084191"/>
              <a:gd name="connsiteX196" fmla="*/ 1752288 w 2051041"/>
              <a:gd name="connsiteY196" fmla="*/ 1594978 h 2084191"/>
              <a:gd name="connsiteX197" fmla="*/ 1724535 w 2051041"/>
              <a:gd name="connsiteY197" fmla="*/ 1623275 h 2084191"/>
              <a:gd name="connsiteX198" fmla="*/ 1696238 w 2051041"/>
              <a:gd name="connsiteY198" fmla="*/ 1594978 h 2084191"/>
              <a:gd name="connsiteX199" fmla="*/ 1724535 w 2051041"/>
              <a:gd name="connsiteY199" fmla="*/ 1567225 h 2084191"/>
              <a:gd name="connsiteX200" fmla="*/ 2050496 w 2051041"/>
              <a:gd name="connsiteY200" fmla="*/ 1566680 h 2084191"/>
              <a:gd name="connsiteX201" fmla="*/ 2051041 w 2051041"/>
              <a:gd name="connsiteY201" fmla="*/ 1566888 h 2084191"/>
              <a:gd name="connsiteX202" fmla="*/ 2051041 w 2051041"/>
              <a:gd name="connsiteY202" fmla="*/ 1623794 h 2084191"/>
              <a:gd name="connsiteX203" fmla="*/ 2049408 w 2051041"/>
              <a:gd name="connsiteY203" fmla="*/ 1624363 h 2084191"/>
              <a:gd name="connsiteX204" fmla="*/ 2021655 w 2051041"/>
              <a:gd name="connsiteY204" fmla="*/ 1594977 h 2084191"/>
              <a:gd name="connsiteX205" fmla="*/ 2050496 w 2051041"/>
              <a:gd name="connsiteY205" fmla="*/ 1566680 h 2084191"/>
              <a:gd name="connsiteX206" fmla="*/ 663392 w 2051041"/>
              <a:gd name="connsiteY206" fmla="*/ 1505188 h 2084191"/>
              <a:gd name="connsiteX207" fmla="*/ 674819 w 2051041"/>
              <a:gd name="connsiteY207" fmla="*/ 1513895 h 2084191"/>
              <a:gd name="connsiteX208" fmla="*/ 662848 w 2051041"/>
              <a:gd name="connsiteY208" fmla="*/ 1522058 h 2084191"/>
              <a:gd name="connsiteX209" fmla="*/ 654685 w 2051041"/>
              <a:gd name="connsiteY209" fmla="*/ 1513351 h 2084191"/>
              <a:gd name="connsiteX210" fmla="*/ 663392 w 2051041"/>
              <a:gd name="connsiteY210" fmla="*/ 1505188 h 2084191"/>
              <a:gd name="connsiteX211" fmla="*/ 826101 w 2051041"/>
              <a:gd name="connsiteY211" fmla="*/ 1497570 h 2084191"/>
              <a:gd name="connsiteX212" fmla="*/ 842970 w 2051041"/>
              <a:gd name="connsiteY212" fmla="*/ 1513351 h 2084191"/>
              <a:gd name="connsiteX213" fmla="*/ 826645 w 2051041"/>
              <a:gd name="connsiteY213" fmla="*/ 1529676 h 2084191"/>
              <a:gd name="connsiteX214" fmla="*/ 810319 w 2051041"/>
              <a:gd name="connsiteY214" fmla="*/ 1514983 h 2084191"/>
              <a:gd name="connsiteX215" fmla="*/ 826101 w 2051041"/>
              <a:gd name="connsiteY215" fmla="*/ 1497570 h 2084191"/>
              <a:gd name="connsiteX216" fmla="*/ 988265 w 2051041"/>
              <a:gd name="connsiteY216" fmla="*/ 1492128 h 2084191"/>
              <a:gd name="connsiteX217" fmla="*/ 1010577 w 2051041"/>
              <a:gd name="connsiteY217" fmla="*/ 1513351 h 2084191"/>
              <a:gd name="connsiteX218" fmla="*/ 989354 w 2051041"/>
              <a:gd name="connsiteY218" fmla="*/ 1534574 h 2084191"/>
              <a:gd name="connsiteX219" fmla="*/ 968131 w 2051041"/>
              <a:gd name="connsiteY219" fmla="*/ 1513895 h 2084191"/>
              <a:gd name="connsiteX220" fmla="*/ 988265 w 2051041"/>
              <a:gd name="connsiteY220" fmla="*/ 1492128 h 2084191"/>
              <a:gd name="connsiteX221" fmla="*/ 1152606 w 2051041"/>
              <a:gd name="connsiteY221" fmla="*/ 1490496 h 2084191"/>
              <a:gd name="connsiteX222" fmla="*/ 1176006 w 2051041"/>
              <a:gd name="connsiteY222" fmla="*/ 1513351 h 2084191"/>
              <a:gd name="connsiteX223" fmla="*/ 1152606 w 2051041"/>
              <a:gd name="connsiteY223" fmla="*/ 1537839 h 2084191"/>
              <a:gd name="connsiteX224" fmla="*/ 1129207 w 2051041"/>
              <a:gd name="connsiteY224" fmla="*/ 1514984 h 2084191"/>
              <a:gd name="connsiteX225" fmla="*/ 1152606 w 2051041"/>
              <a:gd name="connsiteY225" fmla="*/ 1490496 h 2084191"/>
              <a:gd name="connsiteX226" fmla="*/ 1316403 w 2051041"/>
              <a:gd name="connsiteY226" fmla="*/ 1487231 h 2084191"/>
              <a:gd name="connsiteX227" fmla="*/ 1342523 w 2051041"/>
              <a:gd name="connsiteY227" fmla="*/ 1513896 h 2084191"/>
              <a:gd name="connsiteX228" fmla="*/ 1315314 w 2051041"/>
              <a:gd name="connsiteY228" fmla="*/ 1540560 h 2084191"/>
              <a:gd name="connsiteX229" fmla="*/ 1288650 w 2051041"/>
              <a:gd name="connsiteY229" fmla="*/ 1513896 h 2084191"/>
              <a:gd name="connsiteX230" fmla="*/ 1316403 w 2051041"/>
              <a:gd name="connsiteY230" fmla="*/ 1487231 h 2084191"/>
              <a:gd name="connsiteX231" fmla="*/ 1479656 w 2051041"/>
              <a:gd name="connsiteY231" fmla="*/ 1485054 h 2084191"/>
              <a:gd name="connsiteX232" fmla="*/ 1507409 w 2051041"/>
              <a:gd name="connsiteY232" fmla="*/ 1513895 h 2084191"/>
              <a:gd name="connsiteX233" fmla="*/ 1479112 w 2051041"/>
              <a:gd name="connsiteY233" fmla="*/ 1541648 h 2084191"/>
              <a:gd name="connsiteX234" fmla="*/ 1451359 w 2051041"/>
              <a:gd name="connsiteY234" fmla="*/ 1513351 h 2084191"/>
              <a:gd name="connsiteX235" fmla="*/ 1479656 w 2051041"/>
              <a:gd name="connsiteY235" fmla="*/ 1485054 h 2084191"/>
              <a:gd name="connsiteX236" fmla="*/ 1641820 w 2051041"/>
              <a:gd name="connsiteY236" fmla="*/ 1482334 h 2084191"/>
              <a:gd name="connsiteX237" fmla="*/ 1673382 w 2051041"/>
              <a:gd name="connsiteY237" fmla="*/ 1512807 h 2084191"/>
              <a:gd name="connsiteX238" fmla="*/ 1642909 w 2051041"/>
              <a:gd name="connsiteY238" fmla="*/ 1544370 h 2084191"/>
              <a:gd name="connsiteX239" fmla="*/ 1612435 w 2051041"/>
              <a:gd name="connsiteY239" fmla="*/ 1513351 h 2084191"/>
              <a:gd name="connsiteX240" fmla="*/ 1641820 w 2051041"/>
              <a:gd name="connsiteY240" fmla="*/ 1482334 h 2084191"/>
              <a:gd name="connsiteX241" fmla="*/ 1804529 w 2051041"/>
              <a:gd name="connsiteY241" fmla="*/ 1481788 h 2084191"/>
              <a:gd name="connsiteX242" fmla="*/ 1837180 w 2051041"/>
              <a:gd name="connsiteY242" fmla="*/ 1513351 h 2084191"/>
              <a:gd name="connsiteX243" fmla="*/ 1805617 w 2051041"/>
              <a:gd name="connsiteY243" fmla="*/ 1545457 h 2084191"/>
              <a:gd name="connsiteX244" fmla="*/ 1773511 w 2051041"/>
              <a:gd name="connsiteY244" fmla="*/ 1514983 h 2084191"/>
              <a:gd name="connsiteX245" fmla="*/ 1804529 w 2051041"/>
              <a:gd name="connsiteY245" fmla="*/ 1481788 h 2084191"/>
              <a:gd name="connsiteX246" fmla="*/ 1968870 w 2051041"/>
              <a:gd name="connsiteY246" fmla="*/ 1480700 h 2084191"/>
              <a:gd name="connsiteX247" fmla="*/ 2000977 w 2051041"/>
              <a:gd name="connsiteY247" fmla="*/ 1513351 h 2084191"/>
              <a:gd name="connsiteX248" fmla="*/ 1968870 w 2051041"/>
              <a:gd name="connsiteY248" fmla="*/ 1545457 h 2084191"/>
              <a:gd name="connsiteX249" fmla="*/ 1936764 w 2051041"/>
              <a:gd name="connsiteY249" fmla="*/ 1513351 h 2084191"/>
              <a:gd name="connsiteX250" fmla="*/ 1968870 w 2051041"/>
              <a:gd name="connsiteY250" fmla="*/ 1480700 h 2084191"/>
              <a:gd name="connsiteX251" fmla="*/ 581221 w 2051041"/>
              <a:gd name="connsiteY251" fmla="*/ 1423562 h 2084191"/>
              <a:gd name="connsiteX252" fmla="*/ 588840 w 2051041"/>
              <a:gd name="connsiteY252" fmla="*/ 1431725 h 2084191"/>
              <a:gd name="connsiteX253" fmla="*/ 581765 w 2051041"/>
              <a:gd name="connsiteY253" fmla="*/ 1443153 h 2084191"/>
              <a:gd name="connsiteX254" fmla="*/ 573059 w 2051041"/>
              <a:gd name="connsiteY254" fmla="*/ 1432813 h 2084191"/>
              <a:gd name="connsiteX255" fmla="*/ 581221 w 2051041"/>
              <a:gd name="connsiteY255" fmla="*/ 1423562 h 2084191"/>
              <a:gd name="connsiteX256" fmla="*/ 745562 w 2051041"/>
              <a:gd name="connsiteY256" fmla="*/ 1414855 h 2084191"/>
              <a:gd name="connsiteX257" fmla="*/ 761344 w 2051041"/>
              <a:gd name="connsiteY257" fmla="*/ 1432269 h 2084191"/>
              <a:gd name="connsiteX258" fmla="*/ 745018 w 2051041"/>
              <a:gd name="connsiteY258" fmla="*/ 1448050 h 2084191"/>
              <a:gd name="connsiteX259" fmla="*/ 728693 w 2051041"/>
              <a:gd name="connsiteY259" fmla="*/ 1431725 h 2084191"/>
              <a:gd name="connsiteX260" fmla="*/ 745562 w 2051041"/>
              <a:gd name="connsiteY260" fmla="*/ 1414855 h 2084191"/>
              <a:gd name="connsiteX261" fmla="*/ 908815 w 2051041"/>
              <a:gd name="connsiteY261" fmla="*/ 1409958 h 2084191"/>
              <a:gd name="connsiteX262" fmla="*/ 930038 w 2051041"/>
              <a:gd name="connsiteY262" fmla="*/ 1431725 h 2084191"/>
              <a:gd name="connsiteX263" fmla="*/ 907183 w 2051041"/>
              <a:gd name="connsiteY263" fmla="*/ 1453492 h 2084191"/>
              <a:gd name="connsiteX264" fmla="*/ 885960 w 2051041"/>
              <a:gd name="connsiteY264" fmla="*/ 1431725 h 2084191"/>
              <a:gd name="connsiteX265" fmla="*/ 908815 w 2051041"/>
              <a:gd name="connsiteY265" fmla="*/ 1409958 h 2084191"/>
              <a:gd name="connsiteX266" fmla="*/ 1070436 w 2051041"/>
              <a:gd name="connsiteY266" fmla="*/ 1406693 h 2084191"/>
              <a:gd name="connsiteX267" fmla="*/ 1096012 w 2051041"/>
              <a:gd name="connsiteY267" fmla="*/ 1432269 h 2084191"/>
              <a:gd name="connsiteX268" fmla="*/ 1070436 w 2051041"/>
              <a:gd name="connsiteY268" fmla="*/ 1457846 h 2084191"/>
              <a:gd name="connsiteX269" fmla="*/ 1045404 w 2051041"/>
              <a:gd name="connsiteY269" fmla="*/ 1431181 h 2084191"/>
              <a:gd name="connsiteX270" fmla="*/ 1070436 w 2051041"/>
              <a:gd name="connsiteY270" fmla="*/ 1406693 h 2084191"/>
              <a:gd name="connsiteX271" fmla="*/ 1235865 w 2051041"/>
              <a:gd name="connsiteY271" fmla="*/ 1404516 h 2084191"/>
              <a:gd name="connsiteX272" fmla="*/ 1261986 w 2051041"/>
              <a:gd name="connsiteY272" fmla="*/ 1433358 h 2084191"/>
              <a:gd name="connsiteX273" fmla="*/ 1233689 w 2051041"/>
              <a:gd name="connsiteY273" fmla="*/ 1459478 h 2084191"/>
              <a:gd name="connsiteX274" fmla="*/ 1206480 w 2051041"/>
              <a:gd name="connsiteY274" fmla="*/ 1432269 h 2084191"/>
              <a:gd name="connsiteX275" fmla="*/ 1235865 w 2051041"/>
              <a:gd name="connsiteY275" fmla="*/ 1404516 h 2084191"/>
              <a:gd name="connsiteX276" fmla="*/ 1397485 w 2051041"/>
              <a:gd name="connsiteY276" fmla="*/ 1400162 h 2084191"/>
              <a:gd name="connsiteX277" fmla="*/ 1427959 w 2051041"/>
              <a:gd name="connsiteY277" fmla="*/ 1431724 h 2084191"/>
              <a:gd name="connsiteX278" fmla="*/ 1398029 w 2051041"/>
              <a:gd name="connsiteY278" fmla="*/ 1463287 h 2084191"/>
              <a:gd name="connsiteX279" fmla="*/ 1366467 w 2051041"/>
              <a:gd name="connsiteY279" fmla="*/ 1432813 h 2084191"/>
              <a:gd name="connsiteX280" fmla="*/ 1397485 w 2051041"/>
              <a:gd name="connsiteY280" fmla="*/ 1400162 h 2084191"/>
              <a:gd name="connsiteX281" fmla="*/ 1561282 w 2051041"/>
              <a:gd name="connsiteY281" fmla="*/ 1399618 h 2084191"/>
              <a:gd name="connsiteX282" fmla="*/ 1593388 w 2051041"/>
              <a:gd name="connsiteY282" fmla="*/ 1432269 h 2084191"/>
              <a:gd name="connsiteX283" fmla="*/ 1560738 w 2051041"/>
              <a:gd name="connsiteY283" fmla="*/ 1464375 h 2084191"/>
              <a:gd name="connsiteX284" fmla="*/ 1528631 w 2051041"/>
              <a:gd name="connsiteY284" fmla="*/ 1432813 h 2084191"/>
              <a:gd name="connsiteX285" fmla="*/ 1561282 w 2051041"/>
              <a:gd name="connsiteY285" fmla="*/ 1399618 h 2084191"/>
              <a:gd name="connsiteX286" fmla="*/ 1723446 w 2051041"/>
              <a:gd name="connsiteY286" fmla="*/ 1399074 h 2084191"/>
              <a:gd name="connsiteX287" fmla="*/ 1757185 w 2051041"/>
              <a:gd name="connsiteY287" fmla="*/ 1432269 h 2084191"/>
              <a:gd name="connsiteX288" fmla="*/ 1723991 w 2051041"/>
              <a:gd name="connsiteY288" fmla="*/ 1465464 h 2084191"/>
              <a:gd name="connsiteX289" fmla="*/ 1691340 w 2051041"/>
              <a:gd name="connsiteY289" fmla="*/ 1433357 h 2084191"/>
              <a:gd name="connsiteX290" fmla="*/ 1723446 w 2051041"/>
              <a:gd name="connsiteY290" fmla="*/ 1399074 h 2084191"/>
              <a:gd name="connsiteX291" fmla="*/ 1886700 w 2051041"/>
              <a:gd name="connsiteY291" fmla="*/ 1398530 h 2084191"/>
              <a:gd name="connsiteX292" fmla="*/ 1920439 w 2051041"/>
              <a:gd name="connsiteY292" fmla="*/ 1432269 h 2084191"/>
              <a:gd name="connsiteX293" fmla="*/ 1887788 w 2051041"/>
              <a:gd name="connsiteY293" fmla="*/ 1464920 h 2084191"/>
              <a:gd name="connsiteX294" fmla="*/ 1854049 w 2051041"/>
              <a:gd name="connsiteY294" fmla="*/ 1433358 h 2084191"/>
              <a:gd name="connsiteX295" fmla="*/ 1886700 w 2051041"/>
              <a:gd name="connsiteY295" fmla="*/ 1398530 h 2084191"/>
              <a:gd name="connsiteX296" fmla="*/ 2051041 w 2051041"/>
              <a:gd name="connsiteY296" fmla="*/ 1398217 h 2084191"/>
              <a:gd name="connsiteX297" fmla="*/ 2051041 w 2051041"/>
              <a:gd name="connsiteY297" fmla="*/ 1464535 h 2084191"/>
              <a:gd name="connsiteX298" fmla="*/ 2049953 w 2051041"/>
              <a:gd name="connsiteY298" fmla="*/ 1464920 h 2084191"/>
              <a:gd name="connsiteX299" fmla="*/ 2017302 w 2051041"/>
              <a:gd name="connsiteY299" fmla="*/ 1431725 h 2084191"/>
              <a:gd name="connsiteX300" fmla="*/ 2027709 w 2051041"/>
              <a:gd name="connsiteY300" fmla="*/ 1408121 h 2084191"/>
              <a:gd name="connsiteX301" fmla="*/ 500139 w 2051041"/>
              <a:gd name="connsiteY301" fmla="*/ 1341936 h 2084191"/>
              <a:gd name="connsiteX302" fmla="*/ 511023 w 2051041"/>
              <a:gd name="connsiteY302" fmla="*/ 1350643 h 2084191"/>
              <a:gd name="connsiteX303" fmla="*/ 499595 w 2051041"/>
              <a:gd name="connsiteY303" fmla="*/ 1358261 h 2084191"/>
              <a:gd name="connsiteX304" fmla="*/ 491432 w 2051041"/>
              <a:gd name="connsiteY304" fmla="*/ 1349010 h 2084191"/>
              <a:gd name="connsiteX305" fmla="*/ 500139 w 2051041"/>
              <a:gd name="connsiteY305" fmla="*/ 1341936 h 2084191"/>
              <a:gd name="connsiteX306" fmla="*/ 662848 w 2051041"/>
              <a:gd name="connsiteY306" fmla="*/ 1333773 h 2084191"/>
              <a:gd name="connsiteX307" fmla="*/ 679173 w 2051041"/>
              <a:gd name="connsiteY307" fmla="*/ 1350643 h 2084191"/>
              <a:gd name="connsiteX308" fmla="*/ 662848 w 2051041"/>
              <a:gd name="connsiteY308" fmla="*/ 1366424 h 2084191"/>
              <a:gd name="connsiteX309" fmla="*/ 647067 w 2051041"/>
              <a:gd name="connsiteY309" fmla="*/ 1350098 h 2084191"/>
              <a:gd name="connsiteX310" fmla="*/ 662848 w 2051041"/>
              <a:gd name="connsiteY310" fmla="*/ 1333773 h 2084191"/>
              <a:gd name="connsiteX311" fmla="*/ 826645 w 2051041"/>
              <a:gd name="connsiteY311" fmla="*/ 1328331 h 2084191"/>
              <a:gd name="connsiteX312" fmla="*/ 847868 w 2051041"/>
              <a:gd name="connsiteY312" fmla="*/ 1350642 h 2084191"/>
              <a:gd name="connsiteX313" fmla="*/ 825556 w 2051041"/>
              <a:gd name="connsiteY313" fmla="*/ 1372409 h 2084191"/>
              <a:gd name="connsiteX314" fmla="*/ 804334 w 2051041"/>
              <a:gd name="connsiteY314" fmla="*/ 1349554 h 2084191"/>
              <a:gd name="connsiteX315" fmla="*/ 826645 w 2051041"/>
              <a:gd name="connsiteY315" fmla="*/ 1328331 h 2084191"/>
              <a:gd name="connsiteX316" fmla="*/ 989353 w 2051041"/>
              <a:gd name="connsiteY316" fmla="*/ 1323978 h 2084191"/>
              <a:gd name="connsiteX317" fmla="*/ 1015473 w 2051041"/>
              <a:gd name="connsiteY317" fmla="*/ 1350098 h 2084191"/>
              <a:gd name="connsiteX318" fmla="*/ 989353 w 2051041"/>
              <a:gd name="connsiteY318" fmla="*/ 1376763 h 2084191"/>
              <a:gd name="connsiteX319" fmla="*/ 963777 w 2051041"/>
              <a:gd name="connsiteY319" fmla="*/ 1350642 h 2084191"/>
              <a:gd name="connsiteX320" fmla="*/ 989353 w 2051041"/>
              <a:gd name="connsiteY320" fmla="*/ 1323978 h 2084191"/>
              <a:gd name="connsiteX321" fmla="*/ 1152606 w 2051041"/>
              <a:gd name="connsiteY321" fmla="*/ 1322889 h 2084191"/>
              <a:gd name="connsiteX322" fmla="*/ 1181447 w 2051041"/>
              <a:gd name="connsiteY322" fmla="*/ 1350098 h 2084191"/>
              <a:gd name="connsiteX323" fmla="*/ 1152606 w 2051041"/>
              <a:gd name="connsiteY323" fmla="*/ 1379483 h 2084191"/>
              <a:gd name="connsiteX324" fmla="*/ 1124853 w 2051041"/>
              <a:gd name="connsiteY324" fmla="*/ 1350642 h 2084191"/>
              <a:gd name="connsiteX325" fmla="*/ 1152606 w 2051041"/>
              <a:gd name="connsiteY325" fmla="*/ 1322889 h 2084191"/>
              <a:gd name="connsiteX326" fmla="*/ 1315315 w 2051041"/>
              <a:gd name="connsiteY326" fmla="*/ 1318536 h 2084191"/>
              <a:gd name="connsiteX327" fmla="*/ 1347966 w 2051041"/>
              <a:gd name="connsiteY327" fmla="*/ 1350098 h 2084191"/>
              <a:gd name="connsiteX328" fmla="*/ 1315315 w 2051041"/>
              <a:gd name="connsiteY328" fmla="*/ 1381661 h 2084191"/>
              <a:gd name="connsiteX329" fmla="*/ 1284297 w 2051041"/>
              <a:gd name="connsiteY329" fmla="*/ 1350098 h 2084191"/>
              <a:gd name="connsiteX330" fmla="*/ 1315315 w 2051041"/>
              <a:gd name="connsiteY330" fmla="*/ 1318536 h 2084191"/>
              <a:gd name="connsiteX331" fmla="*/ 1480744 w 2051041"/>
              <a:gd name="connsiteY331" fmla="*/ 1317448 h 2084191"/>
              <a:gd name="connsiteX332" fmla="*/ 1512306 w 2051041"/>
              <a:gd name="connsiteY332" fmla="*/ 1351731 h 2084191"/>
              <a:gd name="connsiteX333" fmla="*/ 1477479 w 2051041"/>
              <a:gd name="connsiteY333" fmla="*/ 1383293 h 2084191"/>
              <a:gd name="connsiteX334" fmla="*/ 1446461 w 2051041"/>
              <a:gd name="connsiteY334" fmla="*/ 1349554 h 2084191"/>
              <a:gd name="connsiteX335" fmla="*/ 1480744 w 2051041"/>
              <a:gd name="connsiteY335" fmla="*/ 1317448 h 2084191"/>
              <a:gd name="connsiteX336" fmla="*/ 1642908 w 2051041"/>
              <a:gd name="connsiteY336" fmla="*/ 1315815 h 2084191"/>
              <a:gd name="connsiteX337" fmla="*/ 1676647 w 2051041"/>
              <a:gd name="connsiteY337" fmla="*/ 1351731 h 2084191"/>
              <a:gd name="connsiteX338" fmla="*/ 1640732 w 2051041"/>
              <a:gd name="connsiteY338" fmla="*/ 1383837 h 2084191"/>
              <a:gd name="connsiteX339" fmla="*/ 1608081 w 2051041"/>
              <a:gd name="connsiteY339" fmla="*/ 1349554 h 2084191"/>
              <a:gd name="connsiteX340" fmla="*/ 1642908 w 2051041"/>
              <a:gd name="connsiteY340" fmla="*/ 1315815 h 2084191"/>
              <a:gd name="connsiteX341" fmla="*/ 1968870 w 2051041"/>
              <a:gd name="connsiteY341" fmla="*/ 1314183 h 2084191"/>
              <a:gd name="connsiteX342" fmla="*/ 2005329 w 2051041"/>
              <a:gd name="connsiteY342" fmla="*/ 1351187 h 2084191"/>
              <a:gd name="connsiteX343" fmla="*/ 1967781 w 2051041"/>
              <a:gd name="connsiteY343" fmla="*/ 1388191 h 2084191"/>
              <a:gd name="connsiteX344" fmla="*/ 1931866 w 2051041"/>
              <a:gd name="connsiteY344" fmla="*/ 1350098 h 2084191"/>
              <a:gd name="connsiteX345" fmla="*/ 1968870 w 2051041"/>
              <a:gd name="connsiteY345" fmla="*/ 1314183 h 2084191"/>
              <a:gd name="connsiteX346" fmla="*/ 1806161 w 2051041"/>
              <a:gd name="connsiteY346" fmla="*/ 1313639 h 2084191"/>
              <a:gd name="connsiteX347" fmla="*/ 1841533 w 2051041"/>
              <a:gd name="connsiteY347" fmla="*/ 1351187 h 2084191"/>
              <a:gd name="connsiteX348" fmla="*/ 1830105 w 2051041"/>
              <a:gd name="connsiteY348" fmla="*/ 1376763 h 2084191"/>
              <a:gd name="connsiteX349" fmla="*/ 1803984 w 2051041"/>
              <a:gd name="connsiteY349" fmla="*/ 1387102 h 2084191"/>
              <a:gd name="connsiteX350" fmla="*/ 1768613 w 2051041"/>
              <a:gd name="connsiteY350" fmla="*/ 1350098 h 2084191"/>
              <a:gd name="connsiteX351" fmla="*/ 1806161 w 2051041"/>
              <a:gd name="connsiteY351" fmla="*/ 1313639 h 2084191"/>
              <a:gd name="connsiteX352" fmla="*/ 419057 w 2051041"/>
              <a:gd name="connsiteY352" fmla="*/ 1262486 h 2084191"/>
              <a:gd name="connsiteX353" fmla="*/ 424499 w 2051041"/>
              <a:gd name="connsiteY353" fmla="*/ 1269016 h 2084191"/>
              <a:gd name="connsiteX354" fmla="*/ 417969 w 2051041"/>
              <a:gd name="connsiteY354" fmla="*/ 1278811 h 2084191"/>
              <a:gd name="connsiteX355" fmla="*/ 411983 w 2051041"/>
              <a:gd name="connsiteY355" fmla="*/ 1269016 h 2084191"/>
              <a:gd name="connsiteX356" fmla="*/ 419057 w 2051041"/>
              <a:gd name="connsiteY356" fmla="*/ 1262486 h 2084191"/>
              <a:gd name="connsiteX357" fmla="*/ 581221 w 2051041"/>
              <a:gd name="connsiteY357" fmla="*/ 1252147 h 2084191"/>
              <a:gd name="connsiteX358" fmla="*/ 597547 w 2051041"/>
              <a:gd name="connsiteY358" fmla="*/ 1269017 h 2084191"/>
              <a:gd name="connsiteX359" fmla="*/ 580133 w 2051041"/>
              <a:gd name="connsiteY359" fmla="*/ 1284254 h 2084191"/>
              <a:gd name="connsiteX360" fmla="*/ 564896 w 2051041"/>
              <a:gd name="connsiteY360" fmla="*/ 1268472 h 2084191"/>
              <a:gd name="connsiteX361" fmla="*/ 581221 w 2051041"/>
              <a:gd name="connsiteY361" fmla="*/ 1252147 h 2084191"/>
              <a:gd name="connsiteX362" fmla="*/ 745018 w 2051041"/>
              <a:gd name="connsiteY362" fmla="*/ 1246705 h 2084191"/>
              <a:gd name="connsiteX363" fmla="*/ 766241 w 2051041"/>
              <a:gd name="connsiteY363" fmla="*/ 1269560 h 2084191"/>
              <a:gd name="connsiteX364" fmla="*/ 744474 w 2051041"/>
              <a:gd name="connsiteY364" fmla="*/ 1290783 h 2084191"/>
              <a:gd name="connsiteX365" fmla="*/ 722707 w 2051041"/>
              <a:gd name="connsiteY365" fmla="*/ 1267928 h 2084191"/>
              <a:gd name="connsiteX366" fmla="*/ 745018 w 2051041"/>
              <a:gd name="connsiteY366" fmla="*/ 1246705 h 2084191"/>
              <a:gd name="connsiteX367" fmla="*/ 907727 w 2051041"/>
              <a:gd name="connsiteY367" fmla="*/ 1241807 h 2084191"/>
              <a:gd name="connsiteX368" fmla="*/ 933847 w 2051041"/>
              <a:gd name="connsiteY368" fmla="*/ 1269016 h 2084191"/>
              <a:gd name="connsiteX369" fmla="*/ 907183 w 2051041"/>
              <a:gd name="connsiteY369" fmla="*/ 1295136 h 2084191"/>
              <a:gd name="connsiteX370" fmla="*/ 880518 w 2051041"/>
              <a:gd name="connsiteY370" fmla="*/ 1267927 h 2084191"/>
              <a:gd name="connsiteX371" fmla="*/ 907727 w 2051041"/>
              <a:gd name="connsiteY371" fmla="*/ 1241807 h 2084191"/>
              <a:gd name="connsiteX372" fmla="*/ 1070979 w 2051041"/>
              <a:gd name="connsiteY372" fmla="*/ 1240719 h 2084191"/>
              <a:gd name="connsiteX373" fmla="*/ 1099821 w 2051041"/>
              <a:gd name="connsiteY373" fmla="*/ 1268472 h 2084191"/>
              <a:gd name="connsiteX374" fmla="*/ 1070435 w 2051041"/>
              <a:gd name="connsiteY374" fmla="*/ 1297858 h 2084191"/>
              <a:gd name="connsiteX375" fmla="*/ 1042138 w 2051041"/>
              <a:gd name="connsiteY375" fmla="*/ 1269560 h 2084191"/>
              <a:gd name="connsiteX376" fmla="*/ 1070979 w 2051041"/>
              <a:gd name="connsiteY376" fmla="*/ 1240719 h 2084191"/>
              <a:gd name="connsiteX377" fmla="*/ 1234233 w 2051041"/>
              <a:gd name="connsiteY377" fmla="*/ 1235821 h 2084191"/>
              <a:gd name="connsiteX378" fmla="*/ 1266883 w 2051041"/>
              <a:gd name="connsiteY378" fmla="*/ 1269016 h 2084191"/>
              <a:gd name="connsiteX379" fmla="*/ 1234233 w 2051041"/>
              <a:gd name="connsiteY379" fmla="*/ 1300578 h 2084191"/>
              <a:gd name="connsiteX380" fmla="*/ 1201582 w 2051041"/>
              <a:gd name="connsiteY380" fmla="*/ 1267383 h 2084191"/>
              <a:gd name="connsiteX381" fmla="*/ 1234233 w 2051041"/>
              <a:gd name="connsiteY381" fmla="*/ 1235821 h 2084191"/>
              <a:gd name="connsiteX382" fmla="*/ 1396397 w 2051041"/>
              <a:gd name="connsiteY382" fmla="*/ 1234733 h 2084191"/>
              <a:gd name="connsiteX383" fmla="*/ 1431224 w 2051041"/>
              <a:gd name="connsiteY383" fmla="*/ 1268472 h 2084191"/>
              <a:gd name="connsiteX384" fmla="*/ 1396941 w 2051041"/>
              <a:gd name="connsiteY384" fmla="*/ 1302755 h 2084191"/>
              <a:gd name="connsiteX385" fmla="*/ 1363746 w 2051041"/>
              <a:gd name="connsiteY385" fmla="*/ 1269016 h 2084191"/>
              <a:gd name="connsiteX386" fmla="*/ 1396397 w 2051041"/>
              <a:gd name="connsiteY386" fmla="*/ 1234733 h 2084191"/>
              <a:gd name="connsiteX387" fmla="*/ 1559649 w 2051041"/>
              <a:gd name="connsiteY387" fmla="*/ 1232557 h 2084191"/>
              <a:gd name="connsiteX388" fmla="*/ 1597742 w 2051041"/>
              <a:gd name="connsiteY388" fmla="*/ 1268472 h 2084191"/>
              <a:gd name="connsiteX389" fmla="*/ 1561826 w 2051041"/>
              <a:gd name="connsiteY389" fmla="*/ 1305476 h 2084191"/>
              <a:gd name="connsiteX390" fmla="*/ 1523734 w 2051041"/>
              <a:gd name="connsiteY390" fmla="*/ 1269561 h 2084191"/>
              <a:gd name="connsiteX391" fmla="*/ 1559649 w 2051041"/>
              <a:gd name="connsiteY391" fmla="*/ 1232557 h 2084191"/>
              <a:gd name="connsiteX392" fmla="*/ 1723990 w 2051041"/>
              <a:gd name="connsiteY392" fmla="*/ 1231468 h 2084191"/>
              <a:gd name="connsiteX393" fmla="*/ 1762083 w 2051041"/>
              <a:gd name="connsiteY393" fmla="*/ 1268472 h 2084191"/>
              <a:gd name="connsiteX394" fmla="*/ 1724535 w 2051041"/>
              <a:gd name="connsiteY394" fmla="*/ 1307109 h 2084191"/>
              <a:gd name="connsiteX395" fmla="*/ 1686442 w 2051041"/>
              <a:gd name="connsiteY395" fmla="*/ 1270105 h 2084191"/>
              <a:gd name="connsiteX396" fmla="*/ 1723990 w 2051041"/>
              <a:gd name="connsiteY396" fmla="*/ 1231468 h 2084191"/>
              <a:gd name="connsiteX397" fmla="*/ 1888332 w 2051041"/>
              <a:gd name="connsiteY397" fmla="*/ 1230924 h 2084191"/>
              <a:gd name="connsiteX398" fmla="*/ 1925336 w 2051041"/>
              <a:gd name="connsiteY398" fmla="*/ 1269561 h 2084191"/>
              <a:gd name="connsiteX399" fmla="*/ 1887243 w 2051041"/>
              <a:gd name="connsiteY399" fmla="*/ 1307653 h 2084191"/>
              <a:gd name="connsiteX400" fmla="*/ 1849151 w 2051041"/>
              <a:gd name="connsiteY400" fmla="*/ 1267928 h 2084191"/>
              <a:gd name="connsiteX401" fmla="*/ 1888332 w 2051041"/>
              <a:gd name="connsiteY401" fmla="*/ 1230924 h 2084191"/>
              <a:gd name="connsiteX402" fmla="*/ 2049952 w 2051041"/>
              <a:gd name="connsiteY402" fmla="*/ 1230380 h 2084191"/>
              <a:gd name="connsiteX403" fmla="*/ 2051041 w 2051041"/>
              <a:gd name="connsiteY403" fmla="*/ 1230805 h 2084191"/>
              <a:gd name="connsiteX404" fmla="*/ 2051041 w 2051041"/>
              <a:gd name="connsiteY404" fmla="*/ 1307109 h 2084191"/>
              <a:gd name="connsiteX405" fmla="*/ 2012404 w 2051041"/>
              <a:gd name="connsiteY405" fmla="*/ 1268472 h 2084191"/>
              <a:gd name="connsiteX406" fmla="*/ 2049952 w 2051041"/>
              <a:gd name="connsiteY406" fmla="*/ 1230380 h 2084191"/>
              <a:gd name="connsiteX407" fmla="*/ 337431 w 2051041"/>
              <a:gd name="connsiteY407" fmla="*/ 1181404 h 2084191"/>
              <a:gd name="connsiteX408" fmla="*/ 345050 w 2051041"/>
              <a:gd name="connsiteY408" fmla="*/ 1187934 h 2084191"/>
              <a:gd name="connsiteX409" fmla="*/ 336343 w 2051041"/>
              <a:gd name="connsiteY409" fmla="*/ 1192288 h 2084191"/>
              <a:gd name="connsiteX410" fmla="*/ 330901 w 2051041"/>
              <a:gd name="connsiteY410" fmla="*/ 1185758 h 2084191"/>
              <a:gd name="connsiteX411" fmla="*/ 337431 w 2051041"/>
              <a:gd name="connsiteY411" fmla="*/ 1181404 h 2084191"/>
              <a:gd name="connsiteX412" fmla="*/ 499051 w 2051041"/>
              <a:gd name="connsiteY412" fmla="*/ 1171065 h 2084191"/>
              <a:gd name="connsiteX413" fmla="*/ 516465 w 2051041"/>
              <a:gd name="connsiteY413" fmla="*/ 1187390 h 2084191"/>
              <a:gd name="connsiteX414" fmla="*/ 500140 w 2051041"/>
              <a:gd name="connsiteY414" fmla="*/ 1202627 h 2084191"/>
              <a:gd name="connsiteX415" fmla="*/ 483814 w 2051041"/>
              <a:gd name="connsiteY415" fmla="*/ 1187390 h 2084191"/>
              <a:gd name="connsiteX416" fmla="*/ 499051 w 2051041"/>
              <a:gd name="connsiteY416" fmla="*/ 1171065 h 2084191"/>
              <a:gd name="connsiteX417" fmla="*/ 662848 w 2051041"/>
              <a:gd name="connsiteY417" fmla="*/ 1165623 h 2084191"/>
              <a:gd name="connsiteX418" fmla="*/ 684615 w 2051041"/>
              <a:gd name="connsiteY418" fmla="*/ 1187390 h 2084191"/>
              <a:gd name="connsiteX419" fmla="*/ 662848 w 2051041"/>
              <a:gd name="connsiteY419" fmla="*/ 1209157 h 2084191"/>
              <a:gd name="connsiteX420" fmla="*/ 641081 w 2051041"/>
              <a:gd name="connsiteY420" fmla="*/ 1186846 h 2084191"/>
              <a:gd name="connsiteX421" fmla="*/ 662848 w 2051041"/>
              <a:gd name="connsiteY421" fmla="*/ 1165623 h 2084191"/>
              <a:gd name="connsiteX422" fmla="*/ 825556 w 2051041"/>
              <a:gd name="connsiteY422" fmla="*/ 1160725 h 2084191"/>
              <a:gd name="connsiteX423" fmla="*/ 852765 w 2051041"/>
              <a:gd name="connsiteY423" fmla="*/ 1186846 h 2084191"/>
              <a:gd name="connsiteX424" fmla="*/ 826645 w 2051041"/>
              <a:gd name="connsiteY424" fmla="*/ 1213511 h 2084191"/>
              <a:gd name="connsiteX425" fmla="*/ 798892 w 2051041"/>
              <a:gd name="connsiteY425" fmla="*/ 1188479 h 2084191"/>
              <a:gd name="connsiteX426" fmla="*/ 825556 w 2051041"/>
              <a:gd name="connsiteY426" fmla="*/ 1160725 h 2084191"/>
              <a:gd name="connsiteX427" fmla="*/ 989353 w 2051041"/>
              <a:gd name="connsiteY427" fmla="*/ 1158004 h 2084191"/>
              <a:gd name="connsiteX428" fmla="*/ 1018195 w 2051041"/>
              <a:gd name="connsiteY428" fmla="*/ 1187934 h 2084191"/>
              <a:gd name="connsiteX429" fmla="*/ 988809 w 2051041"/>
              <a:gd name="connsiteY429" fmla="*/ 1216775 h 2084191"/>
              <a:gd name="connsiteX430" fmla="*/ 959968 w 2051041"/>
              <a:gd name="connsiteY430" fmla="*/ 1187934 h 2084191"/>
              <a:gd name="connsiteX431" fmla="*/ 989353 w 2051041"/>
              <a:gd name="connsiteY431" fmla="*/ 1158004 h 2084191"/>
              <a:gd name="connsiteX432" fmla="*/ 1152062 w 2051041"/>
              <a:gd name="connsiteY432" fmla="*/ 1153651 h 2084191"/>
              <a:gd name="connsiteX433" fmla="*/ 1185801 w 2051041"/>
              <a:gd name="connsiteY433" fmla="*/ 1186301 h 2084191"/>
              <a:gd name="connsiteX434" fmla="*/ 1153150 w 2051041"/>
              <a:gd name="connsiteY434" fmla="*/ 1219496 h 2084191"/>
              <a:gd name="connsiteX435" fmla="*/ 1119956 w 2051041"/>
              <a:gd name="connsiteY435" fmla="*/ 1187390 h 2084191"/>
              <a:gd name="connsiteX436" fmla="*/ 1152062 w 2051041"/>
              <a:gd name="connsiteY436" fmla="*/ 1153651 h 2084191"/>
              <a:gd name="connsiteX437" fmla="*/ 1315315 w 2051041"/>
              <a:gd name="connsiteY437" fmla="*/ 1152018 h 2084191"/>
              <a:gd name="connsiteX438" fmla="*/ 1351230 w 2051041"/>
              <a:gd name="connsiteY438" fmla="*/ 1186845 h 2084191"/>
              <a:gd name="connsiteX439" fmla="*/ 1315859 w 2051041"/>
              <a:gd name="connsiteY439" fmla="*/ 1221673 h 2084191"/>
              <a:gd name="connsiteX440" fmla="*/ 1281576 w 2051041"/>
              <a:gd name="connsiteY440" fmla="*/ 1187390 h 2084191"/>
              <a:gd name="connsiteX441" fmla="*/ 1315315 w 2051041"/>
              <a:gd name="connsiteY441" fmla="*/ 1152018 h 2084191"/>
              <a:gd name="connsiteX442" fmla="*/ 1479656 w 2051041"/>
              <a:gd name="connsiteY442" fmla="*/ 1149298 h 2084191"/>
              <a:gd name="connsiteX443" fmla="*/ 1516660 w 2051041"/>
              <a:gd name="connsiteY443" fmla="*/ 1188479 h 2084191"/>
              <a:gd name="connsiteX444" fmla="*/ 1478023 w 2051041"/>
              <a:gd name="connsiteY444" fmla="*/ 1224394 h 2084191"/>
              <a:gd name="connsiteX445" fmla="*/ 1441563 w 2051041"/>
              <a:gd name="connsiteY445" fmla="*/ 1185758 h 2084191"/>
              <a:gd name="connsiteX446" fmla="*/ 1479656 w 2051041"/>
              <a:gd name="connsiteY446" fmla="*/ 1149298 h 2084191"/>
              <a:gd name="connsiteX447" fmla="*/ 1642365 w 2051041"/>
              <a:gd name="connsiteY447" fmla="*/ 1148209 h 2084191"/>
              <a:gd name="connsiteX448" fmla="*/ 1681001 w 2051041"/>
              <a:gd name="connsiteY448" fmla="*/ 1187390 h 2084191"/>
              <a:gd name="connsiteX449" fmla="*/ 1641821 w 2051041"/>
              <a:gd name="connsiteY449" fmla="*/ 1226026 h 2084191"/>
              <a:gd name="connsiteX450" fmla="*/ 1603728 w 2051041"/>
              <a:gd name="connsiteY450" fmla="*/ 1186846 h 2084191"/>
              <a:gd name="connsiteX451" fmla="*/ 1642365 w 2051041"/>
              <a:gd name="connsiteY451" fmla="*/ 1148209 h 2084191"/>
              <a:gd name="connsiteX452" fmla="*/ 1969414 w 2051041"/>
              <a:gd name="connsiteY452" fmla="*/ 1147665 h 2084191"/>
              <a:gd name="connsiteX453" fmla="*/ 2009139 w 2051041"/>
              <a:gd name="connsiteY453" fmla="*/ 1187934 h 2084191"/>
              <a:gd name="connsiteX454" fmla="*/ 1968870 w 2051041"/>
              <a:gd name="connsiteY454" fmla="*/ 1227114 h 2084191"/>
              <a:gd name="connsiteX455" fmla="*/ 1929145 w 2051041"/>
              <a:gd name="connsiteY455" fmla="*/ 1186301 h 2084191"/>
              <a:gd name="connsiteX456" fmla="*/ 1969414 w 2051041"/>
              <a:gd name="connsiteY456" fmla="*/ 1147665 h 2084191"/>
              <a:gd name="connsiteX457" fmla="*/ 1805617 w 2051041"/>
              <a:gd name="connsiteY457" fmla="*/ 1147665 h 2084191"/>
              <a:gd name="connsiteX458" fmla="*/ 1844798 w 2051041"/>
              <a:gd name="connsiteY458" fmla="*/ 1187934 h 2084191"/>
              <a:gd name="connsiteX459" fmla="*/ 1805073 w 2051041"/>
              <a:gd name="connsiteY459" fmla="*/ 1226571 h 2084191"/>
              <a:gd name="connsiteX460" fmla="*/ 1766981 w 2051041"/>
              <a:gd name="connsiteY460" fmla="*/ 1186845 h 2084191"/>
              <a:gd name="connsiteX461" fmla="*/ 1805617 w 2051041"/>
              <a:gd name="connsiteY461" fmla="*/ 1147665 h 2084191"/>
              <a:gd name="connsiteX462" fmla="*/ 417425 w 2051041"/>
              <a:gd name="connsiteY462" fmla="*/ 1090527 h 2084191"/>
              <a:gd name="connsiteX463" fmla="*/ 432662 w 2051041"/>
              <a:gd name="connsiteY463" fmla="*/ 1105764 h 2084191"/>
              <a:gd name="connsiteX464" fmla="*/ 417969 w 2051041"/>
              <a:gd name="connsiteY464" fmla="*/ 1120457 h 2084191"/>
              <a:gd name="connsiteX465" fmla="*/ 402732 w 2051041"/>
              <a:gd name="connsiteY465" fmla="*/ 1105219 h 2084191"/>
              <a:gd name="connsiteX466" fmla="*/ 417425 w 2051041"/>
              <a:gd name="connsiteY466" fmla="*/ 1090527 h 2084191"/>
              <a:gd name="connsiteX467" fmla="*/ 580677 w 2051041"/>
              <a:gd name="connsiteY467" fmla="*/ 1083996 h 2084191"/>
              <a:gd name="connsiteX468" fmla="*/ 602444 w 2051041"/>
              <a:gd name="connsiteY468" fmla="*/ 1105219 h 2084191"/>
              <a:gd name="connsiteX469" fmla="*/ 581221 w 2051041"/>
              <a:gd name="connsiteY469" fmla="*/ 1127530 h 2084191"/>
              <a:gd name="connsiteX470" fmla="*/ 558910 w 2051041"/>
              <a:gd name="connsiteY470" fmla="*/ 1105219 h 2084191"/>
              <a:gd name="connsiteX471" fmla="*/ 580677 w 2051041"/>
              <a:gd name="connsiteY471" fmla="*/ 1083996 h 2084191"/>
              <a:gd name="connsiteX472" fmla="*/ 743386 w 2051041"/>
              <a:gd name="connsiteY472" fmla="*/ 1079099 h 2084191"/>
              <a:gd name="connsiteX473" fmla="*/ 770595 w 2051041"/>
              <a:gd name="connsiteY473" fmla="*/ 1105219 h 2084191"/>
              <a:gd name="connsiteX474" fmla="*/ 745019 w 2051041"/>
              <a:gd name="connsiteY474" fmla="*/ 1132428 h 2084191"/>
              <a:gd name="connsiteX475" fmla="*/ 717810 w 2051041"/>
              <a:gd name="connsiteY475" fmla="*/ 1106308 h 2084191"/>
              <a:gd name="connsiteX476" fmla="*/ 743386 w 2051041"/>
              <a:gd name="connsiteY476" fmla="*/ 1079099 h 2084191"/>
              <a:gd name="connsiteX477" fmla="*/ 907727 w 2051041"/>
              <a:gd name="connsiteY477" fmla="*/ 1076378 h 2084191"/>
              <a:gd name="connsiteX478" fmla="*/ 937112 w 2051041"/>
              <a:gd name="connsiteY478" fmla="*/ 1105219 h 2084191"/>
              <a:gd name="connsiteX479" fmla="*/ 908271 w 2051041"/>
              <a:gd name="connsiteY479" fmla="*/ 1134061 h 2084191"/>
              <a:gd name="connsiteX480" fmla="*/ 878885 w 2051041"/>
              <a:gd name="connsiteY480" fmla="*/ 1105764 h 2084191"/>
              <a:gd name="connsiteX481" fmla="*/ 907727 w 2051041"/>
              <a:gd name="connsiteY481" fmla="*/ 1076378 h 2084191"/>
              <a:gd name="connsiteX482" fmla="*/ 1071524 w 2051041"/>
              <a:gd name="connsiteY482" fmla="*/ 1072569 h 2084191"/>
              <a:gd name="connsiteX483" fmla="*/ 1104174 w 2051041"/>
              <a:gd name="connsiteY483" fmla="*/ 1105220 h 2084191"/>
              <a:gd name="connsiteX484" fmla="*/ 1070435 w 2051041"/>
              <a:gd name="connsiteY484" fmla="*/ 1137870 h 2084191"/>
              <a:gd name="connsiteX485" fmla="*/ 1038329 w 2051041"/>
              <a:gd name="connsiteY485" fmla="*/ 1105764 h 2084191"/>
              <a:gd name="connsiteX486" fmla="*/ 1071524 w 2051041"/>
              <a:gd name="connsiteY486" fmla="*/ 1072569 h 2084191"/>
              <a:gd name="connsiteX487" fmla="*/ 1235865 w 2051041"/>
              <a:gd name="connsiteY487" fmla="*/ 1068760 h 2084191"/>
              <a:gd name="connsiteX488" fmla="*/ 1271237 w 2051041"/>
              <a:gd name="connsiteY488" fmla="*/ 1106852 h 2084191"/>
              <a:gd name="connsiteX489" fmla="*/ 1234777 w 2051041"/>
              <a:gd name="connsiteY489" fmla="*/ 1142223 h 2084191"/>
              <a:gd name="connsiteX490" fmla="*/ 1198861 w 2051041"/>
              <a:gd name="connsiteY490" fmla="*/ 1105219 h 2084191"/>
              <a:gd name="connsiteX491" fmla="*/ 1235865 w 2051041"/>
              <a:gd name="connsiteY491" fmla="*/ 1068760 h 2084191"/>
              <a:gd name="connsiteX492" fmla="*/ 1396397 w 2051041"/>
              <a:gd name="connsiteY492" fmla="*/ 1067127 h 2084191"/>
              <a:gd name="connsiteX493" fmla="*/ 1435578 w 2051041"/>
              <a:gd name="connsiteY493" fmla="*/ 1105219 h 2084191"/>
              <a:gd name="connsiteX494" fmla="*/ 1396941 w 2051041"/>
              <a:gd name="connsiteY494" fmla="*/ 1143856 h 2084191"/>
              <a:gd name="connsiteX495" fmla="*/ 1358849 w 2051041"/>
              <a:gd name="connsiteY495" fmla="*/ 1105763 h 2084191"/>
              <a:gd name="connsiteX496" fmla="*/ 1396397 w 2051041"/>
              <a:gd name="connsiteY496" fmla="*/ 1067127 h 2084191"/>
              <a:gd name="connsiteX497" fmla="*/ 1560738 w 2051041"/>
              <a:gd name="connsiteY497" fmla="*/ 1066582 h 2084191"/>
              <a:gd name="connsiteX498" fmla="*/ 1599919 w 2051041"/>
              <a:gd name="connsiteY498" fmla="*/ 1105763 h 2084191"/>
              <a:gd name="connsiteX499" fmla="*/ 1560738 w 2051041"/>
              <a:gd name="connsiteY499" fmla="*/ 1144400 h 2084191"/>
              <a:gd name="connsiteX500" fmla="*/ 1521013 w 2051041"/>
              <a:gd name="connsiteY500" fmla="*/ 1105763 h 2084191"/>
              <a:gd name="connsiteX501" fmla="*/ 1560738 w 2051041"/>
              <a:gd name="connsiteY501" fmla="*/ 1066582 h 2084191"/>
              <a:gd name="connsiteX502" fmla="*/ 1723447 w 2051041"/>
              <a:gd name="connsiteY502" fmla="*/ 1064406 h 2084191"/>
              <a:gd name="connsiteX503" fmla="*/ 1764260 w 2051041"/>
              <a:gd name="connsiteY503" fmla="*/ 1104675 h 2084191"/>
              <a:gd name="connsiteX504" fmla="*/ 1724535 w 2051041"/>
              <a:gd name="connsiteY504" fmla="*/ 1146032 h 2084191"/>
              <a:gd name="connsiteX505" fmla="*/ 1683178 w 2051041"/>
              <a:gd name="connsiteY505" fmla="*/ 1105764 h 2084191"/>
              <a:gd name="connsiteX506" fmla="*/ 1723447 w 2051041"/>
              <a:gd name="connsiteY506" fmla="*/ 1064406 h 2084191"/>
              <a:gd name="connsiteX507" fmla="*/ 2051041 w 2051041"/>
              <a:gd name="connsiteY507" fmla="*/ 1063318 h 2084191"/>
              <a:gd name="connsiteX508" fmla="*/ 2051041 w 2051041"/>
              <a:gd name="connsiteY508" fmla="*/ 1147740 h 2084191"/>
              <a:gd name="connsiteX509" fmla="*/ 2049952 w 2051041"/>
              <a:gd name="connsiteY509" fmla="*/ 1148210 h 2084191"/>
              <a:gd name="connsiteX510" fmla="*/ 2008051 w 2051041"/>
              <a:gd name="connsiteY510" fmla="*/ 1105764 h 2084191"/>
              <a:gd name="connsiteX511" fmla="*/ 2051041 w 2051041"/>
              <a:gd name="connsiteY511" fmla="*/ 1063318 h 2084191"/>
              <a:gd name="connsiteX512" fmla="*/ 1887787 w 2051041"/>
              <a:gd name="connsiteY512" fmla="*/ 1062773 h 2084191"/>
              <a:gd name="connsiteX513" fmla="*/ 1929145 w 2051041"/>
              <a:gd name="connsiteY513" fmla="*/ 1105763 h 2084191"/>
              <a:gd name="connsiteX514" fmla="*/ 1886699 w 2051041"/>
              <a:gd name="connsiteY514" fmla="*/ 1147665 h 2084191"/>
              <a:gd name="connsiteX515" fmla="*/ 1844798 w 2051041"/>
              <a:gd name="connsiteY515" fmla="*/ 1105219 h 2084191"/>
              <a:gd name="connsiteX516" fmla="*/ 1887787 w 2051041"/>
              <a:gd name="connsiteY516" fmla="*/ 1062773 h 2084191"/>
              <a:gd name="connsiteX517" fmla="*/ 335798 w 2051041"/>
              <a:gd name="connsiteY517" fmla="*/ 1011621 h 2084191"/>
              <a:gd name="connsiteX518" fmla="*/ 348314 w 2051041"/>
              <a:gd name="connsiteY518" fmla="*/ 1023049 h 2084191"/>
              <a:gd name="connsiteX519" fmla="*/ 336886 w 2051041"/>
              <a:gd name="connsiteY519" fmla="*/ 1036109 h 2084191"/>
              <a:gd name="connsiteX520" fmla="*/ 324370 w 2051041"/>
              <a:gd name="connsiteY520" fmla="*/ 1024681 h 2084191"/>
              <a:gd name="connsiteX521" fmla="*/ 335798 w 2051041"/>
              <a:gd name="connsiteY521" fmla="*/ 1011621 h 2084191"/>
              <a:gd name="connsiteX522" fmla="*/ 499051 w 2051041"/>
              <a:gd name="connsiteY522" fmla="*/ 1002914 h 2084191"/>
              <a:gd name="connsiteX523" fmla="*/ 520818 w 2051041"/>
              <a:gd name="connsiteY523" fmla="*/ 1024137 h 2084191"/>
              <a:gd name="connsiteX524" fmla="*/ 499595 w 2051041"/>
              <a:gd name="connsiteY524" fmla="*/ 1045360 h 2084191"/>
              <a:gd name="connsiteX525" fmla="*/ 478372 w 2051041"/>
              <a:gd name="connsiteY525" fmla="*/ 1024137 h 2084191"/>
              <a:gd name="connsiteX526" fmla="*/ 499051 w 2051041"/>
              <a:gd name="connsiteY526" fmla="*/ 1002914 h 2084191"/>
              <a:gd name="connsiteX527" fmla="*/ 663392 w 2051041"/>
              <a:gd name="connsiteY527" fmla="*/ 997473 h 2084191"/>
              <a:gd name="connsiteX528" fmla="*/ 688424 w 2051041"/>
              <a:gd name="connsiteY528" fmla="*/ 1024138 h 2084191"/>
              <a:gd name="connsiteX529" fmla="*/ 661759 w 2051041"/>
              <a:gd name="connsiteY529" fmla="*/ 1050258 h 2084191"/>
              <a:gd name="connsiteX530" fmla="*/ 636727 w 2051041"/>
              <a:gd name="connsiteY530" fmla="*/ 1023593 h 2084191"/>
              <a:gd name="connsiteX531" fmla="*/ 663392 w 2051041"/>
              <a:gd name="connsiteY531" fmla="*/ 997473 h 2084191"/>
              <a:gd name="connsiteX532" fmla="*/ 826645 w 2051041"/>
              <a:gd name="connsiteY532" fmla="*/ 995840 h 2084191"/>
              <a:gd name="connsiteX533" fmla="*/ 854942 w 2051041"/>
              <a:gd name="connsiteY533" fmla="*/ 1024137 h 2084191"/>
              <a:gd name="connsiteX534" fmla="*/ 825557 w 2051041"/>
              <a:gd name="connsiteY534" fmla="*/ 1052978 h 2084191"/>
              <a:gd name="connsiteX535" fmla="*/ 797260 w 2051041"/>
              <a:gd name="connsiteY535" fmla="*/ 1023593 h 2084191"/>
              <a:gd name="connsiteX536" fmla="*/ 826645 w 2051041"/>
              <a:gd name="connsiteY536" fmla="*/ 995840 h 2084191"/>
              <a:gd name="connsiteX537" fmla="*/ 990441 w 2051041"/>
              <a:gd name="connsiteY537" fmla="*/ 990942 h 2084191"/>
              <a:gd name="connsiteX538" fmla="*/ 1022548 w 2051041"/>
              <a:gd name="connsiteY538" fmla="*/ 1025225 h 2084191"/>
              <a:gd name="connsiteX539" fmla="*/ 988809 w 2051041"/>
              <a:gd name="connsiteY539" fmla="*/ 1056787 h 2084191"/>
              <a:gd name="connsiteX540" fmla="*/ 956702 w 2051041"/>
              <a:gd name="connsiteY540" fmla="*/ 1023593 h 2084191"/>
              <a:gd name="connsiteX541" fmla="*/ 990441 w 2051041"/>
              <a:gd name="connsiteY541" fmla="*/ 990942 h 2084191"/>
              <a:gd name="connsiteX542" fmla="*/ 1150974 w 2051041"/>
              <a:gd name="connsiteY542" fmla="*/ 987678 h 2084191"/>
              <a:gd name="connsiteX543" fmla="*/ 1189610 w 2051041"/>
              <a:gd name="connsiteY543" fmla="*/ 1023593 h 2084191"/>
              <a:gd name="connsiteX544" fmla="*/ 1152062 w 2051041"/>
              <a:gd name="connsiteY544" fmla="*/ 1061685 h 2084191"/>
              <a:gd name="connsiteX545" fmla="*/ 1115058 w 2051041"/>
              <a:gd name="connsiteY545" fmla="*/ 1024682 h 2084191"/>
              <a:gd name="connsiteX546" fmla="*/ 1150974 w 2051041"/>
              <a:gd name="connsiteY546" fmla="*/ 987678 h 2084191"/>
              <a:gd name="connsiteX547" fmla="*/ 1315314 w 2051041"/>
              <a:gd name="connsiteY547" fmla="*/ 985501 h 2084191"/>
              <a:gd name="connsiteX548" fmla="*/ 1354495 w 2051041"/>
              <a:gd name="connsiteY548" fmla="*/ 1023593 h 2084191"/>
              <a:gd name="connsiteX549" fmla="*/ 1315858 w 2051041"/>
              <a:gd name="connsiteY549" fmla="*/ 1062230 h 2084191"/>
              <a:gd name="connsiteX550" fmla="*/ 1277222 w 2051041"/>
              <a:gd name="connsiteY550" fmla="*/ 1024137 h 2084191"/>
              <a:gd name="connsiteX551" fmla="*/ 1315314 w 2051041"/>
              <a:gd name="connsiteY551" fmla="*/ 985501 h 2084191"/>
              <a:gd name="connsiteX552" fmla="*/ 1479656 w 2051041"/>
              <a:gd name="connsiteY552" fmla="*/ 984412 h 2084191"/>
              <a:gd name="connsiteX553" fmla="*/ 1519380 w 2051041"/>
              <a:gd name="connsiteY553" fmla="*/ 1025225 h 2084191"/>
              <a:gd name="connsiteX554" fmla="*/ 1478567 w 2051041"/>
              <a:gd name="connsiteY554" fmla="*/ 1063318 h 2084191"/>
              <a:gd name="connsiteX555" fmla="*/ 1439387 w 2051041"/>
              <a:gd name="connsiteY555" fmla="*/ 1023593 h 2084191"/>
              <a:gd name="connsiteX556" fmla="*/ 1479656 w 2051041"/>
              <a:gd name="connsiteY556" fmla="*/ 984412 h 2084191"/>
              <a:gd name="connsiteX557" fmla="*/ 1641820 w 2051041"/>
              <a:gd name="connsiteY557" fmla="*/ 981691 h 2084191"/>
              <a:gd name="connsiteX558" fmla="*/ 1684810 w 2051041"/>
              <a:gd name="connsiteY558" fmla="*/ 1023592 h 2084191"/>
              <a:gd name="connsiteX559" fmla="*/ 1642909 w 2051041"/>
              <a:gd name="connsiteY559" fmla="*/ 1066038 h 2084191"/>
              <a:gd name="connsiteX560" fmla="*/ 1599919 w 2051041"/>
              <a:gd name="connsiteY560" fmla="*/ 1023592 h 2084191"/>
              <a:gd name="connsiteX561" fmla="*/ 1641820 w 2051041"/>
              <a:gd name="connsiteY561" fmla="*/ 981691 h 2084191"/>
              <a:gd name="connsiteX562" fmla="*/ 1806161 w 2051041"/>
              <a:gd name="connsiteY562" fmla="*/ 980603 h 2084191"/>
              <a:gd name="connsiteX563" fmla="*/ 1849151 w 2051041"/>
              <a:gd name="connsiteY563" fmla="*/ 1023592 h 2084191"/>
              <a:gd name="connsiteX564" fmla="*/ 1805617 w 2051041"/>
              <a:gd name="connsiteY564" fmla="*/ 1067127 h 2084191"/>
              <a:gd name="connsiteX565" fmla="*/ 1762083 w 2051041"/>
              <a:gd name="connsiteY565" fmla="*/ 1023592 h 2084191"/>
              <a:gd name="connsiteX566" fmla="*/ 1806161 w 2051041"/>
              <a:gd name="connsiteY566" fmla="*/ 980603 h 2084191"/>
              <a:gd name="connsiteX567" fmla="*/ 1969414 w 2051041"/>
              <a:gd name="connsiteY567" fmla="*/ 980059 h 2084191"/>
              <a:gd name="connsiteX568" fmla="*/ 2012404 w 2051041"/>
              <a:gd name="connsiteY568" fmla="*/ 1024137 h 2084191"/>
              <a:gd name="connsiteX569" fmla="*/ 1968870 w 2051041"/>
              <a:gd name="connsiteY569" fmla="*/ 1067127 h 2084191"/>
              <a:gd name="connsiteX570" fmla="*/ 1924792 w 2051041"/>
              <a:gd name="connsiteY570" fmla="*/ 1024137 h 2084191"/>
              <a:gd name="connsiteX571" fmla="*/ 1969414 w 2051041"/>
              <a:gd name="connsiteY571" fmla="*/ 980059 h 2084191"/>
              <a:gd name="connsiteX572" fmla="*/ 254171 w 2051041"/>
              <a:gd name="connsiteY572" fmla="*/ 931083 h 2084191"/>
              <a:gd name="connsiteX573" fmla="*/ 265599 w 2051041"/>
              <a:gd name="connsiteY573" fmla="*/ 941967 h 2084191"/>
              <a:gd name="connsiteX574" fmla="*/ 254171 w 2051041"/>
              <a:gd name="connsiteY574" fmla="*/ 952850 h 2084191"/>
              <a:gd name="connsiteX575" fmla="*/ 243832 w 2051041"/>
              <a:gd name="connsiteY575" fmla="*/ 941967 h 2084191"/>
              <a:gd name="connsiteX576" fmla="*/ 254171 w 2051041"/>
              <a:gd name="connsiteY576" fmla="*/ 931083 h 2084191"/>
              <a:gd name="connsiteX577" fmla="*/ 417968 w 2051041"/>
              <a:gd name="connsiteY577" fmla="*/ 922377 h 2084191"/>
              <a:gd name="connsiteX578" fmla="*/ 437559 w 2051041"/>
              <a:gd name="connsiteY578" fmla="*/ 942511 h 2084191"/>
              <a:gd name="connsiteX579" fmla="*/ 417968 w 2051041"/>
              <a:gd name="connsiteY579" fmla="*/ 961557 h 2084191"/>
              <a:gd name="connsiteX580" fmla="*/ 397834 w 2051041"/>
              <a:gd name="connsiteY580" fmla="*/ 941423 h 2084191"/>
              <a:gd name="connsiteX581" fmla="*/ 417968 w 2051041"/>
              <a:gd name="connsiteY581" fmla="*/ 922377 h 2084191"/>
              <a:gd name="connsiteX582" fmla="*/ 581222 w 2051041"/>
              <a:gd name="connsiteY582" fmla="*/ 916934 h 2084191"/>
              <a:gd name="connsiteX583" fmla="*/ 606798 w 2051041"/>
              <a:gd name="connsiteY583" fmla="*/ 943054 h 2084191"/>
              <a:gd name="connsiteX584" fmla="*/ 581222 w 2051041"/>
              <a:gd name="connsiteY584" fmla="*/ 967542 h 2084191"/>
              <a:gd name="connsiteX585" fmla="*/ 556190 w 2051041"/>
              <a:gd name="connsiteY585" fmla="*/ 943054 h 2084191"/>
              <a:gd name="connsiteX586" fmla="*/ 581222 w 2051041"/>
              <a:gd name="connsiteY586" fmla="*/ 916934 h 2084191"/>
              <a:gd name="connsiteX587" fmla="*/ 744474 w 2051041"/>
              <a:gd name="connsiteY587" fmla="*/ 913669 h 2084191"/>
              <a:gd name="connsiteX588" fmla="*/ 773315 w 2051041"/>
              <a:gd name="connsiteY588" fmla="*/ 942510 h 2084191"/>
              <a:gd name="connsiteX589" fmla="*/ 743930 w 2051041"/>
              <a:gd name="connsiteY589" fmla="*/ 970807 h 2084191"/>
              <a:gd name="connsiteX590" fmla="*/ 716177 w 2051041"/>
              <a:gd name="connsiteY590" fmla="*/ 941966 h 2084191"/>
              <a:gd name="connsiteX591" fmla="*/ 744474 w 2051041"/>
              <a:gd name="connsiteY591" fmla="*/ 913669 h 2084191"/>
              <a:gd name="connsiteX592" fmla="*/ 908271 w 2051041"/>
              <a:gd name="connsiteY592" fmla="*/ 908772 h 2084191"/>
              <a:gd name="connsiteX593" fmla="*/ 940377 w 2051041"/>
              <a:gd name="connsiteY593" fmla="*/ 944144 h 2084191"/>
              <a:gd name="connsiteX594" fmla="*/ 906094 w 2051041"/>
              <a:gd name="connsiteY594" fmla="*/ 975162 h 2084191"/>
              <a:gd name="connsiteX595" fmla="*/ 874532 w 2051041"/>
              <a:gd name="connsiteY595" fmla="*/ 940879 h 2084191"/>
              <a:gd name="connsiteX596" fmla="*/ 908271 w 2051041"/>
              <a:gd name="connsiteY596" fmla="*/ 908772 h 2084191"/>
              <a:gd name="connsiteX597" fmla="*/ 1072068 w 2051041"/>
              <a:gd name="connsiteY597" fmla="*/ 906051 h 2084191"/>
              <a:gd name="connsiteX598" fmla="*/ 1107984 w 2051041"/>
              <a:gd name="connsiteY598" fmla="*/ 942511 h 2084191"/>
              <a:gd name="connsiteX599" fmla="*/ 1070980 w 2051041"/>
              <a:gd name="connsiteY599" fmla="*/ 979515 h 2084191"/>
              <a:gd name="connsiteX600" fmla="*/ 1034520 w 2051041"/>
              <a:gd name="connsiteY600" fmla="*/ 942511 h 2084191"/>
              <a:gd name="connsiteX601" fmla="*/ 1072068 w 2051041"/>
              <a:gd name="connsiteY601" fmla="*/ 906051 h 2084191"/>
              <a:gd name="connsiteX602" fmla="*/ 1235321 w 2051041"/>
              <a:gd name="connsiteY602" fmla="*/ 903874 h 2084191"/>
              <a:gd name="connsiteX603" fmla="*/ 1272325 w 2051041"/>
              <a:gd name="connsiteY603" fmla="*/ 943054 h 2084191"/>
              <a:gd name="connsiteX604" fmla="*/ 1233688 w 2051041"/>
              <a:gd name="connsiteY604" fmla="*/ 981147 h 2084191"/>
              <a:gd name="connsiteX605" fmla="*/ 1195596 w 2051041"/>
              <a:gd name="connsiteY605" fmla="*/ 940878 h 2084191"/>
              <a:gd name="connsiteX606" fmla="*/ 1235321 w 2051041"/>
              <a:gd name="connsiteY606" fmla="*/ 903874 h 2084191"/>
              <a:gd name="connsiteX607" fmla="*/ 1397486 w 2051041"/>
              <a:gd name="connsiteY607" fmla="*/ 901153 h 2084191"/>
              <a:gd name="connsiteX608" fmla="*/ 1438299 w 2051041"/>
              <a:gd name="connsiteY608" fmla="*/ 942511 h 2084191"/>
              <a:gd name="connsiteX609" fmla="*/ 1396941 w 2051041"/>
              <a:gd name="connsiteY609" fmla="*/ 983324 h 2084191"/>
              <a:gd name="connsiteX610" fmla="*/ 1356128 w 2051041"/>
              <a:gd name="connsiteY610" fmla="*/ 941967 h 2084191"/>
              <a:gd name="connsiteX611" fmla="*/ 1397486 w 2051041"/>
              <a:gd name="connsiteY611" fmla="*/ 901153 h 2084191"/>
              <a:gd name="connsiteX612" fmla="*/ 1560738 w 2051041"/>
              <a:gd name="connsiteY612" fmla="*/ 898977 h 2084191"/>
              <a:gd name="connsiteX613" fmla="*/ 1603728 w 2051041"/>
              <a:gd name="connsiteY613" fmla="*/ 942511 h 2084191"/>
              <a:gd name="connsiteX614" fmla="*/ 1560738 w 2051041"/>
              <a:gd name="connsiteY614" fmla="*/ 985501 h 2084191"/>
              <a:gd name="connsiteX615" fmla="*/ 1517204 w 2051041"/>
              <a:gd name="connsiteY615" fmla="*/ 941423 h 2084191"/>
              <a:gd name="connsiteX616" fmla="*/ 1560738 w 2051041"/>
              <a:gd name="connsiteY616" fmla="*/ 898977 h 2084191"/>
              <a:gd name="connsiteX617" fmla="*/ 1723990 w 2051041"/>
              <a:gd name="connsiteY617" fmla="*/ 897888 h 2084191"/>
              <a:gd name="connsiteX618" fmla="*/ 1768069 w 2051041"/>
              <a:gd name="connsiteY618" fmla="*/ 942510 h 2084191"/>
              <a:gd name="connsiteX619" fmla="*/ 1723990 w 2051041"/>
              <a:gd name="connsiteY619" fmla="*/ 986589 h 2084191"/>
              <a:gd name="connsiteX620" fmla="*/ 1679912 w 2051041"/>
              <a:gd name="connsiteY620" fmla="*/ 941422 h 2084191"/>
              <a:gd name="connsiteX621" fmla="*/ 1723990 w 2051041"/>
              <a:gd name="connsiteY621" fmla="*/ 897888 h 2084191"/>
              <a:gd name="connsiteX622" fmla="*/ 2050497 w 2051041"/>
              <a:gd name="connsiteY622" fmla="*/ 897344 h 2084191"/>
              <a:gd name="connsiteX623" fmla="*/ 2051041 w 2051041"/>
              <a:gd name="connsiteY623" fmla="*/ 897453 h 2084191"/>
              <a:gd name="connsiteX624" fmla="*/ 2051041 w 2051041"/>
              <a:gd name="connsiteY624" fmla="*/ 986917 h 2084191"/>
              <a:gd name="connsiteX625" fmla="*/ 2049952 w 2051041"/>
              <a:gd name="connsiteY625" fmla="*/ 987133 h 2084191"/>
              <a:gd name="connsiteX626" fmla="*/ 2005330 w 2051041"/>
              <a:gd name="connsiteY626" fmla="*/ 941422 h 2084191"/>
              <a:gd name="connsiteX627" fmla="*/ 2050497 w 2051041"/>
              <a:gd name="connsiteY627" fmla="*/ 897344 h 2084191"/>
              <a:gd name="connsiteX628" fmla="*/ 1887243 w 2051041"/>
              <a:gd name="connsiteY628" fmla="*/ 897344 h 2084191"/>
              <a:gd name="connsiteX629" fmla="*/ 1931866 w 2051041"/>
              <a:gd name="connsiteY629" fmla="*/ 942511 h 2084191"/>
              <a:gd name="connsiteX630" fmla="*/ 1887243 w 2051041"/>
              <a:gd name="connsiteY630" fmla="*/ 986589 h 2084191"/>
              <a:gd name="connsiteX631" fmla="*/ 1843165 w 2051041"/>
              <a:gd name="connsiteY631" fmla="*/ 941422 h 2084191"/>
              <a:gd name="connsiteX632" fmla="*/ 1887243 w 2051041"/>
              <a:gd name="connsiteY632" fmla="*/ 897344 h 2084191"/>
              <a:gd name="connsiteX633" fmla="*/ 172545 w 2051041"/>
              <a:gd name="connsiteY633" fmla="*/ 854354 h 2084191"/>
              <a:gd name="connsiteX634" fmla="*/ 179619 w 2051041"/>
              <a:gd name="connsiteY634" fmla="*/ 860884 h 2084191"/>
              <a:gd name="connsiteX635" fmla="*/ 173634 w 2051041"/>
              <a:gd name="connsiteY635" fmla="*/ 866870 h 2084191"/>
              <a:gd name="connsiteX636" fmla="*/ 166015 w 2051041"/>
              <a:gd name="connsiteY636" fmla="*/ 861973 h 2084191"/>
              <a:gd name="connsiteX637" fmla="*/ 172545 w 2051041"/>
              <a:gd name="connsiteY637" fmla="*/ 854354 h 2084191"/>
              <a:gd name="connsiteX638" fmla="*/ 336342 w 2051041"/>
              <a:gd name="connsiteY638" fmla="*/ 843471 h 2084191"/>
              <a:gd name="connsiteX639" fmla="*/ 353211 w 2051041"/>
              <a:gd name="connsiteY639" fmla="*/ 860340 h 2084191"/>
              <a:gd name="connsiteX640" fmla="*/ 336886 w 2051041"/>
              <a:gd name="connsiteY640" fmla="*/ 877210 h 2084191"/>
              <a:gd name="connsiteX641" fmla="*/ 320017 w 2051041"/>
              <a:gd name="connsiteY641" fmla="*/ 860884 h 2084191"/>
              <a:gd name="connsiteX642" fmla="*/ 336342 w 2051041"/>
              <a:gd name="connsiteY642" fmla="*/ 843471 h 2084191"/>
              <a:gd name="connsiteX643" fmla="*/ 500139 w 2051041"/>
              <a:gd name="connsiteY643" fmla="*/ 837485 h 2084191"/>
              <a:gd name="connsiteX644" fmla="*/ 522994 w 2051041"/>
              <a:gd name="connsiteY644" fmla="*/ 861428 h 2084191"/>
              <a:gd name="connsiteX645" fmla="*/ 499595 w 2051041"/>
              <a:gd name="connsiteY645" fmla="*/ 884284 h 2084191"/>
              <a:gd name="connsiteX646" fmla="*/ 476739 w 2051041"/>
              <a:gd name="connsiteY646" fmla="*/ 860340 h 2084191"/>
              <a:gd name="connsiteX647" fmla="*/ 500139 w 2051041"/>
              <a:gd name="connsiteY647" fmla="*/ 837485 h 2084191"/>
              <a:gd name="connsiteX648" fmla="*/ 662848 w 2051041"/>
              <a:gd name="connsiteY648" fmla="*/ 832587 h 2084191"/>
              <a:gd name="connsiteX649" fmla="*/ 690057 w 2051041"/>
              <a:gd name="connsiteY649" fmla="*/ 860340 h 2084191"/>
              <a:gd name="connsiteX650" fmla="*/ 662848 w 2051041"/>
              <a:gd name="connsiteY650" fmla="*/ 888637 h 2084191"/>
              <a:gd name="connsiteX651" fmla="*/ 634551 w 2051041"/>
              <a:gd name="connsiteY651" fmla="*/ 861428 h 2084191"/>
              <a:gd name="connsiteX652" fmla="*/ 662848 w 2051041"/>
              <a:gd name="connsiteY652" fmla="*/ 832587 h 2084191"/>
              <a:gd name="connsiteX653" fmla="*/ 826101 w 2051041"/>
              <a:gd name="connsiteY653" fmla="*/ 827146 h 2084191"/>
              <a:gd name="connsiteX654" fmla="*/ 859295 w 2051041"/>
              <a:gd name="connsiteY654" fmla="*/ 860885 h 2084191"/>
              <a:gd name="connsiteX655" fmla="*/ 825556 w 2051041"/>
              <a:gd name="connsiteY655" fmla="*/ 892991 h 2084191"/>
              <a:gd name="connsiteX656" fmla="*/ 793450 w 2051041"/>
              <a:gd name="connsiteY656" fmla="*/ 860885 h 2084191"/>
              <a:gd name="connsiteX657" fmla="*/ 826101 w 2051041"/>
              <a:gd name="connsiteY657" fmla="*/ 827146 h 2084191"/>
              <a:gd name="connsiteX658" fmla="*/ 988809 w 2051041"/>
              <a:gd name="connsiteY658" fmla="*/ 824424 h 2084191"/>
              <a:gd name="connsiteX659" fmla="*/ 1025813 w 2051041"/>
              <a:gd name="connsiteY659" fmla="*/ 860339 h 2084191"/>
              <a:gd name="connsiteX660" fmla="*/ 989897 w 2051041"/>
              <a:gd name="connsiteY660" fmla="*/ 897344 h 2084191"/>
              <a:gd name="connsiteX661" fmla="*/ 953437 w 2051041"/>
              <a:gd name="connsiteY661" fmla="*/ 861972 h 2084191"/>
              <a:gd name="connsiteX662" fmla="*/ 988809 w 2051041"/>
              <a:gd name="connsiteY662" fmla="*/ 824424 h 2084191"/>
              <a:gd name="connsiteX663" fmla="*/ 1153695 w 2051041"/>
              <a:gd name="connsiteY663" fmla="*/ 821704 h 2084191"/>
              <a:gd name="connsiteX664" fmla="*/ 1191243 w 2051041"/>
              <a:gd name="connsiteY664" fmla="*/ 861429 h 2084191"/>
              <a:gd name="connsiteX665" fmla="*/ 1152606 w 2051041"/>
              <a:gd name="connsiteY665" fmla="*/ 899521 h 2084191"/>
              <a:gd name="connsiteX666" fmla="*/ 1114514 w 2051041"/>
              <a:gd name="connsiteY666" fmla="*/ 859252 h 2084191"/>
              <a:gd name="connsiteX667" fmla="*/ 1153695 w 2051041"/>
              <a:gd name="connsiteY667" fmla="*/ 821704 h 2084191"/>
              <a:gd name="connsiteX668" fmla="*/ 1316403 w 2051041"/>
              <a:gd name="connsiteY668" fmla="*/ 818982 h 2084191"/>
              <a:gd name="connsiteX669" fmla="*/ 1357216 w 2051041"/>
              <a:gd name="connsiteY669" fmla="*/ 860884 h 2084191"/>
              <a:gd name="connsiteX670" fmla="*/ 1315315 w 2051041"/>
              <a:gd name="connsiteY670" fmla="*/ 901697 h 2084191"/>
              <a:gd name="connsiteX671" fmla="*/ 1274501 w 2051041"/>
              <a:gd name="connsiteY671" fmla="*/ 860340 h 2084191"/>
              <a:gd name="connsiteX672" fmla="*/ 1316403 w 2051041"/>
              <a:gd name="connsiteY672" fmla="*/ 818982 h 2084191"/>
              <a:gd name="connsiteX673" fmla="*/ 1479112 w 2051041"/>
              <a:gd name="connsiteY673" fmla="*/ 816806 h 2084191"/>
              <a:gd name="connsiteX674" fmla="*/ 1522646 w 2051041"/>
              <a:gd name="connsiteY674" fmla="*/ 860340 h 2084191"/>
              <a:gd name="connsiteX675" fmla="*/ 1479656 w 2051041"/>
              <a:gd name="connsiteY675" fmla="*/ 904419 h 2084191"/>
              <a:gd name="connsiteX676" fmla="*/ 1435578 w 2051041"/>
              <a:gd name="connsiteY676" fmla="*/ 860884 h 2084191"/>
              <a:gd name="connsiteX677" fmla="*/ 1479112 w 2051041"/>
              <a:gd name="connsiteY677" fmla="*/ 816806 h 2084191"/>
              <a:gd name="connsiteX678" fmla="*/ 1642909 w 2051041"/>
              <a:gd name="connsiteY678" fmla="*/ 815718 h 2084191"/>
              <a:gd name="connsiteX679" fmla="*/ 1686987 w 2051041"/>
              <a:gd name="connsiteY679" fmla="*/ 860885 h 2084191"/>
              <a:gd name="connsiteX680" fmla="*/ 1641276 w 2051041"/>
              <a:gd name="connsiteY680" fmla="*/ 905507 h 2084191"/>
              <a:gd name="connsiteX681" fmla="*/ 1597742 w 2051041"/>
              <a:gd name="connsiteY681" fmla="*/ 860340 h 2084191"/>
              <a:gd name="connsiteX682" fmla="*/ 1642909 w 2051041"/>
              <a:gd name="connsiteY682" fmla="*/ 815718 h 2084191"/>
              <a:gd name="connsiteX683" fmla="*/ 1806161 w 2051041"/>
              <a:gd name="connsiteY683" fmla="*/ 815173 h 2084191"/>
              <a:gd name="connsiteX684" fmla="*/ 1852416 w 2051041"/>
              <a:gd name="connsiteY684" fmla="*/ 860884 h 2084191"/>
              <a:gd name="connsiteX685" fmla="*/ 1805617 w 2051041"/>
              <a:gd name="connsiteY685" fmla="*/ 906594 h 2084191"/>
              <a:gd name="connsiteX686" fmla="*/ 1759906 w 2051041"/>
              <a:gd name="connsiteY686" fmla="*/ 860884 h 2084191"/>
              <a:gd name="connsiteX687" fmla="*/ 1806161 w 2051041"/>
              <a:gd name="connsiteY687" fmla="*/ 815173 h 2084191"/>
              <a:gd name="connsiteX688" fmla="*/ 1968326 w 2051041"/>
              <a:gd name="connsiteY688" fmla="*/ 812453 h 2084191"/>
              <a:gd name="connsiteX689" fmla="*/ 2000977 w 2051041"/>
              <a:gd name="connsiteY689" fmla="*/ 826057 h 2084191"/>
              <a:gd name="connsiteX690" fmla="*/ 2015670 w 2051041"/>
              <a:gd name="connsiteY690" fmla="*/ 859796 h 2084191"/>
              <a:gd name="connsiteX691" fmla="*/ 1969415 w 2051041"/>
              <a:gd name="connsiteY691" fmla="*/ 907684 h 2084191"/>
              <a:gd name="connsiteX692" fmla="*/ 1922071 w 2051041"/>
              <a:gd name="connsiteY692" fmla="*/ 860885 h 2084191"/>
              <a:gd name="connsiteX693" fmla="*/ 1968326 w 2051041"/>
              <a:gd name="connsiteY693" fmla="*/ 812453 h 2084191"/>
              <a:gd name="connsiteX694" fmla="*/ 255260 w 2051041"/>
              <a:gd name="connsiteY694" fmla="*/ 762932 h 2084191"/>
              <a:gd name="connsiteX695" fmla="*/ 270497 w 2051041"/>
              <a:gd name="connsiteY695" fmla="*/ 779802 h 2084191"/>
              <a:gd name="connsiteX696" fmla="*/ 254172 w 2051041"/>
              <a:gd name="connsiteY696" fmla="*/ 795038 h 2084191"/>
              <a:gd name="connsiteX697" fmla="*/ 238935 w 2051041"/>
              <a:gd name="connsiteY697" fmla="*/ 778713 h 2084191"/>
              <a:gd name="connsiteX698" fmla="*/ 255260 w 2051041"/>
              <a:gd name="connsiteY698" fmla="*/ 762932 h 2084191"/>
              <a:gd name="connsiteX699" fmla="*/ 416881 w 2051041"/>
              <a:gd name="connsiteY699" fmla="*/ 756402 h 2084191"/>
              <a:gd name="connsiteX700" fmla="*/ 440280 w 2051041"/>
              <a:gd name="connsiteY700" fmla="*/ 778713 h 2084191"/>
              <a:gd name="connsiteX701" fmla="*/ 419057 w 2051041"/>
              <a:gd name="connsiteY701" fmla="*/ 801024 h 2084191"/>
              <a:gd name="connsiteX702" fmla="*/ 396202 w 2051041"/>
              <a:gd name="connsiteY702" fmla="*/ 779257 h 2084191"/>
              <a:gd name="connsiteX703" fmla="*/ 416881 w 2051041"/>
              <a:gd name="connsiteY703" fmla="*/ 756402 h 2084191"/>
              <a:gd name="connsiteX704" fmla="*/ 581766 w 2051041"/>
              <a:gd name="connsiteY704" fmla="*/ 751505 h 2084191"/>
              <a:gd name="connsiteX705" fmla="*/ 608975 w 2051041"/>
              <a:gd name="connsiteY705" fmla="*/ 779802 h 2084191"/>
              <a:gd name="connsiteX706" fmla="*/ 580678 w 2051041"/>
              <a:gd name="connsiteY706" fmla="*/ 806467 h 2084191"/>
              <a:gd name="connsiteX707" fmla="*/ 553469 w 2051041"/>
              <a:gd name="connsiteY707" fmla="*/ 778714 h 2084191"/>
              <a:gd name="connsiteX708" fmla="*/ 581766 w 2051041"/>
              <a:gd name="connsiteY708" fmla="*/ 751505 h 2084191"/>
              <a:gd name="connsiteX709" fmla="*/ 746107 w 2051041"/>
              <a:gd name="connsiteY709" fmla="*/ 746607 h 2084191"/>
              <a:gd name="connsiteX710" fmla="*/ 777125 w 2051041"/>
              <a:gd name="connsiteY710" fmla="*/ 780346 h 2084191"/>
              <a:gd name="connsiteX711" fmla="*/ 742842 w 2051041"/>
              <a:gd name="connsiteY711" fmla="*/ 811364 h 2084191"/>
              <a:gd name="connsiteX712" fmla="*/ 712368 w 2051041"/>
              <a:gd name="connsiteY712" fmla="*/ 778713 h 2084191"/>
              <a:gd name="connsiteX713" fmla="*/ 746107 w 2051041"/>
              <a:gd name="connsiteY713" fmla="*/ 746607 h 2084191"/>
              <a:gd name="connsiteX714" fmla="*/ 907727 w 2051041"/>
              <a:gd name="connsiteY714" fmla="*/ 741710 h 2084191"/>
              <a:gd name="connsiteX715" fmla="*/ 944187 w 2051041"/>
              <a:gd name="connsiteY715" fmla="*/ 778714 h 2084191"/>
              <a:gd name="connsiteX716" fmla="*/ 907727 w 2051041"/>
              <a:gd name="connsiteY716" fmla="*/ 815174 h 2084191"/>
              <a:gd name="connsiteX717" fmla="*/ 872355 w 2051041"/>
              <a:gd name="connsiteY717" fmla="*/ 779258 h 2084191"/>
              <a:gd name="connsiteX718" fmla="*/ 907727 w 2051041"/>
              <a:gd name="connsiteY718" fmla="*/ 741710 h 2084191"/>
              <a:gd name="connsiteX719" fmla="*/ 1070979 w 2051041"/>
              <a:gd name="connsiteY719" fmla="*/ 740621 h 2084191"/>
              <a:gd name="connsiteX720" fmla="*/ 1110160 w 2051041"/>
              <a:gd name="connsiteY720" fmla="*/ 779258 h 2084191"/>
              <a:gd name="connsiteX721" fmla="*/ 1070979 w 2051041"/>
              <a:gd name="connsiteY721" fmla="*/ 817894 h 2084191"/>
              <a:gd name="connsiteX722" fmla="*/ 1031799 w 2051041"/>
              <a:gd name="connsiteY722" fmla="*/ 778714 h 2084191"/>
              <a:gd name="connsiteX723" fmla="*/ 1070979 w 2051041"/>
              <a:gd name="connsiteY723" fmla="*/ 740621 h 2084191"/>
              <a:gd name="connsiteX724" fmla="*/ 1233688 w 2051041"/>
              <a:gd name="connsiteY724" fmla="*/ 736268 h 2084191"/>
              <a:gd name="connsiteX725" fmla="*/ 1276134 w 2051041"/>
              <a:gd name="connsiteY725" fmla="*/ 777625 h 2084191"/>
              <a:gd name="connsiteX726" fmla="*/ 1235320 w 2051041"/>
              <a:gd name="connsiteY726" fmla="*/ 820615 h 2084191"/>
              <a:gd name="connsiteX727" fmla="*/ 1192331 w 2051041"/>
              <a:gd name="connsiteY727" fmla="*/ 779258 h 2084191"/>
              <a:gd name="connsiteX728" fmla="*/ 1233688 w 2051041"/>
              <a:gd name="connsiteY728" fmla="*/ 736268 h 2084191"/>
              <a:gd name="connsiteX729" fmla="*/ 1397485 w 2051041"/>
              <a:gd name="connsiteY729" fmla="*/ 735724 h 2084191"/>
              <a:gd name="connsiteX730" fmla="*/ 1441019 w 2051041"/>
              <a:gd name="connsiteY730" fmla="*/ 779802 h 2084191"/>
              <a:gd name="connsiteX731" fmla="*/ 1396397 w 2051041"/>
              <a:gd name="connsiteY731" fmla="*/ 823336 h 2084191"/>
              <a:gd name="connsiteX732" fmla="*/ 1352863 w 2051041"/>
              <a:gd name="connsiteY732" fmla="*/ 779258 h 2084191"/>
              <a:gd name="connsiteX733" fmla="*/ 1397485 w 2051041"/>
              <a:gd name="connsiteY733" fmla="*/ 735724 h 2084191"/>
              <a:gd name="connsiteX734" fmla="*/ 1562371 w 2051041"/>
              <a:gd name="connsiteY734" fmla="*/ 734636 h 2084191"/>
              <a:gd name="connsiteX735" fmla="*/ 1605905 w 2051041"/>
              <a:gd name="connsiteY735" fmla="*/ 779802 h 2084191"/>
              <a:gd name="connsiteX736" fmla="*/ 1560194 w 2051041"/>
              <a:gd name="connsiteY736" fmla="*/ 823881 h 2084191"/>
              <a:gd name="connsiteX737" fmla="*/ 1515572 w 2051041"/>
              <a:gd name="connsiteY737" fmla="*/ 777626 h 2084191"/>
              <a:gd name="connsiteX738" fmla="*/ 1562371 w 2051041"/>
              <a:gd name="connsiteY738" fmla="*/ 734636 h 2084191"/>
              <a:gd name="connsiteX739" fmla="*/ 1724535 w 2051041"/>
              <a:gd name="connsiteY739" fmla="*/ 730827 h 2084191"/>
              <a:gd name="connsiteX740" fmla="*/ 1772422 w 2051041"/>
              <a:gd name="connsiteY740" fmla="*/ 779258 h 2084191"/>
              <a:gd name="connsiteX741" fmla="*/ 1723446 w 2051041"/>
              <a:gd name="connsiteY741" fmla="*/ 826602 h 2084191"/>
              <a:gd name="connsiteX742" fmla="*/ 1676647 w 2051041"/>
              <a:gd name="connsiteY742" fmla="*/ 778714 h 2084191"/>
              <a:gd name="connsiteX743" fmla="*/ 1724535 w 2051041"/>
              <a:gd name="connsiteY743" fmla="*/ 730827 h 2084191"/>
              <a:gd name="connsiteX744" fmla="*/ 1886699 w 2051041"/>
              <a:gd name="connsiteY744" fmla="*/ 730826 h 2084191"/>
              <a:gd name="connsiteX745" fmla="*/ 1935131 w 2051041"/>
              <a:gd name="connsiteY745" fmla="*/ 778713 h 2084191"/>
              <a:gd name="connsiteX746" fmla="*/ 1887244 w 2051041"/>
              <a:gd name="connsiteY746" fmla="*/ 827145 h 2084191"/>
              <a:gd name="connsiteX747" fmla="*/ 1838812 w 2051041"/>
              <a:gd name="connsiteY747" fmla="*/ 778713 h 2084191"/>
              <a:gd name="connsiteX748" fmla="*/ 1886699 w 2051041"/>
              <a:gd name="connsiteY748" fmla="*/ 730826 h 2084191"/>
              <a:gd name="connsiteX749" fmla="*/ 2050496 w 2051041"/>
              <a:gd name="connsiteY749" fmla="*/ 730282 h 2084191"/>
              <a:gd name="connsiteX750" fmla="*/ 2051041 w 2051041"/>
              <a:gd name="connsiteY750" fmla="*/ 730396 h 2084191"/>
              <a:gd name="connsiteX751" fmla="*/ 2051041 w 2051041"/>
              <a:gd name="connsiteY751" fmla="*/ 826942 h 2084191"/>
              <a:gd name="connsiteX752" fmla="*/ 2049952 w 2051041"/>
              <a:gd name="connsiteY752" fmla="*/ 827145 h 2084191"/>
              <a:gd name="connsiteX753" fmla="*/ 2002065 w 2051041"/>
              <a:gd name="connsiteY753" fmla="*/ 778169 h 2084191"/>
              <a:gd name="connsiteX754" fmla="*/ 2050496 w 2051041"/>
              <a:gd name="connsiteY754" fmla="*/ 730282 h 2084191"/>
              <a:gd name="connsiteX755" fmla="*/ 173634 w 2051041"/>
              <a:gd name="connsiteY755" fmla="*/ 685660 h 2084191"/>
              <a:gd name="connsiteX756" fmla="*/ 184518 w 2051041"/>
              <a:gd name="connsiteY756" fmla="*/ 698176 h 2084191"/>
              <a:gd name="connsiteX757" fmla="*/ 172546 w 2051041"/>
              <a:gd name="connsiteY757" fmla="*/ 709059 h 2084191"/>
              <a:gd name="connsiteX758" fmla="*/ 161118 w 2051041"/>
              <a:gd name="connsiteY758" fmla="*/ 697088 h 2084191"/>
              <a:gd name="connsiteX759" fmla="*/ 173634 w 2051041"/>
              <a:gd name="connsiteY759" fmla="*/ 685660 h 2084191"/>
              <a:gd name="connsiteX760" fmla="*/ 335798 w 2051041"/>
              <a:gd name="connsiteY760" fmla="*/ 675320 h 2084191"/>
              <a:gd name="connsiteX761" fmla="*/ 357565 w 2051041"/>
              <a:gd name="connsiteY761" fmla="*/ 696543 h 2084191"/>
              <a:gd name="connsiteX762" fmla="*/ 336342 w 2051041"/>
              <a:gd name="connsiteY762" fmla="*/ 718854 h 2084191"/>
              <a:gd name="connsiteX763" fmla="*/ 315120 w 2051041"/>
              <a:gd name="connsiteY763" fmla="*/ 697631 h 2084191"/>
              <a:gd name="connsiteX764" fmla="*/ 335798 w 2051041"/>
              <a:gd name="connsiteY764" fmla="*/ 675320 h 2084191"/>
              <a:gd name="connsiteX765" fmla="*/ 499051 w 2051041"/>
              <a:gd name="connsiteY765" fmla="*/ 670423 h 2084191"/>
              <a:gd name="connsiteX766" fmla="*/ 526804 w 2051041"/>
              <a:gd name="connsiteY766" fmla="*/ 697088 h 2084191"/>
              <a:gd name="connsiteX767" fmla="*/ 499595 w 2051041"/>
              <a:gd name="connsiteY767" fmla="*/ 724296 h 2084191"/>
              <a:gd name="connsiteX768" fmla="*/ 472930 w 2051041"/>
              <a:gd name="connsiteY768" fmla="*/ 697632 h 2084191"/>
              <a:gd name="connsiteX769" fmla="*/ 499051 w 2051041"/>
              <a:gd name="connsiteY769" fmla="*/ 670423 h 2084191"/>
              <a:gd name="connsiteX770" fmla="*/ 662848 w 2051041"/>
              <a:gd name="connsiteY770" fmla="*/ 665525 h 2084191"/>
              <a:gd name="connsiteX771" fmla="*/ 694954 w 2051041"/>
              <a:gd name="connsiteY771" fmla="*/ 697087 h 2084191"/>
              <a:gd name="connsiteX772" fmla="*/ 663392 w 2051041"/>
              <a:gd name="connsiteY772" fmla="*/ 729194 h 2084191"/>
              <a:gd name="connsiteX773" fmla="*/ 632374 w 2051041"/>
              <a:gd name="connsiteY773" fmla="*/ 698176 h 2084191"/>
              <a:gd name="connsiteX774" fmla="*/ 662848 w 2051041"/>
              <a:gd name="connsiteY774" fmla="*/ 665525 h 2084191"/>
              <a:gd name="connsiteX775" fmla="*/ 825013 w 2051041"/>
              <a:gd name="connsiteY775" fmla="*/ 663349 h 2084191"/>
              <a:gd name="connsiteX776" fmla="*/ 860384 w 2051041"/>
              <a:gd name="connsiteY776" fmla="*/ 697632 h 2084191"/>
              <a:gd name="connsiteX777" fmla="*/ 826101 w 2051041"/>
              <a:gd name="connsiteY777" fmla="*/ 731915 h 2084191"/>
              <a:gd name="connsiteX778" fmla="*/ 791818 w 2051041"/>
              <a:gd name="connsiteY778" fmla="*/ 698176 h 2084191"/>
              <a:gd name="connsiteX779" fmla="*/ 825013 w 2051041"/>
              <a:gd name="connsiteY779" fmla="*/ 663349 h 2084191"/>
              <a:gd name="connsiteX780" fmla="*/ 988809 w 2051041"/>
              <a:gd name="connsiteY780" fmla="*/ 658995 h 2084191"/>
              <a:gd name="connsiteX781" fmla="*/ 1027446 w 2051041"/>
              <a:gd name="connsiteY781" fmla="*/ 697087 h 2084191"/>
              <a:gd name="connsiteX782" fmla="*/ 989353 w 2051041"/>
              <a:gd name="connsiteY782" fmla="*/ 735723 h 2084191"/>
              <a:gd name="connsiteX783" fmla="*/ 950717 w 2051041"/>
              <a:gd name="connsiteY783" fmla="*/ 697631 h 2084191"/>
              <a:gd name="connsiteX784" fmla="*/ 988809 w 2051041"/>
              <a:gd name="connsiteY784" fmla="*/ 658995 h 2084191"/>
              <a:gd name="connsiteX785" fmla="*/ 1152607 w 2051041"/>
              <a:gd name="connsiteY785" fmla="*/ 655729 h 2084191"/>
              <a:gd name="connsiteX786" fmla="*/ 1195052 w 2051041"/>
              <a:gd name="connsiteY786" fmla="*/ 697087 h 2084191"/>
              <a:gd name="connsiteX787" fmla="*/ 1153151 w 2051041"/>
              <a:gd name="connsiteY787" fmla="*/ 739533 h 2084191"/>
              <a:gd name="connsiteX788" fmla="*/ 1110705 w 2051041"/>
              <a:gd name="connsiteY788" fmla="*/ 697631 h 2084191"/>
              <a:gd name="connsiteX789" fmla="*/ 1152607 w 2051041"/>
              <a:gd name="connsiteY789" fmla="*/ 655729 h 2084191"/>
              <a:gd name="connsiteX790" fmla="*/ 1316948 w 2051041"/>
              <a:gd name="connsiteY790" fmla="*/ 653554 h 2084191"/>
              <a:gd name="connsiteX791" fmla="*/ 1359937 w 2051041"/>
              <a:gd name="connsiteY791" fmla="*/ 697632 h 2084191"/>
              <a:gd name="connsiteX792" fmla="*/ 1315315 w 2051041"/>
              <a:gd name="connsiteY792" fmla="*/ 740622 h 2084191"/>
              <a:gd name="connsiteX793" fmla="*/ 1271781 w 2051041"/>
              <a:gd name="connsiteY793" fmla="*/ 696544 h 2084191"/>
              <a:gd name="connsiteX794" fmla="*/ 1316948 w 2051041"/>
              <a:gd name="connsiteY794" fmla="*/ 653554 h 2084191"/>
              <a:gd name="connsiteX795" fmla="*/ 1479112 w 2051041"/>
              <a:gd name="connsiteY795" fmla="*/ 651921 h 2084191"/>
              <a:gd name="connsiteX796" fmla="*/ 1524823 w 2051041"/>
              <a:gd name="connsiteY796" fmla="*/ 697088 h 2084191"/>
              <a:gd name="connsiteX797" fmla="*/ 1479112 w 2051041"/>
              <a:gd name="connsiteY797" fmla="*/ 742254 h 2084191"/>
              <a:gd name="connsiteX798" fmla="*/ 1433945 w 2051041"/>
              <a:gd name="connsiteY798" fmla="*/ 697088 h 2084191"/>
              <a:gd name="connsiteX799" fmla="*/ 1479112 w 2051041"/>
              <a:gd name="connsiteY799" fmla="*/ 651921 h 2084191"/>
              <a:gd name="connsiteX800" fmla="*/ 1642909 w 2051041"/>
              <a:gd name="connsiteY800" fmla="*/ 649744 h 2084191"/>
              <a:gd name="connsiteX801" fmla="*/ 1690796 w 2051041"/>
              <a:gd name="connsiteY801" fmla="*/ 697087 h 2084191"/>
              <a:gd name="connsiteX802" fmla="*/ 1642909 w 2051041"/>
              <a:gd name="connsiteY802" fmla="*/ 745519 h 2084191"/>
              <a:gd name="connsiteX803" fmla="*/ 1594477 w 2051041"/>
              <a:gd name="connsiteY803" fmla="*/ 697632 h 2084191"/>
              <a:gd name="connsiteX804" fmla="*/ 1642909 w 2051041"/>
              <a:gd name="connsiteY804" fmla="*/ 649744 h 2084191"/>
              <a:gd name="connsiteX805" fmla="*/ 1805617 w 2051041"/>
              <a:gd name="connsiteY805" fmla="*/ 648112 h 2084191"/>
              <a:gd name="connsiteX806" fmla="*/ 1854593 w 2051041"/>
              <a:gd name="connsiteY806" fmla="*/ 698176 h 2084191"/>
              <a:gd name="connsiteX807" fmla="*/ 1805073 w 2051041"/>
              <a:gd name="connsiteY807" fmla="*/ 746607 h 2084191"/>
              <a:gd name="connsiteX808" fmla="*/ 1756097 w 2051041"/>
              <a:gd name="connsiteY808" fmla="*/ 697087 h 2084191"/>
              <a:gd name="connsiteX809" fmla="*/ 1805617 w 2051041"/>
              <a:gd name="connsiteY809" fmla="*/ 648112 h 2084191"/>
              <a:gd name="connsiteX810" fmla="*/ 1969414 w 2051041"/>
              <a:gd name="connsiteY810" fmla="*/ 647023 h 2084191"/>
              <a:gd name="connsiteX811" fmla="*/ 2018934 w 2051041"/>
              <a:gd name="connsiteY811" fmla="*/ 698176 h 2084191"/>
              <a:gd name="connsiteX812" fmla="*/ 1968326 w 2051041"/>
              <a:gd name="connsiteY812" fmla="*/ 746063 h 2084191"/>
              <a:gd name="connsiteX813" fmla="*/ 1918806 w 2051041"/>
              <a:gd name="connsiteY813" fmla="*/ 697087 h 2084191"/>
              <a:gd name="connsiteX814" fmla="*/ 1969414 w 2051041"/>
              <a:gd name="connsiteY814" fmla="*/ 647023 h 2084191"/>
              <a:gd name="connsiteX815" fmla="*/ 90919 w 2051041"/>
              <a:gd name="connsiteY815" fmla="*/ 606754 h 2084191"/>
              <a:gd name="connsiteX816" fmla="*/ 99626 w 2051041"/>
              <a:gd name="connsiteY816" fmla="*/ 615460 h 2084191"/>
              <a:gd name="connsiteX817" fmla="*/ 92007 w 2051041"/>
              <a:gd name="connsiteY817" fmla="*/ 627976 h 2084191"/>
              <a:gd name="connsiteX818" fmla="*/ 82756 w 2051041"/>
              <a:gd name="connsiteY818" fmla="*/ 616005 h 2084191"/>
              <a:gd name="connsiteX819" fmla="*/ 90919 w 2051041"/>
              <a:gd name="connsiteY819" fmla="*/ 606754 h 2084191"/>
              <a:gd name="connsiteX820" fmla="*/ 254172 w 2051041"/>
              <a:gd name="connsiteY820" fmla="*/ 598047 h 2084191"/>
              <a:gd name="connsiteX821" fmla="*/ 272674 w 2051041"/>
              <a:gd name="connsiteY821" fmla="*/ 614917 h 2084191"/>
              <a:gd name="connsiteX822" fmla="*/ 255260 w 2051041"/>
              <a:gd name="connsiteY822" fmla="*/ 633419 h 2084191"/>
              <a:gd name="connsiteX823" fmla="*/ 236758 w 2051041"/>
              <a:gd name="connsiteY823" fmla="*/ 616005 h 2084191"/>
              <a:gd name="connsiteX824" fmla="*/ 254172 w 2051041"/>
              <a:gd name="connsiteY824" fmla="*/ 598047 h 2084191"/>
              <a:gd name="connsiteX825" fmla="*/ 418513 w 2051041"/>
              <a:gd name="connsiteY825" fmla="*/ 590429 h 2084191"/>
              <a:gd name="connsiteX826" fmla="*/ 443001 w 2051041"/>
              <a:gd name="connsiteY826" fmla="*/ 614917 h 2084191"/>
              <a:gd name="connsiteX827" fmla="*/ 419058 w 2051041"/>
              <a:gd name="connsiteY827" fmla="*/ 640493 h 2084191"/>
              <a:gd name="connsiteX828" fmla="*/ 392937 w 2051041"/>
              <a:gd name="connsiteY828" fmla="*/ 616005 h 2084191"/>
              <a:gd name="connsiteX829" fmla="*/ 418513 w 2051041"/>
              <a:gd name="connsiteY829" fmla="*/ 590429 h 2084191"/>
              <a:gd name="connsiteX830" fmla="*/ 581222 w 2051041"/>
              <a:gd name="connsiteY830" fmla="*/ 587163 h 2084191"/>
              <a:gd name="connsiteX831" fmla="*/ 610063 w 2051041"/>
              <a:gd name="connsiteY831" fmla="*/ 616549 h 2084191"/>
              <a:gd name="connsiteX832" fmla="*/ 580677 w 2051041"/>
              <a:gd name="connsiteY832" fmla="*/ 645390 h 2084191"/>
              <a:gd name="connsiteX833" fmla="*/ 551836 w 2051041"/>
              <a:gd name="connsiteY833" fmla="*/ 615461 h 2084191"/>
              <a:gd name="connsiteX834" fmla="*/ 581222 w 2051041"/>
              <a:gd name="connsiteY834" fmla="*/ 587163 h 2084191"/>
              <a:gd name="connsiteX835" fmla="*/ 743930 w 2051041"/>
              <a:gd name="connsiteY835" fmla="*/ 582266 h 2084191"/>
              <a:gd name="connsiteX836" fmla="*/ 779301 w 2051041"/>
              <a:gd name="connsiteY836" fmla="*/ 616005 h 2084191"/>
              <a:gd name="connsiteX837" fmla="*/ 745563 w 2051041"/>
              <a:gd name="connsiteY837" fmla="*/ 649744 h 2084191"/>
              <a:gd name="connsiteX838" fmla="*/ 711824 w 2051041"/>
              <a:gd name="connsiteY838" fmla="*/ 616549 h 2084191"/>
              <a:gd name="connsiteX839" fmla="*/ 743930 w 2051041"/>
              <a:gd name="connsiteY839" fmla="*/ 582266 h 2084191"/>
              <a:gd name="connsiteX840" fmla="*/ 907183 w 2051041"/>
              <a:gd name="connsiteY840" fmla="*/ 577913 h 2084191"/>
              <a:gd name="connsiteX841" fmla="*/ 945276 w 2051041"/>
              <a:gd name="connsiteY841" fmla="*/ 615461 h 2084191"/>
              <a:gd name="connsiteX842" fmla="*/ 907727 w 2051041"/>
              <a:gd name="connsiteY842" fmla="*/ 654098 h 2084191"/>
              <a:gd name="connsiteX843" fmla="*/ 869091 w 2051041"/>
              <a:gd name="connsiteY843" fmla="*/ 616006 h 2084191"/>
              <a:gd name="connsiteX844" fmla="*/ 907183 w 2051041"/>
              <a:gd name="connsiteY844" fmla="*/ 577913 h 2084191"/>
              <a:gd name="connsiteX845" fmla="*/ 1069891 w 2051041"/>
              <a:gd name="connsiteY845" fmla="*/ 574648 h 2084191"/>
              <a:gd name="connsiteX846" fmla="*/ 1111248 w 2051041"/>
              <a:gd name="connsiteY846" fmla="*/ 615461 h 2084191"/>
              <a:gd name="connsiteX847" fmla="*/ 1070435 w 2051041"/>
              <a:gd name="connsiteY847" fmla="*/ 656274 h 2084191"/>
              <a:gd name="connsiteX848" fmla="*/ 1029622 w 2051041"/>
              <a:gd name="connsiteY848" fmla="*/ 614917 h 2084191"/>
              <a:gd name="connsiteX849" fmla="*/ 1069891 w 2051041"/>
              <a:gd name="connsiteY849" fmla="*/ 574648 h 2084191"/>
              <a:gd name="connsiteX850" fmla="*/ 1235321 w 2051041"/>
              <a:gd name="connsiteY850" fmla="*/ 572472 h 2084191"/>
              <a:gd name="connsiteX851" fmla="*/ 1277222 w 2051041"/>
              <a:gd name="connsiteY851" fmla="*/ 616550 h 2084191"/>
              <a:gd name="connsiteX852" fmla="*/ 1233688 w 2051041"/>
              <a:gd name="connsiteY852" fmla="*/ 660084 h 2084191"/>
              <a:gd name="connsiteX853" fmla="*/ 1190154 w 2051041"/>
              <a:gd name="connsiteY853" fmla="*/ 614917 h 2084191"/>
              <a:gd name="connsiteX854" fmla="*/ 1235321 w 2051041"/>
              <a:gd name="connsiteY854" fmla="*/ 572472 h 2084191"/>
              <a:gd name="connsiteX855" fmla="*/ 1397485 w 2051041"/>
              <a:gd name="connsiteY855" fmla="*/ 569206 h 2084191"/>
              <a:gd name="connsiteX856" fmla="*/ 1443196 w 2051041"/>
              <a:gd name="connsiteY856" fmla="*/ 616005 h 2084191"/>
              <a:gd name="connsiteX857" fmla="*/ 1396941 w 2051041"/>
              <a:gd name="connsiteY857" fmla="*/ 661172 h 2084191"/>
              <a:gd name="connsiteX858" fmla="*/ 1351775 w 2051041"/>
              <a:gd name="connsiteY858" fmla="*/ 614373 h 2084191"/>
              <a:gd name="connsiteX859" fmla="*/ 1397485 w 2051041"/>
              <a:gd name="connsiteY859" fmla="*/ 569206 h 2084191"/>
              <a:gd name="connsiteX860" fmla="*/ 1560738 w 2051041"/>
              <a:gd name="connsiteY860" fmla="*/ 567029 h 2084191"/>
              <a:gd name="connsiteX861" fmla="*/ 1609714 w 2051041"/>
              <a:gd name="connsiteY861" fmla="*/ 615461 h 2084191"/>
              <a:gd name="connsiteX862" fmla="*/ 1561283 w 2051041"/>
              <a:gd name="connsiteY862" fmla="*/ 663892 h 2084191"/>
              <a:gd name="connsiteX863" fmla="*/ 1512851 w 2051041"/>
              <a:gd name="connsiteY863" fmla="*/ 616005 h 2084191"/>
              <a:gd name="connsiteX864" fmla="*/ 1560738 w 2051041"/>
              <a:gd name="connsiteY864" fmla="*/ 567029 h 2084191"/>
              <a:gd name="connsiteX865" fmla="*/ 1725624 w 2051041"/>
              <a:gd name="connsiteY865" fmla="*/ 565397 h 2084191"/>
              <a:gd name="connsiteX866" fmla="*/ 1774599 w 2051041"/>
              <a:gd name="connsiteY866" fmla="*/ 616005 h 2084191"/>
              <a:gd name="connsiteX867" fmla="*/ 1723447 w 2051041"/>
              <a:gd name="connsiteY867" fmla="*/ 664981 h 2084191"/>
              <a:gd name="connsiteX868" fmla="*/ 1674471 w 2051041"/>
              <a:gd name="connsiteY868" fmla="*/ 615461 h 2084191"/>
              <a:gd name="connsiteX869" fmla="*/ 1725624 w 2051041"/>
              <a:gd name="connsiteY869" fmla="*/ 565397 h 2084191"/>
              <a:gd name="connsiteX870" fmla="*/ 1886699 w 2051041"/>
              <a:gd name="connsiteY870" fmla="*/ 564853 h 2084191"/>
              <a:gd name="connsiteX871" fmla="*/ 1938396 w 2051041"/>
              <a:gd name="connsiteY871" fmla="*/ 614917 h 2084191"/>
              <a:gd name="connsiteX872" fmla="*/ 1887787 w 2051041"/>
              <a:gd name="connsiteY872" fmla="*/ 665525 h 2084191"/>
              <a:gd name="connsiteX873" fmla="*/ 1837179 w 2051041"/>
              <a:gd name="connsiteY873" fmla="*/ 615461 h 2084191"/>
              <a:gd name="connsiteX874" fmla="*/ 1886699 w 2051041"/>
              <a:gd name="connsiteY874" fmla="*/ 564853 h 2084191"/>
              <a:gd name="connsiteX875" fmla="*/ 2050496 w 2051041"/>
              <a:gd name="connsiteY875" fmla="*/ 564852 h 2084191"/>
              <a:gd name="connsiteX876" fmla="*/ 2051041 w 2051041"/>
              <a:gd name="connsiteY876" fmla="*/ 564962 h 2084191"/>
              <a:gd name="connsiteX877" fmla="*/ 2051041 w 2051041"/>
              <a:gd name="connsiteY877" fmla="*/ 665899 h 2084191"/>
              <a:gd name="connsiteX878" fmla="*/ 2049952 w 2051041"/>
              <a:gd name="connsiteY878" fmla="*/ 666069 h 2084191"/>
              <a:gd name="connsiteX879" fmla="*/ 1999344 w 2051041"/>
              <a:gd name="connsiteY879" fmla="*/ 615460 h 2084191"/>
              <a:gd name="connsiteX880" fmla="*/ 2050496 w 2051041"/>
              <a:gd name="connsiteY880" fmla="*/ 564852 h 2084191"/>
              <a:gd name="connsiteX881" fmla="*/ 173090 w 2051041"/>
              <a:gd name="connsiteY881" fmla="*/ 517509 h 2084191"/>
              <a:gd name="connsiteX882" fmla="*/ 189959 w 2051041"/>
              <a:gd name="connsiteY882" fmla="*/ 533834 h 2084191"/>
              <a:gd name="connsiteX883" fmla="*/ 173634 w 2051041"/>
              <a:gd name="connsiteY883" fmla="*/ 550160 h 2084191"/>
              <a:gd name="connsiteX884" fmla="*/ 157308 w 2051041"/>
              <a:gd name="connsiteY884" fmla="*/ 534923 h 2084191"/>
              <a:gd name="connsiteX885" fmla="*/ 173090 w 2051041"/>
              <a:gd name="connsiteY885" fmla="*/ 517509 h 2084191"/>
              <a:gd name="connsiteX886" fmla="*/ 335798 w 2051041"/>
              <a:gd name="connsiteY886" fmla="*/ 511523 h 2084191"/>
              <a:gd name="connsiteX887" fmla="*/ 358654 w 2051041"/>
              <a:gd name="connsiteY887" fmla="*/ 533834 h 2084191"/>
              <a:gd name="connsiteX888" fmla="*/ 336343 w 2051041"/>
              <a:gd name="connsiteY888" fmla="*/ 556689 h 2084191"/>
              <a:gd name="connsiteX889" fmla="*/ 312943 w 2051041"/>
              <a:gd name="connsiteY889" fmla="*/ 534378 h 2084191"/>
              <a:gd name="connsiteX890" fmla="*/ 335798 w 2051041"/>
              <a:gd name="connsiteY890" fmla="*/ 511523 h 2084191"/>
              <a:gd name="connsiteX891" fmla="*/ 500139 w 2051041"/>
              <a:gd name="connsiteY891" fmla="*/ 506626 h 2084191"/>
              <a:gd name="connsiteX892" fmla="*/ 527348 w 2051041"/>
              <a:gd name="connsiteY892" fmla="*/ 535467 h 2084191"/>
              <a:gd name="connsiteX893" fmla="*/ 497963 w 2051041"/>
              <a:gd name="connsiteY893" fmla="*/ 561587 h 2084191"/>
              <a:gd name="connsiteX894" fmla="*/ 471842 w 2051041"/>
              <a:gd name="connsiteY894" fmla="*/ 533290 h 2084191"/>
              <a:gd name="connsiteX895" fmla="*/ 500139 w 2051041"/>
              <a:gd name="connsiteY895" fmla="*/ 506626 h 2084191"/>
              <a:gd name="connsiteX896" fmla="*/ 662304 w 2051041"/>
              <a:gd name="connsiteY896" fmla="*/ 500639 h 2084191"/>
              <a:gd name="connsiteX897" fmla="*/ 696042 w 2051041"/>
              <a:gd name="connsiteY897" fmla="*/ 533290 h 2084191"/>
              <a:gd name="connsiteX898" fmla="*/ 663392 w 2051041"/>
              <a:gd name="connsiteY898" fmla="*/ 566485 h 2084191"/>
              <a:gd name="connsiteX899" fmla="*/ 630197 w 2051041"/>
              <a:gd name="connsiteY899" fmla="*/ 534378 h 2084191"/>
              <a:gd name="connsiteX900" fmla="*/ 662304 w 2051041"/>
              <a:gd name="connsiteY900" fmla="*/ 500639 h 2084191"/>
              <a:gd name="connsiteX901" fmla="*/ 825557 w 2051041"/>
              <a:gd name="connsiteY901" fmla="*/ 496830 h 2084191"/>
              <a:gd name="connsiteX902" fmla="*/ 863649 w 2051041"/>
              <a:gd name="connsiteY902" fmla="*/ 534923 h 2084191"/>
              <a:gd name="connsiteX903" fmla="*/ 825557 w 2051041"/>
              <a:gd name="connsiteY903" fmla="*/ 571383 h 2084191"/>
              <a:gd name="connsiteX904" fmla="*/ 788553 w 2051041"/>
              <a:gd name="connsiteY904" fmla="*/ 534379 h 2084191"/>
              <a:gd name="connsiteX905" fmla="*/ 825557 w 2051041"/>
              <a:gd name="connsiteY905" fmla="*/ 496830 h 2084191"/>
              <a:gd name="connsiteX906" fmla="*/ 989898 w 2051041"/>
              <a:gd name="connsiteY906" fmla="*/ 494110 h 2084191"/>
              <a:gd name="connsiteX907" fmla="*/ 1029078 w 2051041"/>
              <a:gd name="connsiteY907" fmla="*/ 534923 h 2084191"/>
              <a:gd name="connsiteX908" fmla="*/ 989353 w 2051041"/>
              <a:gd name="connsiteY908" fmla="*/ 574104 h 2084191"/>
              <a:gd name="connsiteX909" fmla="*/ 949629 w 2051041"/>
              <a:gd name="connsiteY909" fmla="*/ 533835 h 2084191"/>
              <a:gd name="connsiteX910" fmla="*/ 989898 w 2051041"/>
              <a:gd name="connsiteY910" fmla="*/ 494110 h 2084191"/>
              <a:gd name="connsiteX911" fmla="*/ 1152062 w 2051041"/>
              <a:gd name="connsiteY911" fmla="*/ 490301 h 2084191"/>
              <a:gd name="connsiteX912" fmla="*/ 1196140 w 2051041"/>
              <a:gd name="connsiteY912" fmla="*/ 533835 h 2084191"/>
              <a:gd name="connsiteX913" fmla="*/ 1152606 w 2051041"/>
              <a:gd name="connsiteY913" fmla="*/ 577369 h 2084191"/>
              <a:gd name="connsiteX914" fmla="*/ 1109072 w 2051041"/>
              <a:gd name="connsiteY914" fmla="*/ 534379 h 2084191"/>
              <a:gd name="connsiteX915" fmla="*/ 1152062 w 2051041"/>
              <a:gd name="connsiteY915" fmla="*/ 490301 h 2084191"/>
              <a:gd name="connsiteX916" fmla="*/ 1316947 w 2051041"/>
              <a:gd name="connsiteY916" fmla="*/ 489212 h 2084191"/>
              <a:gd name="connsiteX917" fmla="*/ 1361570 w 2051041"/>
              <a:gd name="connsiteY917" fmla="*/ 534923 h 2084191"/>
              <a:gd name="connsiteX918" fmla="*/ 1315859 w 2051041"/>
              <a:gd name="connsiteY918" fmla="*/ 580090 h 2084191"/>
              <a:gd name="connsiteX919" fmla="*/ 1270693 w 2051041"/>
              <a:gd name="connsiteY919" fmla="*/ 533835 h 2084191"/>
              <a:gd name="connsiteX920" fmla="*/ 1316947 w 2051041"/>
              <a:gd name="connsiteY920" fmla="*/ 489212 h 2084191"/>
              <a:gd name="connsiteX921" fmla="*/ 1479112 w 2051041"/>
              <a:gd name="connsiteY921" fmla="*/ 484315 h 2084191"/>
              <a:gd name="connsiteX922" fmla="*/ 1528087 w 2051041"/>
              <a:gd name="connsiteY922" fmla="*/ 533835 h 2084191"/>
              <a:gd name="connsiteX923" fmla="*/ 1479656 w 2051041"/>
              <a:gd name="connsiteY923" fmla="*/ 582267 h 2084191"/>
              <a:gd name="connsiteX924" fmla="*/ 1431224 w 2051041"/>
              <a:gd name="connsiteY924" fmla="*/ 533835 h 2084191"/>
              <a:gd name="connsiteX925" fmla="*/ 1479112 w 2051041"/>
              <a:gd name="connsiteY925" fmla="*/ 484315 h 2084191"/>
              <a:gd name="connsiteX926" fmla="*/ 1643452 w 2051041"/>
              <a:gd name="connsiteY926" fmla="*/ 484314 h 2084191"/>
              <a:gd name="connsiteX927" fmla="*/ 1692973 w 2051041"/>
              <a:gd name="connsiteY927" fmla="*/ 534923 h 2084191"/>
              <a:gd name="connsiteX928" fmla="*/ 1641276 w 2051041"/>
              <a:gd name="connsiteY928" fmla="*/ 583898 h 2084191"/>
              <a:gd name="connsiteX929" fmla="*/ 1592300 w 2051041"/>
              <a:gd name="connsiteY929" fmla="*/ 532202 h 2084191"/>
              <a:gd name="connsiteX930" fmla="*/ 1643452 w 2051041"/>
              <a:gd name="connsiteY930" fmla="*/ 484314 h 2084191"/>
              <a:gd name="connsiteX931" fmla="*/ 1806162 w 2051041"/>
              <a:gd name="connsiteY931" fmla="*/ 481594 h 2084191"/>
              <a:gd name="connsiteX932" fmla="*/ 1857858 w 2051041"/>
              <a:gd name="connsiteY932" fmla="*/ 536011 h 2084191"/>
              <a:gd name="connsiteX933" fmla="*/ 1803441 w 2051041"/>
              <a:gd name="connsiteY933" fmla="*/ 586075 h 2084191"/>
              <a:gd name="connsiteX934" fmla="*/ 1753377 w 2051041"/>
              <a:gd name="connsiteY934" fmla="*/ 533290 h 2084191"/>
              <a:gd name="connsiteX935" fmla="*/ 1806162 w 2051041"/>
              <a:gd name="connsiteY935" fmla="*/ 481594 h 2084191"/>
              <a:gd name="connsiteX936" fmla="*/ 1968326 w 2051041"/>
              <a:gd name="connsiteY936" fmla="*/ 480505 h 2084191"/>
              <a:gd name="connsiteX937" fmla="*/ 2022200 w 2051041"/>
              <a:gd name="connsiteY937" fmla="*/ 534379 h 2084191"/>
              <a:gd name="connsiteX938" fmla="*/ 1969415 w 2051041"/>
              <a:gd name="connsiteY938" fmla="*/ 588252 h 2084191"/>
              <a:gd name="connsiteX939" fmla="*/ 1915541 w 2051041"/>
              <a:gd name="connsiteY939" fmla="*/ 534923 h 2084191"/>
              <a:gd name="connsiteX940" fmla="*/ 1968326 w 2051041"/>
              <a:gd name="connsiteY940" fmla="*/ 480505 h 2084191"/>
              <a:gd name="connsiteX941" fmla="*/ 91464 w 2051041"/>
              <a:gd name="connsiteY941" fmla="*/ 440780 h 2084191"/>
              <a:gd name="connsiteX942" fmla="*/ 102891 w 2051041"/>
              <a:gd name="connsiteY942" fmla="*/ 451664 h 2084191"/>
              <a:gd name="connsiteX943" fmla="*/ 92008 w 2051041"/>
              <a:gd name="connsiteY943" fmla="*/ 464179 h 2084191"/>
              <a:gd name="connsiteX944" fmla="*/ 80036 w 2051041"/>
              <a:gd name="connsiteY944" fmla="*/ 452752 h 2084191"/>
              <a:gd name="connsiteX945" fmla="*/ 91464 w 2051041"/>
              <a:gd name="connsiteY945" fmla="*/ 440780 h 2084191"/>
              <a:gd name="connsiteX946" fmla="*/ 254172 w 2051041"/>
              <a:gd name="connsiteY946" fmla="*/ 430441 h 2084191"/>
              <a:gd name="connsiteX947" fmla="*/ 275939 w 2051041"/>
              <a:gd name="connsiteY947" fmla="*/ 452208 h 2084191"/>
              <a:gd name="connsiteX948" fmla="*/ 254716 w 2051041"/>
              <a:gd name="connsiteY948" fmla="*/ 473975 h 2084191"/>
              <a:gd name="connsiteX949" fmla="*/ 232405 w 2051041"/>
              <a:gd name="connsiteY949" fmla="*/ 452752 h 2084191"/>
              <a:gd name="connsiteX950" fmla="*/ 254172 w 2051041"/>
              <a:gd name="connsiteY950" fmla="*/ 430441 h 2084191"/>
              <a:gd name="connsiteX951" fmla="*/ 417969 w 2051041"/>
              <a:gd name="connsiteY951" fmla="*/ 424999 h 2084191"/>
              <a:gd name="connsiteX952" fmla="*/ 444634 w 2051041"/>
              <a:gd name="connsiteY952" fmla="*/ 452752 h 2084191"/>
              <a:gd name="connsiteX953" fmla="*/ 417425 w 2051041"/>
              <a:gd name="connsiteY953" fmla="*/ 479417 h 2084191"/>
              <a:gd name="connsiteX954" fmla="*/ 390760 w 2051041"/>
              <a:gd name="connsiteY954" fmla="*/ 452208 h 2084191"/>
              <a:gd name="connsiteX955" fmla="*/ 417969 w 2051041"/>
              <a:gd name="connsiteY955" fmla="*/ 424999 h 2084191"/>
              <a:gd name="connsiteX956" fmla="*/ 580677 w 2051041"/>
              <a:gd name="connsiteY956" fmla="*/ 419558 h 2084191"/>
              <a:gd name="connsiteX957" fmla="*/ 612783 w 2051041"/>
              <a:gd name="connsiteY957" fmla="*/ 452208 h 2084191"/>
              <a:gd name="connsiteX958" fmla="*/ 581221 w 2051041"/>
              <a:gd name="connsiteY958" fmla="*/ 484315 h 2084191"/>
              <a:gd name="connsiteX959" fmla="*/ 549115 w 2051041"/>
              <a:gd name="connsiteY959" fmla="*/ 452208 h 2084191"/>
              <a:gd name="connsiteX960" fmla="*/ 580677 w 2051041"/>
              <a:gd name="connsiteY960" fmla="*/ 419558 h 2084191"/>
              <a:gd name="connsiteX961" fmla="*/ 743931 w 2051041"/>
              <a:gd name="connsiteY961" fmla="*/ 415748 h 2084191"/>
              <a:gd name="connsiteX962" fmla="*/ 780390 w 2051041"/>
              <a:gd name="connsiteY962" fmla="*/ 452208 h 2084191"/>
              <a:gd name="connsiteX963" fmla="*/ 744475 w 2051041"/>
              <a:gd name="connsiteY963" fmla="*/ 489212 h 2084191"/>
              <a:gd name="connsiteX964" fmla="*/ 708559 w 2051041"/>
              <a:gd name="connsiteY964" fmla="*/ 453840 h 2084191"/>
              <a:gd name="connsiteX965" fmla="*/ 743931 w 2051041"/>
              <a:gd name="connsiteY965" fmla="*/ 415748 h 2084191"/>
              <a:gd name="connsiteX966" fmla="*/ 908271 w 2051041"/>
              <a:gd name="connsiteY966" fmla="*/ 414116 h 2084191"/>
              <a:gd name="connsiteX967" fmla="*/ 946363 w 2051041"/>
              <a:gd name="connsiteY967" fmla="*/ 453296 h 2084191"/>
              <a:gd name="connsiteX968" fmla="*/ 906638 w 2051041"/>
              <a:gd name="connsiteY968" fmla="*/ 491933 h 2084191"/>
              <a:gd name="connsiteX969" fmla="*/ 868546 w 2051041"/>
              <a:gd name="connsiteY969" fmla="*/ 452208 h 2084191"/>
              <a:gd name="connsiteX970" fmla="*/ 908271 w 2051041"/>
              <a:gd name="connsiteY970" fmla="*/ 414116 h 2084191"/>
              <a:gd name="connsiteX971" fmla="*/ 1072068 w 2051041"/>
              <a:gd name="connsiteY971" fmla="*/ 409218 h 2084191"/>
              <a:gd name="connsiteX972" fmla="*/ 1113970 w 2051041"/>
              <a:gd name="connsiteY972" fmla="*/ 452752 h 2084191"/>
              <a:gd name="connsiteX973" fmla="*/ 1070436 w 2051041"/>
              <a:gd name="connsiteY973" fmla="*/ 495198 h 2084191"/>
              <a:gd name="connsiteX974" fmla="*/ 1028534 w 2051041"/>
              <a:gd name="connsiteY974" fmla="*/ 451120 h 2084191"/>
              <a:gd name="connsiteX975" fmla="*/ 1072068 w 2051041"/>
              <a:gd name="connsiteY975" fmla="*/ 409218 h 2084191"/>
              <a:gd name="connsiteX976" fmla="*/ 1235865 w 2051041"/>
              <a:gd name="connsiteY976" fmla="*/ 408130 h 2084191"/>
              <a:gd name="connsiteX977" fmla="*/ 1279400 w 2051041"/>
              <a:gd name="connsiteY977" fmla="*/ 453296 h 2084191"/>
              <a:gd name="connsiteX978" fmla="*/ 1233689 w 2051041"/>
              <a:gd name="connsiteY978" fmla="*/ 497374 h 2084191"/>
              <a:gd name="connsiteX979" fmla="*/ 1189611 w 2051041"/>
              <a:gd name="connsiteY979" fmla="*/ 451664 h 2084191"/>
              <a:gd name="connsiteX980" fmla="*/ 1235865 w 2051041"/>
              <a:gd name="connsiteY980" fmla="*/ 408130 h 2084191"/>
              <a:gd name="connsiteX981" fmla="*/ 1396941 w 2051041"/>
              <a:gd name="connsiteY981" fmla="*/ 403776 h 2084191"/>
              <a:gd name="connsiteX982" fmla="*/ 1446461 w 2051041"/>
              <a:gd name="connsiteY982" fmla="*/ 450575 h 2084191"/>
              <a:gd name="connsiteX983" fmla="*/ 1399118 w 2051041"/>
              <a:gd name="connsiteY983" fmla="*/ 500640 h 2084191"/>
              <a:gd name="connsiteX984" fmla="*/ 1349598 w 2051041"/>
              <a:gd name="connsiteY984" fmla="*/ 453296 h 2084191"/>
              <a:gd name="connsiteX985" fmla="*/ 1396941 w 2051041"/>
              <a:gd name="connsiteY985" fmla="*/ 403776 h 2084191"/>
              <a:gd name="connsiteX986" fmla="*/ 1560738 w 2051041"/>
              <a:gd name="connsiteY986" fmla="*/ 402144 h 2084191"/>
              <a:gd name="connsiteX987" fmla="*/ 1611347 w 2051041"/>
              <a:gd name="connsiteY987" fmla="*/ 453297 h 2084191"/>
              <a:gd name="connsiteX988" fmla="*/ 1560194 w 2051041"/>
              <a:gd name="connsiteY988" fmla="*/ 502272 h 2084191"/>
              <a:gd name="connsiteX989" fmla="*/ 1511218 w 2051041"/>
              <a:gd name="connsiteY989" fmla="*/ 451664 h 2084191"/>
              <a:gd name="connsiteX990" fmla="*/ 1560738 w 2051041"/>
              <a:gd name="connsiteY990" fmla="*/ 402144 h 2084191"/>
              <a:gd name="connsiteX991" fmla="*/ 1723991 w 2051041"/>
              <a:gd name="connsiteY991" fmla="*/ 399423 h 2084191"/>
              <a:gd name="connsiteX992" fmla="*/ 1776776 w 2051041"/>
              <a:gd name="connsiteY992" fmla="*/ 452752 h 2084191"/>
              <a:gd name="connsiteX993" fmla="*/ 1725079 w 2051041"/>
              <a:gd name="connsiteY993" fmla="*/ 504993 h 2084191"/>
              <a:gd name="connsiteX994" fmla="*/ 1671750 w 2051041"/>
              <a:gd name="connsiteY994" fmla="*/ 452752 h 2084191"/>
              <a:gd name="connsiteX995" fmla="*/ 1723991 w 2051041"/>
              <a:gd name="connsiteY995" fmla="*/ 399423 h 2084191"/>
              <a:gd name="connsiteX996" fmla="*/ 2051040 w 2051041"/>
              <a:gd name="connsiteY996" fmla="*/ 398335 h 2084191"/>
              <a:gd name="connsiteX997" fmla="*/ 2051041 w 2051041"/>
              <a:gd name="connsiteY997" fmla="*/ 398335 h 2084191"/>
              <a:gd name="connsiteX998" fmla="*/ 2051041 w 2051041"/>
              <a:gd name="connsiteY998" fmla="*/ 506936 h 2084191"/>
              <a:gd name="connsiteX999" fmla="*/ 2049952 w 2051041"/>
              <a:gd name="connsiteY999" fmla="*/ 507170 h 2084191"/>
              <a:gd name="connsiteX1000" fmla="*/ 1995534 w 2051041"/>
              <a:gd name="connsiteY1000" fmla="*/ 452208 h 2084191"/>
              <a:gd name="connsiteX1001" fmla="*/ 2051040 w 2051041"/>
              <a:gd name="connsiteY1001" fmla="*/ 398335 h 2084191"/>
              <a:gd name="connsiteX1002" fmla="*/ 1888332 w 2051041"/>
              <a:gd name="connsiteY1002" fmla="*/ 398335 h 2084191"/>
              <a:gd name="connsiteX1003" fmla="*/ 1941661 w 2051041"/>
              <a:gd name="connsiteY1003" fmla="*/ 452208 h 2084191"/>
              <a:gd name="connsiteX1004" fmla="*/ 1886699 w 2051041"/>
              <a:gd name="connsiteY1004" fmla="*/ 506082 h 2084191"/>
              <a:gd name="connsiteX1005" fmla="*/ 1833370 w 2051041"/>
              <a:gd name="connsiteY1005" fmla="*/ 452208 h 2084191"/>
              <a:gd name="connsiteX1006" fmla="*/ 1888332 w 2051041"/>
              <a:gd name="connsiteY1006" fmla="*/ 398335 h 2084191"/>
              <a:gd name="connsiteX1007" fmla="*/ 12014 w 2051041"/>
              <a:gd name="connsiteY1007" fmla="*/ 364052 h 2084191"/>
              <a:gd name="connsiteX1008" fmla="*/ 15823 w 2051041"/>
              <a:gd name="connsiteY1008" fmla="*/ 370038 h 2084191"/>
              <a:gd name="connsiteX1009" fmla="*/ 9293 w 2051041"/>
              <a:gd name="connsiteY1009" fmla="*/ 377656 h 2084191"/>
              <a:gd name="connsiteX1010" fmla="*/ 3307 w 2051041"/>
              <a:gd name="connsiteY1010" fmla="*/ 371126 h 2084191"/>
              <a:gd name="connsiteX1011" fmla="*/ 12014 w 2051041"/>
              <a:gd name="connsiteY1011" fmla="*/ 364052 h 2084191"/>
              <a:gd name="connsiteX1012" fmla="*/ 172545 w 2051041"/>
              <a:gd name="connsiteY1012" fmla="*/ 353713 h 2084191"/>
              <a:gd name="connsiteX1013" fmla="*/ 190503 w 2051041"/>
              <a:gd name="connsiteY1013" fmla="*/ 370582 h 2084191"/>
              <a:gd name="connsiteX1014" fmla="*/ 173090 w 2051041"/>
              <a:gd name="connsiteY1014" fmla="*/ 387996 h 2084191"/>
              <a:gd name="connsiteX1015" fmla="*/ 155676 w 2051041"/>
              <a:gd name="connsiteY1015" fmla="*/ 371126 h 2084191"/>
              <a:gd name="connsiteX1016" fmla="*/ 172545 w 2051041"/>
              <a:gd name="connsiteY1016" fmla="*/ 353713 h 2084191"/>
              <a:gd name="connsiteX1017" fmla="*/ 336886 w 2051041"/>
              <a:gd name="connsiteY1017" fmla="*/ 345550 h 2084191"/>
              <a:gd name="connsiteX1018" fmla="*/ 361374 w 2051041"/>
              <a:gd name="connsiteY1018" fmla="*/ 371670 h 2084191"/>
              <a:gd name="connsiteX1019" fmla="*/ 335798 w 2051041"/>
              <a:gd name="connsiteY1019" fmla="*/ 395070 h 2084191"/>
              <a:gd name="connsiteX1020" fmla="*/ 311854 w 2051041"/>
              <a:gd name="connsiteY1020" fmla="*/ 370038 h 2084191"/>
              <a:gd name="connsiteX1021" fmla="*/ 336886 w 2051041"/>
              <a:gd name="connsiteY1021" fmla="*/ 345550 h 2084191"/>
              <a:gd name="connsiteX1022" fmla="*/ 499596 w 2051041"/>
              <a:gd name="connsiteY1022" fmla="*/ 342284 h 2084191"/>
              <a:gd name="connsiteX1023" fmla="*/ 528437 w 2051041"/>
              <a:gd name="connsiteY1023" fmla="*/ 370582 h 2084191"/>
              <a:gd name="connsiteX1024" fmla="*/ 499051 w 2051041"/>
              <a:gd name="connsiteY1024" fmla="*/ 399423 h 2084191"/>
              <a:gd name="connsiteX1025" fmla="*/ 470210 w 2051041"/>
              <a:gd name="connsiteY1025" fmla="*/ 370037 h 2084191"/>
              <a:gd name="connsiteX1026" fmla="*/ 499596 w 2051041"/>
              <a:gd name="connsiteY1026" fmla="*/ 342284 h 2084191"/>
              <a:gd name="connsiteX1027" fmla="*/ 663392 w 2051041"/>
              <a:gd name="connsiteY1027" fmla="*/ 337387 h 2084191"/>
              <a:gd name="connsiteX1028" fmla="*/ 697131 w 2051041"/>
              <a:gd name="connsiteY1028" fmla="*/ 371126 h 2084191"/>
              <a:gd name="connsiteX1029" fmla="*/ 662304 w 2051041"/>
              <a:gd name="connsiteY1029" fmla="*/ 404321 h 2084191"/>
              <a:gd name="connsiteX1030" fmla="*/ 629109 w 2051041"/>
              <a:gd name="connsiteY1030" fmla="*/ 371126 h 2084191"/>
              <a:gd name="connsiteX1031" fmla="*/ 663392 w 2051041"/>
              <a:gd name="connsiteY1031" fmla="*/ 337387 h 2084191"/>
              <a:gd name="connsiteX1032" fmla="*/ 825556 w 2051041"/>
              <a:gd name="connsiteY1032" fmla="*/ 332489 h 2084191"/>
              <a:gd name="connsiteX1033" fmla="*/ 864737 w 2051041"/>
              <a:gd name="connsiteY1033" fmla="*/ 370037 h 2084191"/>
              <a:gd name="connsiteX1034" fmla="*/ 826645 w 2051041"/>
              <a:gd name="connsiteY1034" fmla="*/ 409218 h 2084191"/>
              <a:gd name="connsiteX1035" fmla="*/ 787464 w 2051041"/>
              <a:gd name="connsiteY1035" fmla="*/ 371126 h 2084191"/>
              <a:gd name="connsiteX1036" fmla="*/ 825556 w 2051041"/>
              <a:gd name="connsiteY1036" fmla="*/ 332489 h 2084191"/>
              <a:gd name="connsiteX1037" fmla="*/ 989898 w 2051041"/>
              <a:gd name="connsiteY1037" fmla="*/ 328680 h 2084191"/>
              <a:gd name="connsiteX1038" fmla="*/ 1031255 w 2051041"/>
              <a:gd name="connsiteY1038" fmla="*/ 371126 h 2084191"/>
              <a:gd name="connsiteX1039" fmla="*/ 989354 w 2051041"/>
              <a:gd name="connsiteY1039" fmla="*/ 413027 h 2084191"/>
              <a:gd name="connsiteX1040" fmla="*/ 947452 w 2051041"/>
              <a:gd name="connsiteY1040" fmla="*/ 370037 h 2084191"/>
              <a:gd name="connsiteX1041" fmla="*/ 989898 w 2051041"/>
              <a:gd name="connsiteY1041" fmla="*/ 328680 h 2084191"/>
              <a:gd name="connsiteX1042" fmla="*/ 1153150 w 2051041"/>
              <a:gd name="connsiteY1042" fmla="*/ 326504 h 2084191"/>
              <a:gd name="connsiteX1043" fmla="*/ 1197228 w 2051041"/>
              <a:gd name="connsiteY1043" fmla="*/ 370582 h 2084191"/>
              <a:gd name="connsiteX1044" fmla="*/ 1152606 w 2051041"/>
              <a:gd name="connsiteY1044" fmla="*/ 414661 h 2084191"/>
              <a:gd name="connsiteX1045" fmla="*/ 1108528 w 2051041"/>
              <a:gd name="connsiteY1045" fmla="*/ 370038 h 2084191"/>
              <a:gd name="connsiteX1046" fmla="*/ 1153150 w 2051041"/>
              <a:gd name="connsiteY1046" fmla="*/ 326504 h 2084191"/>
              <a:gd name="connsiteX1047" fmla="*/ 1317492 w 2051041"/>
              <a:gd name="connsiteY1047" fmla="*/ 323239 h 2084191"/>
              <a:gd name="connsiteX1048" fmla="*/ 1364835 w 2051041"/>
              <a:gd name="connsiteY1048" fmla="*/ 372215 h 2084191"/>
              <a:gd name="connsiteX1049" fmla="*/ 1314771 w 2051041"/>
              <a:gd name="connsiteY1049" fmla="*/ 419014 h 2084191"/>
              <a:gd name="connsiteX1050" fmla="*/ 1268516 w 2051041"/>
              <a:gd name="connsiteY1050" fmla="*/ 370582 h 2084191"/>
              <a:gd name="connsiteX1051" fmla="*/ 1317492 w 2051041"/>
              <a:gd name="connsiteY1051" fmla="*/ 323239 h 2084191"/>
              <a:gd name="connsiteX1052" fmla="*/ 1479112 w 2051041"/>
              <a:gd name="connsiteY1052" fmla="*/ 320517 h 2084191"/>
              <a:gd name="connsiteX1053" fmla="*/ 1529720 w 2051041"/>
              <a:gd name="connsiteY1053" fmla="*/ 371670 h 2084191"/>
              <a:gd name="connsiteX1054" fmla="*/ 1478568 w 2051041"/>
              <a:gd name="connsiteY1054" fmla="*/ 420101 h 2084191"/>
              <a:gd name="connsiteX1055" fmla="*/ 1429592 w 2051041"/>
              <a:gd name="connsiteY1055" fmla="*/ 370037 h 2084191"/>
              <a:gd name="connsiteX1056" fmla="*/ 1479112 w 2051041"/>
              <a:gd name="connsiteY1056" fmla="*/ 320517 h 2084191"/>
              <a:gd name="connsiteX1057" fmla="*/ 1642364 w 2051041"/>
              <a:gd name="connsiteY1057" fmla="*/ 318341 h 2084191"/>
              <a:gd name="connsiteX1058" fmla="*/ 1695694 w 2051041"/>
              <a:gd name="connsiteY1058" fmla="*/ 370582 h 2084191"/>
              <a:gd name="connsiteX1059" fmla="*/ 1643453 w 2051041"/>
              <a:gd name="connsiteY1059" fmla="*/ 424455 h 2084191"/>
              <a:gd name="connsiteX1060" fmla="*/ 1589035 w 2051041"/>
              <a:gd name="connsiteY1060" fmla="*/ 371670 h 2084191"/>
              <a:gd name="connsiteX1061" fmla="*/ 1642364 w 2051041"/>
              <a:gd name="connsiteY1061" fmla="*/ 318341 h 2084191"/>
              <a:gd name="connsiteX1062" fmla="*/ 90919 w 2051041"/>
              <a:gd name="connsiteY1062" fmla="*/ 273718 h 2084191"/>
              <a:gd name="connsiteX1063" fmla="*/ 106700 w 2051041"/>
              <a:gd name="connsiteY1063" fmla="*/ 288411 h 2084191"/>
              <a:gd name="connsiteX1064" fmla="*/ 91463 w 2051041"/>
              <a:gd name="connsiteY1064" fmla="*/ 303648 h 2084191"/>
              <a:gd name="connsiteX1065" fmla="*/ 76770 w 2051041"/>
              <a:gd name="connsiteY1065" fmla="*/ 288411 h 2084191"/>
              <a:gd name="connsiteX1066" fmla="*/ 90919 w 2051041"/>
              <a:gd name="connsiteY1066" fmla="*/ 273718 h 2084191"/>
              <a:gd name="connsiteX1067" fmla="*/ 254716 w 2051041"/>
              <a:gd name="connsiteY1067" fmla="*/ 267733 h 2084191"/>
              <a:gd name="connsiteX1068" fmla="*/ 276483 w 2051041"/>
              <a:gd name="connsiteY1068" fmla="*/ 288956 h 2084191"/>
              <a:gd name="connsiteX1069" fmla="*/ 254172 w 2051041"/>
              <a:gd name="connsiteY1069" fmla="*/ 311811 h 2084191"/>
              <a:gd name="connsiteX1070" fmla="*/ 232405 w 2051041"/>
              <a:gd name="connsiteY1070" fmla="*/ 289500 h 2084191"/>
              <a:gd name="connsiteX1071" fmla="*/ 254716 w 2051041"/>
              <a:gd name="connsiteY1071" fmla="*/ 267733 h 2084191"/>
              <a:gd name="connsiteX1072" fmla="*/ 1941117 w 2051041"/>
              <a:gd name="connsiteY1072" fmla="*/ 263202 h 2084191"/>
              <a:gd name="connsiteX1073" fmla="*/ 1936219 w 2051041"/>
              <a:gd name="connsiteY1073" fmla="*/ 266467 h 2084191"/>
              <a:gd name="connsiteX1074" fmla="*/ 1938396 w 2051041"/>
              <a:gd name="connsiteY1074" fmla="*/ 272453 h 2084191"/>
              <a:gd name="connsiteX1075" fmla="*/ 1932954 w 2051041"/>
              <a:gd name="connsiteY1075" fmla="*/ 325782 h 2084191"/>
              <a:gd name="connsiteX1076" fmla="*/ 1930777 w 2051041"/>
              <a:gd name="connsiteY1076" fmla="*/ 331224 h 2084191"/>
              <a:gd name="connsiteX1077" fmla="*/ 1936219 w 2051041"/>
              <a:gd name="connsiteY1077" fmla="*/ 330136 h 2084191"/>
              <a:gd name="connsiteX1078" fmla="*/ 1966693 w 2051041"/>
              <a:gd name="connsiteY1078" fmla="*/ 320340 h 2084191"/>
              <a:gd name="connsiteX1079" fmla="*/ 1998799 w 2051041"/>
              <a:gd name="connsiteY1079" fmla="*/ 328503 h 2084191"/>
              <a:gd name="connsiteX1080" fmla="*/ 2003153 w 2051041"/>
              <a:gd name="connsiteY1080" fmla="*/ 330136 h 2084191"/>
              <a:gd name="connsiteX1081" fmla="*/ 2001520 w 2051041"/>
              <a:gd name="connsiteY1081" fmla="*/ 324694 h 2084191"/>
              <a:gd name="connsiteX1082" fmla="*/ 1994446 w 2051041"/>
              <a:gd name="connsiteY1082" fmla="*/ 309457 h 2084191"/>
              <a:gd name="connsiteX1083" fmla="*/ 1998255 w 2051041"/>
              <a:gd name="connsiteY1083" fmla="*/ 267555 h 2084191"/>
              <a:gd name="connsiteX1084" fmla="*/ 2000976 w 2051041"/>
              <a:gd name="connsiteY1084" fmla="*/ 263746 h 2084191"/>
              <a:gd name="connsiteX1085" fmla="*/ 1995534 w 2051041"/>
              <a:gd name="connsiteY1085" fmla="*/ 263746 h 2084191"/>
              <a:gd name="connsiteX1086" fmla="*/ 1941117 w 2051041"/>
              <a:gd name="connsiteY1086" fmla="*/ 263202 h 2084191"/>
              <a:gd name="connsiteX1087" fmla="*/ 417425 w 2051041"/>
              <a:gd name="connsiteY1087" fmla="*/ 262291 h 2084191"/>
              <a:gd name="connsiteX1088" fmla="*/ 445178 w 2051041"/>
              <a:gd name="connsiteY1088" fmla="*/ 288956 h 2084191"/>
              <a:gd name="connsiteX1089" fmla="*/ 417969 w 2051041"/>
              <a:gd name="connsiteY1089" fmla="*/ 317253 h 2084191"/>
              <a:gd name="connsiteX1090" fmla="*/ 390216 w 2051041"/>
              <a:gd name="connsiteY1090" fmla="*/ 290044 h 2084191"/>
              <a:gd name="connsiteX1091" fmla="*/ 417425 w 2051041"/>
              <a:gd name="connsiteY1091" fmla="*/ 262291 h 2084191"/>
              <a:gd name="connsiteX1092" fmla="*/ 580678 w 2051041"/>
              <a:gd name="connsiteY1092" fmla="*/ 256304 h 2084191"/>
              <a:gd name="connsiteX1093" fmla="*/ 613872 w 2051041"/>
              <a:gd name="connsiteY1093" fmla="*/ 288955 h 2084191"/>
              <a:gd name="connsiteX1094" fmla="*/ 581222 w 2051041"/>
              <a:gd name="connsiteY1094" fmla="*/ 322150 h 2084191"/>
              <a:gd name="connsiteX1095" fmla="*/ 548027 w 2051041"/>
              <a:gd name="connsiteY1095" fmla="*/ 289499 h 2084191"/>
              <a:gd name="connsiteX1096" fmla="*/ 580678 w 2051041"/>
              <a:gd name="connsiteY1096" fmla="*/ 256304 h 2084191"/>
              <a:gd name="connsiteX1097" fmla="*/ 743930 w 2051041"/>
              <a:gd name="connsiteY1097" fmla="*/ 251951 h 2084191"/>
              <a:gd name="connsiteX1098" fmla="*/ 782022 w 2051041"/>
              <a:gd name="connsiteY1098" fmla="*/ 289499 h 2084191"/>
              <a:gd name="connsiteX1099" fmla="*/ 744474 w 2051041"/>
              <a:gd name="connsiteY1099" fmla="*/ 326503 h 2084191"/>
              <a:gd name="connsiteX1100" fmla="*/ 707470 w 2051041"/>
              <a:gd name="connsiteY1100" fmla="*/ 289499 h 2084191"/>
              <a:gd name="connsiteX1101" fmla="*/ 743930 w 2051041"/>
              <a:gd name="connsiteY1101" fmla="*/ 251951 h 2084191"/>
              <a:gd name="connsiteX1102" fmla="*/ 907183 w 2051041"/>
              <a:gd name="connsiteY1102" fmla="*/ 249775 h 2084191"/>
              <a:gd name="connsiteX1103" fmla="*/ 947452 w 2051041"/>
              <a:gd name="connsiteY1103" fmla="*/ 289500 h 2084191"/>
              <a:gd name="connsiteX1104" fmla="*/ 908271 w 2051041"/>
              <a:gd name="connsiteY1104" fmla="*/ 329225 h 2084191"/>
              <a:gd name="connsiteX1105" fmla="*/ 867458 w 2051041"/>
              <a:gd name="connsiteY1105" fmla="*/ 290044 h 2084191"/>
              <a:gd name="connsiteX1106" fmla="*/ 907183 w 2051041"/>
              <a:gd name="connsiteY1106" fmla="*/ 249775 h 2084191"/>
              <a:gd name="connsiteX1107" fmla="*/ 1070435 w 2051041"/>
              <a:gd name="connsiteY1107" fmla="*/ 245965 h 2084191"/>
              <a:gd name="connsiteX1108" fmla="*/ 1114513 w 2051041"/>
              <a:gd name="connsiteY1108" fmla="*/ 290043 h 2084191"/>
              <a:gd name="connsiteX1109" fmla="*/ 1069347 w 2051041"/>
              <a:gd name="connsiteY1109" fmla="*/ 333578 h 2084191"/>
              <a:gd name="connsiteX1110" fmla="*/ 1026357 w 2051041"/>
              <a:gd name="connsiteY1110" fmla="*/ 288955 h 2084191"/>
              <a:gd name="connsiteX1111" fmla="*/ 1070435 w 2051041"/>
              <a:gd name="connsiteY1111" fmla="*/ 245965 h 2084191"/>
              <a:gd name="connsiteX1112" fmla="*/ 1233689 w 2051041"/>
              <a:gd name="connsiteY1112" fmla="*/ 241613 h 2084191"/>
              <a:gd name="connsiteX1113" fmla="*/ 1282120 w 2051041"/>
              <a:gd name="connsiteY1113" fmla="*/ 288412 h 2084191"/>
              <a:gd name="connsiteX1114" fmla="*/ 1235321 w 2051041"/>
              <a:gd name="connsiteY1114" fmla="*/ 335755 h 2084191"/>
              <a:gd name="connsiteX1115" fmla="*/ 1187434 w 2051041"/>
              <a:gd name="connsiteY1115" fmla="*/ 289500 h 2084191"/>
              <a:gd name="connsiteX1116" fmla="*/ 1233689 w 2051041"/>
              <a:gd name="connsiteY1116" fmla="*/ 241613 h 2084191"/>
              <a:gd name="connsiteX1117" fmla="*/ 1397485 w 2051041"/>
              <a:gd name="connsiteY1117" fmla="*/ 238891 h 2084191"/>
              <a:gd name="connsiteX1118" fmla="*/ 1448094 w 2051041"/>
              <a:gd name="connsiteY1118" fmla="*/ 288955 h 2084191"/>
              <a:gd name="connsiteX1119" fmla="*/ 1398029 w 2051041"/>
              <a:gd name="connsiteY1119" fmla="*/ 338475 h 2084191"/>
              <a:gd name="connsiteX1120" fmla="*/ 1348509 w 2051041"/>
              <a:gd name="connsiteY1120" fmla="*/ 289499 h 2084191"/>
              <a:gd name="connsiteX1121" fmla="*/ 1397485 w 2051041"/>
              <a:gd name="connsiteY1121" fmla="*/ 238891 h 2084191"/>
              <a:gd name="connsiteX1122" fmla="*/ 1559650 w 2051041"/>
              <a:gd name="connsiteY1122" fmla="*/ 237258 h 2084191"/>
              <a:gd name="connsiteX1123" fmla="*/ 1613523 w 2051041"/>
              <a:gd name="connsiteY1123" fmla="*/ 288955 h 2084191"/>
              <a:gd name="connsiteX1124" fmla="*/ 1560738 w 2051041"/>
              <a:gd name="connsiteY1124" fmla="*/ 342829 h 2084191"/>
              <a:gd name="connsiteX1125" fmla="*/ 1507953 w 2051041"/>
              <a:gd name="connsiteY1125" fmla="*/ 289499 h 2084191"/>
              <a:gd name="connsiteX1126" fmla="*/ 1559650 w 2051041"/>
              <a:gd name="connsiteY1126" fmla="*/ 237258 h 2084191"/>
              <a:gd name="connsiteX1127" fmla="*/ 9837 w 2051041"/>
              <a:gd name="connsiteY1127" fmla="*/ 198078 h 2084191"/>
              <a:gd name="connsiteX1128" fmla="*/ 19632 w 2051041"/>
              <a:gd name="connsiteY1128" fmla="*/ 207873 h 2084191"/>
              <a:gd name="connsiteX1129" fmla="*/ 10381 w 2051041"/>
              <a:gd name="connsiteY1129" fmla="*/ 218213 h 2084191"/>
              <a:gd name="connsiteX1130" fmla="*/ 42 w 2051041"/>
              <a:gd name="connsiteY1130" fmla="*/ 207873 h 2084191"/>
              <a:gd name="connsiteX1131" fmla="*/ 9837 w 2051041"/>
              <a:gd name="connsiteY1131" fmla="*/ 198078 h 2084191"/>
              <a:gd name="connsiteX1132" fmla="*/ 173090 w 2051041"/>
              <a:gd name="connsiteY1132" fmla="*/ 187739 h 2084191"/>
              <a:gd name="connsiteX1133" fmla="*/ 192136 w 2051041"/>
              <a:gd name="connsiteY1133" fmla="*/ 207329 h 2084191"/>
              <a:gd name="connsiteX1134" fmla="*/ 172546 w 2051041"/>
              <a:gd name="connsiteY1134" fmla="*/ 227464 h 2084191"/>
              <a:gd name="connsiteX1135" fmla="*/ 154044 w 2051041"/>
              <a:gd name="connsiteY1135" fmla="*/ 208418 h 2084191"/>
              <a:gd name="connsiteX1136" fmla="*/ 173090 w 2051041"/>
              <a:gd name="connsiteY1136" fmla="*/ 187739 h 2084191"/>
              <a:gd name="connsiteX1137" fmla="*/ 336887 w 2051041"/>
              <a:gd name="connsiteY1137" fmla="*/ 182297 h 2084191"/>
              <a:gd name="connsiteX1138" fmla="*/ 363007 w 2051041"/>
              <a:gd name="connsiteY1138" fmla="*/ 207329 h 2084191"/>
              <a:gd name="connsiteX1139" fmla="*/ 336887 w 2051041"/>
              <a:gd name="connsiteY1139" fmla="*/ 233994 h 2084191"/>
              <a:gd name="connsiteX1140" fmla="*/ 310766 w 2051041"/>
              <a:gd name="connsiteY1140" fmla="*/ 208961 h 2084191"/>
              <a:gd name="connsiteX1141" fmla="*/ 336887 w 2051041"/>
              <a:gd name="connsiteY1141" fmla="*/ 182297 h 2084191"/>
              <a:gd name="connsiteX1142" fmla="*/ 1856225 w 2051041"/>
              <a:gd name="connsiteY1142" fmla="*/ 180487 h 2084191"/>
              <a:gd name="connsiteX1143" fmla="*/ 1855681 w 2051041"/>
              <a:gd name="connsiteY1143" fmla="*/ 185929 h 2084191"/>
              <a:gd name="connsiteX1144" fmla="*/ 1851872 w 2051041"/>
              <a:gd name="connsiteY1144" fmla="*/ 244700 h 2084191"/>
              <a:gd name="connsiteX1145" fmla="*/ 1851328 w 2051041"/>
              <a:gd name="connsiteY1145" fmla="*/ 247965 h 2084191"/>
              <a:gd name="connsiteX1146" fmla="*/ 1854593 w 2051041"/>
              <a:gd name="connsiteY1146" fmla="*/ 247421 h 2084191"/>
              <a:gd name="connsiteX1147" fmla="*/ 1899215 w 2051041"/>
              <a:gd name="connsiteY1147" fmla="*/ 238714 h 2084191"/>
              <a:gd name="connsiteX1148" fmla="*/ 1913908 w 2051041"/>
              <a:gd name="connsiteY1148" fmla="*/ 243067 h 2084191"/>
              <a:gd name="connsiteX1149" fmla="*/ 1918806 w 2051041"/>
              <a:gd name="connsiteY1149" fmla="*/ 242523 h 2084191"/>
              <a:gd name="connsiteX1150" fmla="*/ 1918261 w 2051041"/>
              <a:gd name="connsiteY1150" fmla="*/ 238170 h 2084191"/>
              <a:gd name="connsiteX1151" fmla="*/ 1917173 w 2051041"/>
              <a:gd name="connsiteY1151" fmla="*/ 185929 h 2084191"/>
              <a:gd name="connsiteX1152" fmla="*/ 1918261 w 2051041"/>
              <a:gd name="connsiteY1152" fmla="*/ 181576 h 2084191"/>
              <a:gd name="connsiteX1153" fmla="*/ 1913908 w 2051041"/>
              <a:gd name="connsiteY1153" fmla="*/ 182664 h 2084191"/>
              <a:gd name="connsiteX1154" fmla="*/ 1860579 w 2051041"/>
              <a:gd name="connsiteY1154" fmla="*/ 180487 h 2084191"/>
              <a:gd name="connsiteX1155" fmla="*/ 1856225 w 2051041"/>
              <a:gd name="connsiteY1155" fmla="*/ 180487 h 2084191"/>
              <a:gd name="connsiteX1156" fmla="*/ 499595 w 2051041"/>
              <a:gd name="connsiteY1156" fmla="*/ 175767 h 2084191"/>
              <a:gd name="connsiteX1157" fmla="*/ 531158 w 2051041"/>
              <a:gd name="connsiteY1157" fmla="*/ 207874 h 2084191"/>
              <a:gd name="connsiteX1158" fmla="*/ 498507 w 2051041"/>
              <a:gd name="connsiteY1158" fmla="*/ 238347 h 2084191"/>
              <a:gd name="connsiteX1159" fmla="*/ 468033 w 2051041"/>
              <a:gd name="connsiteY1159" fmla="*/ 207329 h 2084191"/>
              <a:gd name="connsiteX1160" fmla="*/ 499595 w 2051041"/>
              <a:gd name="connsiteY1160" fmla="*/ 175767 h 2084191"/>
              <a:gd name="connsiteX1161" fmla="*/ 662304 w 2051041"/>
              <a:gd name="connsiteY1161" fmla="*/ 173046 h 2084191"/>
              <a:gd name="connsiteX1162" fmla="*/ 697676 w 2051041"/>
              <a:gd name="connsiteY1162" fmla="*/ 207873 h 2084191"/>
              <a:gd name="connsiteX1163" fmla="*/ 662304 w 2051041"/>
              <a:gd name="connsiteY1163" fmla="*/ 242156 h 2084191"/>
              <a:gd name="connsiteX1164" fmla="*/ 628021 w 2051041"/>
              <a:gd name="connsiteY1164" fmla="*/ 207873 h 2084191"/>
              <a:gd name="connsiteX1165" fmla="*/ 662304 w 2051041"/>
              <a:gd name="connsiteY1165" fmla="*/ 173046 h 2084191"/>
              <a:gd name="connsiteX1166" fmla="*/ 826645 w 2051041"/>
              <a:gd name="connsiteY1166" fmla="*/ 168148 h 2084191"/>
              <a:gd name="connsiteX1167" fmla="*/ 864737 w 2051041"/>
              <a:gd name="connsiteY1167" fmla="*/ 207329 h 2084191"/>
              <a:gd name="connsiteX1168" fmla="*/ 826100 w 2051041"/>
              <a:gd name="connsiteY1168" fmla="*/ 247054 h 2084191"/>
              <a:gd name="connsiteX1169" fmla="*/ 787464 w 2051041"/>
              <a:gd name="connsiteY1169" fmla="*/ 207873 h 2084191"/>
              <a:gd name="connsiteX1170" fmla="*/ 826645 w 2051041"/>
              <a:gd name="connsiteY1170" fmla="*/ 168148 h 2084191"/>
              <a:gd name="connsiteX1171" fmla="*/ 987721 w 2051041"/>
              <a:gd name="connsiteY1171" fmla="*/ 164883 h 2084191"/>
              <a:gd name="connsiteX1172" fmla="*/ 1031799 w 2051041"/>
              <a:gd name="connsiteY1172" fmla="*/ 207329 h 2084191"/>
              <a:gd name="connsiteX1173" fmla="*/ 988809 w 2051041"/>
              <a:gd name="connsiteY1173" fmla="*/ 250319 h 2084191"/>
              <a:gd name="connsiteX1174" fmla="*/ 945819 w 2051041"/>
              <a:gd name="connsiteY1174" fmla="*/ 208417 h 2084191"/>
              <a:gd name="connsiteX1175" fmla="*/ 987721 w 2051041"/>
              <a:gd name="connsiteY1175" fmla="*/ 164883 h 2084191"/>
              <a:gd name="connsiteX1176" fmla="*/ 1153150 w 2051041"/>
              <a:gd name="connsiteY1176" fmla="*/ 162707 h 2084191"/>
              <a:gd name="connsiteX1177" fmla="*/ 1197772 w 2051041"/>
              <a:gd name="connsiteY1177" fmla="*/ 207874 h 2084191"/>
              <a:gd name="connsiteX1178" fmla="*/ 1151517 w 2051041"/>
              <a:gd name="connsiteY1178" fmla="*/ 253584 h 2084191"/>
              <a:gd name="connsiteX1179" fmla="*/ 1107439 w 2051041"/>
              <a:gd name="connsiteY1179" fmla="*/ 207329 h 2084191"/>
              <a:gd name="connsiteX1180" fmla="*/ 1153150 w 2051041"/>
              <a:gd name="connsiteY1180" fmla="*/ 162707 h 2084191"/>
              <a:gd name="connsiteX1181" fmla="*/ 1315315 w 2051041"/>
              <a:gd name="connsiteY1181" fmla="*/ 158353 h 2084191"/>
              <a:gd name="connsiteX1182" fmla="*/ 1365379 w 2051041"/>
              <a:gd name="connsiteY1182" fmla="*/ 206785 h 2084191"/>
              <a:gd name="connsiteX1183" fmla="*/ 1315859 w 2051041"/>
              <a:gd name="connsiteY1183" fmla="*/ 256305 h 2084191"/>
              <a:gd name="connsiteX1184" fmla="*/ 1266883 w 2051041"/>
              <a:gd name="connsiteY1184" fmla="*/ 207873 h 2084191"/>
              <a:gd name="connsiteX1185" fmla="*/ 1315315 w 2051041"/>
              <a:gd name="connsiteY1185" fmla="*/ 158353 h 2084191"/>
              <a:gd name="connsiteX1186" fmla="*/ 1478567 w 2051041"/>
              <a:gd name="connsiteY1186" fmla="*/ 156721 h 2084191"/>
              <a:gd name="connsiteX1187" fmla="*/ 1529720 w 2051041"/>
              <a:gd name="connsiteY1187" fmla="*/ 207329 h 2084191"/>
              <a:gd name="connsiteX1188" fmla="*/ 1478567 w 2051041"/>
              <a:gd name="connsiteY1188" fmla="*/ 258482 h 2084191"/>
              <a:gd name="connsiteX1189" fmla="*/ 1427959 w 2051041"/>
              <a:gd name="connsiteY1189" fmla="*/ 207874 h 2084191"/>
              <a:gd name="connsiteX1190" fmla="*/ 1478567 w 2051041"/>
              <a:gd name="connsiteY1190" fmla="*/ 156721 h 2084191"/>
              <a:gd name="connsiteX1191" fmla="*/ 1644541 w 2051041"/>
              <a:gd name="connsiteY1191" fmla="*/ 153456 h 2084191"/>
              <a:gd name="connsiteX1192" fmla="*/ 1697326 w 2051041"/>
              <a:gd name="connsiteY1192" fmla="*/ 209506 h 2084191"/>
              <a:gd name="connsiteX1193" fmla="*/ 1641276 w 2051041"/>
              <a:gd name="connsiteY1193" fmla="*/ 262835 h 2084191"/>
              <a:gd name="connsiteX1194" fmla="*/ 1587947 w 2051041"/>
              <a:gd name="connsiteY1194" fmla="*/ 206785 h 2084191"/>
              <a:gd name="connsiteX1195" fmla="*/ 1644541 w 2051041"/>
              <a:gd name="connsiteY1195" fmla="*/ 153456 h 2084191"/>
              <a:gd name="connsiteX1196" fmla="*/ 91463 w 2051041"/>
              <a:gd name="connsiteY1196" fmla="*/ 109922 h 2084191"/>
              <a:gd name="connsiteX1197" fmla="*/ 107244 w 2051041"/>
              <a:gd name="connsiteY1197" fmla="*/ 126247 h 2084191"/>
              <a:gd name="connsiteX1198" fmla="*/ 91463 w 2051041"/>
              <a:gd name="connsiteY1198" fmla="*/ 142028 h 2084191"/>
              <a:gd name="connsiteX1199" fmla="*/ 75682 w 2051041"/>
              <a:gd name="connsiteY1199" fmla="*/ 126247 h 2084191"/>
              <a:gd name="connsiteX1200" fmla="*/ 91463 w 2051041"/>
              <a:gd name="connsiteY1200" fmla="*/ 109922 h 2084191"/>
              <a:gd name="connsiteX1201" fmla="*/ 1942341 w 2051041"/>
              <a:gd name="connsiteY1201" fmla="*/ 104915 h 2084191"/>
              <a:gd name="connsiteX1202" fmla="*/ 1942205 w 2051041"/>
              <a:gd name="connsiteY1202" fmla="*/ 111377 h 2084191"/>
              <a:gd name="connsiteX1203" fmla="*/ 1946559 w 2051041"/>
              <a:gd name="connsiteY1203" fmla="*/ 131511 h 2084191"/>
              <a:gd name="connsiteX1204" fmla="*/ 1939484 w 2051041"/>
              <a:gd name="connsiteY1204" fmla="*/ 157088 h 2084191"/>
              <a:gd name="connsiteX1205" fmla="*/ 1941117 w 2051041"/>
              <a:gd name="connsiteY1205" fmla="*/ 160353 h 2084191"/>
              <a:gd name="connsiteX1206" fmla="*/ 1986828 w 2051041"/>
              <a:gd name="connsiteY1206" fmla="*/ 157088 h 2084191"/>
              <a:gd name="connsiteX1207" fmla="*/ 1987916 w 2051041"/>
              <a:gd name="connsiteY1207" fmla="*/ 157088 h 2084191"/>
              <a:gd name="connsiteX1208" fmla="*/ 1993902 w 2051041"/>
              <a:gd name="connsiteY1208" fmla="*/ 150013 h 2084191"/>
              <a:gd name="connsiteX1209" fmla="*/ 1993902 w 2051041"/>
              <a:gd name="connsiteY1209" fmla="*/ 109744 h 2084191"/>
              <a:gd name="connsiteX1210" fmla="*/ 1989004 w 2051041"/>
              <a:gd name="connsiteY1210" fmla="*/ 105391 h 2084191"/>
              <a:gd name="connsiteX1211" fmla="*/ 1948191 w 2051041"/>
              <a:gd name="connsiteY1211" fmla="*/ 105391 h 2084191"/>
              <a:gd name="connsiteX1212" fmla="*/ 1942341 w 2051041"/>
              <a:gd name="connsiteY1212" fmla="*/ 104915 h 2084191"/>
              <a:gd name="connsiteX1213" fmla="*/ 255804 w 2051041"/>
              <a:gd name="connsiteY1213" fmla="*/ 103392 h 2084191"/>
              <a:gd name="connsiteX1214" fmla="*/ 277571 w 2051041"/>
              <a:gd name="connsiteY1214" fmla="*/ 126791 h 2084191"/>
              <a:gd name="connsiteX1215" fmla="*/ 254172 w 2051041"/>
              <a:gd name="connsiteY1215" fmla="*/ 148014 h 2084191"/>
              <a:gd name="connsiteX1216" fmla="*/ 232405 w 2051041"/>
              <a:gd name="connsiteY1216" fmla="*/ 125159 h 2084191"/>
              <a:gd name="connsiteX1217" fmla="*/ 255804 w 2051041"/>
              <a:gd name="connsiteY1217" fmla="*/ 103392 h 2084191"/>
              <a:gd name="connsiteX1218" fmla="*/ 1773511 w 2051041"/>
              <a:gd name="connsiteY1218" fmla="*/ 99405 h 2084191"/>
              <a:gd name="connsiteX1219" fmla="*/ 1773511 w 2051041"/>
              <a:gd name="connsiteY1219" fmla="*/ 107023 h 2084191"/>
              <a:gd name="connsiteX1220" fmla="*/ 1780585 w 2051041"/>
              <a:gd name="connsiteY1220" fmla="*/ 130423 h 2084191"/>
              <a:gd name="connsiteX1221" fmla="*/ 1773511 w 2051041"/>
              <a:gd name="connsiteY1221" fmla="*/ 155999 h 2084191"/>
              <a:gd name="connsiteX1222" fmla="*/ 1774055 w 2051041"/>
              <a:gd name="connsiteY1222" fmla="*/ 161985 h 2084191"/>
              <a:gd name="connsiteX1223" fmla="*/ 1780041 w 2051041"/>
              <a:gd name="connsiteY1223" fmla="*/ 162529 h 2084191"/>
              <a:gd name="connsiteX1224" fmla="*/ 1811059 w 2051041"/>
              <a:gd name="connsiteY1224" fmla="*/ 157632 h 2084191"/>
              <a:gd name="connsiteX1225" fmla="*/ 1829561 w 2051041"/>
              <a:gd name="connsiteY1225" fmla="*/ 161985 h 2084191"/>
              <a:gd name="connsiteX1226" fmla="*/ 1836635 w 2051041"/>
              <a:gd name="connsiteY1226" fmla="*/ 161985 h 2084191"/>
              <a:gd name="connsiteX1227" fmla="*/ 1833914 w 2051041"/>
              <a:gd name="connsiteY1227" fmla="*/ 157088 h 2084191"/>
              <a:gd name="connsiteX1228" fmla="*/ 1834458 w 2051041"/>
              <a:gd name="connsiteY1228" fmla="*/ 104303 h 2084191"/>
              <a:gd name="connsiteX1229" fmla="*/ 1835547 w 2051041"/>
              <a:gd name="connsiteY1229" fmla="*/ 99405 h 2084191"/>
              <a:gd name="connsiteX1230" fmla="*/ 1831193 w 2051041"/>
              <a:gd name="connsiteY1230" fmla="*/ 101038 h 2084191"/>
              <a:gd name="connsiteX1231" fmla="*/ 1780041 w 2051041"/>
              <a:gd name="connsiteY1231" fmla="*/ 101582 h 2084191"/>
              <a:gd name="connsiteX1232" fmla="*/ 1773511 w 2051041"/>
              <a:gd name="connsiteY1232" fmla="*/ 99405 h 2084191"/>
              <a:gd name="connsiteX1233" fmla="*/ 417424 w 2051041"/>
              <a:gd name="connsiteY1233" fmla="*/ 97950 h 2084191"/>
              <a:gd name="connsiteX1234" fmla="*/ 445721 w 2051041"/>
              <a:gd name="connsiteY1234" fmla="*/ 126247 h 2084191"/>
              <a:gd name="connsiteX1235" fmla="*/ 417424 w 2051041"/>
              <a:gd name="connsiteY1235" fmla="*/ 153456 h 2084191"/>
              <a:gd name="connsiteX1236" fmla="*/ 390215 w 2051041"/>
              <a:gd name="connsiteY1236" fmla="*/ 125159 h 2084191"/>
              <a:gd name="connsiteX1237" fmla="*/ 417424 w 2051041"/>
              <a:gd name="connsiteY1237" fmla="*/ 97950 h 2084191"/>
              <a:gd name="connsiteX1238" fmla="*/ 580677 w 2051041"/>
              <a:gd name="connsiteY1238" fmla="*/ 92508 h 2084191"/>
              <a:gd name="connsiteX1239" fmla="*/ 614960 w 2051041"/>
              <a:gd name="connsiteY1239" fmla="*/ 125159 h 2084191"/>
              <a:gd name="connsiteX1240" fmla="*/ 581766 w 2051041"/>
              <a:gd name="connsiteY1240" fmla="*/ 158353 h 2084191"/>
              <a:gd name="connsiteX1241" fmla="*/ 548571 w 2051041"/>
              <a:gd name="connsiteY1241" fmla="*/ 125703 h 2084191"/>
              <a:gd name="connsiteX1242" fmla="*/ 580677 w 2051041"/>
              <a:gd name="connsiteY1242" fmla="*/ 92508 h 2084191"/>
              <a:gd name="connsiteX1243" fmla="*/ 745019 w 2051041"/>
              <a:gd name="connsiteY1243" fmla="*/ 88154 h 2084191"/>
              <a:gd name="connsiteX1244" fmla="*/ 782567 w 2051041"/>
              <a:gd name="connsiteY1244" fmla="*/ 126791 h 2084191"/>
              <a:gd name="connsiteX1245" fmla="*/ 743930 w 2051041"/>
              <a:gd name="connsiteY1245" fmla="*/ 164339 h 2084191"/>
              <a:gd name="connsiteX1246" fmla="*/ 706382 w 2051041"/>
              <a:gd name="connsiteY1246" fmla="*/ 125702 h 2084191"/>
              <a:gd name="connsiteX1247" fmla="*/ 745019 w 2051041"/>
              <a:gd name="connsiteY1247" fmla="*/ 88154 h 2084191"/>
              <a:gd name="connsiteX1248" fmla="*/ 1685898 w 2051041"/>
              <a:gd name="connsiteY1248" fmla="*/ 84712 h 2084191"/>
              <a:gd name="connsiteX1249" fmla="*/ 1685681 w 2051041"/>
              <a:gd name="connsiteY1249" fmla="*/ 85147 h 2084191"/>
              <a:gd name="connsiteX1250" fmla="*/ 1685354 w 2051041"/>
              <a:gd name="connsiteY1250" fmla="*/ 85256 h 2084191"/>
              <a:gd name="connsiteX1251" fmla="*/ 1685898 w 2051041"/>
              <a:gd name="connsiteY1251" fmla="*/ 84712 h 2084191"/>
              <a:gd name="connsiteX1252" fmla="*/ 907183 w 2051041"/>
              <a:gd name="connsiteY1252" fmla="*/ 84345 h 2084191"/>
              <a:gd name="connsiteX1253" fmla="*/ 934935 w 2051041"/>
              <a:gd name="connsiteY1253" fmla="*/ 95228 h 2084191"/>
              <a:gd name="connsiteX1254" fmla="*/ 949628 w 2051041"/>
              <a:gd name="connsiteY1254" fmla="*/ 125158 h 2084191"/>
              <a:gd name="connsiteX1255" fmla="*/ 908271 w 2051041"/>
              <a:gd name="connsiteY1255" fmla="*/ 167060 h 2084191"/>
              <a:gd name="connsiteX1256" fmla="*/ 866369 w 2051041"/>
              <a:gd name="connsiteY1256" fmla="*/ 125702 h 2084191"/>
              <a:gd name="connsiteX1257" fmla="*/ 907183 w 2051041"/>
              <a:gd name="connsiteY1257" fmla="*/ 84345 h 2084191"/>
              <a:gd name="connsiteX1258" fmla="*/ 1070979 w 2051041"/>
              <a:gd name="connsiteY1258" fmla="*/ 82169 h 2084191"/>
              <a:gd name="connsiteX1259" fmla="*/ 1115602 w 2051041"/>
              <a:gd name="connsiteY1259" fmla="*/ 126247 h 2084191"/>
              <a:gd name="connsiteX1260" fmla="*/ 1071524 w 2051041"/>
              <a:gd name="connsiteY1260" fmla="*/ 170325 h 2084191"/>
              <a:gd name="connsiteX1261" fmla="*/ 1026357 w 2051041"/>
              <a:gd name="connsiteY1261" fmla="*/ 125703 h 2084191"/>
              <a:gd name="connsiteX1262" fmla="*/ 1070979 w 2051041"/>
              <a:gd name="connsiteY1262" fmla="*/ 82169 h 2084191"/>
              <a:gd name="connsiteX1263" fmla="*/ 1684811 w 2051041"/>
              <a:gd name="connsiteY1263" fmla="*/ 82168 h 2084191"/>
              <a:gd name="connsiteX1264" fmla="*/ 1684266 w 2051041"/>
              <a:gd name="connsiteY1264" fmla="*/ 82713 h 2084191"/>
              <a:gd name="connsiteX1265" fmla="*/ 1684469 w 2051041"/>
              <a:gd name="connsiteY1265" fmla="*/ 82365 h 2084191"/>
              <a:gd name="connsiteX1266" fmla="*/ 1234777 w 2051041"/>
              <a:gd name="connsiteY1266" fmla="*/ 78360 h 2084191"/>
              <a:gd name="connsiteX1267" fmla="*/ 1282664 w 2051041"/>
              <a:gd name="connsiteY1267" fmla="*/ 126791 h 2084191"/>
              <a:gd name="connsiteX1268" fmla="*/ 1234232 w 2051041"/>
              <a:gd name="connsiteY1268" fmla="*/ 174135 h 2084191"/>
              <a:gd name="connsiteX1269" fmla="*/ 1186889 w 2051041"/>
              <a:gd name="connsiteY1269" fmla="*/ 126791 h 2084191"/>
              <a:gd name="connsiteX1270" fmla="*/ 1234777 w 2051041"/>
              <a:gd name="connsiteY1270" fmla="*/ 78360 h 2084191"/>
              <a:gd name="connsiteX1271" fmla="*/ 1398574 w 2051041"/>
              <a:gd name="connsiteY1271" fmla="*/ 76182 h 2084191"/>
              <a:gd name="connsiteX1272" fmla="*/ 1448094 w 2051041"/>
              <a:gd name="connsiteY1272" fmla="*/ 127335 h 2084191"/>
              <a:gd name="connsiteX1273" fmla="*/ 1396941 w 2051041"/>
              <a:gd name="connsiteY1273" fmla="*/ 175766 h 2084191"/>
              <a:gd name="connsiteX1274" fmla="*/ 1347421 w 2051041"/>
              <a:gd name="connsiteY1274" fmla="*/ 125702 h 2084191"/>
              <a:gd name="connsiteX1275" fmla="*/ 1398574 w 2051041"/>
              <a:gd name="connsiteY1275" fmla="*/ 76182 h 2084191"/>
              <a:gd name="connsiteX1276" fmla="*/ 1561282 w 2051041"/>
              <a:gd name="connsiteY1276" fmla="*/ 72373 h 2084191"/>
              <a:gd name="connsiteX1277" fmla="*/ 1614611 w 2051041"/>
              <a:gd name="connsiteY1277" fmla="*/ 126247 h 2084191"/>
              <a:gd name="connsiteX1278" fmla="*/ 1560738 w 2051041"/>
              <a:gd name="connsiteY1278" fmla="*/ 179576 h 2084191"/>
              <a:gd name="connsiteX1279" fmla="*/ 1507409 w 2051041"/>
              <a:gd name="connsiteY1279" fmla="*/ 126247 h 2084191"/>
              <a:gd name="connsiteX1280" fmla="*/ 1561282 w 2051041"/>
              <a:gd name="connsiteY1280" fmla="*/ 72373 h 2084191"/>
              <a:gd name="connsiteX1281" fmla="*/ 10381 w 2051041"/>
              <a:gd name="connsiteY1281" fmla="*/ 33737 h 2084191"/>
              <a:gd name="connsiteX1282" fmla="*/ 20720 w 2051041"/>
              <a:gd name="connsiteY1282" fmla="*/ 45165 h 2084191"/>
              <a:gd name="connsiteX1283" fmla="*/ 9292 w 2051041"/>
              <a:gd name="connsiteY1283" fmla="*/ 54960 h 2084191"/>
              <a:gd name="connsiteX1284" fmla="*/ 41 w 2051041"/>
              <a:gd name="connsiteY1284" fmla="*/ 44621 h 2084191"/>
              <a:gd name="connsiteX1285" fmla="*/ 10381 w 2051041"/>
              <a:gd name="connsiteY1285" fmla="*/ 33737 h 2084191"/>
              <a:gd name="connsiteX1286" fmla="*/ 172546 w 2051041"/>
              <a:gd name="connsiteY1286" fmla="*/ 23942 h 2084191"/>
              <a:gd name="connsiteX1287" fmla="*/ 193224 w 2051041"/>
              <a:gd name="connsiteY1287" fmla="*/ 44621 h 2084191"/>
              <a:gd name="connsiteX1288" fmla="*/ 173090 w 2051041"/>
              <a:gd name="connsiteY1288" fmla="*/ 64755 h 2084191"/>
              <a:gd name="connsiteX1289" fmla="*/ 152411 w 2051041"/>
              <a:gd name="connsiteY1289" fmla="*/ 44621 h 2084191"/>
              <a:gd name="connsiteX1290" fmla="*/ 172546 w 2051041"/>
              <a:gd name="connsiteY1290" fmla="*/ 23942 h 2084191"/>
              <a:gd name="connsiteX1291" fmla="*/ 1861123 w 2051041"/>
              <a:gd name="connsiteY1291" fmla="*/ 22132 h 2084191"/>
              <a:gd name="connsiteX1292" fmla="*/ 1861123 w 2051041"/>
              <a:gd name="connsiteY1292" fmla="*/ 35737 h 2084191"/>
              <a:gd name="connsiteX1293" fmla="*/ 1861123 w 2051041"/>
              <a:gd name="connsiteY1293" fmla="*/ 61313 h 2084191"/>
              <a:gd name="connsiteX1294" fmla="*/ 1858946 w 2051041"/>
              <a:gd name="connsiteY1294" fmla="*/ 72740 h 2084191"/>
              <a:gd name="connsiteX1295" fmla="*/ 1866021 w 2051041"/>
              <a:gd name="connsiteY1295" fmla="*/ 76550 h 2084191"/>
              <a:gd name="connsiteX1296" fmla="*/ 1873639 w 2051041"/>
              <a:gd name="connsiteY1296" fmla="*/ 74917 h 2084191"/>
              <a:gd name="connsiteX1297" fmla="*/ 1900304 w 2051041"/>
              <a:gd name="connsiteY1297" fmla="*/ 74373 h 2084191"/>
              <a:gd name="connsiteX1298" fmla="*/ 1907922 w 2051041"/>
              <a:gd name="connsiteY1298" fmla="*/ 76006 h 2084191"/>
              <a:gd name="connsiteX1299" fmla="*/ 1912820 w 2051041"/>
              <a:gd name="connsiteY1299" fmla="*/ 70020 h 2084191"/>
              <a:gd name="connsiteX1300" fmla="*/ 1912820 w 2051041"/>
              <a:gd name="connsiteY1300" fmla="*/ 27030 h 2084191"/>
              <a:gd name="connsiteX1301" fmla="*/ 1908466 w 2051041"/>
              <a:gd name="connsiteY1301" fmla="*/ 22132 h 2084191"/>
              <a:gd name="connsiteX1302" fmla="*/ 1902480 w 2051041"/>
              <a:gd name="connsiteY1302" fmla="*/ 24309 h 2084191"/>
              <a:gd name="connsiteX1303" fmla="*/ 1873095 w 2051041"/>
              <a:gd name="connsiteY1303" fmla="*/ 24309 h 2084191"/>
              <a:gd name="connsiteX1304" fmla="*/ 1861123 w 2051041"/>
              <a:gd name="connsiteY1304" fmla="*/ 22132 h 2084191"/>
              <a:gd name="connsiteX1305" fmla="*/ 336886 w 2051041"/>
              <a:gd name="connsiteY1305" fmla="*/ 17412 h 2084191"/>
              <a:gd name="connsiteX1306" fmla="*/ 363007 w 2051041"/>
              <a:gd name="connsiteY1306" fmla="*/ 44077 h 2084191"/>
              <a:gd name="connsiteX1307" fmla="*/ 337431 w 2051041"/>
              <a:gd name="connsiteY1307" fmla="*/ 71285 h 2084191"/>
              <a:gd name="connsiteX1308" fmla="*/ 310222 w 2051041"/>
              <a:gd name="connsiteY1308" fmla="*/ 45165 h 2084191"/>
              <a:gd name="connsiteX1309" fmla="*/ 336886 w 2051041"/>
              <a:gd name="connsiteY1309" fmla="*/ 17412 h 2084191"/>
              <a:gd name="connsiteX1310" fmla="*/ 498507 w 2051041"/>
              <a:gd name="connsiteY1310" fmla="*/ 13059 h 2084191"/>
              <a:gd name="connsiteX1311" fmla="*/ 531702 w 2051041"/>
              <a:gd name="connsiteY1311" fmla="*/ 44621 h 2084191"/>
              <a:gd name="connsiteX1312" fmla="*/ 499595 w 2051041"/>
              <a:gd name="connsiteY1312" fmla="*/ 76727 h 2084191"/>
              <a:gd name="connsiteX1313" fmla="*/ 467489 w 2051041"/>
              <a:gd name="connsiteY1313" fmla="*/ 45165 h 2084191"/>
              <a:gd name="connsiteX1314" fmla="*/ 498507 w 2051041"/>
              <a:gd name="connsiteY1314" fmla="*/ 13059 h 2084191"/>
              <a:gd name="connsiteX1315" fmla="*/ 662303 w 2051041"/>
              <a:gd name="connsiteY1315" fmla="*/ 7616 h 2084191"/>
              <a:gd name="connsiteX1316" fmla="*/ 698763 w 2051041"/>
              <a:gd name="connsiteY1316" fmla="*/ 44076 h 2084191"/>
              <a:gd name="connsiteX1317" fmla="*/ 662303 w 2051041"/>
              <a:gd name="connsiteY1317" fmla="*/ 81080 h 2084191"/>
              <a:gd name="connsiteX1318" fmla="*/ 626932 w 2051041"/>
              <a:gd name="connsiteY1318" fmla="*/ 44076 h 2084191"/>
              <a:gd name="connsiteX1319" fmla="*/ 662303 w 2051041"/>
              <a:gd name="connsiteY1319" fmla="*/ 7616 h 2084191"/>
              <a:gd name="connsiteX1320" fmla="*/ 825557 w 2051041"/>
              <a:gd name="connsiteY1320" fmla="*/ 5440 h 2084191"/>
              <a:gd name="connsiteX1321" fmla="*/ 865281 w 2051041"/>
              <a:gd name="connsiteY1321" fmla="*/ 44621 h 2084191"/>
              <a:gd name="connsiteX1322" fmla="*/ 826101 w 2051041"/>
              <a:gd name="connsiteY1322" fmla="*/ 83257 h 2084191"/>
              <a:gd name="connsiteX1323" fmla="*/ 786920 w 2051041"/>
              <a:gd name="connsiteY1323" fmla="*/ 44621 h 2084191"/>
              <a:gd name="connsiteX1324" fmla="*/ 825557 w 2051041"/>
              <a:gd name="connsiteY1324" fmla="*/ 5440 h 2084191"/>
              <a:gd name="connsiteX1325" fmla="*/ 989353 w 2051041"/>
              <a:gd name="connsiteY1325" fmla="*/ 1086 h 2084191"/>
              <a:gd name="connsiteX1326" fmla="*/ 1032343 w 2051041"/>
              <a:gd name="connsiteY1326" fmla="*/ 43532 h 2084191"/>
              <a:gd name="connsiteX1327" fmla="*/ 989897 w 2051041"/>
              <a:gd name="connsiteY1327" fmla="*/ 87610 h 2084191"/>
              <a:gd name="connsiteX1328" fmla="*/ 945819 w 2051041"/>
              <a:gd name="connsiteY1328" fmla="*/ 44620 h 2084191"/>
              <a:gd name="connsiteX1329" fmla="*/ 989353 w 2051041"/>
              <a:gd name="connsiteY1329" fmla="*/ 1086 h 2084191"/>
              <a:gd name="connsiteX1330" fmla="*/ 1614056 w 2051041"/>
              <a:gd name="connsiteY1330" fmla="*/ 0 h 2084191"/>
              <a:gd name="connsiteX1331" fmla="*/ 1675529 w 2051041"/>
              <a:gd name="connsiteY1331" fmla="*/ 0 h 2084191"/>
              <a:gd name="connsiteX1332" fmla="*/ 1682905 w 2051041"/>
              <a:gd name="connsiteY1332" fmla="*/ 4720 h 2084191"/>
              <a:gd name="connsiteX1333" fmla="*/ 1933639 w 2051041"/>
              <a:gd name="connsiteY1333" fmla="*/ 4720 h 2084191"/>
              <a:gd name="connsiteX1334" fmla="*/ 2016655 w 2051041"/>
              <a:gd name="connsiteY1334" fmla="*/ 39107 h 2084191"/>
              <a:gd name="connsiteX1335" fmla="*/ 2028934 w 2051041"/>
              <a:gd name="connsiteY1335" fmla="*/ 57318 h 2084191"/>
              <a:gd name="connsiteX1336" fmla="*/ 2026008 w 2051041"/>
              <a:gd name="connsiteY1336" fmla="*/ 71108 h 2084191"/>
              <a:gd name="connsiteX1337" fmla="*/ 2030906 w 2051041"/>
              <a:gd name="connsiteY1337" fmla="*/ 75461 h 2084191"/>
              <a:gd name="connsiteX1338" fmla="*/ 2039929 w 2051041"/>
              <a:gd name="connsiteY1338" fmla="*/ 73627 h 2084191"/>
              <a:gd name="connsiteX1339" fmla="*/ 2041815 w 2051041"/>
              <a:gd name="connsiteY1339" fmla="*/ 76424 h 2084191"/>
              <a:gd name="connsiteX1340" fmla="*/ 2051041 w 2051041"/>
              <a:gd name="connsiteY1340" fmla="*/ 122122 h 2084191"/>
              <a:gd name="connsiteX1341" fmla="*/ 2051041 w 2051041"/>
              <a:gd name="connsiteY1341" fmla="*/ 186473 h 2084191"/>
              <a:gd name="connsiteX1342" fmla="*/ 2029818 w 2051041"/>
              <a:gd name="connsiteY1342" fmla="*/ 186473 h 2084191"/>
              <a:gd name="connsiteX1343" fmla="*/ 2023287 w 2051041"/>
              <a:gd name="connsiteY1343" fmla="*/ 192459 h 2084191"/>
              <a:gd name="connsiteX1344" fmla="*/ 2023832 w 2051041"/>
              <a:gd name="connsiteY1344" fmla="*/ 196268 h 2084191"/>
              <a:gd name="connsiteX1345" fmla="*/ 2019478 w 2051041"/>
              <a:gd name="connsiteY1345" fmla="*/ 239258 h 2084191"/>
              <a:gd name="connsiteX1346" fmla="*/ 2020022 w 2051041"/>
              <a:gd name="connsiteY1346" fmla="*/ 242523 h 2084191"/>
              <a:gd name="connsiteX1347" fmla="*/ 2023287 w 2051041"/>
              <a:gd name="connsiteY1347" fmla="*/ 243067 h 2084191"/>
              <a:gd name="connsiteX1348" fmla="*/ 2050224 w 2051041"/>
              <a:gd name="connsiteY1348" fmla="*/ 237150 h 2084191"/>
              <a:gd name="connsiteX1349" fmla="*/ 2051041 w 2051041"/>
              <a:gd name="connsiteY1349" fmla="*/ 237329 h 2084191"/>
              <a:gd name="connsiteX1350" fmla="*/ 2051041 w 2051041"/>
              <a:gd name="connsiteY1350" fmla="*/ 348996 h 2084191"/>
              <a:gd name="connsiteX1351" fmla="*/ 2036552 w 2051041"/>
              <a:gd name="connsiteY1351" fmla="*/ 347754 h 2084191"/>
              <a:gd name="connsiteX1352" fmla="*/ 2021111 w 2051041"/>
              <a:gd name="connsiteY1352" fmla="*/ 341019 h 2084191"/>
              <a:gd name="connsiteX1353" fmla="*/ 2016757 w 2051041"/>
              <a:gd name="connsiteY1353" fmla="*/ 338842 h 2084191"/>
              <a:gd name="connsiteX1354" fmla="*/ 2017301 w 2051041"/>
              <a:gd name="connsiteY1354" fmla="*/ 344284 h 2084191"/>
              <a:gd name="connsiteX1355" fmla="*/ 2025464 w 2051041"/>
              <a:gd name="connsiteY1355" fmla="*/ 376391 h 2084191"/>
              <a:gd name="connsiteX1356" fmla="*/ 1994446 w 2051041"/>
              <a:gd name="connsiteY1356" fmla="*/ 424278 h 2084191"/>
              <a:gd name="connsiteX1357" fmla="*/ 1933498 w 2051041"/>
              <a:gd name="connsiteY1357" fmla="*/ 416115 h 2084191"/>
              <a:gd name="connsiteX1358" fmla="*/ 1920438 w 2051041"/>
              <a:gd name="connsiteY1358" fmla="*/ 352447 h 2084191"/>
              <a:gd name="connsiteX1359" fmla="*/ 1925336 w 2051041"/>
              <a:gd name="connsiteY1359" fmla="*/ 338298 h 2084191"/>
              <a:gd name="connsiteX1360" fmla="*/ 1911731 w 2051041"/>
              <a:gd name="connsiteY1360" fmla="*/ 343196 h 2084191"/>
              <a:gd name="connsiteX1361" fmla="*/ 1898671 w 2051041"/>
              <a:gd name="connsiteY1361" fmla="*/ 347005 h 2084191"/>
              <a:gd name="connsiteX1362" fmla="*/ 1854593 w 2051041"/>
              <a:gd name="connsiteY1362" fmla="*/ 336666 h 2084191"/>
              <a:gd name="connsiteX1363" fmla="*/ 1847690 w 2051041"/>
              <a:gd name="connsiteY1363" fmla="*/ 333480 h 2084191"/>
              <a:gd name="connsiteX1364" fmla="*/ 1852961 w 2051041"/>
              <a:gd name="connsiteY1364" fmla="*/ 344461 h 2084191"/>
              <a:gd name="connsiteX1365" fmla="*/ 1826840 w 2051041"/>
              <a:gd name="connsiteY1365" fmla="*/ 420646 h 2084191"/>
              <a:gd name="connsiteX1366" fmla="*/ 1765893 w 2051041"/>
              <a:gd name="connsiteY1366" fmla="*/ 408130 h 2084191"/>
              <a:gd name="connsiteX1367" fmla="*/ 1759362 w 2051041"/>
              <a:gd name="connsiteY1367" fmla="*/ 342829 h 2084191"/>
              <a:gd name="connsiteX1368" fmla="*/ 1815991 w 2051041"/>
              <a:gd name="connsiteY1368" fmla="*/ 317193 h 2084191"/>
              <a:gd name="connsiteX1369" fmla="*/ 1834459 w 2051041"/>
              <a:gd name="connsiteY1369" fmla="*/ 325415 h 2084191"/>
              <a:gd name="connsiteX1370" fmla="*/ 1845023 w 2051041"/>
              <a:gd name="connsiteY1370" fmla="*/ 330169 h 2084191"/>
              <a:gd name="connsiteX1371" fmla="*/ 1840444 w 2051041"/>
              <a:gd name="connsiteY1371" fmla="*/ 321429 h 2084191"/>
              <a:gd name="connsiteX1372" fmla="*/ 1834458 w 2051041"/>
              <a:gd name="connsiteY1372" fmla="*/ 275174 h 2084191"/>
              <a:gd name="connsiteX1373" fmla="*/ 1840988 w 2051041"/>
              <a:gd name="connsiteY1373" fmla="*/ 259937 h 2084191"/>
              <a:gd name="connsiteX1374" fmla="*/ 1842077 w 2051041"/>
              <a:gd name="connsiteY1374" fmla="*/ 255584 h 2084191"/>
              <a:gd name="connsiteX1375" fmla="*/ 1837723 w 2051041"/>
              <a:gd name="connsiteY1375" fmla="*/ 257216 h 2084191"/>
              <a:gd name="connsiteX1376" fmla="*/ 1817589 w 2051041"/>
              <a:gd name="connsiteY1376" fmla="*/ 264834 h 2084191"/>
              <a:gd name="connsiteX1377" fmla="*/ 1768069 w 2051041"/>
              <a:gd name="connsiteY1377" fmla="*/ 251774 h 2084191"/>
              <a:gd name="connsiteX1378" fmla="*/ 1764740 w 2051041"/>
              <a:gd name="connsiteY1378" fmla="*/ 250110 h 2084191"/>
              <a:gd name="connsiteX1379" fmla="*/ 1773510 w 2051041"/>
              <a:gd name="connsiteY1379" fmla="*/ 267189 h 2084191"/>
              <a:gd name="connsiteX1380" fmla="*/ 1750655 w 2051041"/>
              <a:gd name="connsiteY1380" fmla="*/ 336843 h 2084191"/>
              <a:gd name="connsiteX1381" fmla="*/ 1673926 w 2051041"/>
              <a:gd name="connsiteY1381" fmla="*/ 310723 h 2084191"/>
              <a:gd name="connsiteX1382" fmla="*/ 1681545 w 2051041"/>
              <a:gd name="connsiteY1382" fmla="*/ 254673 h 2084191"/>
              <a:gd name="connsiteX1383" fmla="*/ 1733786 w 2051041"/>
              <a:gd name="connsiteY1383" fmla="*/ 235083 h 2084191"/>
              <a:gd name="connsiteX1384" fmla="*/ 1751743 w 2051041"/>
              <a:gd name="connsiteY1384" fmla="*/ 242157 h 2084191"/>
              <a:gd name="connsiteX1385" fmla="*/ 1762506 w 2051041"/>
              <a:gd name="connsiteY1385" fmla="*/ 246769 h 2084191"/>
              <a:gd name="connsiteX1386" fmla="*/ 1757185 w 2051041"/>
              <a:gd name="connsiteY1386" fmla="*/ 236537 h 2084191"/>
              <a:gd name="connsiteX1387" fmla="*/ 1756097 w 2051041"/>
              <a:gd name="connsiteY1387" fmla="*/ 185929 h 2084191"/>
              <a:gd name="connsiteX1388" fmla="*/ 1757185 w 2051041"/>
              <a:gd name="connsiteY1388" fmla="*/ 177766 h 2084191"/>
              <a:gd name="connsiteX1389" fmla="*/ 1749023 w 2051041"/>
              <a:gd name="connsiteY1389" fmla="*/ 178311 h 2084191"/>
              <a:gd name="connsiteX1390" fmla="*/ 1676103 w 2051041"/>
              <a:gd name="connsiteY1390" fmla="*/ 154911 h 2084191"/>
              <a:gd name="connsiteX1391" fmla="*/ 1681001 w 2051041"/>
              <a:gd name="connsiteY1391" fmla="*/ 94507 h 2084191"/>
              <a:gd name="connsiteX1392" fmla="*/ 1685681 w 2051041"/>
              <a:gd name="connsiteY1392" fmla="*/ 85147 h 2084191"/>
              <a:gd name="connsiteX1393" fmla="*/ 1693517 w 2051041"/>
              <a:gd name="connsiteY1393" fmla="*/ 82536 h 2084191"/>
              <a:gd name="connsiteX1394" fmla="*/ 1747934 w 2051041"/>
              <a:gd name="connsiteY1394" fmla="*/ 77638 h 2084191"/>
              <a:gd name="connsiteX1395" fmla="*/ 1756641 w 2051041"/>
              <a:gd name="connsiteY1395" fmla="*/ 79271 h 2084191"/>
              <a:gd name="connsiteX1396" fmla="*/ 1754464 w 2051041"/>
              <a:gd name="connsiteY1396" fmla="*/ 71652 h 2084191"/>
              <a:gd name="connsiteX1397" fmla="*/ 1752832 w 2051041"/>
              <a:gd name="connsiteY1397" fmla="*/ 68387 h 2084191"/>
              <a:gd name="connsiteX1398" fmla="*/ 1756097 w 2051041"/>
              <a:gd name="connsiteY1398" fmla="*/ 20500 h 2084191"/>
              <a:gd name="connsiteX1399" fmla="*/ 1756641 w 2051041"/>
              <a:gd name="connsiteY1399" fmla="*/ 16146 h 2084191"/>
              <a:gd name="connsiteX1400" fmla="*/ 1751744 w 2051041"/>
              <a:gd name="connsiteY1400" fmla="*/ 15058 h 2084191"/>
              <a:gd name="connsiteX1401" fmla="*/ 1741404 w 2051041"/>
              <a:gd name="connsiteY1401" fmla="*/ 19955 h 2084191"/>
              <a:gd name="connsiteX1402" fmla="*/ 1691884 w 2051041"/>
              <a:gd name="connsiteY1402" fmla="*/ 11249 h 2084191"/>
              <a:gd name="connsiteX1403" fmla="*/ 1685645 w 2051041"/>
              <a:gd name="connsiteY1403" fmla="*/ 8369 h 2084191"/>
              <a:gd name="connsiteX1404" fmla="*/ 1688620 w 2051041"/>
              <a:gd name="connsiteY1404" fmla="*/ 14691 h 2084191"/>
              <a:gd name="connsiteX1405" fmla="*/ 1691885 w 2051041"/>
              <a:gd name="connsiteY1405" fmla="*/ 69652 h 2084191"/>
              <a:gd name="connsiteX1406" fmla="*/ 1684469 w 2051041"/>
              <a:gd name="connsiteY1406" fmla="*/ 82365 h 2084191"/>
              <a:gd name="connsiteX1407" fmla="*/ 1663044 w 2051041"/>
              <a:gd name="connsiteY1407" fmla="*/ 94684 h 2084191"/>
              <a:gd name="connsiteX1408" fmla="*/ 1626584 w 2051041"/>
              <a:gd name="connsiteY1408" fmla="*/ 96861 h 2084191"/>
              <a:gd name="connsiteX1409" fmla="*/ 1590124 w 2051041"/>
              <a:gd name="connsiteY1409" fmla="*/ 60401 h 2084191"/>
              <a:gd name="connsiteX1410" fmla="*/ 1591757 w 2051041"/>
              <a:gd name="connsiteY1410" fmla="*/ 25030 h 2084191"/>
              <a:gd name="connsiteX1411" fmla="*/ 1460066 w 2051041"/>
              <a:gd name="connsiteY1411" fmla="*/ 0 h 2084191"/>
              <a:gd name="connsiteX1412" fmla="*/ 1498513 w 2051041"/>
              <a:gd name="connsiteY1412" fmla="*/ 0 h 2084191"/>
              <a:gd name="connsiteX1413" fmla="*/ 1517204 w 2051041"/>
              <a:gd name="connsiteY1413" fmla="*/ 8092 h 2084191"/>
              <a:gd name="connsiteX1414" fmla="*/ 1531896 w 2051041"/>
              <a:gd name="connsiteY1414" fmla="*/ 45164 h 2084191"/>
              <a:gd name="connsiteX1415" fmla="*/ 1479111 w 2051041"/>
              <a:gd name="connsiteY1415" fmla="*/ 97949 h 2084191"/>
              <a:gd name="connsiteX1416" fmla="*/ 1426870 w 2051041"/>
              <a:gd name="connsiteY1416" fmla="*/ 45164 h 2084191"/>
              <a:gd name="connsiteX1417" fmla="*/ 1441631 w 2051041"/>
              <a:gd name="connsiteY1417" fmla="*/ 7684 h 2084191"/>
              <a:gd name="connsiteX1418" fmla="*/ 1296749 w 2051041"/>
              <a:gd name="connsiteY1418" fmla="*/ 0 h 2084191"/>
              <a:gd name="connsiteX1419" fmla="*/ 1335755 w 2051041"/>
              <a:gd name="connsiteY1419" fmla="*/ 0 h 2084191"/>
              <a:gd name="connsiteX1420" fmla="*/ 1350278 w 2051041"/>
              <a:gd name="connsiteY1420" fmla="*/ 10270 h 2084191"/>
              <a:gd name="connsiteX1421" fmla="*/ 1365923 w 2051041"/>
              <a:gd name="connsiteY1421" fmla="*/ 45165 h 2084191"/>
              <a:gd name="connsiteX1422" fmla="*/ 1315315 w 2051041"/>
              <a:gd name="connsiteY1422" fmla="*/ 93052 h 2084191"/>
              <a:gd name="connsiteX1423" fmla="*/ 1266339 w 2051041"/>
              <a:gd name="connsiteY1423" fmla="*/ 44076 h 2084191"/>
              <a:gd name="connsiteX1424" fmla="*/ 1282732 w 2051041"/>
              <a:gd name="connsiteY1424" fmla="*/ 9317 h 2084191"/>
              <a:gd name="connsiteX1425" fmla="*/ 1148085 w 2051041"/>
              <a:gd name="connsiteY1425" fmla="*/ 0 h 2084191"/>
              <a:gd name="connsiteX1426" fmla="*/ 1161802 w 2051041"/>
              <a:gd name="connsiteY1426" fmla="*/ 0 h 2084191"/>
              <a:gd name="connsiteX1427" fmla="*/ 1169637 w 2051041"/>
              <a:gd name="connsiteY1427" fmla="*/ 1315 h 2084191"/>
              <a:gd name="connsiteX1428" fmla="*/ 1199405 w 2051041"/>
              <a:gd name="connsiteY1428" fmla="*/ 45164 h 2084191"/>
              <a:gd name="connsiteX1429" fmla="*/ 1151518 w 2051041"/>
              <a:gd name="connsiteY1429" fmla="*/ 91419 h 2084191"/>
              <a:gd name="connsiteX1430" fmla="*/ 1105807 w 2051041"/>
              <a:gd name="connsiteY1430" fmla="*/ 44620 h 2084191"/>
              <a:gd name="connsiteX1431" fmla="*/ 1119139 w 2051041"/>
              <a:gd name="connsiteY1431" fmla="*/ 11902 h 20841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Lst>
            <a:rect l="l" t="t" r="r" b="b"/>
            <a:pathLst>
              <a:path w="2051041" h="2084191">
                <a:moveTo>
                  <a:pt x="2051041" y="2080382"/>
                </a:moveTo>
                <a:lnTo>
                  <a:pt x="2051041" y="2083967"/>
                </a:lnTo>
                <a:lnTo>
                  <a:pt x="2047231" y="2084191"/>
                </a:lnTo>
                <a:cubicBezTo>
                  <a:pt x="2046687" y="2084191"/>
                  <a:pt x="2046143" y="2082559"/>
                  <a:pt x="2045599" y="2081470"/>
                </a:cubicBezTo>
                <a:close/>
                <a:moveTo>
                  <a:pt x="1478568" y="1997668"/>
                </a:moveTo>
                <a:cubicBezTo>
                  <a:pt x="1484010" y="1997668"/>
                  <a:pt x="1485642" y="2000933"/>
                  <a:pt x="1484554" y="2004743"/>
                </a:cubicBezTo>
                <a:cubicBezTo>
                  <a:pt x="1484010" y="2006919"/>
                  <a:pt x="1480745" y="2008551"/>
                  <a:pt x="1478568" y="2009096"/>
                </a:cubicBezTo>
                <a:cubicBezTo>
                  <a:pt x="1474759" y="2009640"/>
                  <a:pt x="1473126" y="2007463"/>
                  <a:pt x="1473126" y="2003654"/>
                </a:cubicBezTo>
                <a:cubicBezTo>
                  <a:pt x="1473126" y="1998756"/>
                  <a:pt x="1475303" y="1997124"/>
                  <a:pt x="1478568" y="1997668"/>
                </a:cubicBezTo>
                <a:close/>
                <a:moveTo>
                  <a:pt x="1641820" y="1993859"/>
                </a:moveTo>
                <a:cubicBezTo>
                  <a:pt x="1646718" y="1993314"/>
                  <a:pt x="1652160" y="1999300"/>
                  <a:pt x="1652160" y="2003654"/>
                </a:cubicBezTo>
                <a:cubicBezTo>
                  <a:pt x="1652160" y="2008551"/>
                  <a:pt x="1646718" y="2013449"/>
                  <a:pt x="1641820" y="2013449"/>
                </a:cubicBezTo>
                <a:cubicBezTo>
                  <a:pt x="1636923" y="2013449"/>
                  <a:pt x="1632025" y="2008007"/>
                  <a:pt x="1632025" y="2003654"/>
                </a:cubicBezTo>
                <a:cubicBezTo>
                  <a:pt x="1632025" y="1999300"/>
                  <a:pt x="1638011" y="1993859"/>
                  <a:pt x="1641820" y="1993859"/>
                </a:cubicBezTo>
                <a:close/>
                <a:moveTo>
                  <a:pt x="1969414" y="1992226"/>
                </a:moveTo>
                <a:cubicBezTo>
                  <a:pt x="1976488" y="1992226"/>
                  <a:pt x="1979753" y="1996035"/>
                  <a:pt x="1979753" y="2003654"/>
                </a:cubicBezTo>
                <a:cubicBezTo>
                  <a:pt x="1979753" y="2011272"/>
                  <a:pt x="1975944" y="2014537"/>
                  <a:pt x="1968325" y="2014537"/>
                </a:cubicBezTo>
                <a:cubicBezTo>
                  <a:pt x="1960707" y="2014537"/>
                  <a:pt x="1957442" y="2010728"/>
                  <a:pt x="1957986" y="2003110"/>
                </a:cubicBezTo>
                <a:cubicBezTo>
                  <a:pt x="1957986" y="1994947"/>
                  <a:pt x="1961251" y="1992226"/>
                  <a:pt x="1969414" y="1992226"/>
                </a:cubicBezTo>
                <a:close/>
                <a:moveTo>
                  <a:pt x="1805073" y="1992226"/>
                </a:moveTo>
                <a:cubicBezTo>
                  <a:pt x="1811058" y="1992226"/>
                  <a:pt x="1815956" y="1996035"/>
                  <a:pt x="1815956" y="2002565"/>
                </a:cubicBezTo>
                <a:cubicBezTo>
                  <a:pt x="1816500" y="2009096"/>
                  <a:pt x="1812147" y="2014537"/>
                  <a:pt x="1805073" y="2014537"/>
                </a:cubicBezTo>
                <a:cubicBezTo>
                  <a:pt x="1799087" y="2014537"/>
                  <a:pt x="1794189" y="2010184"/>
                  <a:pt x="1794189" y="2004198"/>
                </a:cubicBezTo>
                <a:cubicBezTo>
                  <a:pt x="1794189" y="1997668"/>
                  <a:pt x="1799087" y="1992770"/>
                  <a:pt x="1805073" y="1992226"/>
                </a:cubicBezTo>
                <a:close/>
                <a:moveTo>
                  <a:pt x="1234233" y="1916042"/>
                </a:moveTo>
                <a:cubicBezTo>
                  <a:pt x="1238586" y="1915497"/>
                  <a:pt x="1240763" y="1917674"/>
                  <a:pt x="1240219" y="1923660"/>
                </a:cubicBezTo>
                <a:cubicBezTo>
                  <a:pt x="1239674" y="1924204"/>
                  <a:pt x="1237498" y="1926381"/>
                  <a:pt x="1236953" y="1926381"/>
                </a:cubicBezTo>
                <a:cubicBezTo>
                  <a:pt x="1234233" y="1924204"/>
                  <a:pt x="1231512" y="1921483"/>
                  <a:pt x="1229335" y="1918762"/>
                </a:cubicBezTo>
                <a:cubicBezTo>
                  <a:pt x="1230968" y="1917674"/>
                  <a:pt x="1232600" y="1916586"/>
                  <a:pt x="1234233" y="1916042"/>
                </a:cubicBezTo>
                <a:close/>
                <a:moveTo>
                  <a:pt x="1397486" y="1911144"/>
                </a:moveTo>
                <a:cubicBezTo>
                  <a:pt x="1402927" y="1911144"/>
                  <a:pt x="1408369" y="1916041"/>
                  <a:pt x="1408369" y="1921483"/>
                </a:cubicBezTo>
                <a:cubicBezTo>
                  <a:pt x="1408369" y="1926925"/>
                  <a:pt x="1404016" y="1931279"/>
                  <a:pt x="1399118" y="1931823"/>
                </a:cubicBezTo>
                <a:cubicBezTo>
                  <a:pt x="1392588" y="1932367"/>
                  <a:pt x="1387146" y="1928013"/>
                  <a:pt x="1387146" y="1922028"/>
                </a:cubicBezTo>
                <a:cubicBezTo>
                  <a:pt x="1386602" y="1916586"/>
                  <a:pt x="1391500" y="1911144"/>
                  <a:pt x="1397486" y="1911144"/>
                </a:cubicBezTo>
                <a:close/>
                <a:moveTo>
                  <a:pt x="1560194" y="1906790"/>
                </a:moveTo>
                <a:cubicBezTo>
                  <a:pt x="1566180" y="1906790"/>
                  <a:pt x="1574342" y="1914953"/>
                  <a:pt x="1574342" y="1921482"/>
                </a:cubicBezTo>
                <a:cubicBezTo>
                  <a:pt x="1574342" y="1928013"/>
                  <a:pt x="1566724" y="1936175"/>
                  <a:pt x="1560738" y="1935631"/>
                </a:cubicBezTo>
                <a:cubicBezTo>
                  <a:pt x="1554752" y="1935631"/>
                  <a:pt x="1547678" y="1928557"/>
                  <a:pt x="1547134" y="1922027"/>
                </a:cubicBezTo>
                <a:cubicBezTo>
                  <a:pt x="1546589" y="1915497"/>
                  <a:pt x="1554208" y="1907334"/>
                  <a:pt x="1560194" y="1906790"/>
                </a:cubicBezTo>
                <a:close/>
                <a:moveTo>
                  <a:pt x="2049952" y="1905702"/>
                </a:moveTo>
                <a:lnTo>
                  <a:pt x="2051041" y="1906027"/>
                </a:lnTo>
                <a:lnTo>
                  <a:pt x="2051041" y="1938133"/>
                </a:lnTo>
                <a:lnTo>
                  <a:pt x="2050496" y="1938353"/>
                </a:lnTo>
                <a:cubicBezTo>
                  <a:pt x="2039613" y="1937808"/>
                  <a:pt x="2034715" y="1933455"/>
                  <a:pt x="2034171" y="1922572"/>
                </a:cubicBezTo>
                <a:cubicBezTo>
                  <a:pt x="2034171" y="1911144"/>
                  <a:pt x="2039069" y="1905702"/>
                  <a:pt x="2049952" y="1905702"/>
                </a:cubicBezTo>
                <a:close/>
                <a:moveTo>
                  <a:pt x="1723447" y="1905702"/>
                </a:moveTo>
                <a:cubicBezTo>
                  <a:pt x="1730521" y="1905702"/>
                  <a:pt x="1739772" y="1914409"/>
                  <a:pt x="1739772" y="1920939"/>
                </a:cubicBezTo>
                <a:cubicBezTo>
                  <a:pt x="1740316" y="1929101"/>
                  <a:pt x="1732698" y="1936720"/>
                  <a:pt x="1724535" y="1937264"/>
                </a:cubicBezTo>
                <a:cubicBezTo>
                  <a:pt x="1716373" y="1937264"/>
                  <a:pt x="1708754" y="1930190"/>
                  <a:pt x="1708210" y="1922027"/>
                </a:cubicBezTo>
                <a:cubicBezTo>
                  <a:pt x="1708210" y="1914953"/>
                  <a:pt x="1716373" y="1905702"/>
                  <a:pt x="1723447" y="1905702"/>
                </a:cubicBezTo>
                <a:close/>
                <a:moveTo>
                  <a:pt x="1887787" y="1905158"/>
                </a:moveTo>
                <a:cubicBezTo>
                  <a:pt x="1898671" y="1905158"/>
                  <a:pt x="1904113" y="1911144"/>
                  <a:pt x="1904113" y="1922028"/>
                </a:cubicBezTo>
                <a:cubicBezTo>
                  <a:pt x="1904113" y="1932367"/>
                  <a:pt x="1898127" y="1937809"/>
                  <a:pt x="1886699" y="1937809"/>
                </a:cubicBezTo>
                <a:cubicBezTo>
                  <a:pt x="1876360" y="1937809"/>
                  <a:pt x="1870918" y="1931823"/>
                  <a:pt x="1870918" y="1921483"/>
                </a:cubicBezTo>
                <a:cubicBezTo>
                  <a:pt x="1870918" y="1910600"/>
                  <a:pt x="1876904" y="1904614"/>
                  <a:pt x="1887787" y="1905158"/>
                </a:cubicBezTo>
                <a:close/>
                <a:moveTo>
                  <a:pt x="1152606" y="1831693"/>
                </a:moveTo>
                <a:cubicBezTo>
                  <a:pt x="1155871" y="1832782"/>
                  <a:pt x="1160769" y="1836591"/>
                  <a:pt x="1161313" y="1839312"/>
                </a:cubicBezTo>
                <a:cubicBezTo>
                  <a:pt x="1160769" y="1843121"/>
                  <a:pt x="1156959" y="1846931"/>
                  <a:pt x="1153694" y="1852916"/>
                </a:cubicBezTo>
                <a:cubicBezTo>
                  <a:pt x="1149341" y="1847475"/>
                  <a:pt x="1146076" y="1844754"/>
                  <a:pt x="1144988" y="1841489"/>
                </a:cubicBezTo>
                <a:cubicBezTo>
                  <a:pt x="1143355" y="1837135"/>
                  <a:pt x="1148797" y="1830605"/>
                  <a:pt x="1152606" y="1831693"/>
                </a:cubicBezTo>
                <a:close/>
                <a:moveTo>
                  <a:pt x="1315315" y="1825708"/>
                </a:moveTo>
                <a:cubicBezTo>
                  <a:pt x="1321301" y="1825164"/>
                  <a:pt x="1331096" y="1834415"/>
                  <a:pt x="1330552" y="1840401"/>
                </a:cubicBezTo>
                <a:cubicBezTo>
                  <a:pt x="1330552" y="1845298"/>
                  <a:pt x="1321301" y="1854549"/>
                  <a:pt x="1316404" y="1854549"/>
                </a:cubicBezTo>
                <a:cubicBezTo>
                  <a:pt x="1310962" y="1855094"/>
                  <a:pt x="1302255" y="1846387"/>
                  <a:pt x="1301711" y="1840945"/>
                </a:cubicBezTo>
                <a:cubicBezTo>
                  <a:pt x="1301167" y="1834959"/>
                  <a:pt x="1309329" y="1826252"/>
                  <a:pt x="1315315" y="1825708"/>
                </a:cubicBezTo>
                <a:close/>
                <a:moveTo>
                  <a:pt x="1479656" y="1822987"/>
                </a:moveTo>
                <a:cubicBezTo>
                  <a:pt x="1489995" y="1823531"/>
                  <a:pt x="1495981" y="1830061"/>
                  <a:pt x="1495981" y="1840401"/>
                </a:cubicBezTo>
                <a:cubicBezTo>
                  <a:pt x="1495981" y="1851284"/>
                  <a:pt x="1490539" y="1856726"/>
                  <a:pt x="1478567" y="1856182"/>
                </a:cubicBezTo>
                <a:cubicBezTo>
                  <a:pt x="1467140" y="1856182"/>
                  <a:pt x="1462242" y="1850740"/>
                  <a:pt x="1462242" y="1839312"/>
                </a:cubicBezTo>
                <a:cubicBezTo>
                  <a:pt x="1462242" y="1828429"/>
                  <a:pt x="1468772" y="1822443"/>
                  <a:pt x="1479656" y="1822987"/>
                </a:cubicBezTo>
                <a:close/>
                <a:moveTo>
                  <a:pt x="1642365" y="1821355"/>
                </a:moveTo>
                <a:cubicBezTo>
                  <a:pt x="1653248" y="1821355"/>
                  <a:pt x="1661955" y="1829518"/>
                  <a:pt x="1660867" y="1840401"/>
                </a:cubicBezTo>
                <a:cubicBezTo>
                  <a:pt x="1659778" y="1853461"/>
                  <a:pt x="1653792" y="1857270"/>
                  <a:pt x="1642365" y="1857270"/>
                </a:cubicBezTo>
                <a:cubicBezTo>
                  <a:pt x="1630937" y="1857270"/>
                  <a:pt x="1624407" y="1850740"/>
                  <a:pt x="1624407" y="1839857"/>
                </a:cubicBezTo>
                <a:cubicBezTo>
                  <a:pt x="1624407" y="1828973"/>
                  <a:pt x="1632025" y="1821355"/>
                  <a:pt x="1642365" y="1821355"/>
                </a:cubicBezTo>
                <a:close/>
                <a:moveTo>
                  <a:pt x="1806162" y="1819723"/>
                </a:moveTo>
                <a:cubicBezTo>
                  <a:pt x="1816501" y="1819723"/>
                  <a:pt x="1827385" y="1831150"/>
                  <a:pt x="1826840" y="1840945"/>
                </a:cubicBezTo>
                <a:cubicBezTo>
                  <a:pt x="1826296" y="1850740"/>
                  <a:pt x="1813780" y="1862168"/>
                  <a:pt x="1804529" y="1861080"/>
                </a:cubicBezTo>
                <a:cubicBezTo>
                  <a:pt x="1795278" y="1860536"/>
                  <a:pt x="1783851" y="1847476"/>
                  <a:pt x="1784395" y="1839313"/>
                </a:cubicBezTo>
                <a:cubicBezTo>
                  <a:pt x="1784939" y="1828973"/>
                  <a:pt x="1796367" y="1819178"/>
                  <a:pt x="1806162" y="1819723"/>
                </a:cubicBezTo>
                <a:close/>
                <a:moveTo>
                  <a:pt x="1968870" y="1819178"/>
                </a:moveTo>
                <a:cubicBezTo>
                  <a:pt x="1980298" y="1819178"/>
                  <a:pt x="1990093" y="1828973"/>
                  <a:pt x="1990093" y="1840401"/>
                </a:cubicBezTo>
                <a:cubicBezTo>
                  <a:pt x="1990093" y="1851285"/>
                  <a:pt x="1980298" y="1861624"/>
                  <a:pt x="1968870" y="1861624"/>
                </a:cubicBezTo>
                <a:cubicBezTo>
                  <a:pt x="1957986" y="1861624"/>
                  <a:pt x="1947647" y="1851285"/>
                  <a:pt x="1947647" y="1840401"/>
                </a:cubicBezTo>
                <a:cubicBezTo>
                  <a:pt x="1947647" y="1828973"/>
                  <a:pt x="1957986" y="1819178"/>
                  <a:pt x="1968870" y="1819178"/>
                </a:cubicBezTo>
                <a:close/>
                <a:moveTo>
                  <a:pt x="1070436" y="1747347"/>
                </a:moveTo>
                <a:cubicBezTo>
                  <a:pt x="1078598" y="1747347"/>
                  <a:pt x="1081863" y="1750612"/>
                  <a:pt x="1081863" y="1758231"/>
                </a:cubicBezTo>
                <a:cubicBezTo>
                  <a:pt x="1081863" y="1766393"/>
                  <a:pt x="1078598" y="1769658"/>
                  <a:pt x="1070980" y="1769658"/>
                </a:cubicBezTo>
                <a:cubicBezTo>
                  <a:pt x="1063361" y="1769658"/>
                  <a:pt x="1060096" y="1766393"/>
                  <a:pt x="1059552" y="1758775"/>
                </a:cubicBezTo>
                <a:cubicBezTo>
                  <a:pt x="1059552" y="1751156"/>
                  <a:pt x="1062817" y="1747347"/>
                  <a:pt x="1070436" y="1747347"/>
                </a:cubicBezTo>
                <a:close/>
                <a:moveTo>
                  <a:pt x="1233688" y="1742449"/>
                </a:moveTo>
                <a:cubicBezTo>
                  <a:pt x="1242939" y="1741904"/>
                  <a:pt x="1250558" y="1750067"/>
                  <a:pt x="1250558" y="1758774"/>
                </a:cubicBezTo>
                <a:cubicBezTo>
                  <a:pt x="1250558" y="1767481"/>
                  <a:pt x="1242939" y="1775099"/>
                  <a:pt x="1233688" y="1775099"/>
                </a:cubicBezTo>
                <a:cubicBezTo>
                  <a:pt x="1224981" y="1775099"/>
                  <a:pt x="1218451" y="1768025"/>
                  <a:pt x="1217907" y="1759318"/>
                </a:cubicBezTo>
                <a:cubicBezTo>
                  <a:pt x="1217907" y="1750067"/>
                  <a:pt x="1224981" y="1742449"/>
                  <a:pt x="1233688" y="1742449"/>
                </a:cubicBezTo>
                <a:close/>
                <a:moveTo>
                  <a:pt x="1399662" y="1739728"/>
                </a:moveTo>
                <a:cubicBezTo>
                  <a:pt x="1410002" y="1740817"/>
                  <a:pt x="1418164" y="1750068"/>
                  <a:pt x="1417076" y="1760407"/>
                </a:cubicBezTo>
                <a:cubicBezTo>
                  <a:pt x="1415988" y="1769114"/>
                  <a:pt x="1404560" y="1779997"/>
                  <a:pt x="1396941" y="1779453"/>
                </a:cubicBezTo>
                <a:cubicBezTo>
                  <a:pt x="1388779" y="1778909"/>
                  <a:pt x="1376807" y="1765305"/>
                  <a:pt x="1377895" y="1757686"/>
                </a:cubicBezTo>
                <a:cubicBezTo>
                  <a:pt x="1379528" y="1746803"/>
                  <a:pt x="1389867" y="1738640"/>
                  <a:pt x="1399662" y="1739728"/>
                </a:cubicBezTo>
                <a:close/>
                <a:moveTo>
                  <a:pt x="1723991" y="1735919"/>
                </a:moveTo>
                <a:cubicBezTo>
                  <a:pt x="1738140" y="1735919"/>
                  <a:pt x="1746847" y="1744626"/>
                  <a:pt x="1746847" y="1758774"/>
                </a:cubicBezTo>
                <a:cubicBezTo>
                  <a:pt x="1746847" y="1772379"/>
                  <a:pt x="1738140" y="1781086"/>
                  <a:pt x="1723991" y="1781086"/>
                </a:cubicBezTo>
                <a:cubicBezTo>
                  <a:pt x="1709299" y="1781086"/>
                  <a:pt x="1701680" y="1773467"/>
                  <a:pt x="1701680" y="1758774"/>
                </a:cubicBezTo>
                <a:cubicBezTo>
                  <a:pt x="1701680" y="1744626"/>
                  <a:pt x="1709843" y="1735919"/>
                  <a:pt x="1723991" y="1735919"/>
                </a:cubicBezTo>
                <a:close/>
                <a:moveTo>
                  <a:pt x="1560194" y="1735919"/>
                </a:moveTo>
                <a:cubicBezTo>
                  <a:pt x="1572710" y="1736463"/>
                  <a:pt x="1582505" y="1746258"/>
                  <a:pt x="1582505" y="1758230"/>
                </a:cubicBezTo>
                <a:cubicBezTo>
                  <a:pt x="1582505" y="1770202"/>
                  <a:pt x="1572710" y="1779997"/>
                  <a:pt x="1560738" y="1779997"/>
                </a:cubicBezTo>
                <a:cubicBezTo>
                  <a:pt x="1549855" y="1779997"/>
                  <a:pt x="1538427" y="1769114"/>
                  <a:pt x="1538427" y="1758230"/>
                </a:cubicBezTo>
                <a:cubicBezTo>
                  <a:pt x="1538427" y="1746803"/>
                  <a:pt x="1548766" y="1735919"/>
                  <a:pt x="1560194" y="1735919"/>
                </a:cubicBezTo>
                <a:close/>
                <a:moveTo>
                  <a:pt x="2051041" y="1734831"/>
                </a:moveTo>
                <a:lnTo>
                  <a:pt x="2051041" y="1781438"/>
                </a:lnTo>
                <a:lnTo>
                  <a:pt x="2050496" y="1781630"/>
                </a:lnTo>
                <a:cubicBezTo>
                  <a:pt x="2033627" y="1782174"/>
                  <a:pt x="2027097" y="1772379"/>
                  <a:pt x="2027097" y="1758775"/>
                </a:cubicBezTo>
                <a:cubicBezTo>
                  <a:pt x="2027097" y="1744082"/>
                  <a:pt x="2033627" y="1734831"/>
                  <a:pt x="2051041" y="1734831"/>
                </a:cubicBezTo>
                <a:close/>
                <a:moveTo>
                  <a:pt x="1887788" y="1734831"/>
                </a:moveTo>
                <a:cubicBezTo>
                  <a:pt x="1902481" y="1735375"/>
                  <a:pt x="1910099" y="1742994"/>
                  <a:pt x="1910099" y="1758775"/>
                </a:cubicBezTo>
                <a:cubicBezTo>
                  <a:pt x="1910099" y="1771835"/>
                  <a:pt x="1903025" y="1782718"/>
                  <a:pt x="1886699" y="1781086"/>
                </a:cubicBezTo>
                <a:cubicBezTo>
                  <a:pt x="1872551" y="1782174"/>
                  <a:pt x="1863844" y="1770203"/>
                  <a:pt x="1863844" y="1757687"/>
                </a:cubicBezTo>
                <a:cubicBezTo>
                  <a:pt x="1863844" y="1742994"/>
                  <a:pt x="1874728" y="1734287"/>
                  <a:pt x="1887788" y="1734831"/>
                </a:cubicBezTo>
                <a:close/>
                <a:moveTo>
                  <a:pt x="826100" y="1671706"/>
                </a:moveTo>
                <a:cubicBezTo>
                  <a:pt x="830454" y="1670618"/>
                  <a:pt x="832086" y="1673338"/>
                  <a:pt x="832086" y="1677692"/>
                </a:cubicBezTo>
                <a:cubicBezTo>
                  <a:pt x="832086" y="1681501"/>
                  <a:pt x="829365" y="1683134"/>
                  <a:pt x="825556" y="1683134"/>
                </a:cubicBezTo>
                <a:cubicBezTo>
                  <a:pt x="821203" y="1683134"/>
                  <a:pt x="819570" y="1679869"/>
                  <a:pt x="820658" y="1676603"/>
                </a:cubicBezTo>
                <a:cubicBezTo>
                  <a:pt x="821203" y="1674427"/>
                  <a:pt x="823924" y="1672250"/>
                  <a:pt x="826100" y="1671706"/>
                </a:cubicBezTo>
                <a:close/>
                <a:moveTo>
                  <a:pt x="989354" y="1661912"/>
                </a:moveTo>
                <a:cubicBezTo>
                  <a:pt x="994251" y="1661912"/>
                  <a:pt x="1004046" y="1671707"/>
                  <a:pt x="1004046" y="1676604"/>
                </a:cubicBezTo>
                <a:cubicBezTo>
                  <a:pt x="1004046" y="1682590"/>
                  <a:pt x="996428" y="1690209"/>
                  <a:pt x="989354" y="1690209"/>
                </a:cubicBezTo>
                <a:cubicBezTo>
                  <a:pt x="982823" y="1690209"/>
                  <a:pt x="975749" y="1683679"/>
                  <a:pt x="975205" y="1677693"/>
                </a:cubicBezTo>
                <a:cubicBezTo>
                  <a:pt x="974661" y="1671707"/>
                  <a:pt x="983912" y="1661367"/>
                  <a:pt x="989354" y="1661912"/>
                </a:cubicBezTo>
                <a:close/>
                <a:moveTo>
                  <a:pt x="1153151" y="1659734"/>
                </a:moveTo>
                <a:cubicBezTo>
                  <a:pt x="1162946" y="1658646"/>
                  <a:pt x="1171108" y="1667353"/>
                  <a:pt x="1170564" y="1677692"/>
                </a:cubicBezTo>
                <a:cubicBezTo>
                  <a:pt x="1170020" y="1688575"/>
                  <a:pt x="1162946" y="1694562"/>
                  <a:pt x="1152062" y="1694562"/>
                </a:cubicBezTo>
                <a:cubicBezTo>
                  <a:pt x="1141179" y="1694017"/>
                  <a:pt x="1135737" y="1688031"/>
                  <a:pt x="1135737" y="1677148"/>
                </a:cubicBezTo>
                <a:cubicBezTo>
                  <a:pt x="1135737" y="1664632"/>
                  <a:pt x="1141179" y="1659190"/>
                  <a:pt x="1153151" y="1659734"/>
                </a:cubicBezTo>
                <a:close/>
                <a:moveTo>
                  <a:pt x="1315315" y="1655381"/>
                </a:moveTo>
                <a:cubicBezTo>
                  <a:pt x="1327287" y="1654836"/>
                  <a:pt x="1337082" y="1664088"/>
                  <a:pt x="1337082" y="1676603"/>
                </a:cubicBezTo>
                <a:cubicBezTo>
                  <a:pt x="1337082" y="1688575"/>
                  <a:pt x="1326743" y="1698915"/>
                  <a:pt x="1315315" y="1698915"/>
                </a:cubicBezTo>
                <a:cubicBezTo>
                  <a:pt x="1304976" y="1698915"/>
                  <a:pt x="1294092" y="1687487"/>
                  <a:pt x="1294092" y="1677148"/>
                </a:cubicBezTo>
                <a:cubicBezTo>
                  <a:pt x="1294092" y="1666264"/>
                  <a:pt x="1304431" y="1655925"/>
                  <a:pt x="1315315" y="1655381"/>
                </a:cubicBezTo>
                <a:close/>
                <a:moveTo>
                  <a:pt x="1479111" y="1654293"/>
                </a:moveTo>
                <a:cubicBezTo>
                  <a:pt x="1495437" y="1653204"/>
                  <a:pt x="1501967" y="1664632"/>
                  <a:pt x="1501967" y="1677692"/>
                </a:cubicBezTo>
                <a:cubicBezTo>
                  <a:pt x="1501967" y="1689664"/>
                  <a:pt x="1492716" y="1700548"/>
                  <a:pt x="1479111" y="1700548"/>
                </a:cubicBezTo>
                <a:cubicBezTo>
                  <a:pt x="1466596" y="1700548"/>
                  <a:pt x="1455712" y="1690208"/>
                  <a:pt x="1455712" y="1676604"/>
                </a:cubicBezTo>
                <a:cubicBezTo>
                  <a:pt x="1456256" y="1663544"/>
                  <a:pt x="1464963" y="1653204"/>
                  <a:pt x="1479111" y="1654293"/>
                </a:cubicBezTo>
                <a:close/>
                <a:moveTo>
                  <a:pt x="1643452" y="1650483"/>
                </a:moveTo>
                <a:cubicBezTo>
                  <a:pt x="1654880" y="1651027"/>
                  <a:pt x="1667940" y="1664087"/>
                  <a:pt x="1668484" y="1676603"/>
                </a:cubicBezTo>
                <a:cubicBezTo>
                  <a:pt x="1669029" y="1689120"/>
                  <a:pt x="1655968" y="1702724"/>
                  <a:pt x="1643452" y="1703268"/>
                </a:cubicBezTo>
                <a:cubicBezTo>
                  <a:pt x="1631480" y="1703812"/>
                  <a:pt x="1617332" y="1690208"/>
                  <a:pt x="1617332" y="1677692"/>
                </a:cubicBezTo>
                <a:cubicBezTo>
                  <a:pt x="1616788" y="1664632"/>
                  <a:pt x="1630392" y="1650483"/>
                  <a:pt x="1643452" y="1650483"/>
                </a:cubicBezTo>
                <a:close/>
                <a:moveTo>
                  <a:pt x="1968326" y="1649940"/>
                </a:moveTo>
                <a:cubicBezTo>
                  <a:pt x="1983019" y="1649395"/>
                  <a:pt x="1997167" y="1664088"/>
                  <a:pt x="1995535" y="1676604"/>
                </a:cubicBezTo>
                <a:cubicBezTo>
                  <a:pt x="1997167" y="1689664"/>
                  <a:pt x="1982474" y="1704901"/>
                  <a:pt x="1968870" y="1704357"/>
                </a:cubicBezTo>
                <a:cubicBezTo>
                  <a:pt x="1954177" y="1703813"/>
                  <a:pt x="1942205" y="1691841"/>
                  <a:pt x="1941661" y="1677148"/>
                </a:cubicBezTo>
                <a:cubicBezTo>
                  <a:pt x="1941117" y="1662456"/>
                  <a:pt x="1956354" y="1649940"/>
                  <a:pt x="1968326" y="1649940"/>
                </a:cubicBezTo>
                <a:close/>
                <a:moveTo>
                  <a:pt x="1805617" y="1649939"/>
                </a:moveTo>
                <a:cubicBezTo>
                  <a:pt x="1819222" y="1648851"/>
                  <a:pt x="1832826" y="1664088"/>
                  <a:pt x="1832826" y="1677148"/>
                </a:cubicBezTo>
                <a:cubicBezTo>
                  <a:pt x="1832282" y="1690752"/>
                  <a:pt x="1819222" y="1703812"/>
                  <a:pt x="1805073" y="1704357"/>
                </a:cubicBezTo>
                <a:cubicBezTo>
                  <a:pt x="1792557" y="1704901"/>
                  <a:pt x="1777864" y="1688031"/>
                  <a:pt x="1778409" y="1677148"/>
                </a:cubicBezTo>
                <a:cubicBezTo>
                  <a:pt x="1779497" y="1662999"/>
                  <a:pt x="1791469" y="1649939"/>
                  <a:pt x="1805617" y="1649939"/>
                </a:cubicBezTo>
                <a:close/>
                <a:moveTo>
                  <a:pt x="744474" y="1588992"/>
                </a:moveTo>
                <a:cubicBezTo>
                  <a:pt x="748827" y="1588992"/>
                  <a:pt x="751004" y="1590624"/>
                  <a:pt x="751004" y="1594978"/>
                </a:cubicBezTo>
                <a:cubicBezTo>
                  <a:pt x="751004" y="1598787"/>
                  <a:pt x="749916" y="1601508"/>
                  <a:pt x="745562" y="1602052"/>
                </a:cubicBezTo>
                <a:cubicBezTo>
                  <a:pt x="740665" y="1602052"/>
                  <a:pt x="738488" y="1600420"/>
                  <a:pt x="738488" y="1594978"/>
                </a:cubicBezTo>
                <a:cubicBezTo>
                  <a:pt x="737944" y="1590624"/>
                  <a:pt x="740121" y="1588992"/>
                  <a:pt x="744474" y="1588992"/>
                </a:cubicBezTo>
                <a:close/>
                <a:moveTo>
                  <a:pt x="907183" y="1579741"/>
                </a:moveTo>
                <a:cubicBezTo>
                  <a:pt x="913169" y="1579197"/>
                  <a:pt x="923508" y="1588992"/>
                  <a:pt x="923508" y="1594978"/>
                </a:cubicBezTo>
                <a:cubicBezTo>
                  <a:pt x="923508" y="1600964"/>
                  <a:pt x="915345" y="1610215"/>
                  <a:pt x="908815" y="1610759"/>
                </a:cubicBezTo>
                <a:cubicBezTo>
                  <a:pt x="901197" y="1611303"/>
                  <a:pt x="892490" y="1603685"/>
                  <a:pt x="892490" y="1595522"/>
                </a:cubicBezTo>
                <a:cubicBezTo>
                  <a:pt x="892490" y="1588448"/>
                  <a:pt x="900653" y="1579741"/>
                  <a:pt x="907183" y="1579741"/>
                </a:cubicBezTo>
                <a:close/>
                <a:moveTo>
                  <a:pt x="1071524" y="1574843"/>
                </a:moveTo>
                <a:cubicBezTo>
                  <a:pt x="1081319" y="1575387"/>
                  <a:pt x="1091114" y="1585726"/>
                  <a:pt x="1091114" y="1595522"/>
                </a:cubicBezTo>
                <a:cubicBezTo>
                  <a:pt x="1091114" y="1605317"/>
                  <a:pt x="1080231" y="1615656"/>
                  <a:pt x="1070980" y="1615656"/>
                </a:cubicBezTo>
                <a:cubicBezTo>
                  <a:pt x="1062273" y="1615656"/>
                  <a:pt x="1050845" y="1604228"/>
                  <a:pt x="1050301" y="1595522"/>
                </a:cubicBezTo>
                <a:cubicBezTo>
                  <a:pt x="1050301" y="1586270"/>
                  <a:pt x="1062273" y="1574299"/>
                  <a:pt x="1071524" y="1574843"/>
                </a:cubicBezTo>
                <a:close/>
                <a:moveTo>
                  <a:pt x="1233688" y="1573210"/>
                </a:moveTo>
                <a:cubicBezTo>
                  <a:pt x="1247837" y="1573210"/>
                  <a:pt x="1256544" y="1581373"/>
                  <a:pt x="1256544" y="1595522"/>
                </a:cubicBezTo>
                <a:cubicBezTo>
                  <a:pt x="1256544" y="1609670"/>
                  <a:pt x="1247837" y="1618377"/>
                  <a:pt x="1233688" y="1618377"/>
                </a:cubicBezTo>
                <a:cubicBezTo>
                  <a:pt x="1221172" y="1618377"/>
                  <a:pt x="1212465" y="1608582"/>
                  <a:pt x="1211377" y="1596610"/>
                </a:cubicBezTo>
                <a:cubicBezTo>
                  <a:pt x="1210289" y="1584638"/>
                  <a:pt x="1222261" y="1571034"/>
                  <a:pt x="1233688" y="1573210"/>
                </a:cubicBezTo>
                <a:close/>
                <a:moveTo>
                  <a:pt x="1398030" y="1569402"/>
                </a:moveTo>
                <a:cubicBezTo>
                  <a:pt x="1411634" y="1569946"/>
                  <a:pt x="1423606" y="1582462"/>
                  <a:pt x="1423062" y="1595522"/>
                </a:cubicBezTo>
                <a:cubicBezTo>
                  <a:pt x="1423062" y="1608582"/>
                  <a:pt x="1410546" y="1621099"/>
                  <a:pt x="1397485" y="1621099"/>
                </a:cubicBezTo>
                <a:cubicBezTo>
                  <a:pt x="1384969" y="1621099"/>
                  <a:pt x="1371365" y="1608038"/>
                  <a:pt x="1371365" y="1595522"/>
                </a:cubicBezTo>
                <a:cubicBezTo>
                  <a:pt x="1371365" y="1582462"/>
                  <a:pt x="1384969" y="1568857"/>
                  <a:pt x="1398030" y="1569402"/>
                </a:cubicBezTo>
                <a:close/>
                <a:moveTo>
                  <a:pt x="1560194" y="1568313"/>
                </a:moveTo>
                <a:cubicBezTo>
                  <a:pt x="1574342" y="1566680"/>
                  <a:pt x="1587403" y="1581373"/>
                  <a:pt x="1587947" y="1594433"/>
                </a:cubicBezTo>
                <a:cubicBezTo>
                  <a:pt x="1588491" y="1608582"/>
                  <a:pt x="1574887" y="1622730"/>
                  <a:pt x="1560194" y="1622730"/>
                </a:cubicBezTo>
                <a:cubicBezTo>
                  <a:pt x="1547134" y="1622730"/>
                  <a:pt x="1532985" y="1608582"/>
                  <a:pt x="1532985" y="1594977"/>
                </a:cubicBezTo>
                <a:cubicBezTo>
                  <a:pt x="1532985" y="1581917"/>
                  <a:pt x="1547134" y="1566680"/>
                  <a:pt x="1560194" y="1568313"/>
                </a:cubicBezTo>
                <a:close/>
                <a:moveTo>
                  <a:pt x="1887244" y="1567225"/>
                </a:moveTo>
                <a:cubicBezTo>
                  <a:pt x="1905202" y="1567225"/>
                  <a:pt x="1915541" y="1578109"/>
                  <a:pt x="1915541" y="1594978"/>
                </a:cubicBezTo>
                <a:cubicBezTo>
                  <a:pt x="1915541" y="1612392"/>
                  <a:pt x="1903569" y="1624363"/>
                  <a:pt x="1886699" y="1623819"/>
                </a:cubicBezTo>
                <a:cubicBezTo>
                  <a:pt x="1872551" y="1623819"/>
                  <a:pt x="1857314" y="1613480"/>
                  <a:pt x="1858947" y="1594978"/>
                </a:cubicBezTo>
                <a:cubicBezTo>
                  <a:pt x="1857858" y="1577564"/>
                  <a:pt x="1870918" y="1567225"/>
                  <a:pt x="1887244" y="1567225"/>
                </a:cubicBezTo>
                <a:close/>
                <a:moveTo>
                  <a:pt x="1724535" y="1567225"/>
                </a:moveTo>
                <a:cubicBezTo>
                  <a:pt x="1743037" y="1567225"/>
                  <a:pt x="1752288" y="1581373"/>
                  <a:pt x="1752288" y="1594978"/>
                </a:cubicBezTo>
                <a:cubicBezTo>
                  <a:pt x="1752288" y="1609127"/>
                  <a:pt x="1741949" y="1623275"/>
                  <a:pt x="1724535" y="1623275"/>
                </a:cubicBezTo>
                <a:cubicBezTo>
                  <a:pt x="1710930" y="1623819"/>
                  <a:pt x="1694605" y="1613480"/>
                  <a:pt x="1696238" y="1594978"/>
                </a:cubicBezTo>
                <a:cubicBezTo>
                  <a:pt x="1694605" y="1577564"/>
                  <a:pt x="1708754" y="1567225"/>
                  <a:pt x="1724535" y="1567225"/>
                </a:cubicBezTo>
                <a:close/>
                <a:moveTo>
                  <a:pt x="2050496" y="1566680"/>
                </a:moveTo>
                <a:lnTo>
                  <a:pt x="2051041" y="1566888"/>
                </a:lnTo>
                <a:lnTo>
                  <a:pt x="2051041" y="1623794"/>
                </a:lnTo>
                <a:lnTo>
                  <a:pt x="2049408" y="1624363"/>
                </a:lnTo>
                <a:cubicBezTo>
                  <a:pt x="2033083" y="1623818"/>
                  <a:pt x="2021111" y="1611302"/>
                  <a:pt x="2021655" y="1594977"/>
                </a:cubicBezTo>
                <a:cubicBezTo>
                  <a:pt x="2022199" y="1575931"/>
                  <a:pt x="2033627" y="1567224"/>
                  <a:pt x="2050496" y="1566680"/>
                </a:cubicBezTo>
                <a:close/>
                <a:moveTo>
                  <a:pt x="663392" y="1505188"/>
                </a:moveTo>
                <a:cubicBezTo>
                  <a:pt x="666113" y="1505188"/>
                  <a:pt x="669922" y="1510086"/>
                  <a:pt x="674819" y="1513895"/>
                </a:cubicBezTo>
                <a:cubicBezTo>
                  <a:pt x="669378" y="1517704"/>
                  <a:pt x="665569" y="1522602"/>
                  <a:pt x="662848" y="1522058"/>
                </a:cubicBezTo>
                <a:cubicBezTo>
                  <a:pt x="659583" y="1521513"/>
                  <a:pt x="654685" y="1516072"/>
                  <a:pt x="654685" y="1513351"/>
                </a:cubicBezTo>
                <a:cubicBezTo>
                  <a:pt x="654685" y="1510086"/>
                  <a:pt x="660127" y="1505188"/>
                  <a:pt x="663392" y="1505188"/>
                </a:cubicBezTo>
                <a:close/>
                <a:moveTo>
                  <a:pt x="826101" y="1497570"/>
                </a:moveTo>
                <a:cubicBezTo>
                  <a:pt x="834263" y="1497025"/>
                  <a:pt x="842426" y="1505188"/>
                  <a:pt x="842970" y="1513351"/>
                </a:cubicBezTo>
                <a:cubicBezTo>
                  <a:pt x="842970" y="1522058"/>
                  <a:pt x="835352" y="1529676"/>
                  <a:pt x="826645" y="1529676"/>
                </a:cubicBezTo>
                <a:cubicBezTo>
                  <a:pt x="818482" y="1529676"/>
                  <a:pt x="810864" y="1523146"/>
                  <a:pt x="810319" y="1514983"/>
                </a:cubicBezTo>
                <a:cubicBezTo>
                  <a:pt x="809775" y="1506276"/>
                  <a:pt x="817394" y="1498114"/>
                  <a:pt x="826101" y="1497570"/>
                </a:cubicBezTo>
                <a:close/>
                <a:moveTo>
                  <a:pt x="988265" y="1492128"/>
                </a:moveTo>
                <a:cubicBezTo>
                  <a:pt x="998605" y="1492128"/>
                  <a:pt x="1010577" y="1501379"/>
                  <a:pt x="1010577" y="1513351"/>
                </a:cubicBezTo>
                <a:cubicBezTo>
                  <a:pt x="1010577" y="1524234"/>
                  <a:pt x="1000237" y="1534574"/>
                  <a:pt x="989354" y="1534574"/>
                </a:cubicBezTo>
                <a:cubicBezTo>
                  <a:pt x="979559" y="1534574"/>
                  <a:pt x="968675" y="1523690"/>
                  <a:pt x="968131" y="1513895"/>
                </a:cubicBezTo>
                <a:cubicBezTo>
                  <a:pt x="968131" y="1503556"/>
                  <a:pt x="977926" y="1492672"/>
                  <a:pt x="988265" y="1492128"/>
                </a:cubicBezTo>
                <a:close/>
                <a:moveTo>
                  <a:pt x="1152606" y="1490496"/>
                </a:moveTo>
                <a:cubicBezTo>
                  <a:pt x="1167299" y="1489407"/>
                  <a:pt x="1176006" y="1498658"/>
                  <a:pt x="1176006" y="1513351"/>
                </a:cubicBezTo>
                <a:cubicBezTo>
                  <a:pt x="1176006" y="1530764"/>
                  <a:pt x="1166755" y="1537295"/>
                  <a:pt x="1152606" y="1537839"/>
                </a:cubicBezTo>
                <a:cubicBezTo>
                  <a:pt x="1139546" y="1537839"/>
                  <a:pt x="1129207" y="1530764"/>
                  <a:pt x="1129207" y="1514984"/>
                </a:cubicBezTo>
                <a:cubicBezTo>
                  <a:pt x="1129207" y="1498114"/>
                  <a:pt x="1138458" y="1491040"/>
                  <a:pt x="1152606" y="1490496"/>
                </a:cubicBezTo>
                <a:close/>
                <a:moveTo>
                  <a:pt x="1316403" y="1487231"/>
                </a:moveTo>
                <a:cubicBezTo>
                  <a:pt x="1331095" y="1487775"/>
                  <a:pt x="1342523" y="1499203"/>
                  <a:pt x="1342523" y="1513896"/>
                </a:cubicBezTo>
                <a:cubicBezTo>
                  <a:pt x="1342523" y="1528588"/>
                  <a:pt x="1330551" y="1540560"/>
                  <a:pt x="1315314" y="1540560"/>
                </a:cubicBezTo>
                <a:cubicBezTo>
                  <a:pt x="1303887" y="1542193"/>
                  <a:pt x="1288106" y="1527500"/>
                  <a:pt x="1288650" y="1513896"/>
                </a:cubicBezTo>
                <a:cubicBezTo>
                  <a:pt x="1289194" y="1498659"/>
                  <a:pt x="1301166" y="1486687"/>
                  <a:pt x="1316403" y="1487231"/>
                </a:cubicBezTo>
                <a:close/>
                <a:moveTo>
                  <a:pt x="1479656" y="1485054"/>
                </a:moveTo>
                <a:cubicBezTo>
                  <a:pt x="1495437" y="1485598"/>
                  <a:pt x="1508497" y="1496482"/>
                  <a:pt x="1507409" y="1513895"/>
                </a:cubicBezTo>
                <a:cubicBezTo>
                  <a:pt x="1508497" y="1527500"/>
                  <a:pt x="1498158" y="1542192"/>
                  <a:pt x="1479112" y="1541648"/>
                </a:cubicBezTo>
                <a:cubicBezTo>
                  <a:pt x="1462787" y="1541648"/>
                  <a:pt x="1451359" y="1529676"/>
                  <a:pt x="1451359" y="1513351"/>
                </a:cubicBezTo>
                <a:cubicBezTo>
                  <a:pt x="1451359" y="1493761"/>
                  <a:pt x="1466596" y="1485054"/>
                  <a:pt x="1479656" y="1485054"/>
                </a:cubicBezTo>
                <a:close/>
                <a:moveTo>
                  <a:pt x="1641820" y="1482334"/>
                </a:moveTo>
                <a:cubicBezTo>
                  <a:pt x="1657057" y="1481789"/>
                  <a:pt x="1672838" y="1496482"/>
                  <a:pt x="1673382" y="1512807"/>
                </a:cubicBezTo>
                <a:cubicBezTo>
                  <a:pt x="1673927" y="1528044"/>
                  <a:pt x="1658145" y="1544370"/>
                  <a:pt x="1642909" y="1544370"/>
                </a:cubicBezTo>
                <a:cubicBezTo>
                  <a:pt x="1626039" y="1542193"/>
                  <a:pt x="1612979" y="1532942"/>
                  <a:pt x="1612435" y="1513351"/>
                </a:cubicBezTo>
                <a:cubicBezTo>
                  <a:pt x="1611890" y="1497571"/>
                  <a:pt x="1626583" y="1483422"/>
                  <a:pt x="1641820" y="1482334"/>
                </a:cubicBezTo>
                <a:close/>
                <a:moveTo>
                  <a:pt x="1804529" y="1481788"/>
                </a:moveTo>
                <a:cubicBezTo>
                  <a:pt x="1820855" y="1481244"/>
                  <a:pt x="1836091" y="1494304"/>
                  <a:pt x="1837180" y="1513351"/>
                </a:cubicBezTo>
                <a:cubicBezTo>
                  <a:pt x="1838812" y="1528043"/>
                  <a:pt x="1825208" y="1544913"/>
                  <a:pt x="1805617" y="1545457"/>
                </a:cubicBezTo>
                <a:cubicBezTo>
                  <a:pt x="1787660" y="1544913"/>
                  <a:pt x="1774055" y="1532397"/>
                  <a:pt x="1773511" y="1514983"/>
                </a:cubicBezTo>
                <a:cubicBezTo>
                  <a:pt x="1772967" y="1494849"/>
                  <a:pt x="1788204" y="1482333"/>
                  <a:pt x="1804529" y="1481788"/>
                </a:cubicBezTo>
                <a:close/>
                <a:moveTo>
                  <a:pt x="1968870" y="1480700"/>
                </a:moveTo>
                <a:cubicBezTo>
                  <a:pt x="1984651" y="1480700"/>
                  <a:pt x="2000977" y="1495937"/>
                  <a:pt x="2000977" y="1513351"/>
                </a:cubicBezTo>
                <a:cubicBezTo>
                  <a:pt x="2001521" y="1529132"/>
                  <a:pt x="1987916" y="1546001"/>
                  <a:pt x="1968870" y="1545457"/>
                </a:cubicBezTo>
                <a:cubicBezTo>
                  <a:pt x="1949824" y="1545457"/>
                  <a:pt x="1936764" y="1530764"/>
                  <a:pt x="1936764" y="1513351"/>
                </a:cubicBezTo>
                <a:cubicBezTo>
                  <a:pt x="1936764" y="1493760"/>
                  <a:pt x="1953633" y="1480700"/>
                  <a:pt x="1968870" y="1480700"/>
                </a:cubicBezTo>
                <a:close/>
                <a:moveTo>
                  <a:pt x="581221" y="1423562"/>
                </a:moveTo>
                <a:cubicBezTo>
                  <a:pt x="586663" y="1423562"/>
                  <a:pt x="589384" y="1427371"/>
                  <a:pt x="588840" y="1431725"/>
                </a:cubicBezTo>
                <a:cubicBezTo>
                  <a:pt x="588840" y="1434990"/>
                  <a:pt x="585030" y="1438255"/>
                  <a:pt x="581765" y="1443153"/>
                </a:cubicBezTo>
                <a:cubicBezTo>
                  <a:pt x="577412" y="1438255"/>
                  <a:pt x="574147" y="1436078"/>
                  <a:pt x="573059" y="1432813"/>
                </a:cubicBezTo>
                <a:cubicBezTo>
                  <a:pt x="571426" y="1429004"/>
                  <a:pt x="576868" y="1423562"/>
                  <a:pt x="581221" y="1423562"/>
                </a:cubicBezTo>
                <a:close/>
                <a:moveTo>
                  <a:pt x="745562" y="1414855"/>
                </a:moveTo>
                <a:cubicBezTo>
                  <a:pt x="754269" y="1415399"/>
                  <a:pt x="761344" y="1423018"/>
                  <a:pt x="761344" y="1432269"/>
                </a:cubicBezTo>
                <a:cubicBezTo>
                  <a:pt x="761344" y="1442064"/>
                  <a:pt x="754813" y="1448050"/>
                  <a:pt x="745018" y="1448050"/>
                </a:cubicBezTo>
                <a:cubicBezTo>
                  <a:pt x="734679" y="1448050"/>
                  <a:pt x="728693" y="1442064"/>
                  <a:pt x="728693" y="1431725"/>
                </a:cubicBezTo>
                <a:cubicBezTo>
                  <a:pt x="728693" y="1421386"/>
                  <a:pt x="735223" y="1414311"/>
                  <a:pt x="745562" y="1414855"/>
                </a:cubicBezTo>
                <a:close/>
                <a:moveTo>
                  <a:pt x="908815" y="1409958"/>
                </a:moveTo>
                <a:cubicBezTo>
                  <a:pt x="920243" y="1410502"/>
                  <a:pt x="930038" y="1420297"/>
                  <a:pt x="930038" y="1431725"/>
                </a:cubicBezTo>
                <a:cubicBezTo>
                  <a:pt x="929494" y="1443697"/>
                  <a:pt x="919155" y="1454036"/>
                  <a:pt x="907183" y="1453492"/>
                </a:cubicBezTo>
                <a:cubicBezTo>
                  <a:pt x="896844" y="1453492"/>
                  <a:pt x="885960" y="1442064"/>
                  <a:pt x="885960" y="1431725"/>
                </a:cubicBezTo>
                <a:cubicBezTo>
                  <a:pt x="885960" y="1420297"/>
                  <a:pt x="897388" y="1409414"/>
                  <a:pt x="908815" y="1409958"/>
                </a:cubicBezTo>
                <a:close/>
                <a:moveTo>
                  <a:pt x="1070436" y="1406693"/>
                </a:moveTo>
                <a:cubicBezTo>
                  <a:pt x="1084584" y="1406693"/>
                  <a:pt x="1096012" y="1418121"/>
                  <a:pt x="1096012" y="1432269"/>
                </a:cubicBezTo>
                <a:cubicBezTo>
                  <a:pt x="1096012" y="1445329"/>
                  <a:pt x="1082952" y="1458390"/>
                  <a:pt x="1070436" y="1457846"/>
                </a:cubicBezTo>
                <a:cubicBezTo>
                  <a:pt x="1058464" y="1457301"/>
                  <a:pt x="1044860" y="1443153"/>
                  <a:pt x="1045404" y="1431181"/>
                </a:cubicBezTo>
                <a:cubicBezTo>
                  <a:pt x="1045948" y="1418665"/>
                  <a:pt x="1057920" y="1406693"/>
                  <a:pt x="1070436" y="1406693"/>
                </a:cubicBezTo>
                <a:close/>
                <a:moveTo>
                  <a:pt x="1235865" y="1404516"/>
                </a:moveTo>
                <a:cubicBezTo>
                  <a:pt x="1252191" y="1405605"/>
                  <a:pt x="1262530" y="1415944"/>
                  <a:pt x="1261986" y="1433358"/>
                </a:cubicBezTo>
                <a:cubicBezTo>
                  <a:pt x="1261442" y="1449683"/>
                  <a:pt x="1251102" y="1459478"/>
                  <a:pt x="1233689" y="1459478"/>
                </a:cubicBezTo>
                <a:cubicBezTo>
                  <a:pt x="1218452" y="1461655"/>
                  <a:pt x="1206480" y="1445329"/>
                  <a:pt x="1206480" y="1432269"/>
                </a:cubicBezTo>
                <a:cubicBezTo>
                  <a:pt x="1206480" y="1417032"/>
                  <a:pt x="1220084" y="1403428"/>
                  <a:pt x="1235865" y="1404516"/>
                </a:cubicBezTo>
                <a:close/>
                <a:moveTo>
                  <a:pt x="1397485" y="1400162"/>
                </a:moveTo>
                <a:cubicBezTo>
                  <a:pt x="1412178" y="1400162"/>
                  <a:pt x="1427959" y="1416487"/>
                  <a:pt x="1427959" y="1431724"/>
                </a:cubicBezTo>
                <a:cubicBezTo>
                  <a:pt x="1428503" y="1446961"/>
                  <a:pt x="1413810" y="1462198"/>
                  <a:pt x="1398029" y="1463287"/>
                </a:cubicBezTo>
                <a:cubicBezTo>
                  <a:pt x="1384425" y="1464375"/>
                  <a:pt x="1367555" y="1448049"/>
                  <a:pt x="1366467" y="1432813"/>
                </a:cubicBezTo>
                <a:cubicBezTo>
                  <a:pt x="1365923" y="1418120"/>
                  <a:pt x="1382792" y="1400162"/>
                  <a:pt x="1397485" y="1400162"/>
                </a:cubicBezTo>
                <a:close/>
                <a:moveTo>
                  <a:pt x="1561282" y="1399618"/>
                </a:moveTo>
                <a:cubicBezTo>
                  <a:pt x="1575975" y="1399618"/>
                  <a:pt x="1593388" y="1415943"/>
                  <a:pt x="1593388" y="1432269"/>
                </a:cubicBezTo>
                <a:cubicBezTo>
                  <a:pt x="1593388" y="1446961"/>
                  <a:pt x="1578696" y="1464919"/>
                  <a:pt x="1560738" y="1464375"/>
                </a:cubicBezTo>
                <a:cubicBezTo>
                  <a:pt x="1542236" y="1463831"/>
                  <a:pt x="1529176" y="1450226"/>
                  <a:pt x="1528631" y="1432813"/>
                </a:cubicBezTo>
                <a:cubicBezTo>
                  <a:pt x="1528087" y="1414311"/>
                  <a:pt x="1545501" y="1399618"/>
                  <a:pt x="1561282" y="1399618"/>
                </a:cubicBezTo>
                <a:close/>
                <a:moveTo>
                  <a:pt x="1723446" y="1399074"/>
                </a:moveTo>
                <a:cubicBezTo>
                  <a:pt x="1741948" y="1399074"/>
                  <a:pt x="1757185" y="1413767"/>
                  <a:pt x="1757185" y="1432269"/>
                </a:cubicBezTo>
                <a:cubicBezTo>
                  <a:pt x="1757185" y="1451315"/>
                  <a:pt x="1743037" y="1463831"/>
                  <a:pt x="1723991" y="1465464"/>
                </a:cubicBezTo>
                <a:cubicBezTo>
                  <a:pt x="1707121" y="1466552"/>
                  <a:pt x="1690252" y="1448594"/>
                  <a:pt x="1691340" y="1433357"/>
                </a:cubicBezTo>
                <a:cubicBezTo>
                  <a:pt x="1692428" y="1412678"/>
                  <a:pt x="1704400" y="1399074"/>
                  <a:pt x="1723446" y="1399074"/>
                </a:cubicBezTo>
                <a:close/>
                <a:moveTo>
                  <a:pt x="1886700" y="1398530"/>
                </a:moveTo>
                <a:cubicBezTo>
                  <a:pt x="1904113" y="1396898"/>
                  <a:pt x="1922071" y="1415944"/>
                  <a:pt x="1920439" y="1432269"/>
                </a:cubicBezTo>
                <a:cubicBezTo>
                  <a:pt x="1919350" y="1451315"/>
                  <a:pt x="1907378" y="1464920"/>
                  <a:pt x="1887788" y="1464920"/>
                </a:cubicBezTo>
                <a:cubicBezTo>
                  <a:pt x="1867109" y="1464920"/>
                  <a:pt x="1854049" y="1452948"/>
                  <a:pt x="1854049" y="1433358"/>
                </a:cubicBezTo>
                <a:cubicBezTo>
                  <a:pt x="1854049" y="1412679"/>
                  <a:pt x="1867109" y="1400163"/>
                  <a:pt x="1886700" y="1398530"/>
                </a:cubicBezTo>
                <a:close/>
                <a:moveTo>
                  <a:pt x="2051041" y="1398217"/>
                </a:moveTo>
                <a:lnTo>
                  <a:pt x="2051041" y="1464535"/>
                </a:lnTo>
                <a:lnTo>
                  <a:pt x="2049953" y="1464920"/>
                </a:lnTo>
                <a:cubicBezTo>
                  <a:pt x="2032539" y="1467096"/>
                  <a:pt x="2017302" y="1450771"/>
                  <a:pt x="2017302" y="1431725"/>
                </a:cubicBezTo>
                <a:cubicBezTo>
                  <a:pt x="2017302" y="1422746"/>
                  <a:pt x="2021383" y="1414311"/>
                  <a:pt x="2027709" y="1408121"/>
                </a:cubicBezTo>
                <a:close/>
                <a:moveTo>
                  <a:pt x="500139" y="1341936"/>
                </a:moveTo>
                <a:cubicBezTo>
                  <a:pt x="503404" y="1343568"/>
                  <a:pt x="506125" y="1346833"/>
                  <a:pt x="511023" y="1350643"/>
                </a:cubicBezTo>
                <a:cubicBezTo>
                  <a:pt x="506125" y="1354452"/>
                  <a:pt x="502860" y="1357717"/>
                  <a:pt x="499595" y="1358261"/>
                </a:cubicBezTo>
                <a:cubicBezTo>
                  <a:pt x="495241" y="1359349"/>
                  <a:pt x="490888" y="1353908"/>
                  <a:pt x="491432" y="1349010"/>
                </a:cubicBezTo>
                <a:cubicBezTo>
                  <a:pt x="491976" y="1344112"/>
                  <a:pt x="495241" y="1340848"/>
                  <a:pt x="500139" y="1341936"/>
                </a:cubicBezTo>
                <a:close/>
                <a:moveTo>
                  <a:pt x="662848" y="1333773"/>
                </a:moveTo>
                <a:cubicBezTo>
                  <a:pt x="673187" y="1333773"/>
                  <a:pt x="679173" y="1340303"/>
                  <a:pt x="679173" y="1350643"/>
                </a:cubicBezTo>
                <a:cubicBezTo>
                  <a:pt x="679173" y="1359894"/>
                  <a:pt x="672099" y="1366424"/>
                  <a:pt x="662848" y="1366424"/>
                </a:cubicBezTo>
                <a:cubicBezTo>
                  <a:pt x="653053" y="1366424"/>
                  <a:pt x="647067" y="1359894"/>
                  <a:pt x="647067" y="1350098"/>
                </a:cubicBezTo>
                <a:cubicBezTo>
                  <a:pt x="647067" y="1339759"/>
                  <a:pt x="653053" y="1333773"/>
                  <a:pt x="662848" y="1333773"/>
                </a:cubicBezTo>
                <a:close/>
                <a:moveTo>
                  <a:pt x="826645" y="1328331"/>
                </a:moveTo>
                <a:cubicBezTo>
                  <a:pt x="838617" y="1328331"/>
                  <a:pt x="848412" y="1338670"/>
                  <a:pt x="847868" y="1350642"/>
                </a:cubicBezTo>
                <a:cubicBezTo>
                  <a:pt x="847868" y="1362070"/>
                  <a:pt x="836984" y="1372409"/>
                  <a:pt x="825556" y="1372409"/>
                </a:cubicBezTo>
                <a:cubicBezTo>
                  <a:pt x="814673" y="1372409"/>
                  <a:pt x="803789" y="1360982"/>
                  <a:pt x="804334" y="1349554"/>
                </a:cubicBezTo>
                <a:cubicBezTo>
                  <a:pt x="804334" y="1337582"/>
                  <a:pt x="814673" y="1328331"/>
                  <a:pt x="826645" y="1328331"/>
                </a:cubicBezTo>
                <a:close/>
                <a:moveTo>
                  <a:pt x="989353" y="1323978"/>
                </a:moveTo>
                <a:cubicBezTo>
                  <a:pt x="1002957" y="1324522"/>
                  <a:pt x="1014385" y="1334861"/>
                  <a:pt x="1015473" y="1350098"/>
                </a:cubicBezTo>
                <a:cubicBezTo>
                  <a:pt x="1014929" y="1363702"/>
                  <a:pt x="1004046" y="1376219"/>
                  <a:pt x="989353" y="1376763"/>
                </a:cubicBezTo>
                <a:cubicBezTo>
                  <a:pt x="976293" y="1376763"/>
                  <a:pt x="963777" y="1364791"/>
                  <a:pt x="963777" y="1350642"/>
                </a:cubicBezTo>
                <a:cubicBezTo>
                  <a:pt x="963233" y="1334861"/>
                  <a:pt x="977925" y="1323434"/>
                  <a:pt x="989353" y="1323978"/>
                </a:cubicBezTo>
                <a:close/>
                <a:moveTo>
                  <a:pt x="1152606" y="1322889"/>
                </a:moveTo>
                <a:cubicBezTo>
                  <a:pt x="1170564" y="1320712"/>
                  <a:pt x="1180903" y="1335405"/>
                  <a:pt x="1181447" y="1350098"/>
                </a:cubicBezTo>
                <a:cubicBezTo>
                  <a:pt x="1181447" y="1364791"/>
                  <a:pt x="1171108" y="1379483"/>
                  <a:pt x="1152606" y="1379483"/>
                </a:cubicBezTo>
                <a:cubicBezTo>
                  <a:pt x="1137913" y="1379483"/>
                  <a:pt x="1124853" y="1367511"/>
                  <a:pt x="1124853" y="1350642"/>
                </a:cubicBezTo>
                <a:cubicBezTo>
                  <a:pt x="1124309" y="1333228"/>
                  <a:pt x="1137913" y="1320712"/>
                  <a:pt x="1152606" y="1322889"/>
                </a:cubicBezTo>
                <a:close/>
                <a:moveTo>
                  <a:pt x="1315315" y="1318536"/>
                </a:moveTo>
                <a:cubicBezTo>
                  <a:pt x="1334361" y="1318536"/>
                  <a:pt x="1345789" y="1331596"/>
                  <a:pt x="1347966" y="1350098"/>
                </a:cubicBezTo>
                <a:cubicBezTo>
                  <a:pt x="1345245" y="1369144"/>
                  <a:pt x="1334905" y="1382205"/>
                  <a:pt x="1315315" y="1381661"/>
                </a:cubicBezTo>
                <a:cubicBezTo>
                  <a:pt x="1296813" y="1381116"/>
                  <a:pt x="1284841" y="1369144"/>
                  <a:pt x="1284297" y="1350098"/>
                </a:cubicBezTo>
                <a:cubicBezTo>
                  <a:pt x="1284297" y="1331052"/>
                  <a:pt x="1297357" y="1319080"/>
                  <a:pt x="1315315" y="1318536"/>
                </a:cubicBezTo>
                <a:close/>
                <a:moveTo>
                  <a:pt x="1480744" y="1317448"/>
                </a:moveTo>
                <a:cubicBezTo>
                  <a:pt x="1499246" y="1317992"/>
                  <a:pt x="1512851" y="1332140"/>
                  <a:pt x="1512306" y="1351731"/>
                </a:cubicBezTo>
                <a:cubicBezTo>
                  <a:pt x="1511762" y="1370233"/>
                  <a:pt x="1497070" y="1383837"/>
                  <a:pt x="1477479" y="1383293"/>
                </a:cubicBezTo>
                <a:cubicBezTo>
                  <a:pt x="1458977" y="1382749"/>
                  <a:pt x="1447550" y="1368600"/>
                  <a:pt x="1446461" y="1349554"/>
                </a:cubicBezTo>
                <a:cubicBezTo>
                  <a:pt x="1445373" y="1333773"/>
                  <a:pt x="1463331" y="1314727"/>
                  <a:pt x="1480744" y="1317448"/>
                </a:cubicBezTo>
                <a:close/>
                <a:moveTo>
                  <a:pt x="1642908" y="1315815"/>
                </a:moveTo>
                <a:cubicBezTo>
                  <a:pt x="1663043" y="1315815"/>
                  <a:pt x="1677735" y="1333229"/>
                  <a:pt x="1676647" y="1351731"/>
                </a:cubicBezTo>
                <a:cubicBezTo>
                  <a:pt x="1675559" y="1371865"/>
                  <a:pt x="1661954" y="1384381"/>
                  <a:pt x="1640732" y="1383837"/>
                </a:cubicBezTo>
                <a:cubicBezTo>
                  <a:pt x="1620597" y="1384381"/>
                  <a:pt x="1608081" y="1368056"/>
                  <a:pt x="1608081" y="1349554"/>
                </a:cubicBezTo>
                <a:cubicBezTo>
                  <a:pt x="1608081" y="1329964"/>
                  <a:pt x="1623318" y="1315815"/>
                  <a:pt x="1642908" y="1315815"/>
                </a:cubicBezTo>
                <a:close/>
                <a:moveTo>
                  <a:pt x="1968870" y="1314183"/>
                </a:moveTo>
                <a:cubicBezTo>
                  <a:pt x="1989548" y="1314727"/>
                  <a:pt x="2004785" y="1329420"/>
                  <a:pt x="2005329" y="1351187"/>
                </a:cubicBezTo>
                <a:cubicBezTo>
                  <a:pt x="2004785" y="1370233"/>
                  <a:pt x="1985739" y="1388735"/>
                  <a:pt x="1967781" y="1388191"/>
                </a:cubicBezTo>
                <a:cubicBezTo>
                  <a:pt x="1949823" y="1387647"/>
                  <a:pt x="1931322" y="1367512"/>
                  <a:pt x="1931866" y="1350098"/>
                </a:cubicBezTo>
                <a:cubicBezTo>
                  <a:pt x="1932410" y="1331596"/>
                  <a:pt x="1950912" y="1313094"/>
                  <a:pt x="1968870" y="1314183"/>
                </a:cubicBezTo>
                <a:close/>
                <a:moveTo>
                  <a:pt x="1806161" y="1313639"/>
                </a:moveTo>
                <a:cubicBezTo>
                  <a:pt x="1825207" y="1314183"/>
                  <a:pt x="1843165" y="1332141"/>
                  <a:pt x="1841533" y="1351187"/>
                </a:cubicBezTo>
                <a:cubicBezTo>
                  <a:pt x="1840988" y="1360438"/>
                  <a:pt x="1838267" y="1370233"/>
                  <a:pt x="1830105" y="1376763"/>
                </a:cubicBezTo>
                <a:cubicBezTo>
                  <a:pt x="1822486" y="1383293"/>
                  <a:pt x="1813235" y="1387102"/>
                  <a:pt x="1803984" y="1387102"/>
                </a:cubicBezTo>
                <a:cubicBezTo>
                  <a:pt x="1786027" y="1387102"/>
                  <a:pt x="1768613" y="1367512"/>
                  <a:pt x="1768613" y="1350098"/>
                </a:cubicBezTo>
                <a:cubicBezTo>
                  <a:pt x="1769157" y="1331596"/>
                  <a:pt x="1788203" y="1313094"/>
                  <a:pt x="1806161" y="1313639"/>
                </a:cubicBezTo>
                <a:close/>
                <a:moveTo>
                  <a:pt x="419057" y="1262486"/>
                </a:moveTo>
                <a:cubicBezTo>
                  <a:pt x="423410" y="1262486"/>
                  <a:pt x="425587" y="1265207"/>
                  <a:pt x="424499" y="1269016"/>
                </a:cubicBezTo>
                <a:cubicBezTo>
                  <a:pt x="423410" y="1271737"/>
                  <a:pt x="421234" y="1273914"/>
                  <a:pt x="417969" y="1278811"/>
                </a:cubicBezTo>
                <a:cubicBezTo>
                  <a:pt x="414704" y="1273914"/>
                  <a:pt x="412527" y="1271737"/>
                  <a:pt x="411983" y="1269016"/>
                </a:cubicBezTo>
                <a:cubicBezTo>
                  <a:pt x="410894" y="1264118"/>
                  <a:pt x="414159" y="1262486"/>
                  <a:pt x="419057" y="1262486"/>
                </a:cubicBezTo>
                <a:close/>
                <a:moveTo>
                  <a:pt x="581221" y="1252147"/>
                </a:moveTo>
                <a:cubicBezTo>
                  <a:pt x="591016" y="1252691"/>
                  <a:pt x="598091" y="1260310"/>
                  <a:pt x="597547" y="1269017"/>
                </a:cubicBezTo>
                <a:cubicBezTo>
                  <a:pt x="597547" y="1278268"/>
                  <a:pt x="589928" y="1284798"/>
                  <a:pt x="580133" y="1284254"/>
                </a:cubicBezTo>
                <a:cubicBezTo>
                  <a:pt x="570882" y="1283709"/>
                  <a:pt x="564896" y="1277179"/>
                  <a:pt x="564896" y="1268472"/>
                </a:cubicBezTo>
                <a:cubicBezTo>
                  <a:pt x="564896" y="1259222"/>
                  <a:pt x="571970" y="1252147"/>
                  <a:pt x="581221" y="1252147"/>
                </a:cubicBezTo>
                <a:close/>
                <a:moveTo>
                  <a:pt x="745018" y="1246705"/>
                </a:moveTo>
                <a:cubicBezTo>
                  <a:pt x="757534" y="1246705"/>
                  <a:pt x="766785" y="1257044"/>
                  <a:pt x="766241" y="1269560"/>
                </a:cubicBezTo>
                <a:cubicBezTo>
                  <a:pt x="765697" y="1280988"/>
                  <a:pt x="755358" y="1290783"/>
                  <a:pt x="744474" y="1290783"/>
                </a:cubicBezTo>
                <a:cubicBezTo>
                  <a:pt x="733046" y="1290783"/>
                  <a:pt x="722707" y="1279900"/>
                  <a:pt x="722707" y="1267928"/>
                </a:cubicBezTo>
                <a:cubicBezTo>
                  <a:pt x="722707" y="1255956"/>
                  <a:pt x="733046" y="1246705"/>
                  <a:pt x="745018" y="1246705"/>
                </a:cubicBezTo>
                <a:close/>
                <a:moveTo>
                  <a:pt x="907727" y="1241807"/>
                </a:moveTo>
                <a:cubicBezTo>
                  <a:pt x="921331" y="1241807"/>
                  <a:pt x="934391" y="1257044"/>
                  <a:pt x="933847" y="1269016"/>
                </a:cubicBezTo>
                <a:cubicBezTo>
                  <a:pt x="933847" y="1282620"/>
                  <a:pt x="920787" y="1295680"/>
                  <a:pt x="907183" y="1295136"/>
                </a:cubicBezTo>
                <a:cubicBezTo>
                  <a:pt x="893578" y="1294592"/>
                  <a:pt x="880518" y="1280988"/>
                  <a:pt x="880518" y="1267927"/>
                </a:cubicBezTo>
                <a:cubicBezTo>
                  <a:pt x="881062" y="1254323"/>
                  <a:pt x="894122" y="1242351"/>
                  <a:pt x="907727" y="1241807"/>
                </a:cubicBezTo>
                <a:close/>
                <a:moveTo>
                  <a:pt x="1070979" y="1240719"/>
                </a:moveTo>
                <a:cubicBezTo>
                  <a:pt x="1091114" y="1240175"/>
                  <a:pt x="1099276" y="1252691"/>
                  <a:pt x="1099821" y="1268472"/>
                </a:cubicBezTo>
                <a:cubicBezTo>
                  <a:pt x="1099821" y="1285886"/>
                  <a:pt x="1088393" y="1297858"/>
                  <a:pt x="1070435" y="1297858"/>
                </a:cubicBezTo>
                <a:cubicBezTo>
                  <a:pt x="1053566" y="1297858"/>
                  <a:pt x="1042138" y="1286430"/>
                  <a:pt x="1042138" y="1269560"/>
                </a:cubicBezTo>
                <a:cubicBezTo>
                  <a:pt x="1042138" y="1250514"/>
                  <a:pt x="1053566" y="1240719"/>
                  <a:pt x="1070979" y="1240719"/>
                </a:cubicBezTo>
                <a:close/>
                <a:moveTo>
                  <a:pt x="1234233" y="1235821"/>
                </a:moveTo>
                <a:cubicBezTo>
                  <a:pt x="1250558" y="1235821"/>
                  <a:pt x="1267972" y="1252691"/>
                  <a:pt x="1266883" y="1269016"/>
                </a:cubicBezTo>
                <a:cubicBezTo>
                  <a:pt x="1266339" y="1285885"/>
                  <a:pt x="1251646" y="1301122"/>
                  <a:pt x="1234233" y="1300578"/>
                </a:cubicBezTo>
                <a:cubicBezTo>
                  <a:pt x="1216275" y="1300578"/>
                  <a:pt x="1201582" y="1286430"/>
                  <a:pt x="1201582" y="1267383"/>
                </a:cubicBezTo>
                <a:cubicBezTo>
                  <a:pt x="1201582" y="1249425"/>
                  <a:pt x="1217907" y="1235821"/>
                  <a:pt x="1234233" y="1235821"/>
                </a:cubicBezTo>
                <a:close/>
                <a:moveTo>
                  <a:pt x="1396397" y="1234733"/>
                </a:moveTo>
                <a:cubicBezTo>
                  <a:pt x="1413810" y="1233645"/>
                  <a:pt x="1433945" y="1250514"/>
                  <a:pt x="1431224" y="1268472"/>
                </a:cubicBezTo>
                <a:cubicBezTo>
                  <a:pt x="1433401" y="1286430"/>
                  <a:pt x="1415443" y="1303299"/>
                  <a:pt x="1396941" y="1302755"/>
                </a:cubicBezTo>
                <a:cubicBezTo>
                  <a:pt x="1381160" y="1302211"/>
                  <a:pt x="1363202" y="1290783"/>
                  <a:pt x="1363746" y="1269016"/>
                </a:cubicBezTo>
                <a:cubicBezTo>
                  <a:pt x="1364290" y="1248881"/>
                  <a:pt x="1376806" y="1235821"/>
                  <a:pt x="1396397" y="1234733"/>
                </a:cubicBezTo>
                <a:close/>
                <a:moveTo>
                  <a:pt x="1559649" y="1232557"/>
                </a:moveTo>
                <a:cubicBezTo>
                  <a:pt x="1580328" y="1232013"/>
                  <a:pt x="1595021" y="1246705"/>
                  <a:pt x="1597742" y="1268472"/>
                </a:cubicBezTo>
                <a:cubicBezTo>
                  <a:pt x="1598286" y="1286974"/>
                  <a:pt x="1580872" y="1304932"/>
                  <a:pt x="1561826" y="1305476"/>
                </a:cubicBezTo>
                <a:cubicBezTo>
                  <a:pt x="1543868" y="1306564"/>
                  <a:pt x="1524822" y="1288063"/>
                  <a:pt x="1523734" y="1269561"/>
                </a:cubicBezTo>
                <a:cubicBezTo>
                  <a:pt x="1522645" y="1252147"/>
                  <a:pt x="1541147" y="1232557"/>
                  <a:pt x="1559649" y="1232557"/>
                </a:cubicBezTo>
                <a:close/>
                <a:moveTo>
                  <a:pt x="1723990" y="1231468"/>
                </a:moveTo>
                <a:cubicBezTo>
                  <a:pt x="1743037" y="1231468"/>
                  <a:pt x="1761539" y="1249426"/>
                  <a:pt x="1762083" y="1268472"/>
                </a:cubicBezTo>
                <a:cubicBezTo>
                  <a:pt x="1762627" y="1290239"/>
                  <a:pt x="1741404" y="1306020"/>
                  <a:pt x="1724535" y="1307109"/>
                </a:cubicBezTo>
                <a:cubicBezTo>
                  <a:pt x="1706033" y="1306564"/>
                  <a:pt x="1687531" y="1290239"/>
                  <a:pt x="1686442" y="1270105"/>
                </a:cubicBezTo>
                <a:cubicBezTo>
                  <a:pt x="1685354" y="1254323"/>
                  <a:pt x="1701679" y="1231468"/>
                  <a:pt x="1723990" y="1231468"/>
                </a:cubicBezTo>
                <a:close/>
                <a:moveTo>
                  <a:pt x="1888332" y="1230924"/>
                </a:moveTo>
                <a:cubicBezTo>
                  <a:pt x="1905745" y="1229836"/>
                  <a:pt x="1928056" y="1250514"/>
                  <a:pt x="1925336" y="1269561"/>
                </a:cubicBezTo>
                <a:cubicBezTo>
                  <a:pt x="1925336" y="1289695"/>
                  <a:pt x="1907378" y="1306564"/>
                  <a:pt x="1887243" y="1307653"/>
                </a:cubicBezTo>
                <a:cubicBezTo>
                  <a:pt x="1870918" y="1308197"/>
                  <a:pt x="1847519" y="1288063"/>
                  <a:pt x="1849151" y="1267928"/>
                </a:cubicBezTo>
                <a:cubicBezTo>
                  <a:pt x="1850239" y="1247794"/>
                  <a:pt x="1867653" y="1231468"/>
                  <a:pt x="1888332" y="1230924"/>
                </a:cubicBezTo>
                <a:close/>
                <a:moveTo>
                  <a:pt x="2049952" y="1230380"/>
                </a:moveTo>
                <a:lnTo>
                  <a:pt x="2051041" y="1230805"/>
                </a:lnTo>
                <a:lnTo>
                  <a:pt x="2051041" y="1307109"/>
                </a:lnTo>
                <a:cubicBezTo>
                  <a:pt x="2033627" y="1309830"/>
                  <a:pt x="2011316" y="1286974"/>
                  <a:pt x="2012404" y="1268472"/>
                </a:cubicBezTo>
                <a:cubicBezTo>
                  <a:pt x="2013493" y="1247794"/>
                  <a:pt x="2029274" y="1230380"/>
                  <a:pt x="2049952" y="1230380"/>
                </a:cubicBezTo>
                <a:close/>
                <a:moveTo>
                  <a:pt x="337431" y="1181404"/>
                </a:moveTo>
                <a:cubicBezTo>
                  <a:pt x="339608" y="1182493"/>
                  <a:pt x="341240" y="1184669"/>
                  <a:pt x="345050" y="1187934"/>
                </a:cubicBezTo>
                <a:cubicBezTo>
                  <a:pt x="340696" y="1190111"/>
                  <a:pt x="338519" y="1192288"/>
                  <a:pt x="336343" y="1192288"/>
                </a:cubicBezTo>
                <a:cubicBezTo>
                  <a:pt x="331445" y="1192832"/>
                  <a:pt x="330901" y="1189567"/>
                  <a:pt x="330901" y="1185758"/>
                </a:cubicBezTo>
                <a:cubicBezTo>
                  <a:pt x="330901" y="1181404"/>
                  <a:pt x="334166" y="1180860"/>
                  <a:pt x="337431" y="1181404"/>
                </a:cubicBezTo>
                <a:close/>
                <a:moveTo>
                  <a:pt x="499051" y="1171065"/>
                </a:moveTo>
                <a:cubicBezTo>
                  <a:pt x="506125" y="1170521"/>
                  <a:pt x="516465" y="1179772"/>
                  <a:pt x="516465" y="1187390"/>
                </a:cubicBezTo>
                <a:cubicBezTo>
                  <a:pt x="515921" y="1193920"/>
                  <a:pt x="507214" y="1202627"/>
                  <a:pt x="500140" y="1202627"/>
                </a:cubicBezTo>
                <a:cubicBezTo>
                  <a:pt x="493065" y="1202627"/>
                  <a:pt x="484358" y="1195008"/>
                  <a:pt x="483814" y="1187390"/>
                </a:cubicBezTo>
                <a:cubicBezTo>
                  <a:pt x="483270" y="1180316"/>
                  <a:pt x="491977" y="1171065"/>
                  <a:pt x="499051" y="1171065"/>
                </a:cubicBezTo>
                <a:close/>
                <a:moveTo>
                  <a:pt x="662848" y="1165623"/>
                </a:moveTo>
                <a:cubicBezTo>
                  <a:pt x="675364" y="1165623"/>
                  <a:pt x="684615" y="1174874"/>
                  <a:pt x="684615" y="1187390"/>
                </a:cubicBezTo>
                <a:cubicBezTo>
                  <a:pt x="684615" y="1199362"/>
                  <a:pt x="674820" y="1209157"/>
                  <a:pt x="662848" y="1209157"/>
                </a:cubicBezTo>
                <a:cubicBezTo>
                  <a:pt x="651420" y="1209157"/>
                  <a:pt x="641081" y="1198274"/>
                  <a:pt x="641081" y="1186846"/>
                </a:cubicBezTo>
                <a:cubicBezTo>
                  <a:pt x="641081" y="1175418"/>
                  <a:pt x="651420" y="1165623"/>
                  <a:pt x="662848" y="1165623"/>
                </a:cubicBezTo>
                <a:close/>
                <a:moveTo>
                  <a:pt x="825556" y="1160725"/>
                </a:moveTo>
                <a:cubicBezTo>
                  <a:pt x="840249" y="1161270"/>
                  <a:pt x="851677" y="1171609"/>
                  <a:pt x="852765" y="1186846"/>
                </a:cubicBezTo>
                <a:cubicBezTo>
                  <a:pt x="853309" y="1199906"/>
                  <a:pt x="840249" y="1213511"/>
                  <a:pt x="826645" y="1213511"/>
                </a:cubicBezTo>
                <a:cubicBezTo>
                  <a:pt x="813585" y="1214055"/>
                  <a:pt x="799980" y="1200995"/>
                  <a:pt x="798892" y="1188479"/>
                </a:cubicBezTo>
                <a:cubicBezTo>
                  <a:pt x="797803" y="1173241"/>
                  <a:pt x="814129" y="1160181"/>
                  <a:pt x="825556" y="1160725"/>
                </a:cubicBezTo>
                <a:close/>
                <a:moveTo>
                  <a:pt x="989353" y="1158004"/>
                </a:moveTo>
                <a:cubicBezTo>
                  <a:pt x="1007855" y="1159092"/>
                  <a:pt x="1018739" y="1168888"/>
                  <a:pt x="1018195" y="1187934"/>
                </a:cubicBezTo>
                <a:cubicBezTo>
                  <a:pt x="1017651" y="1206436"/>
                  <a:pt x="1007311" y="1216231"/>
                  <a:pt x="988809" y="1216775"/>
                </a:cubicBezTo>
                <a:cubicBezTo>
                  <a:pt x="972484" y="1217319"/>
                  <a:pt x="960512" y="1203715"/>
                  <a:pt x="959968" y="1187934"/>
                </a:cubicBezTo>
                <a:cubicBezTo>
                  <a:pt x="959968" y="1170520"/>
                  <a:pt x="972484" y="1158004"/>
                  <a:pt x="989353" y="1158004"/>
                </a:cubicBezTo>
                <a:close/>
                <a:moveTo>
                  <a:pt x="1152062" y="1153651"/>
                </a:moveTo>
                <a:cubicBezTo>
                  <a:pt x="1166755" y="1152562"/>
                  <a:pt x="1186345" y="1171065"/>
                  <a:pt x="1185801" y="1186301"/>
                </a:cubicBezTo>
                <a:cubicBezTo>
                  <a:pt x="1184713" y="1205348"/>
                  <a:pt x="1171652" y="1218952"/>
                  <a:pt x="1153150" y="1219496"/>
                </a:cubicBezTo>
                <a:cubicBezTo>
                  <a:pt x="1135193" y="1221129"/>
                  <a:pt x="1119412" y="1204259"/>
                  <a:pt x="1119956" y="1187390"/>
                </a:cubicBezTo>
                <a:cubicBezTo>
                  <a:pt x="1120500" y="1168888"/>
                  <a:pt x="1134648" y="1154739"/>
                  <a:pt x="1152062" y="1153651"/>
                </a:cubicBezTo>
                <a:close/>
                <a:moveTo>
                  <a:pt x="1315315" y="1152018"/>
                </a:moveTo>
                <a:cubicBezTo>
                  <a:pt x="1336537" y="1151474"/>
                  <a:pt x="1351230" y="1169432"/>
                  <a:pt x="1351230" y="1186845"/>
                </a:cubicBezTo>
                <a:cubicBezTo>
                  <a:pt x="1350686" y="1205891"/>
                  <a:pt x="1338714" y="1222217"/>
                  <a:pt x="1315859" y="1221673"/>
                </a:cubicBezTo>
                <a:cubicBezTo>
                  <a:pt x="1294092" y="1221128"/>
                  <a:pt x="1282120" y="1209157"/>
                  <a:pt x="1281576" y="1187390"/>
                </a:cubicBezTo>
                <a:cubicBezTo>
                  <a:pt x="1281031" y="1167255"/>
                  <a:pt x="1295724" y="1152562"/>
                  <a:pt x="1315315" y="1152018"/>
                </a:cubicBezTo>
                <a:close/>
                <a:moveTo>
                  <a:pt x="1479656" y="1149298"/>
                </a:moveTo>
                <a:cubicBezTo>
                  <a:pt x="1500878" y="1149842"/>
                  <a:pt x="1517204" y="1168888"/>
                  <a:pt x="1516660" y="1188479"/>
                </a:cubicBezTo>
                <a:cubicBezTo>
                  <a:pt x="1515027" y="1210246"/>
                  <a:pt x="1495981" y="1224938"/>
                  <a:pt x="1478023" y="1224394"/>
                </a:cubicBezTo>
                <a:cubicBezTo>
                  <a:pt x="1457889" y="1223850"/>
                  <a:pt x="1439931" y="1205892"/>
                  <a:pt x="1441563" y="1185758"/>
                </a:cubicBezTo>
                <a:cubicBezTo>
                  <a:pt x="1442652" y="1166167"/>
                  <a:pt x="1458977" y="1149298"/>
                  <a:pt x="1479656" y="1149298"/>
                </a:cubicBezTo>
                <a:close/>
                <a:moveTo>
                  <a:pt x="1642365" y="1148209"/>
                </a:moveTo>
                <a:cubicBezTo>
                  <a:pt x="1659779" y="1147121"/>
                  <a:pt x="1681001" y="1166711"/>
                  <a:pt x="1681001" y="1187390"/>
                </a:cubicBezTo>
                <a:cubicBezTo>
                  <a:pt x="1681001" y="1208613"/>
                  <a:pt x="1658690" y="1226026"/>
                  <a:pt x="1641821" y="1226026"/>
                </a:cubicBezTo>
                <a:cubicBezTo>
                  <a:pt x="1624407" y="1226026"/>
                  <a:pt x="1601007" y="1205348"/>
                  <a:pt x="1603728" y="1186846"/>
                </a:cubicBezTo>
                <a:cubicBezTo>
                  <a:pt x="1603728" y="1165623"/>
                  <a:pt x="1621686" y="1149298"/>
                  <a:pt x="1642365" y="1148209"/>
                </a:cubicBezTo>
                <a:close/>
                <a:moveTo>
                  <a:pt x="1969414" y="1147665"/>
                </a:moveTo>
                <a:cubicBezTo>
                  <a:pt x="1991725" y="1146032"/>
                  <a:pt x="2009139" y="1165623"/>
                  <a:pt x="2009139" y="1187934"/>
                </a:cubicBezTo>
                <a:cubicBezTo>
                  <a:pt x="2008595" y="1209157"/>
                  <a:pt x="1990093" y="1227114"/>
                  <a:pt x="1968870" y="1227114"/>
                </a:cubicBezTo>
                <a:cubicBezTo>
                  <a:pt x="1949824" y="1227114"/>
                  <a:pt x="1928601" y="1209701"/>
                  <a:pt x="1929145" y="1186301"/>
                </a:cubicBezTo>
                <a:cubicBezTo>
                  <a:pt x="1929145" y="1165623"/>
                  <a:pt x="1948191" y="1145488"/>
                  <a:pt x="1969414" y="1147665"/>
                </a:cubicBezTo>
                <a:close/>
                <a:moveTo>
                  <a:pt x="1805617" y="1147665"/>
                </a:moveTo>
                <a:cubicBezTo>
                  <a:pt x="1825752" y="1147665"/>
                  <a:pt x="1845342" y="1165078"/>
                  <a:pt x="1844798" y="1187934"/>
                </a:cubicBezTo>
                <a:cubicBezTo>
                  <a:pt x="1844254" y="1208612"/>
                  <a:pt x="1824664" y="1227115"/>
                  <a:pt x="1805073" y="1226571"/>
                </a:cubicBezTo>
                <a:cubicBezTo>
                  <a:pt x="1787115" y="1226571"/>
                  <a:pt x="1764260" y="1209701"/>
                  <a:pt x="1766981" y="1186845"/>
                </a:cubicBezTo>
                <a:cubicBezTo>
                  <a:pt x="1764804" y="1165623"/>
                  <a:pt x="1786027" y="1147665"/>
                  <a:pt x="1805617" y="1147665"/>
                </a:cubicBezTo>
                <a:close/>
                <a:moveTo>
                  <a:pt x="417425" y="1090527"/>
                </a:moveTo>
                <a:cubicBezTo>
                  <a:pt x="423955" y="1090527"/>
                  <a:pt x="433206" y="1099234"/>
                  <a:pt x="432662" y="1105764"/>
                </a:cubicBezTo>
                <a:cubicBezTo>
                  <a:pt x="432662" y="1111206"/>
                  <a:pt x="423955" y="1119912"/>
                  <a:pt x="417969" y="1120457"/>
                </a:cubicBezTo>
                <a:cubicBezTo>
                  <a:pt x="411439" y="1121001"/>
                  <a:pt x="402188" y="1111750"/>
                  <a:pt x="402732" y="1105219"/>
                </a:cubicBezTo>
                <a:cubicBezTo>
                  <a:pt x="402732" y="1099234"/>
                  <a:pt x="411439" y="1090527"/>
                  <a:pt x="417425" y="1090527"/>
                </a:cubicBezTo>
                <a:close/>
                <a:moveTo>
                  <a:pt x="580677" y="1083996"/>
                </a:moveTo>
                <a:cubicBezTo>
                  <a:pt x="592105" y="1083996"/>
                  <a:pt x="601900" y="1093791"/>
                  <a:pt x="602444" y="1105219"/>
                </a:cubicBezTo>
                <a:cubicBezTo>
                  <a:pt x="602988" y="1116647"/>
                  <a:pt x="593193" y="1126986"/>
                  <a:pt x="581221" y="1127530"/>
                </a:cubicBezTo>
                <a:cubicBezTo>
                  <a:pt x="570338" y="1127530"/>
                  <a:pt x="558910" y="1116102"/>
                  <a:pt x="558910" y="1105219"/>
                </a:cubicBezTo>
                <a:cubicBezTo>
                  <a:pt x="558910" y="1094880"/>
                  <a:pt x="570338" y="1083996"/>
                  <a:pt x="580677" y="1083996"/>
                </a:cubicBezTo>
                <a:close/>
                <a:moveTo>
                  <a:pt x="743386" y="1079099"/>
                </a:moveTo>
                <a:cubicBezTo>
                  <a:pt x="756991" y="1079099"/>
                  <a:pt x="769507" y="1088894"/>
                  <a:pt x="770595" y="1105219"/>
                </a:cubicBezTo>
                <a:cubicBezTo>
                  <a:pt x="771683" y="1116103"/>
                  <a:pt x="760800" y="1131340"/>
                  <a:pt x="745019" y="1132428"/>
                </a:cubicBezTo>
                <a:cubicBezTo>
                  <a:pt x="734135" y="1134061"/>
                  <a:pt x="717810" y="1118280"/>
                  <a:pt x="717810" y="1106308"/>
                </a:cubicBezTo>
                <a:cubicBezTo>
                  <a:pt x="717810" y="1091071"/>
                  <a:pt x="731414" y="1079099"/>
                  <a:pt x="743386" y="1079099"/>
                </a:cubicBezTo>
                <a:close/>
                <a:moveTo>
                  <a:pt x="907727" y="1076378"/>
                </a:moveTo>
                <a:cubicBezTo>
                  <a:pt x="926773" y="1076378"/>
                  <a:pt x="937112" y="1087262"/>
                  <a:pt x="937112" y="1105219"/>
                </a:cubicBezTo>
                <a:cubicBezTo>
                  <a:pt x="937112" y="1121545"/>
                  <a:pt x="928950" y="1134061"/>
                  <a:pt x="908271" y="1134061"/>
                </a:cubicBezTo>
                <a:cubicBezTo>
                  <a:pt x="888681" y="1134605"/>
                  <a:pt x="878341" y="1122633"/>
                  <a:pt x="878885" y="1105764"/>
                </a:cubicBezTo>
                <a:cubicBezTo>
                  <a:pt x="878341" y="1086173"/>
                  <a:pt x="892490" y="1076378"/>
                  <a:pt x="907727" y="1076378"/>
                </a:cubicBezTo>
                <a:close/>
                <a:moveTo>
                  <a:pt x="1071524" y="1072569"/>
                </a:moveTo>
                <a:cubicBezTo>
                  <a:pt x="1089482" y="1072569"/>
                  <a:pt x="1104174" y="1087806"/>
                  <a:pt x="1104174" y="1105220"/>
                </a:cubicBezTo>
                <a:cubicBezTo>
                  <a:pt x="1104174" y="1123722"/>
                  <a:pt x="1090026" y="1137870"/>
                  <a:pt x="1070435" y="1137870"/>
                </a:cubicBezTo>
                <a:cubicBezTo>
                  <a:pt x="1054110" y="1140047"/>
                  <a:pt x="1037241" y="1121545"/>
                  <a:pt x="1038329" y="1105764"/>
                </a:cubicBezTo>
                <a:cubicBezTo>
                  <a:pt x="1039417" y="1086173"/>
                  <a:pt x="1052478" y="1072569"/>
                  <a:pt x="1071524" y="1072569"/>
                </a:cubicBezTo>
                <a:close/>
                <a:moveTo>
                  <a:pt x="1235865" y="1068760"/>
                </a:moveTo>
                <a:cubicBezTo>
                  <a:pt x="1254912" y="1070392"/>
                  <a:pt x="1272325" y="1088894"/>
                  <a:pt x="1271237" y="1106852"/>
                </a:cubicBezTo>
                <a:cubicBezTo>
                  <a:pt x="1270149" y="1124810"/>
                  <a:pt x="1252735" y="1142223"/>
                  <a:pt x="1234777" y="1142223"/>
                </a:cubicBezTo>
                <a:cubicBezTo>
                  <a:pt x="1215187" y="1142223"/>
                  <a:pt x="1197773" y="1124265"/>
                  <a:pt x="1198861" y="1105219"/>
                </a:cubicBezTo>
                <a:cubicBezTo>
                  <a:pt x="1199406" y="1085629"/>
                  <a:pt x="1217908" y="1067127"/>
                  <a:pt x="1235865" y="1068760"/>
                </a:cubicBezTo>
                <a:close/>
                <a:moveTo>
                  <a:pt x="1396397" y="1067127"/>
                </a:moveTo>
                <a:cubicBezTo>
                  <a:pt x="1416532" y="1065494"/>
                  <a:pt x="1437755" y="1087806"/>
                  <a:pt x="1435578" y="1105219"/>
                </a:cubicBezTo>
                <a:cubicBezTo>
                  <a:pt x="1437210" y="1125898"/>
                  <a:pt x="1413267" y="1144400"/>
                  <a:pt x="1396941" y="1143856"/>
                </a:cubicBezTo>
                <a:cubicBezTo>
                  <a:pt x="1377895" y="1143856"/>
                  <a:pt x="1358305" y="1122633"/>
                  <a:pt x="1358849" y="1105763"/>
                </a:cubicBezTo>
                <a:cubicBezTo>
                  <a:pt x="1359393" y="1085629"/>
                  <a:pt x="1376807" y="1068759"/>
                  <a:pt x="1396397" y="1067127"/>
                </a:cubicBezTo>
                <a:close/>
                <a:moveTo>
                  <a:pt x="1560738" y="1066582"/>
                </a:moveTo>
                <a:cubicBezTo>
                  <a:pt x="1581961" y="1063862"/>
                  <a:pt x="1599919" y="1083452"/>
                  <a:pt x="1599919" y="1105763"/>
                </a:cubicBezTo>
                <a:cubicBezTo>
                  <a:pt x="1599919" y="1127530"/>
                  <a:pt x="1581417" y="1144400"/>
                  <a:pt x="1560738" y="1144400"/>
                </a:cubicBezTo>
                <a:cubicBezTo>
                  <a:pt x="1538971" y="1144400"/>
                  <a:pt x="1521557" y="1125898"/>
                  <a:pt x="1521013" y="1105763"/>
                </a:cubicBezTo>
                <a:cubicBezTo>
                  <a:pt x="1521013" y="1085629"/>
                  <a:pt x="1538971" y="1063862"/>
                  <a:pt x="1560738" y="1066582"/>
                </a:cubicBezTo>
                <a:close/>
                <a:moveTo>
                  <a:pt x="1723447" y="1064406"/>
                </a:moveTo>
                <a:cubicBezTo>
                  <a:pt x="1744126" y="1063862"/>
                  <a:pt x="1763716" y="1076378"/>
                  <a:pt x="1764260" y="1104675"/>
                </a:cubicBezTo>
                <a:cubicBezTo>
                  <a:pt x="1764804" y="1130796"/>
                  <a:pt x="1745758" y="1145488"/>
                  <a:pt x="1724535" y="1146032"/>
                </a:cubicBezTo>
                <a:cubicBezTo>
                  <a:pt x="1703313" y="1147121"/>
                  <a:pt x="1683722" y="1130796"/>
                  <a:pt x="1683178" y="1105764"/>
                </a:cubicBezTo>
                <a:cubicBezTo>
                  <a:pt x="1684266" y="1082364"/>
                  <a:pt x="1698415" y="1064950"/>
                  <a:pt x="1723447" y="1064406"/>
                </a:cubicBezTo>
                <a:close/>
                <a:moveTo>
                  <a:pt x="2051041" y="1063318"/>
                </a:moveTo>
                <a:lnTo>
                  <a:pt x="2051041" y="1147740"/>
                </a:lnTo>
                <a:lnTo>
                  <a:pt x="2049952" y="1148210"/>
                </a:lnTo>
                <a:cubicBezTo>
                  <a:pt x="2028730" y="1147121"/>
                  <a:pt x="2008051" y="1128619"/>
                  <a:pt x="2008051" y="1105764"/>
                </a:cubicBezTo>
                <a:cubicBezTo>
                  <a:pt x="2008595" y="1081276"/>
                  <a:pt x="2027641" y="1063862"/>
                  <a:pt x="2051041" y="1063318"/>
                </a:cubicBezTo>
                <a:close/>
                <a:moveTo>
                  <a:pt x="1887787" y="1062773"/>
                </a:moveTo>
                <a:cubicBezTo>
                  <a:pt x="1909554" y="1063862"/>
                  <a:pt x="1930233" y="1084540"/>
                  <a:pt x="1929145" y="1105763"/>
                </a:cubicBezTo>
                <a:cubicBezTo>
                  <a:pt x="1928056" y="1130251"/>
                  <a:pt x="1908466" y="1147121"/>
                  <a:pt x="1886699" y="1147665"/>
                </a:cubicBezTo>
                <a:cubicBezTo>
                  <a:pt x="1862755" y="1145488"/>
                  <a:pt x="1845886" y="1127530"/>
                  <a:pt x="1844798" y="1105219"/>
                </a:cubicBezTo>
                <a:cubicBezTo>
                  <a:pt x="1844253" y="1083996"/>
                  <a:pt x="1867109" y="1061685"/>
                  <a:pt x="1887787" y="1062773"/>
                </a:cubicBezTo>
                <a:close/>
                <a:moveTo>
                  <a:pt x="335798" y="1011621"/>
                </a:moveTo>
                <a:cubicBezTo>
                  <a:pt x="343960" y="1011621"/>
                  <a:pt x="347770" y="1014886"/>
                  <a:pt x="348314" y="1023049"/>
                </a:cubicBezTo>
                <a:cubicBezTo>
                  <a:pt x="348314" y="1031755"/>
                  <a:pt x="344505" y="1036109"/>
                  <a:pt x="336886" y="1036109"/>
                </a:cubicBezTo>
                <a:cubicBezTo>
                  <a:pt x="329268" y="1036109"/>
                  <a:pt x="324914" y="1032300"/>
                  <a:pt x="324370" y="1024681"/>
                </a:cubicBezTo>
                <a:cubicBezTo>
                  <a:pt x="323826" y="1015974"/>
                  <a:pt x="327635" y="1011621"/>
                  <a:pt x="335798" y="1011621"/>
                </a:cubicBezTo>
                <a:close/>
                <a:moveTo>
                  <a:pt x="499051" y="1002914"/>
                </a:moveTo>
                <a:cubicBezTo>
                  <a:pt x="508846" y="1002370"/>
                  <a:pt x="520818" y="1014342"/>
                  <a:pt x="520818" y="1024137"/>
                </a:cubicBezTo>
                <a:cubicBezTo>
                  <a:pt x="520818" y="1032844"/>
                  <a:pt x="508846" y="1045360"/>
                  <a:pt x="499595" y="1045360"/>
                </a:cubicBezTo>
                <a:cubicBezTo>
                  <a:pt x="490888" y="1045360"/>
                  <a:pt x="478372" y="1032844"/>
                  <a:pt x="478372" y="1024137"/>
                </a:cubicBezTo>
                <a:cubicBezTo>
                  <a:pt x="478372" y="1014886"/>
                  <a:pt x="489800" y="1002914"/>
                  <a:pt x="499051" y="1002914"/>
                </a:cubicBezTo>
                <a:close/>
                <a:moveTo>
                  <a:pt x="663392" y="997473"/>
                </a:moveTo>
                <a:cubicBezTo>
                  <a:pt x="675908" y="998561"/>
                  <a:pt x="688968" y="1011622"/>
                  <a:pt x="688424" y="1024138"/>
                </a:cubicBezTo>
                <a:cubicBezTo>
                  <a:pt x="687880" y="1039374"/>
                  <a:pt x="676452" y="1050802"/>
                  <a:pt x="661759" y="1050258"/>
                </a:cubicBezTo>
                <a:cubicBezTo>
                  <a:pt x="647066" y="1049170"/>
                  <a:pt x="637271" y="1036109"/>
                  <a:pt x="636727" y="1023593"/>
                </a:cubicBezTo>
                <a:cubicBezTo>
                  <a:pt x="637271" y="1010533"/>
                  <a:pt x="651420" y="996929"/>
                  <a:pt x="663392" y="997473"/>
                </a:cubicBezTo>
                <a:close/>
                <a:moveTo>
                  <a:pt x="826645" y="995840"/>
                </a:moveTo>
                <a:cubicBezTo>
                  <a:pt x="845147" y="995296"/>
                  <a:pt x="855486" y="1007267"/>
                  <a:pt x="854942" y="1024137"/>
                </a:cubicBezTo>
                <a:cubicBezTo>
                  <a:pt x="855486" y="1039374"/>
                  <a:pt x="845147" y="1052978"/>
                  <a:pt x="825557" y="1052978"/>
                </a:cubicBezTo>
                <a:cubicBezTo>
                  <a:pt x="808143" y="1052434"/>
                  <a:pt x="796715" y="1041006"/>
                  <a:pt x="797260" y="1023593"/>
                </a:cubicBezTo>
                <a:cubicBezTo>
                  <a:pt x="797260" y="1005635"/>
                  <a:pt x="808687" y="995840"/>
                  <a:pt x="826645" y="995840"/>
                </a:cubicBezTo>
                <a:close/>
                <a:moveTo>
                  <a:pt x="990441" y="990942"/>
                </a:moveTo>
                <a:cubicBezTo>
                  <a:pt x="1008943" y="990942"/>
                  <a:pt x="1023092" y="1006179"/>
                  <a:pt x="1022548" y="1025225"/>
                </a:cubicBezTo>
                <a:cubicBezTo>
                  <a:pt x="1022004" y="1043183"/>
                  <a:pt x="1007311" y="1056243"/>
                  <a:pt x="988809" y="1056787"/>
                </a:cubicBezTo>
                <a:cubicBezTo>
                  <a:pt x="973028" y="1057332"/>
                  <a:pt x="956702" y="1041551"/>
                  <a:pt x="956702" y="1023593"/>
                </a:cubicBezTo>
                <a:cubicBezTo>
                  <a:pt x="956158" y="1006723"/>
                  <a:pt x="973572" y="988221"/>
                  <a:pt x="990441" y="990942"/>
                </a:cubicBezTo>
                <a:close/>
                <a:moveTo>
                  <a:pt x="1150974" y="987678"/>
                </a:moveTo>
                <a:cubicBezTo>
                  <a:pt x="1170020" y="986045"/>
                  <a:pt x="1189066" y="1004547"/>
                  <a:pt x="1189610" y="1023593"/>
                </a:cubicBezTo>
                <a:cubicBezTo>
                  <a:pt x="1190154" y="1042095"/>
                  <a:pt x="1170564" y="1061685"/>
                  <a:pt x="1152062" y="1061685"/>
                </a:cubicBezTo>
                <a:cubicBezTo>
                  <a:pt x="1134104" y="1061685"/>
                  <a:pt x="1115602" y="1042639"/>
                  <a:pt x="1115058" y="1024682"/>
                </a:cubicBezTo>
                <a:cubicBezTo>
                  <a:pt x="1115058" y="1006724"/>
                  <a:pt x="1133016" y="988222"/>
                  <a:pt x="1150974" y="987678"/>
                </a:cubicBezTo>
                <a:close/>
                <a:moveTo>
                  <a:pt x="1315314" y="985501"/>
                </a:moveTo>
                <a:cubicBezTo>
                  <a:pt x="1335993" y="983868"/>
                  <a:pt x="1354495" y="1005635"/>
                  <a:pt x="1354495" y="1023593"/>
                </a:cubicBezTo>
                <a:cubicBezTo>
                  <a:pt x="1355039" y="1042639"/>
                  <a:pt x="1333816" y="1065495"/>
                  <a:pt x="1315858" y="1062230"/>
                </a:cubicBezTo>
                <a:cubicBezTo>
                  <a:pt x="1294636" y="1062230"/>
                  <a:pt x="1277222" y="1045360"/>
                  <a:pt x="1277222" y="1024137"/>
                </a:cubicBezTo>
                <a:cubicBezTo>
                  <a:pt x="1277222" y="1002914"/>
                  <a:pt x="1294091" y="986589"/>
                  <a:pt x="1315314" y="985501"/>
                </a:cubicBezTo>
                <a:close/>
                <a:moveTo>
                  <a:pt x="1479656" y="984412"/>
                </a:moveTo>
                <a:cubicBezTo>
                  <a:pt x="1503055" y="984412"/>
                  <a:pt x="1519925" y="1000737"/>
                  <a:pt x="1519380" y="1025225"/>
                </a:cubicBezTo>
                <a:cubicBezTo>
                  <a:pt x="1518836" y="1045904"/>
                  <a:pt x="1502511" y="1065494"/>
                  <a:pt x="1478567" y="1063318"/>
                </a:cubicBezTo>
                <a:cubicBezTo>
                  <a:pt x="1454624" y="1064950"/>
                  <a:pt x="1438842" y="1044816"/>
                  <a:pt x="1439387" y="1023593"/>
                </a:cubicBezTo>
                <a:cubicBezTo>
                  <a:pt x="1439931" y="1000193"/>
                  <a:pt x="1455712" y="983868"/>
                  <a:pt x="1479656" y="984412"/>
                </a:cubicBezTo>
                <a:close/>
                <a:moveTo>
                  <a:pt x="1641820" y="981691"/>
                </a:moveTo>
                <a:cubicBezTo>
                  <a:pt x="1665220" y="981691"/>
                  <a:pt x="1683178" y="999649"/>
                  <a:pt x="1684810" y="1023592"/>
                </a:cubicBezTo>
                <a:cubicBezTo>
                  <a:pt x="1683722" y="1048625"/>
                  <a:pt x="1665220" y="1066038"/>
                  <a:pt x="1642909" y="1066038"/>
                </a:cubicBezTo>
                <a:cubicBezTo>
                  <a:pt x="1618421" y="1066038"/>
                  <a:pt x="1599919" y="1047536"/>
                  <a:pt x="1599919" y="1023592"/>
                </a:cubicBezTo>
                <a:cubicBezTo>
                  <a:pt x="1599919" y="1001281"/>
                  <a:pt x="1616788" y="982235"/>
                  <a:pt x="1641820" y="981691"/>
                </a:cubicBezTo>
                <a:close/>
                <a:moveTo>
                  <a:pt x="1806161" y="980603"/>
                </a:moveTo>
                <a:cubicBezTo>
                  <a:pt x="1829561" y="980603"/>
                  <a:pt x="1848607" y="1000737"/>
                  <a:pt x="1849151" y="1023592"/>
                </a:cubicBezTo>
                <a:cubicBezTo>
                  <a:pt x="1849151" y="1046992"/>
                  <a:pt x="1827928" y="1068215"/>
                  <a:pt x="1805617" y="1067127"/>
                </a:cubicBezTo>
                <a:cubicBezTo>
                  <a:pt x="1781673" y="1068215"/>
                  <a:pt x="1762083" y="1044815"/>
                  <a:pt x="1762083" y="1023592"/>
                </a:cubicBezTo>
                <a:cubicBezTo>
                  <a:pt x="1762083" y="1002370"/>
                  <a:pt x="1781673" y="980058"/>
                  <a:pt x="1806161" y="980603"/>
                </a:cubicBezTo>
                <a:close/>
                <a:moveTo>
                  <a:pt x="1969414" y="980059"/>
                </a:moveTo>
                <a:cubicBezTo>
                  <a:pt x="1993358" y="980603"/>
                  <a:pt x="2012404" y="1001282"/>
                  <a:pt x="2012404" y="1024137"/>
                </a:cubicBezTo>
                <a:cubicBezTo>
                  <a:pt x="2012404" y="1046449"/>
                  <a:pt x="1991726" y="1069304"/>
                  <a:pt x="1968870" y="1067127"/>
                </a:cubicBezTo>
                <a:cubicBezTo>
                  <a:pt x="1946015" y="1068760"/>
                  <a:pt x="1925336" y="1044272"/>
                  <a:pt x="1924792" y="1024137"/>
                </a:cubicBezTo>
                <a:cubicBezTo>
                  <a:pt x="1924792" y="1002914"/>
                  <a:pt x="1944382" y="980059"/>
                  <a:pt x="1969414" y="980059"/>
                </a:cubicBezTo>
                <a:close/>
                <a:moveTo>
                  <a:pt x="254171" y="931083"/>
                </a:moveTo>
                <a:cubicBezTo>
                  <a:pt x="260701" y="931083"/>
                  <a:pt x="265599" y="935437"/>
                  <a:pt x="265599" y="941967"/>
                </a:cubicBezTo>
                <a:cubicBezTo>
                  <a:pt x="265599" y="948497"/>
                  <a:pt x="260701" y="952850"/>
                  <a:pt x="254171" y="952850"/>
                </a:cubicBezTo>
                <a:cubicBezTo>
                  <a:pt x="247641" y="952850"/>
                  <a:pt x="243832" y="948497"/>
                  <a:pt x="243832" y="941967"/>
                </a:cubicBezTo>
                <a:cubicBezTo>
                  <a:pt x="243832" y="935437"/>
                  <a:pt x="247641" y="931627"/>
                  <a:pt x="254171" y="931083"/>
                </a:cubicBezTo>
                <a:close/>
                <a:moveTo>
                  <a:pt x="417968" y="922377"/>
                </a:moveTo>
                <a:cubicBezTo>
                  <a:pt x="427219" y="921833"/>
                  <a:pt x="437559" y="932716"/>
                  <a:pt x="437559" y="942511"/>
                </a:cubicBezTo>
                <a:cubicBezTo>
                  <a:pt x="437559" y="951762"/>
                  <a:pt x="427219" y="961557"/>
                  <a:pt x="417968" y="961557"/>
                </a:cubicBezTo>
                <a:cubicBezTo>
                  <a:pt x="409262" y="961557"/>
                  <a:pt x="397290" y="949585"/>
                  <a:pt x="397834" y="941423"/>
                </a:cubicBezTo>
                <a:cubicBezTo>
                  <a:pt x="398378" y="933260"/>
                  <a:pt x="409806" y="922377"/>
                  <a:pt x="417968" y="922377"/>
                </a:cubicBezTo>
                <a:close/>
                <a:moveTo>
                  <a:pt x="581222" y="916934"/>
                </a:moveTo>
                <a:cubicBezTo>
                  <a:pt x="593738" y="916934"/>
                  <a:pt x="607342" y="931082"/>
                  <a:pt x="606798" y="943054"/>
                </a:cubicBezTo>
                <a:cubicBezTo>
                  <a:pt x="606254" y="955570"/>
                  <a:pt x="593738" y="967542"/>
                  <a:pt x="581222" y="967542"/>
                </a:cubicBezTo>
                <a:cubicBezTo>
                  <a:pt x="567617" y="966454"/>
                  <a:pt x="557278" y="958291"/>
                  <a:pt x="556190" y="943054"/>
                </a:cubicBezTo>
                <a:cubicBezTo>
                  <a:pt x="555101" y="929994"/>
                  <a:pt x="568161" y="916934"/>
                  <a:pt x="581222" y="916934"/>
                </a:cubicBezTo>
                <a:close/>
                <a:moveTo>
                  <a:pt x="744474" y="913669"/>
                </a:moveTo>
                <a:cubicBezTo>
                  <a:pt x="765153" y="913669"/>
                  <a:pt x="773860" y="927273"/>
                  <a:pt x="773315" y="942510"/>
                </a:cubicBezTo>
                <a:cubicBezTo>
                  <a:pt x="772771" y="959924"/>
                  <a:pt x="761344" y="971352"/>
                  <a:pt x="743930" y="970807"/>
                </a:cubicBezTo>
                <a:cubicBezTo>
                  <a:pt x="727061" y="970807"/>
                  <a:pt x="716177" y="959380"/>
                  <a:pt x="716177" y="941966"/>
                </a:cubicBezTo>
                <a:cubicBezTo>
                  <a:pt x="716177" y="923464"/>
                  <a:pt x="727605" y="914213"/>
                  <a:pt x="744474" y="913669"/>
                </a:cubicBezTo>
                <a:close/>
                <a:moveTo>
                  <a:pt x="908271" y="908772"/>
                </a:moveTo>
                <a:cubicBezTo>
                  <a:pt x="927317" y="910405"/>
                  <a:pt x="940922" y="924553"/>
                  <a:pt x="940377" y="944144"/>
                </a:cubicBezTo>
                <a:cubicBezTo>
                  <a:pt x="939833" y="962101"/>
                  <a:pt x="925141" y="975162"/>
                  <a:pt x="906094" y="975162"/>
                </a:cubicBezTo>
                <a:cubicBezTo>
                  <a:pt x="890313" y="975162"/>
                  <a:pt x="873988" y="959925"/>
                  <a:pt x="874532" y="940879"/>
                </a:cubicBezTo>
                <a:cubicBezTo>
                  <a:pt x="874532" y="925641"/>
                  <a:pt x="891402" y="907684"/>
                  <a:pt x="908271" y="908772"/>
                </a:cubicBezTo>
                <a:close/>
                <a:moveTo>
                  <a:pt x="1072068" y="906051"/>
                </a:moveTo>
                <a:cubicBezTo>
                  <a:pt x="1093291" y="907683"/>
                  <a:pt x="1105807" y="921832"/>
                  <a:pt x="1107984" y="942511"/>
                </a:cubicBezTo>
                <a:cubicBezTo>
                  <a:pt x="1107984" y="961013"/>
                  <a:pt x="1088938" y="979515"/>
                  <a:pt x="1070980" y="979515"/>
                </a:cubicBezTo>
                <a:cubicBezTo>
                  <a:pt x="1053022" y="979515"/>
                  <a:pt x="1034520" y="960469"/>
                  <a:pt x="1034520" y="942511"/>
                </a:cubicBezTo>
                <a:cubicBezTo>
                  <a:pt x="1034520" y="923465"/>
                  <a:pt x="1053566" y="904419"/>
                  <a:pt x="1072068" y="906051"/>
                </a:cubicBezTo>
                <a:close/>
                <a:moveTo>
                  <a:pt x="1235321" y="903874"/>
                </a:moveTo>
                <a:cubicBezTo>
                  <a:pt x="1257088" y="903874"/>
                  <a:pt x="1272325" y="920199"/>
                  <a:pt x="1272325" y="943054"/>
                </a:cubicBezTo>
                <a:cubicBezTo>
                  <a:pt x="1275045" y="962645"/>
                  <a:pt x="1251646" y="982779"/>
                  <a:pt x="1233688" y="981147"/>
                </a:cubicBezTo>
                <a:cubicBezTo>
                  <a:pt x="1211921" y="979514"/>
                  <a:pt x="1195052" y="963189"/>
                  <a:pt x="1195596" y="940878"/>
                </a:cubicBezTo>
                <a:cubicBezTo>
                  <a:pt x="1196140" y="919111"/>
                  <a:pt x="1212465" y="903330"/>
                  <a:pt x="1235321" y="903874"/>
                </a:cubicBezTo>
                <a:close/>
                <a:moveTo>
                  <a:pt x="1397486" y="901153"/>
                </a:moveTo>
                <a:cubicBezTo>
                  <a:pt x="1420885" y="901698"/>
                  <a:pt x="1437755" y="917479"/>
                  <a:pt x="1438299" y="942511"/>
                </a:cubicBezTo>
                <a:cubicBezTo>
                  <a:pt x="1437210" y="966999"/>
                  <a:pt x="1420341" y="983324"/>
                  <a:pt x="1396941" y="983324"/>
                </a:cubicBezTo>
                <a:cubicBezTo>
                  <a:pt x="1371909" y="983324"/>
                  <a:pt x="1355584" y="963190"/>
                  <a:pt x="1356128" y="941967"/>
                </a:cubicBezTo>
                <a:cubicBezTo>
                  <a:pt x="1356128" y="919655"/>
                  <a:pt x="1373542" y="900609"/>
                  <a:pt x="1397486" y="901153"/>
                </a:cubicBezTo>
                <a:close/>
                <a:moveTo>
                  <a:pt x="1560738" y="898977"/>
                </a:moveTo>
                <a:cubicBezTo>
                  <a:pt x="1584138" y="899521"/>
                  <a:pt x="1603728" y="917479"/>
                  <a:pt x="1603728" y="942511"/>
                </a:cubicBezTo>
                <a:cubicBezTo>
                  <a:pt x="1603728" y="966999"/>
                  <a:pt x="1581961" y="985501"/>
                  <a:pt x="1560738" y="985501"/>
                </a:cubicBezTo>
                <a:cubicBezTo>
                  <a:pt x="1537883" y="985501"/>
                  <a:pt x="1516660" y="963734"/>
                  <a:pt x="1517204" y="941423"/>
                </a:cubicBezTo>
                <a:cubicBezTo>
                  <a:pt x="1517748" y="919656"/>
                  <a:pt x="1535706" y="898977"/>
                  <a:pt x="1560738" y="898977"/>
                </a:cubicBezTo>
                <a:close/>
                <a:moveTo>
                  <a:pt x="1723990" y="897888"/>
                </a:moveTo>
                <a:cubicBezTo>
                  <a:pt x="1747934" y="897888"/>
                  <a:pt x="1769701" y="919111"/>
                  <a:pt x="1768069" y="942510"/>
                </a:cubicBezTo>
                <a:cubicBezTo>
                  <a:pt x="1770245" y="965366"/>
                  <a:pt x="1746302" y="987133"/>
                  <a:pt x="1723990" y="986589"/>
                </a:cubicBezTo>
                <a:cubicBezTo>
                  <a:pt x="1701679" y="986589"/>
                  <a:pt x="1679912" y="964278"/>
                  <a:pt x="1679912" y="941422"/>
                </a:cubicBezTo>
                <a:cubicBezTo>
                  <a:pt x="1680456" y="919655"/>
                  <a:pt x="1700047" y="897888"/>
                  <a:pt x="1723990" y="897888"/>
                </a:cubicBezTo>
                <a:close/>
                <a:moveTo>
                  <a:pt x="2050497" y="897344"/>
                </a:moveTo>
                <a:lnTo>
                  <a:pt x="2051041" y="897453"/>
                </a:lnTo>
                <a:lnTo>
                  <a:pt x="2051041" y="986917"/>
                </a:lnTo>
                <a:lnTo>
                  <a:pt x="2049952" y="987133"/>
                </a:lnTo>
                <a:cubicBezTo>
                  <a:pt x="2026553" y="987133"/>
                  <a:pt x="2004786" y="965366"/>
                  <a:pt x="2005330" y="941422"/>
                </a:cubicBezTo>
                <a:cubicBezTo>
                  <a:pt x="2005874" y="918023"/>
                  <a:pt x="2026009" y="897344"/>
                  <a:pt x="2050497" y="897344"/>
                </a:cubicBezTo>
                <a:close/>
                <a:moveTo>
                  <a:pt x="1887243" y="897344"/>
                </a:moveTo>
                <a:cubicBezTo>
                  <a:pt x="1910099" y="897344"/>
                  <a:pt x="1931866" y="916390"/>
                  <a:pt x="1931866" y="942511"/>
                </a:cubicBezTo>
                <a:cubicBezTo>
                  <a:pt x="1931866" y="965910"/>
                  <a:pt x="1910099" y="986589"/>
                  <a:pt x="1887243" y="986589"/>
                </a:cubicBezTo>
                <a:cubicBezTo>
                  <a:pt x="1864932" y="987133"/>
                  <a:pt x="1839900" y="965910"/>
                  <a:pt x="1843165" y="941422"/>
                </a:cubicBezTo>
                <a:cubicBezTo>
                  <a:pt x="1840444" y="918567"/>
                  <a:pt x="1863299" y="897344"/>
                  <a:pt x="1887243" y="897344"/>
                </a:cubicBezTo>
                <a:close/>
                <a:moveTo>
                  <a:pt x="172545" y="854354"/>
                </a:moveTo>
                <a:cubicBezTo>
                  <a:pt x="176899" y="854354"/>
                  <a:pt x="179619" y="855442"/>
                  <a:pt x="179619" y="860884"/>
                </a:cubicBezTo>
                <a:cubicBezTo>
                  <a:pt x="180164" y="864693"/>
                  <a:pt x="177987" y="866870"/>
                  <a:pt x="173634" y="866870"/>
                </a:cubicBezTo>
                <a:cubicBezTo>
                  <a:pt x="169824" y="866870"/>
                  <a:pt x="166559" y="866870"/>
                  <a:pt x="166015" y="861973"/>
                </a:cubicBezTo>
                <a:cubicBezTo>
                  <a:pt x="165471" y="857075"/>
                  <a:pt x="167103" y="854354"/>
                  <a:pt x="172545" y="854354"/>
                </a:cubicBezTo>
                <a:close/>
                <a:moveTo>
                  <a:pt x="336342" y="843471"/>
                </a:moveTo>
                <a:cubicBezTo>
                  <a:pt x="346681" y="844015"/>
                  <a:pt x="353211" y="849457"/>
                  <a:pt x="353211" y="860340"/>
                </a:cubicBezTo>
                <a:cubicBezTo>
                  <a:pt x="353211" y="872312"/>
                  <a:pt x="348858" y="876665"/>
                  <a:pt x="336886" y="877210"/>
                </a:cubicBezTo>
                <a:cubicBezTo>
                  <a:pt x="324370" y="877210"/>
                  <a:pt x="320561" y="872856"/>
                  <a:pt x="320017" y="860884"/>
                </a:cubicBezTo>
                <a:cubicBezTo>
                  <a:pt x="319473" y="851089"/>
                  <a:pt x="327635" y="842927"/>
                  <a:pt x="336342" y="843471"/>
                </a:cubicBezTo>
                <a:close/>
                <a:moveTo>
                  <a:pt x="500139" y="837485"/>
                </a:moveTo>
                <a:cubicBezTo>
                  <a:pt x="514832" y="837485"/>
                  <a:pt x="522994" y="846735"/>
                  <a:pt x="522994" y="861428"/>
                </a:cubicBezTo>
                <a:cubicBezTo>
                  <a:pt x="522994" y="876121"/>
                  <a:pt x="513743" y="884284"/>
                  <a:pt x="499595" y="884284"/>
                </a:cubicBezTo>
                <a:cubicBezTo>
                  <a:pt x="485446" y="883740"/>
                  <a:pt x="475651" y="875033"/>
                  <a:pt x="476739" y="860340"/>
                </a:cubicBezTo>
                <a:cubicBezTo>
                  <a:pt x="476195" y="842926"/>
                  <a:pt x="489256" y="836940"/>
                  <a:pt x="500139" y="837485"/>
                </a:cubicBezTo>
                <a:close/>
                <a:moveTo>
                  <a:pt x="662848" y="832587"/>
                </a:moveTo>
                <a:cubicBezTo>
                  <a:pt x="677541" y="832587"/>
                  <a:pt x="691689" y="842926"/>
                  <a:pt x="690057" y="860340"/>
                </a:cubicBezTo>
                <a:cubicBezTo>
                  <a:pt x="691689" y="876121"/>
                  <a:pt x="679718" y="888637"/>
                  <a:pt x="662848" y="888637"/>
                </a:cubicBezTo>
                <a:cubicBezTo>
                  <a:pt x="644890" y="888637"/>
                  <a:pt x="634551" y="874489"/>
                  <a:pt x="634551" y="861428"/>
                </a:cubicBezTo>
                <a:cubicBezTo>
                  <a:pt x="634551" y="842926"/>
                  <a:pt x="647611" y="832587"/>
                  <a:pt x="662848" y="832587"/>
                </a:cubicBezTo>
                <a:close/>
                <a:moveTo>
                  <a:pt x="826101" y="827146"/>
                </a:moveTo>
                <a:cubicBezTo>
                  <a:pt x="840249" y="826602"/>
                  <a:pt x="859840" y="843471"/>
                  <a:pt x="859295" y="860885"/>
                </a:cubicBezTo>
                <a:cubicBezTo>
                  <a:pt x="858751" y="875033"/>
                  <a:pt x="844603" y="894624"/>
                  <a:pt x="825556" y="892991"/>
                </a:cubicBezTo>
                <a:cubicBezTo>
                  <a:pt x="808687" y="894079"/>
                  <a:pt x="793450" y="877754"/>
                  <a:pt x="793450" y="860885"/>
                </a:cubicBezTo>
                <a:cubicBezTo>
                  <a:pt x="793994" y="842927"/>
                  <a:pt x="808143" y="828234"/>
                  <a:pt x="826101" y="827146"/>
                </a:cubicBezTo>
                <a:close/>
                <a:moveTo>
                  <a:pt x="988809" y="824424"/>
                </a:moveTo>
                <a:cubicBezTo>
                  <a:pt x="1010576" y="825512"/>
                  <a:pt x="1024180" y="839661"/>
                  <a:pt x="1025813" y="860339"/>
                </a:cubicBezTo>
                <a:cubicBezTo>
                  <a:pt x="1026901" y="878842"/>
                  <a:pt x="1008399" y="896799"/>
                  <a:pt x="989897" y="897344"/>
                </a:cubicBezTo>
                <a:cubicBezTo>
                  <a:pt x="971939" y="897344"/>
                  <a:pt x="953982" y="880474"/>
                  <a:pt x="953437" y="861972"/>
                </a:cubicBezTo>
                <a:cubicBezTo>
                  <a:pt x="951805" y="842926"/>
                  <a:pt x="969763" y="824968"/>
                  <a:pt x="988809" y="824424"/>
                </a:cubicBezTo>
                <a:close/>
                <a:moveTo>
                  <a:pt x="1153695" y="821704"/>
                </a:moveTo>
                <a:cubicBezTo>
                  <a:pt x="1175462" y="822248"/>
                  <a:pt x="1191243" y="839118"/>
                  <a:pt x="1191243" y="861429"/>
                </a:cubicBezTo>
                <a:cubicBezTo>
                  <a:pt x="1193964" y="882107"/>
                  <a:pt x="1169476" y="900610"/>
                  <a:pt x="1152606" y="899521"/>
                </a:cubicBezTo>
                <a:cubicBezTo>
                  <a:pt x="1130839" y="898433"/>
                  <a:pt x="1114514" y="882107"/>
                  <a:pt x="1114514" y="859252"/>
                </a:cubicBezTo>
                <a:cubicBezTo>
                  <a:pt x="1115058" y="837485"/>
                  <a:pt x="1131928" y="821704"/>
                  <a:pt x="1153695" y="821704"/>
                </a:cubicBezTo>
                <a:close/>
                <a:moveTo>
                  <a:pt x="1316403" y="818982"/>
                </a:moveTo>
                <a:cubicBezTo>
                  <a:pt x="1341979" y="820071"/>
                  <a:pt x="1356128" y="838573"/>
                  <a:pt x="1357216" y="860884"/>
                </a:cubicBezTo>
                <a:cubicBezTo>
                  <a:pt x="1356128" y="884828"/>
                  <a:pt x="1337626" y="901697"/>
                  <a:pt x="1315315" y="901697"/>
                </a:cubicBezTo>
                <a:cubicBezTo>
                  <a:pt x="1293003" y="901697"/>
                  <a:pt x="1273957" y="884284"/>
                  <a:pt x="1274501" y="860340"/>
                </a:cubicBezTo>
                <a:cubicBezTo>
                  <a:pt x="1275046" y="835852"/>
                  <a:pt x="1291915" y="818438"/>
                  <a:pt x="1316403" y="818982"/>
                </a:cubicBezTo>
                <a:close/>
                <a:moveTo>
                  <a:pt x="1479112" y="816806"/>
                </a:moveTo>
                <a:cubicBezTo>
                  <a:pt x="1501423" y="816806"/>
                  <a:pt x="1523190" y="835852"/>
                  <a:pt x="1522646" y="860340"/>
                </a:cubicBezTo>
                <a:cubicBezTo>
                  <a:pt x="1523735" y="885372"/>
                  <a:pt x="1499791" y="904419"/>
                  <a:pt x="1479656" y="904419"/>
                </a:cubicBezTo>
                <a:cubicBezTo>
                  <a:pt x="1457889" y="904419"/>
                  <a:pt x="1436122" y="883740"/>
                  <a:pt x="1435578" y="860884"/>
                </a:cubicBezTo>
                <a:cubicBezTo>
                  <a:pt x="1435578" y="838573"/>
                  <a:pt x="1455713" y="816806"/>
                  <a:pt x="1479112" y="816806"/>
                </a:cubicBezTo>
                <a:close/>
                <a:moveTo>
                  <a:pt x="1642909" y="815718"/>
                </a:moveTo>
                <a:cubicBezTo>
                  <a:pt x="1665764" y="816262"/>
                  <a:pt x="1686987" y="835852"/>
                  <a:pt x="1686987" y="860885"/>
                </a:cubicBezTo>
                <a:cubicBezTo>
                  <a:pt x="1686987" y="884284"/>
                  <a:pt x="1666308" y="906051"/>
                  <a:pt x="1641276" y="905507"/>
                </a:cubicBezTo>
                <a:cubicBezTo>
                  <a:pt x="1619509" y="905507"/>
                  <a:pt x="1595021" y="884284"/>
                  <a:pt x="1597742" y="860340"/>
                </a:cubicBezTo>
                <a:cubicBezTo>
                  <a:pt x="1595021" y="836941"/>
                  <a:pt x="1619509" y="815174"/>
                  <a:pt x="1642909" y="815718"/>
                </a:cubicBezTo>
                <a:close/>
                <a:moveTo>
                  <a:pt x="1806161" y="815173"/>
                </a:moveTo>
                <a:cubicBezTo>
                  <a:pt x="1832282" y="815717"/>
                  <a:pt x="1854593" y="836396"/>
                  <a:pt x="1852416" y="860884"/>
                </a:cubicBezTo>
                <a:cubicBezTo>
                  <a:pt x="1850240" y="885372"/>
                  <a:pt x="1837179" y="906050"/>
                  <a:pt x="1805617" y="906594"/>
                </a:cubicBezTo>
                <a:cubicBezTo>
                  <a:pt x="1776776" y="906594"/>
                  <a:pt x="1759362" y="885916"/>
                  <a:pt x="1759906" y="860884"/>
                </a:cubicBezTo>
                <a:cubicBezTo>
                  <a:pt x="1759906" y="834219"/>
                  <a:pt x="1776776" y="815717"/>
                  <a:pt x="1806161" y="815173"/>
                </a:cubicBezTo>
                <a:close/>
                <a:moveTo>
                  <a:pt x="1968326" y="812453"/>
                </a:moveTo>
                <a:cubicBezTo>
                  <a:pt x="1979754" y="812453"/>
                  <a:pt x="1991726" y="817351"/>
                  <a:pt x="2000977" y="826057"/>
                </a:cubicBezTo>
                <a:cubicBezTo>
                  <a:pt x="2010772" y="835308"/>
                  <a:pt x="2016214" y="847280"/>
                  <a:pt x="2015670" y="859796"/>
                </a:cubicBezTo>
                <a:cubicBezTo>
                  <a:pt x="2014581" y="884828"/>
                  <a:pt x="2000977" y="904963"/>
                  <a:pt x="1969415" y="907684"/>
                </a:cubicBezTo>
                <a:cubicBezTo>
                  <a:pt x="1942206" y="906051"/>
                  <a:pt x="1923704" y="890270"/>
                  <a:pt x="1922071" y="860885"/>
                </a:cubicBezTo>
                <a:cubicBezTo>
                  <a:pt x="1920983" y="836397"/>
                  <a:pt x="1943294" y="812453"/>
                  <a:pt x="1968326" y="812453"/>
                </a:cubicBezTo>
                <a:close/>
                <a:moveTo>
                  <a:pt x="255260" y="762932"/>
                </a:moveTo>
                <a:cubicBezTo>
                  <a:pt x="261790" y="763476"/>
                  <a:pt x="271041" y="773271"/>
                  <a:pt x="270497" y="779802"/>
                </a:cubicBezTo>
                <a:cubicBezTo>
                  <a:pt x="270497" y="786332"/>
                  <a:pt x="261246" y="795038"/>
                  <a:pt x="254172" y="795038"/>
                </a:cubicBezTo>
                <a:cubicBezTo>
                  <a:pt x="246553" y="795038"/>
                  <a:pt x="238391" y="786332"/>
                  <a:pt x="238935" y="778713"/>
                </a:cubicBezTo>
                <a:cubicBezTo>
                  <a:pt x="239479" y="771095"/>
                  <a:pt x="248186" y="762388"/>
                  <a:pt x="255260" y="762932"/>
                </a:cubicBezTo>
                <a:close/>
                <a:moveTo>
                  <a:pt x="416881" y="756402"/>
                </a:moveTo>
                <a:cubicBezTo>
                  <a:pt x="430485" y="756402"/>
                  <a:pt x="439736" y="765109"/>
                  <a:pt x="440280" y="778713"/>
                </a:cubicBezTo>
                <a:cubicBezTo>
                  <a:pt x="440280" y="791229"/>
                  <a:pt x="431573" y="801024"/>
                  <a:pt x="419057" y="801024"/>
                </a:cubicBezTo>
                <a:cubicBezTo>
                  <a:pt x="405997" y="801569"/>
                  <a:pt x="396202" y="792317"/>
                  <a:pt x="396202" y="779257"/>
                </a:cubicBezTo>
                <a:cubicBezTo>
                  <a:pt x="396202" y="766741"/>
                  <a:pt x="404909" y="756946"/>
                  <a:pt x="416881" y="756402"/>
                </a:cubicBezTo>
                <a:close/>
                <a:moveTo>
                  <a:pt x="581766" y="751505"/>
                </a:moveTo>
                <a:cubicBezTo>
                  <a:pt x="598091" y="752594"/>
                  <a:pt x="607887" y="762933"/>
                  <a:pt x="608975" y="779802"/>
                </a:cubicBezTo>
                <a:cubicBezTo>
                  <a:pt x="608975" y="792318"/>
                  <a:pt x="596459" y="808644"/>
                  <a:pt x="580678" y="806467"/>
                </a:cubicBezTo>
                <a:cubicBezTo>
                  <a:pt x="565985" y="808100"/>
                  <a:pt x="553469" y="792318"/>
                  <a:pt x="553469" y="778714"/>
                </a:cubicBezTo>
                <a:cubicBezTo>
                  <a:pt x="553469" y="764021"/>
                  <a:pt x="567618" y="750417"/>
                  <a:pt x="581766" y="751505"/>
                </a:cubicBezTo>
                <a:close/>
                <a:moveTo>
                  <a:pt x="746107" y="746607"/>
                </a:moveTo>
                <a:cubicBezTo>
                  <a:pt x="762432" y="747695"/>
                  <a:pt x="778213" y="765653"/>
                  <a:pt x="777125" y="780346"/>
                </a:cubicBezTo>
                <a:cubicBezTo>
                  <a:pt x="776581" y="795038"/>
                  <a:pt x="762432" y="811908"/>
                  <a:pt x="742842" y="811364"/>
                </a:cubicBezTo>
                <a:cubicBezTo>
                  <a:pt x="725428" y="810276"/>
                  <a:pt x="712368" y="795583"/>
                  <a:pt x="712368" y="778713"/>
                </a:cubicBezTo>
                <a:cubicBezTo>
                  <a:pt x="712368" y="760755"/>
                  <a:pt x="730870" y="745519"/>
                  <a:pt x="746107" y="746607"/>
                </a:cubicBezTo>
                <a:close/>
                <a:moveTo>
                  <a:pt x="907727" y="741710"/>
                </a:moveTo>
                <a:cubicBezTo>
                  <a:pt x="925684" y="741710"/>
                  <a:pt x="944187" y="760756"/>
                  <a:pt x="944187" y="778714"/>
                </a:cubicBezTo>
                <a:cubicBezTo>
                  <a:pt x="944187" y="796672"/>
                  <a:pt x="926229" y="815174"/>
                  <a:pt x="907727" y="815174"/>
                </a:cubicBezTo>
                <a:cubicBezTo>
                  <a:pt x="889225" y="815174"/>
                  <a:pt x="872899" y="798848"/>
                  <a:pt x="872355" y="779258"/>
                </a:cubicBezTo>
                <a:cubicBezTo>
                  <a:pt x="871811" y="759668"/>
                  <a:pt x="888136" y="742254"/>
                  <a:pt x="907727" y="741710"/>
                </a:cubicBezTo>
                <a:close/>
                <a:moveTo>
                  <a:pt x="1070979" y="740621"/>
                </a:moveTo>
                <a:cubicBezTo>
                  <a:pt x="1091114" y="737357"/>
                  <a:pt x="1110704" y="761300"/>
                  <a:pt x="1110160" y="779258"/>
                </a:cubicBezTo>
                <a:cubicBezTo>
                  <a:pt x="1110160" y="798304"/>
                  <a:pt x="1089481" y="817894"/>
                  <a:pt x="1070979" y="817894"/>
                </a:cubicBezTo>
                <a:cubicBezTo>
                  <a:pt x="1049757" y="817894"/>
                  <a:pt x="1031255" y="797216"/>
                  <a:pt x="1031799" y="778714"/>
                </a:cubicBezTo>
                <a:cubicBezTo>
                  <a:pt x="1033431" y="756947"/>
                  <a:pt x="1049212" y="740621"/>
                  <a:pt x="1070979" y="740621"/>
                </a:cubicBezTo>
                <a:close/>
                <a:moveTo>
                  <a:pt x="1233688" y="736268"/>
                </a:moveTo>
                <a:cubicBezTo>
                  <a:pt x="1254367" y="735723"/>
                  <a:pt x="1276134" y="756402"/>
                  <a:pt x="1276134" y="777625"/>
                </a:cubicBezTo>
                <a:cubicBezTo>
                  <a:pt x="1276134" y="801025"/>
                  <a:pt x="1258720" y="819526"/>
                  <a:pt x="1235320" y="820615"/>
                </a:cubicBezTo>
                <a:cubicBezTo>
                  <a:pt x="1211377" y="821159"/>
                  <a:pt x="1193419" y="802657"/>
                  <a:pt x="1192331" y="779258"/>
                </a:cubicBezTo>
                <a:cubicBezTo>
                  <a:pt x="1190698" y="758579"/>
                  <a:pt x="1213009" y="736812"/>
                  <a:pt x="1233688" y="736268"/>
                </a:cubicBezTo>
                <a:close/>
                <a:moveTo>
                  <a:pt x="1397485" y="735724"/>
                </a:moveTo>
                <a:cubicBezTo>
                  <a:pt x="1421973" y="734091"/>
                  <a:pt x="1441564" y="757491"/>
                  <a:pt x="1441019" y="779802"/>
                </a:cubicBezTo>
                <a:cubicBezTo>
                  <a:pt x="1441019" y="803746"/>
                  <a:pt x="1418708" y="823336"/>
                  <a:pt x="1396397" y="823336"/>
                </a:cubicBezTo>
                <a:cubicBezTo>
                  <a:pt x="1374630" y="823336"/>
                  <a:pt x="1352863" y="802113"/>
                  <a:pt x="1352863" y="779258"/>
                </a:cubicBezTo>
                <a:cubicBezTo>
                  <a:pt x="1353407" y="758579"/>
                  <a:pt x="1372453" y="733547"/>
                  <a:pt x="1397485" y="735724"/>
                </a:cubicBezTo>
                <a:close/>
                <a:moveTo>
                  <a:pt x="1562371" y="734636"/>
                </a:moveTo>
                <a:cubicBezTo>
                  <a:pt x="1586314" y="732459"/>
                  <a:pt x="1605905" y="754226"/>
                  <a:pt x="1605905" y="779802"/>
                </a:cubicBezTo>
                <a:cubicBezTo>
                  <a:pt x="1605361" y="805923"/>
                  <a:pt x="1585226" y="823881"/>
                  <a:pt x="1560194" y="823881"/>
                </a:cubicBezTo>
                <a:cubicBezTo>
                  <a:pt x="1535706" y="823881"/>
                  <a:pt x="1515027" y="803202"/>
                  <a:pt x="1515572" y="777626"/>
                </a:cubicBezTo>
                <a:cubicBezTo>
                  <a:pt x="1516116" y="755859"/>
                  <a:pt x="1535162" y="731371"/>
                  <a:pt x="1562371" y="734636"/>
                </a:cubicBezTo>
                <a:close/>
                <a:moveTo>
                  <a:pt x="1724535" y="730827"/>
                </a:moveTo>
                <a:cubicBezTo>
                  <a:pt x="1748478" y="731371"/>
                  <a:pt x="1772422" y="755314"/>
                  <a:pt x="1772422" y="779258"/>
                </a:cubicBezTo>
                <a:cubicBezTo>
                  <a:pt x="1771878" y="804290"/>
                  <a:pt x="1748478" y="826602"/>
                  <a:pt x="1723446" y="826602"/>
                </a:cubicBezTo>
                <a:cubicBezTo>
                  <a:pt x="1696238" y="823881"/>
                  <a:pt x="1677736" y="807011"/>
                  <a:pt x="1676647" y="778714"/>
                </a:cubicBezTo>
                <a:cubicBezTo>
                  <a:pt x="1676103" y="753138"/>
                  <a:pt x="1699503" y="730282"/>
                  <a:pt x="1724535" y="730827"/>
                </a:cubicBezTo>
                <a:close/>
                <a:moveTo>
                  <a:pt x="1886699" y="730826"/>
                </a:moveTo>
                <a:cubicBezTo>
                  <a:pt x="1914452" y="730826"/>
                  <a:pt x="1934587" y="749872"/>
                  <a:pt x="1935131" y="778713"/>
                </a:cubicBezTo>
                <a:cubicBezTo>
                  <a:pt x="1936219" y="804834"/>
                  <a:pt x="1916085" y="826601"/>
                  <a:pt x="1887244" y="827145"/>
                </a:cubicBezTo>
                <a:cubicBezTo>
                  <a:pt x="1860579" y="826601"/>
                  <a:pt x="1838812" y="805922"/>
                  <a:pt x="1838812" y="778713"/>
                </a:cubicBezTo>
                <a:cubicBezTo>
                  <a:pt x="1839356" y="750416"/>
                  <a:pt x="1860035" y="730282"/>
                  <a:pt x="1886699" y="730826"/>
                </a:cubicBezTo>
                <a:close/>
                <a:moveTo>
                  <a:pt x="2050496" y="730282"/>
                </a:moveTo>
                <a:lnTo>
                  <a:pt x="2051041" y="730396"/>
                </a:lnTo>
                <a:lnTo>
                  <a:pt x="2051041" y="826942"/>
                </a:lnTo>
                <a:lnTo>
                  <a:pt x="2049952" y="827145"/>
                </a:lnTo>
                <a:cubicBezTo>
                  <a:pt x="2023832" y="827145"/>
                  <a:pt x="2001521" y="804290"/>
                  <a:pt x="2002065" y="778169"/>
                </a:cubicBezTo>
                <a:cubicBezTo>
                  <a:pt x="2002609" y="751505"/>
                  <a:pt x="2024376" y="730282"/>
                  <a:pt x="2050496" y="730282"/>
                </a:cubicBezTo>
                <a:close/>
                <a:moveTo>
                  <a:pt x="173634" y="685660"/>
                </a:moveTo>
                <a:cubicBezTo>
                  <a:pt x="181253" y="685660"/>
                  <a:pt x="185062" y="690013"/>
                  <a:pt x="184518" y="698176"/>
                </a:cubicBezTo>
                <a:cubicBezTo>
                  <a:pt x="183973" y="705250"/>
                  <a:pt x="180164" y="709059"/>
                  <a:pt x="172546" y="709059"/>
                </a:cubicBezTo>
                <a:cubicBezTo>
                  <a:pt x="164383" y="709059"/>
                  <a:pt x="160574" y="705250"/>
                  <a:pt x="161118" y="697088"/>
                </a:cubicBezTo>
                <a:cubicBezTo>
                  <a:pt x="161662" y="688925"/>
                  <a:pt x="164927" y="685660"/>
                  <a:pt x="173634" y="685660"/>
                </a:cubicBezTo>
                <a:close/>
                <a:moveTo>
                  <a:pt x="335798" y="675320"/>
                </a:moveTo>
                <a:cubicBezTo>
                  <a:pt x="345593" y="675320"/>
                  <a:pt x="357565" y="685115"/>
                  <a:pt x="357565" y="696543"/>
                </a:cubicBezTo>
                <a:cubicBezTo>
                  <a:pt x="357565" y="707426"/>
                  <a:pt x="346682" y="718854"/>
                  <a:pt x="336342" y="718854"/>
                </a:cubicBezTo>
                <a:cubicBezTo>
                  <a:pt x="327091" y="718854"/>
                  <a:pt x="315664" y="707426"/>
                  <a:pt x="315120" y="697631"/>
                </a:cubicBezTo>
                <a:cubicBezTo>
                  <a:pt x="314575" y="687292"/>
                  <a:pt x="325459" y="675864"/>
                  <a:pt x="335798" y="675320"/>
                </a:cubicBezTo>
                <a:close/>
                <a:moveTo>
                  <a:pt x="499051" y="670423"/>
                </a:moveTo>
                <a:cubicBezTo>
                  <a:pt x="512111" y="669335"/>
                  <a:pt x="526804" y="684027"/>
                  <a:pt x="526804" y="697088"/>
                </a:cubicBezTo>
                <a:cubicBezTo>
                  <a:pt x="526804" y="711236"/>
                  <a:pt x="513744" y="724296"/>
                  <a:pt x="499595" y="724296"/>
                </a:cubicBezTo>
                <a:cubicBezTo>
                  <a:pt x="486535" y="724296"/>
                  <a:pt x="472930" y="711236"/>
                  <a:pt x="472930" y="697632"/>
                </a:cubicBezTo>
                <a:cubicBezTo>
                  <a:pt x="472386" y="684027"/>
                  <a:pt x="485446" y="670423"/>
                  <a:pt x="499051" y="670423"/>
                </a:cubicBezTo>
                <a:close/>
                <a:moveTo>
                  <a:pt x="662848" y="665525"/>
                </a:moveTo>
                <a:cubicBezTo>
                  <a:pt x="678629" y="665525"/>
                  <a:pt x="694410" y="681306"/>
                  <a:pt x="694954" y="697087"/>
                </a:cubicBezTo>
                <a:cubicBezTo>
                  <a:pt x="695499" y="712868"/>
                  <a:pt x="679173" y="729194"/>
                  <a:pt x="663392" y="729194"/>
                </a:cubicBezTo>
                <a:cubicBezTo>
                  <a:pt x="647611" y="729194"/>
                  <a:pt x="632374" y="713957"/>
                  <a:pt x="632374" y="698176"/>
                </a:cubicBezTo>
                <a:cubicBezTo>
                  <a:pt x="631286" y="681850"/>
                  <a:pt x="647067" y="665525"/>
                  <a:pt x="662848" y="665525"/>
                </a:cubicBezTo>
                <a:close/>
                <a:moveTo>
                  <a:pt x="825013" y="663349"/>
                </a:moveTo>
                <a:cubicBezTo>
                  <a:pt x="844603" y="662260"/>
                  <a:pt x="861472" y="676953"/>
                  <a:pt x="860384" y="697632"/>
                </a:cubicBezTo>
                <a:cubicBezTo>
                  <a:pt x="861472" y="716134"/>
                  <a:pt x="846780" y="731915"/>
                  <a:pt x="826101" y="731915"/>
                </a:cubicBezTo>
                <a:cubicBezTo>
                  <a:pt x="806511" y="731915"/>
                  <a:pt x="791818" y="719399"/>
                  <a:pt x="791818" y="698176"/>
                </a:cubicBezTo>
                <a:cubicBezTo>
                  <a:pt x="791818" y="676409"/>
                  <a:pt x="805967" y="663893"/>
                  <a:pt x="825013" y="663349"/>
                </a:cubicBezTo>
                <a:close/>
                <a:moveTo>
                  <a:pt x="988809" y="658995"/>
                </a:moveTo>
                <a:cubicBezTo>
                  <a:pt x="1008400" y="657362"/>
                  <a:pt x="1028534" y="679129"/>
                  <a:pt x="1027446" y="697087"/>
                </a:cubicBezTo>
                <a:cubicBezTo>
                  <a:pt x="1026902" y="718310"/>
                  <a:pt x="1010576" y="735723"/>
                  <a:pt x="989353" y="735723"/>
                </a:cubicBezTo>
                <a:cubicBezTo>
                  <a:pt x="968675" y="735723"/>
                  <a:pt x="950717" y="718310"/>
                  <a:pt x="950717" y="697631"/>
                </a:cubicBezTo>
                <a:cubicBezTo>
                  <a:pt x="950717" y="676408"/>
                  <a:pt x="968131" y="660627"/>
                  <a:pt x="988809" y="658995"/>
                </a:cubicBezTo>
                <a:close/>
                <a:moveTo>
                  <a:pt x="1152607" y="655729"/>
                </a:moveTo>
                <a:cubicBezTo>
                  <a:pt x="1173829" y="654097"/>
                  <a:pt x="1194508" y="675864"/>
                  <a:pt x="1195052" y="697087"/>
                </a:cubicBezTo>
                <a:cubicBezTo>
                  <a:pt x="1195596" y="717766"/>
                  <a:pt x="1173829" y="739533"/>
                  <a:pt x="1153151" y="739533"/>
                </a:cubicBezTo>
                <a:cubicBezTo>
                  <a:pt x="1132472" y="740077"/>
                  <a:pt x="1110705" y="718310"/>
                  <a:pt x="1110705" y="697631"/>
                </a:cubicBezTo>
                <a:cubicBezTo>
                  <a:pt x="1112882" y="674231"/>
                  <a:pt x="1127574" y="657362"/>
                  <a:pt x="1152607" y="655729"/>
                </a:cubicBezTo>
                <a:close/>
                <a:moveTo>
                  <a:pt x="1316948" y="653554"/>
                </a:moveTo>
                <a:cubicBezTo>
                  <a:pt x="1340347" y="654098"/>
                  <a:pt x="1359937" y="674777"/>
                  <a:pt x="1359937" y="697632"/>
                </a:cubicBezTo>
                <a:cubicBezTo>
                  <a:pt x="1359937" y="718855"/>
                  <a:pt x="1339803" y="743343"/>
                  <a:pt x="1315315" y="740622"/>
                </a:cubicBezTo>
                <a:cubicBezTo>
                  <a:pt x="1293004" y="742799"/>
                  <a:pt x="1271237" y="718311"/>
                  <a:pt x="1271781" y="696544"/>
                </a:cubicBezTo>
                <a:cubicBezTo>
                  <a:pt x="1271781" y="675321"/>
                  <a:pt x="1292460" y="653010"/>
                  <a:pt x="1316948" y="653554"/>
                </a:cubicBezTo>
                <a:close/>
                <a:moveTo>
                  <a:pt x="1479112" y="651921"/>
                </a:moveTo>
                <a:cubicBezTo>
                  <a:pt x="1506321" y="651377"/>
                  <a:pt x="1524823" y="669335"/>
                  <a:pt x="1524823" y="697088"/>
                </a:cubicBezTo>
                <a:cubicBezTo>
                  <a:pt x="1524823" y="722664"/>
                  <a:pt x="1506865" y="743343"/>
                  <a:pt x="1479112" y="742254"/>
                </a:cubicBezTo>
                <a:cubicBezTo>
                  <a:pt x="1450815" y="743343"/>
                  <a:pt x="1433401" y="721031"/>
                  <a:pt x="1433945" y="697088"/>
                </a:cubicBezTo>
                <a:cubicBezTo>
                  <a:pt x="1434490" y="670423"/>
                  <a:pt x="1451903" y="652465"/>
                  <a:pt x="1479112" y="651921"/>
                </a:cubicBezTo>
                <a:close/>
                <a:moveTo>
                  <a:pt x="1642909" y="649744"/>
                </a:moveTo>
                <a:cubicBezTo>
                  <a:pt x="1671750" y="650288"/>
                  <a:pt x="1690252" y="668790"/>
                  <a:pt x="1690796" y="697087"/>
                </a:cubicBezTo>
                <a:cubicBezTo>
                  <a:pt x="1691340" y="723752"/>
                  <a:pt x="1672294" y="743342"/>
                  <a:pt x="1642909" y="745519"/>
                </a:cubicBezTo>
                <a:cubicBezTo>
                  <a:pt x="1614067" y="743887"/>
                  <a:pt x="1594477" y="725384"/>
                  <a:pt x="1594477" y="697632"/>
                </a:cubicBezTo>
                <a:cubicBezTo>
                  <a:pt x="1594477" y="668790"/>
                  <a:pt x="1614611" y="649200"/>
                  <a:pt x="1642909" y="649744"/>
                </a:cubicBezTo>
                <a:close/>
                <a:moveTo>
                  <a:pt x="1805617" y="648112"/>
                </a:moveTo>
                <a:cubicBezTo>
                  <a:pt x="1829561" y="648112"/>
                  <a:pt x="1857314" y="672055"/>
                  <a:pt x="1854593" y="698176"/>
                </a:cubicBezTo>
                <a:cubicBezTo>
                  <a:pt x="1856770" y="719399"/>
                  <a:pt x="1832826" y="747151"/>
                  <a:pt x="1805073" y="746607"/>
                </a:cubicBezTo>
                <a:cubicBezTo>
                  <a:pt x="1779497" y="746063"/>
                  <a:pt x="1756097" y="721575"/>
                  <a:pt x="1756097" y="697087"/>
                </a:cubicBezTo>
                <a:cubicBezTo>
                  <a:pt x="1756097" y="670423"/>
                  <a:pt x="1782218" y="647567"/>
                  <a:pt x="1805617" y="648112"/>
                </a:cubicBezTo>
                <a:close/>
                <a:moveTo>
                  <a:pt x="1969414" y="647023"/>
                </a:moveTo>
                <a:cubicBezTo>
                  <a:pt x="1992814" y="647023"/>
                  <a:pt x="2020567" y="672055"/>
                  <a:pt x="2018934" y="698176"/>
                </a:cubicBezTo>
                <a:cubicBezTo>
                  <a:pt x="2017302" y="725384"/>
                  <a:pt x="1996623" y="746063"/>
                  <a:pt x="1968326" y="746063"/>
                </a:cubicBezTo>
                <a:cubicBezTo>
                  <a:pt x="1941661" y="748784"/>
                  <a:pt x="1919350" y="721031"/>
                  <a:pt x="1918806" y="697087"/>
                </a:cubicBezTo>
                <a:cubicBezTo>
                  <a:pt x="1918806" y="669878"/>
                  <a:pt x="1945471" y="647023"/>
                  <a:pt x="1969414" y="647023"/>
                </a:cubicBezTo>
                <a:close/>
                <a:moveTo>
                  <a:pt x="90919" y="606754"/>
                </a:moveTo>
                <a:cubicBezTo>
                  <a:pt x="94728" y="608386"/>
                  <a:pt x="99626" y="612195"/>
                  <a:pt x="99626" y="615460"/>
                </a:cubicBezTo>
                <a:cubicBezTo>
                  <a:pt x="100170" y="618181"/>
                  <a:pt x="95816" y="621990"/>
                  <a:pt x="92007" y="627976"/>
                </a:cubicBezTo>
                <a:cubicBezTo>
                  <a:pt x="87654" y="623079"/>
                  <a:pt x="84389" y="619814"/>
                  <a:pt x="82756" y="616005"/>
                </a:cubicBezTo>
                <a:cubicBezTo>
                  <a:pt x="81668" y="613284"/>
                  <a:pt x="88198" y="605665"/>
                  <a:pt x="90919" y="606754"/>
                </a:cubicBezTo>
                <a:close/>
                <a:moveTo>
                  <a:pt x="254172" y="598047"/>
                </a:moveTo>
                <a:cubicBezTo>
                  <a:pt x="265599" y="597503"/>
                  <a:pt x="273218" y="606210"/>
                  <a:pt x="272674" y="614917"/>
                </a:cubicBezTo>
                <a:cubicBezTo>
                  <a:pt x="272674" y="625800"/>
                  <a:pt x="266688" y="632874"/>
                  <a:pt x="255260" y="633419"/>
                </a:cubicBezTo>
                <a:cubicBezTo>
                  <a:pt x="244376" y="633963"/>
                  <a:pt x="237302" y="626889"/>
                  <a:pt x="236758" y="616005"/>
                </a:cubicBezTo>
                <a:cubicBezTo>
                  <a:pt x="236758" y="605122"/>
                  <a:pt x="243832" y="598047"/>
                  <a:pt x="254172" y="598047"/>
                </a:cubicBezTo>
                <a:close/>
                <a:moveTo>
                  <a:pt x="418513" y="590429"/>
                </a:moveTo>
                <a:cubicBezTo>
                  <a:pt x="431029" y="590429"/>
                  <a:pt x="442457" y="601857"/>
                  <a:pt x="443001" y="614917"/>
                </a:cubicBezTo>
                <a:cubicBezTo>
                  <a:pt x="443545" y="627977"/>
                  <a:pt x="432118" y="640493"/>
                  <a:pt x="419058" y="640493"/>
                </a:cubicBezTo>
                <a:cubicBezTo>
                  <a:pt x="404365" y="640493"/>
                  <a:pt x="394570" y="630698"/>
                  <a:pt x="392937" y="616005"/>
                </a:cubicBezTo>
                <a:cubicBezTo>
                  <a:pt x="391849" y="604033"/>
                  <a:pt x="405997" y="590429"/>
                  <a:pt x="418513" y="590429"/>
                </a:cubicBezTo>
                <a:close/>
                <a:moveTo>
                  <a:pt x="581222" y="587163"/>
                </a:moveTo>
                <a:cubicBezTo>
                  <a:pt x="600812" y="588252"/>
                  <a:pt x="610063" y="598047"/>
                  <a:pt x="610063" y="616549"/>
                </a:cubicBezTo>
                <a:cubicBezTo>
                  <a:pt x="610063" y="634507"/>
                  <a:pt x="599179" y="644846"/>
                  <a:pt x="580677" y="645390"/>
                </a:cubicBezTo>
                <a:cubicBezTo>
                  <a:pt x="565440" y="644846"/>
                  <a:pt x="551836" y="634507"/>
                  <a:pt x="551836" y="615461"/>
                </a:cubicBezTo>
                <a:cubicBezTo>
                  <a:pt x="551836" y="594782"/>
                  <a:pt x="567073" y="586075"/>
                  <a:pt x="581222" y="587163"/>
                </a:cubicBezTo>
                <a:close/>
                <a:moveTo>
                  <a:pt x="743930" y="582266"/>
                </a:moveTo>
                <a:cubicBezTo>
                  <a:pt x="761344" y="581178"/>
                  <a:pt x="779301" y="599136"/>
                  <a:pt x="779301" y="616005"/>
                </a:cubicBezTo>
                <a:cubicBezTo>
                  <a:pt x="779301" y="632874"/>
                  <a:pt x="762976" y="649744"/>
                  <a:pt x="745563" y="649744"/>
                </a:cubicBezTo>
                <a:cubicBezTo>
                  <a:pt x="728149" y="649200"/>
                  <a:pt x="710191" y="635595"/>
                  <a:pt x="711824" y="616549"/>
                </a:cubicBezTo>
                <a:cubicBezTo>
                  <a:pt x="711824" y="596415"/>
                  <a:pt x="724340" y="583355"/>
                  <a:pt x="743930" y="582266"/>
                </a:cubicBezTo>
                <a:close/>
                <a:moveTo>
                  <a:pt x="907183" y="577913"/>
                </a:moveTo>
                <a:cubicBezTo>
                  <a:pt x="927318" y="576825"/>
                  <a:pt x="947452" y="598592"/>
                  <a:pt x="945276" y="615461"/>
                </a:cubicBezTo>
                <a:cubicBezTo>
                  <a:pt x="945276" y="635596"/>
                  <a:pt x="927318" y="653554"/>
                  <a:pt x="907727" y="654098"/>
                </a:cubicBezTo>
                <a:cubicBezTo>
                  <a:pt x="890314" y="654642"/>
                  <a:pt x="869091" y="635052"/>
                  <a:pt x="869091" y="616006"/>
                </a:cubicBezTo>
                <a:cubicBezTo>
                  <a:pt x="869635" y="595871"/>
                  <a:pt x="887049" y="578457"/>
                  <a:pt x="907183" y="577913"/>
                </a:cubicBezTo>
                <a:close/>
                <a:moveTo>
                  <a:pt x="1069891" y="574648"/>
                </a:moveTo>
                <a:cubicBezTo>
                  <a:pt x="1092202" y="574648"/>
                  <a:pt x="1111793" y="589885"/>
                  <a:pt x="1111248" y="615461"/>
                </a:cubicBezTo>
                <a:cubicBezTo>
                  <a:pt x="1111793" y="639405"/>
                  <a:pt x="1093835" y="656274"/>
                  <a:pt x="1070435" y="656274"/>
                </a:cubicBezTo>
                <a:cubicBezTo>
                  <a:pt x="1045403" y="656274"/>
                  <a:pt x="1029622" y="635052"/>
                  <a:pt x="1029622" y="614917"/>
                </a:cubicBezTo>
                <a:cubicBezTo>
                  <a:pt x="1030166" y="593150"/>
                  <a:pt x="1046491" y="574648"/>
                  <a:pt x="1069891" y="574648"/>
                </a:cubicBezTo>
                <a:close/>
                <a:moveTo>
                  <a:pt x="1235321" y="572472"/>
                </a:moveTo>
                <a:cubicBezTo>
                  <a:pt x="1256543" y="572472"/>
                  <a:pt x="1279399" y="590973"/>
                  <a:pt x="1277222" y="616550"/>
                </a:cubicBezTo>
                <a:cubicBezTo>
                  <a:pt x="1278855" y="639949"/>
                  <a:pt x="1255455" y="660084"/>
                  <a:pt x="1233688" y="660084"/>
                </a:cubicBezTo>
                <a:cubicBezTo>
                  <a:pt x="1211377" y="660084"/>
                  <a:pt x="1189610" y="637773"/>
                  <a:pt x="1190154" y="614917"/>
                </a:cubicBezTo>
                <a:cubicBezTo>
                  <a:pt x="1190698" y="594783"/>
                  <a:pt x="1209200" y="571927"/>
                  <a:pt x="1235321" y="572472"/>
                </a:cubicBezTo>
                <a:close/>
                <a:moveTo>
                  <a:pt x="1397485" y="569206"/>
                </a:moveTo>
                <a:cubicBezTo>
                  <a:pt x="1423606" y="569750"/>
                  <a:pt x="1443196" y="587708"/>
                  <a:pt x="1443196" y="616005"/>
                </a:cubicBezTo>
                <a:cubicBezTo>
                  <a:pt x="1443196" y="642670"/>
                  <a:pt x="1424150" y="661716"/>
                  <a:pt x="1396941" y="661172"/>
                </a:cubicBezTo>
                <a:cubicBezTo>
                  <a:pt x="1369188" y="661172"/>
                  <a:pt x="1350686" y="638860"/>
                  <a:pt x="1351775" y="614373"/>
                </a:cubicBezTo>
                <a:cubicBezTo>
                  <a:pt x="1352319" y="587164"/>
                  <a:pt x="1371365" y="569206"/>
                  <a:pt x="1397485" y="569206"/>
                </a:cubicBezTo>
                <a:close/>
                <a:moveTo>
                  <a:pt x="1560738" y="567029"/>
                </a:moveTo>
                <a:cubicBezTo>
                  <a:pt x="1586859" y="567029"/>
                  <a:pt x="1608082" y="587708"/>
                  <a:pt x="1609714" y="615461"/>
                </a:cubicBezTo>
                <a:cubicBezTo>
                  <a:pt x="1608082" y="641581"/>
                  <a:pt x="1589580" y="663892"/>
                  <a:pt x="1561283" y="663892"/>
                </a:cubicBezTo>
                <a:cubicBezTo>
                  <a:pt x="1534074" y="663892"/>
                  <a:pt x="1512851" y="642669"/>
                  <a:pt x="1512851" y="616005"/>
                </a:cubicBezTo>
                <a:cubicBezTo>
                  <a:pt x="1512851" y="587163"/>
                  <a:pt x="1535706" y="567029"/>
                  <a:pt x="1560738" y="567029"/>
                </a:cubicBezTo>
                <a:close/>
                <a:moveTo>
                  <a:pt x="1725624" y="565397"/>
                </a:moveTo>
                <a:cubicBezTo>
                  <a:pt x="1747935" y="565941"/>
                  <a:pt x="1775144" y="590429"/>
                  <a:pt x="1774599" y="616005"/>
                </a:cubicBezTo>
                <a:cubicBezTo>
                  <a:pt x="1774055" y="638317"/>
                  <a:pt x="1751744" y="668246"/>
                  <a:pt x="1723447" y="664981"/>
                </a:cubicBezTo>
                <a:cubicBezTo>
                  <a:pt x="1700592" y="667158"/>
                  <a:pt x="1674471" y="643758"/>
                  <a:pt x="1674471" y="615461"/>
                </a:cubicBezTo>
                <a:cubicBezTo>
                  <a:pt x="1674471" y="588797"/>
                  <a:pt x="1700592" y="565397"/>
                  <a:pt x="1725624" y="565397"/>
                </a:cubicBezTo>
                <a:close/>
                <a:moveTo>
                  <a:pt x="1886699" y="564853"/>
                </a:moveTo>
                <a:cubicBezTo>
                  <a:pt x="1914996" y="564309"/>
                  <a:pt x="1938396" y="589341"/>
                  <a:pt x="1938396" y="614917"/>
                </a:cubicBezTo>
                <a:cubicBezTo>
                  <a:pt x="1938396" y="640493"/>
                  <a:pt x="1917717" y="667702"/>
                  <a:pt x="1887787" y="665525"/>
                </a:cubicBezTo>
                <a:cubicBezTo>
                  <a:pt x="1860034" y="667702"/>
                  <a:pt x="1837723" y="644302"/>
                  <a:pt x="1837179" y="615461"/>
                </a:cubicBezTo>
                <a:cubicBezTo>
                  <a:pt x="1837179" y="586620"/>
                  <a:pt x="1861667" y="565397"/>
                  <a:pt x="1886699" y="564853"/>
                </a:cubicBezTo>
                <a:close/>
                <a:moveTo>
                  <a:pt x="2050496" y="564852"/>
                </a:moveTo>
                <a:lnTo>
                  <a:pt x="2051041" y="564962"/>
                </a:lnTo>
                <a:lnTo>
                  <a:pt x="2051041" y="665899"/>
                </a:lnTo>
                <a:lnTo>
                  <a:pt x="2049952" y="666069"/>
                </a:lnTo>
                <a:cubicBezTo>
                  <a:pt x="2018934" y="667157"/>
                  <a:pt x="1999344" y="642669"/>
                  <a:pt x="1999344" y="615460"/>
                </a:cubicBezTo>
                <a:cubicBezTo>
                  <a:pt x="1999344" y="587163"/>
                  <a:pt x="2021655" y="564852"/>
                  <a:pt x="2050496" y="564852"/>
                </a:cubicBezTo>
                <a:close/>
                <a:moveTo>
                  <a:pt x="173090" y="517509"/>
                </a:moveTo>
                <a:cubicBezTo>
                  <a:pt x="181252" y="517509"/>
                  <a:pt x="189415" y="525672"/>
                  <a:pt x="189959" y="533834"/>
                </a:cubicBezTo>
                <a:cubicBezTo>
                  <a:pt x="189959" y="542541"/>
                  <a:pt x="182341" y="550160"/>
                  <a:pt x="173634" y="550160"/>
                </a:cubicBezTo>
                <a:cubicBezTo>
                  <a:pt x="165471" y="550160"/>
                  <a:pt x="157853" y="543085"/>
                  <a:pt x="157308" y="534923"/>
                </a:cubicBezTo>
                <a:cubicBezTo>
                  <a:pt x="156764" y="526216"/>
                  <a:pt x="164383" y="518053"/>
                  <a:pt x="173090" y="517509"/>
                </a:cubicBezTo>
                <a:close/>
                <a:moveTo>
                  <a:pt x="335798" y="511523"/>
                </a:moveTo>
                <a:cubicBezTo>
                  <a:pt x="349947" y="512067"/>
                  <a:pt x="357565" y="519686"/>
                  <a:pt x="358654" y="533834"/>
                </a:cubicBezTo>
                <a:cubicBezTo>
                  <a:pt x="359742" y="547439"/>
                  <a:pt x="348314" y="557778"/>
                  <a:pt x="336343" y="556689"/>
                </a:cubicBezTo>
                <a:cubicBezTo>
                  <a:pt x="324371" y="558322"/>
                  <a:pt x="312943" y="545806"/>
                  <a:pt x="312943" y="534378"/>
                </a:cubicBezTo>
                <a:cubicBezTo>
                  <a:pt x="312943" y="522951"/>
                  <a:pt x="322738" y="510979"/>
                  <a:pt x="335798" y="511523"/>
                </a:cubicBezTo>
                <a:close/>
                <a:moveTo>
                  <a:pt x="500139" y="506626"/>
                </a:moveTo>
                <a:cubicBezTo>
                  <a:pt x="517553" y="507170"/>
                  <a:pt x="527892" y="517509"/>
                  <a:pt x="527348" y="535467"/>
                </a:cubicBezTo>
                <a:cubicBezTo>
                  <a:pt x="526804" y="552880"/>
                  <a:pt x="515920" y="562131"/>
                  <a:pt x="497963" y="561587"/>
                </a:cubicBezTo>
                <a:cubicBezTo>
                  <a:pt x="481093" y="561043"/>
                  <a:pt x="472386" y="550704"/>
                  <a:pt x="471842" y="533290"/>
                </a:cubicBezTo>
                <a:cubicBezTo>
                  <a:pt x="471298" y="516965"/>
                  <a:pt x="485447" y="506081"/>
                  <a:pt x="500139" y="506626"/>
                </a:cubicBezTo>
                <a:close/>
                <a:moveTo>
                  <a:pt x="662304" y="500639"/>
                </a:moveTo>
                <a:cubicBezTo>
                  <a:pt x="677540" y="497919"/>
                  <a:pt x="696587" y="518597"/>
                  <a:pt x="696042" y="533290"/>
                </a:cubicBezTo>
                <a:cubicBezTo>
                  <a:pt x="694954" y="551792"/>
                  <a:pt x="681894" y="565396"/>
                  <a:pt x="663392" y="566485"/>
                </a:cubicBezTo>
                <a:cubicBezTo>
                  <a:pt x="643802" y="567573"/>
                  <a:pt x="629653" y="549615"/>
                  <a:pt x="630197" y="534378"/>
                </a:cubicBezTo>
                <a:cubicBezTo>
                  <a:pt x="630741" y="515876"/>
                  <a:pt x="644346" y="501184"/>
                  <a:pt x="662304" y="500639"/>
                </a:cubicBezTo>
                <a:close/>
                <a:moveTo>
                  <a:pt x="825557" y="496830"/>
                </a:moveTo>
                <a:cubicBezTo>
                  <a:pt x="846780" y="496286"/>
                  <a:pt x="862561" y="513700"/>
                  <a:pt x="863649" y="534923"/>
                </a:cubicBezTo>
                <a:cubicBezTo>
                  <a:pt x="862017" y="556690"/>
                  <a:pt x="845147" y="571927"/>
                  <a:pt x="825557" y="571383"/>
                </a:cubicBezTo>
                <a:cubicBezTo>
                  <a:pt x="805422" y="570838"/>
                  <a:pt x="788553" y="555057"/>
                  <a:pt x="788553" y="534379"/>
                </a:cubicBezTo>
                <a:cubicBezTo>
                  <a:pt x="788553" y="514244"/>
                  <a:pt x="804334" y="497375"/>
                  <a:pt x="825557" y="496830"/>
                </a:cubicBezTo>
                <a:close/>
                <a:moveTo>
                  <a:pt x="989898" y="494110"/>
                </a:moveTo>
                <a:cubicBezTo>
                  <a:pt x="1012209" y="494654"/>
                  <a:pt x="1029622" y="513156"/>
                  <a:pt x="1029078" y="534923"/>
                </a:cubicBezTo>
                <a:cubicBezTo>
                  <a:pt x="1028534" y="556146"/>
                  <a:pt x="1010576" y="574104"/>
                  <a:pt x="989353" y="574104"/>
                </a:cubicBezTo>
                <a:cubicBezTo>
                  <a:pt x="969763" y="574648"/>
                  <a:pt x="947452" y="556690"/>
                  <a:pt x="949629" y="533835"/>
                </a:cubicBezTo>
                <a:cubicBezTo>
                  <a:pt x="947996" y="512068"/>
                  <a:pt x="968675" y="494110"/>
                  <a:pt x="989898" y="494110"/>
                </a:cubicBezTo>
                <a:close/>
                <a:moveTo>
                  <a:pt x="1152062" y="490301"/>
                </a:moveTo>
                <a:cubicBezTo>
                  <a:pt x="1174917" y="490301"/>
                  <a:pt x="1196140" y="509347"/>
                  <a:pt x="1196140" y="533835"/>
                </a:cubicBezTo>
                <a:cubicBezTo>
                  <a:pt x="1197228" y="558867"/>
                  <a:pt x="1173829" y="577913"/>
                  <a:pt x="1152606" y="577369"/>
                </a:cubicBezTo>
                <a:cubicBezTo>
                  <a:pt x="1130839" y="577369"/>
                  <a:pt x="1109616" y="556690"/>
                  <a:pt x="1109072" y="534379"/>
                </a:cubicBezTo>
                <a:cubicBezTo>
                  <a:pt x="1108528" y="510980"/>
                  <a:pt x="1128662" y="490301"/>
                  <a:pt x="1152062" y="490301"/>
                </a:cubicBezTo>
                <a:close/>
                <a:moveTo>
                  <a:pt x="1316947" y="489212"/>
                </a:moveTo>
                <a:cubicBezTo>
                  <a:pt x="1343612" y="489756"/>
                  <a:pt x="1361570" y="510435"/>
                  <a:pt x="1361570" y="534923"/>
                </a:cubicBezTo>
                <a:cubicBezTo>
                  <a:pt x="1361570" y="560499"/>
                  <a:pt x="1341980" y="580090"/>
                  <a:pt x="1315859" y="580090"/>
                </a:cubicBezTo>
                <a:cubicBezTo>
                  <a:pt x="1291915" y="580090"/>
                  <a:pt x="1269060" y="560499"/>
                  <a:pt x="1270693" y="533835"/>
                </a:cubicBezTo>
                <a:cubicBezTo>
                  <a:pt x="1269604" y="508258"/>
                  <a:pt x="1291371" y="488124"/>
                  <a:pt x="1316947" y="489212"/>
                </a:cubicBezTo>
                <a:close/>
                <a:moveTo>
                  <a:pt x="1479112" y="484315"/>
                </a:moveTo>
                <a:cubicBezTo>
                  <a:pt x="1503599" y="484315"/>
                  <a:pt x="1528087" y="508259"/>
                  <a:pt x="1528087" y="533835"/>
                </a:cubicBezTo>
                <a:cubicBezTo>
                  <a:pt x="1528087" y="558867"/>
                  <a:pt x="1506865" y="582267"/>
                  <a:pt x="1479656" y="582267"/>
                </a:cubicBezTo>
                <a:cubicBezTo>
                  <a:pt x="1453535" y="582267"/>
                  <a:pt x="1431224" y="560500"/>
                  <a:pt x="1431224" y="533835"/>
                </a:cubicBezTo>
                <a:cubicBezTo>
                  <a:pt x="1430680" y="506626"/>
                  <a:pt x="1454624" y="485403"/>
                  <a:pt x="1479112" y="484315"/>
                </a:cubicBezTo>
                <a:close/>
                <a:moveTo>
                  <a:pt x="1643452" y="484314"/>
                </a:moveTo>
                <a:cubicBezTo>
                  <a:pt x="1667396" y="481049"/>
                  <a:pt x="1693517" y="509891"/>
                  <a:pt x="1692973" y="534923"/>
                </a:cubicBezTo>
                <a:cubicBezTo>
                  <a:pt x="1692428" y="558867"/>
                  <a:pt x="1669573" y="584987"/>
                  <a:pt x="1641276" y="583898"/>
                </a:cubicBezTo>
                <a:cubicBezTo>
                  <a:pt x="1616788" y="583354"/>
                  <a:pt x="1592300" y="562676"/>
                  <a:pt x="1592300" y="532202"/>
                </a:cubicBezTo>
                <a:cubicBezTo>
                  <a:pt x="1592300" y="509891"/>
                  <a:pt x="1615155" y="481049"/>
                  <a:pt x="1643452" y="484314"/>
                </a:cubicBezTo>
                <a:close/>
                <a:moveTo>
                  <a:pt x="1806162" y="481594"/>
                </a:moveTo>
                <a:cubicBezTo>
                  <a:pt x="1839901" y="484859"/>
                  <a:pt x="1858947" y="504993"/>
                  <a:pt x="1857858" y="536011"/>
                </a:cubicBezTo>
                <a:cubicBezTo>
                  <a:pt x="1855682" y="568662"/>
                  <a:pt x="1834459" y="584987"/>
                  <a:pt x="1803441" y="586075"/>
                </a:cubicBezTo>
                <a:cubicBezTo>
                  <a:pt x="1775144" y="584443"/>
                  <a:pt x="1751744" y="559955"/>
                  <a:pt x="1753377" y="533290"/>
                </a:cubicBezTo>
                <a:cubicBezTo>
                  <a:pt x="1755009" y="504993"/>
                  <a:pt x="1780041" y="479417"/>
                  <a:pt x="1806162" y="481594"/>
                </a:cubicBezTo>
                <a:close/>
                <a:moveTo>
                  <a:pt x="1968326" y="480505"/>
                </a:moveTo>
                <a:cubicBezTo>
                  <a:pt x="1998256" y="483226"/>
                  <a:pt x="2020023" y="501728"/>
                  <a:pt x="2022200" y="534379"/>
                </a:cubicBezTo>
                <a:cubicBezTo>
                  <a:pt x="2023832" y="560499"/>
                  <a:pt x="1996079" y="588252"/>
                  <a:pt x="1969415" y="588252"/>
                </a:cubicBezTo>
                <a:cubicBezTo>
                  <a:pt x="1943294" y="588796"/>
                  <a:pt x="1916085" y="561587"/>
                  <a:pt x="1915541" y="534923"/>
                </a:cubicBezTo>
                <a:cubicBezTo>
                  <a:pt x="1914453" y="508258"/>
                  <a:pt x="1941117" y="480505"/>
                  <a:pt x="1968326" y="480505"/>
                </a:cubicBezTo>
                <a:close/>
                <a:moveTo>
                  <a:pt x="91464" y="440780"/>
                </a:moveTo>
                <a:cubicBezTo>
                  <a:pt x="99082" y="440780"/>
                  <a:pt x="102347" y="443501"/>
                  <a:pt x="102891" y="451664"/>
                </a:cubicBezTo>
                <a:cubicBezTo>
                  <a:pt x="102891" y="460915"/>
                  <a:pt x="100171" y="464179"/>
                  <a:pt x="92008" y="464179"/>
                </a:cubicBezTo>
                <a:cubicBezTo>
                  <a:pt x="83301" y="464179"/>
                  <a:pt x="80036" y="461459"/>
                  <a:pt x="80036" y="452752"/>
                </a:cubicBezTo>
                <a:cubicBezTo>
                  <a:pt x="80036" y="444045"/>
                  <a:pt x="83301" y="440780"/>
                  <a:pt x="91464" y="440780"/>
                </a:cubicBezTo>
                <a:close/>
                <a:moveTo>
                  <a:pt x="254172" y="430441"/>
                </a:moveTo>
                <a:cubicBezTo>
                  <a:pt x="263967" y="430441"/>
                  <a:pt x="276483" y="440236"/>
                  <a:pt x="275939" y="452208"/>
                </a:cubicBezTo>
                <a:cubicBezTo>
                  <a:pt x="275939" y="463092"/>
                  <a:pt x="265600" y="473975"/>
                  <a:pt x="254716" y="473975"/>
                </a:cubicBezTo>
                <a:cubicBezTo>
                  <a:pt x="244377" y="473975"/>
                  <a:pt x="232949" y="463092"/>
                  <a:pt x="232405" y="452752"/>
                </a:cubicBezTo>
                <a:cubicBezTo>
                  <a:pt x="232405" y="442413"/>
                  <a:pt x="243833" y="430985"/>
                  <a:pt x="254172" y="430441"/>
                </a:cubicBezTo>
                <a:close/>
                <a:moveTo>
                  <a:pt x="417969" y="424999"/>
                </a:moveTo>
                <a:cubicBezTo>
                  <a:pt x="432118" y="424999"/>
                  <a:pt x="444634" y="438059"/>
                  <a:pt x="444634" y="452752"/>
                </a:cubicBezTo>
                <a:cubicBezTo>
                  <a:pt x="445178" y="464180"/>
                  <a:pt x="432662" y="481049"/>
                  <a:pt x="417425" y="479417"/>
                </a:cubicBezTo>
                <a:cubicBezTo>
                  <a:pt x="405453" y="481049"/>
                  <a:pt x="389672" y="465268"/>
                  <a:pt x="390760" y="452208"/>
                </a:cubicBezTo>
                <a:cubicBezTo>
                  <a:pt x="391849" y="437515"/>
                  <a:pt x="403276" y="424999"/>
                  <a:pt x="417969" y="424999"/>
                </a:cubicBezTo>
                <a:close/>
                <a:moveTo>
                  <a:pt x="580677" y="419558"/>
                </a:moveTo>
                <a:cubicBezTo>
                  <a:pt x="596458" y="419013"/>
                  <a:pt x="612783" y="434795"/>
                  <a:pt x="612783" y="452208"/>
                </a:cubicBezTo>
                <a:cubicBezTo>
                  <a:pt x="612783" y="469622"/>
                  <a:pt x="599723" y="483226"/>
                  <a:pt x="581221" y="484315"/>
                </a:cubicBezTo>
                <a:cubicBezTo>
                  <a:pt x="561087" y="482138"/>
                  <a:pt x="549659" y="470710"/>
                  <a:pt x="549115" y="452208"/>
                </a:cubicBezTo>
                <a:cubicBezTo>
                  <a:pt x="548571" y="433162"/>
                  <a:pt x="564352" y="420102"/>
                  <a:pt x="580677" y="419558"/>
                </a:cubicBezTo>
                <a:close/>
                <a:moveTo>
                  <a:pt x="743931" y="415748"/>
                </a:moveTo>
                <a:cubicBezTo>
                  <a:pt x="761888" y="414660"/>
                  <a:pt x="779846" y="432618"/>
                  <a:pt x="780390" y="452208"/>
                </a:cubicBezTo>
                <a:cubicBezTo>
                  <a:pt x="780934" y="471254"/>
                  <a:pt x="764065" y="488668"/>
                  <a:pt x="744475" y="489212"/>
                </a:cubicBezTo>
                <a:cubicBezTo>
                  <a:pt x="727061" y="489212"/>
                  <a:pt x="709103" y="472342"/>
                  <a:pt x="708559" y="453840"/>
                </a:cubicBezTo>
                <a:cubicBezTo>
                  <a:pt x="707471" y="435883"/>
                  <a:pt x="725428" y="416836"/>
                  <a:pt x="743931" y="415748"/>
                </a:cubicBezTo>
                <a:close/>
                <a:moveTo>
                  <a:pt x="908271" y="414116"/>
                </a:moveTo>
                <a:cubicBezTo>
                  <a:pt x="927861" y="411395"/>
                  <a:pt x="946907" y="431529"/>
                  <a:pt x="946363" y="453296"/>
                </a:cubicBezTo>
                <a:cubicBezTo>
                  <a:pt x="946363" y="473975"/>
                  <a:pt x="927317" y="491933"/>
                  <a:pt x="906638" y="491933"/>
                </a:cubicBezTo>
                <a:cubicBezTo>
                  <a:pt x="887048" y="491933"/>
                  <a:pt x="866913" y="473431"/>
                  <a:pt x="868546" y="452208"/>
                </a:cubicBezTo>
                <a:cubicBezTo>
                  <a:pt x="870179" y="428808"/>
                  <a:pt x="884871" y="413571"/>
                  <a:pt x="908271" y="414116"/>
                </a:cubicBezTo>
                <a:close/>
                <a:moveTo>
                  <a:pt x="1072068" y="409218"/>
                </a:moveTo>
                <a:cubicBezTo>
                  <a:pt x="1097100" y="410307"/>
                  <a:pt x="1113970" y="427720"/>
                  <a:pt x="1113970" y="452752"/>
                </a:cubicBezTo>
                <a:cubicBezTo>
                  <a:pt x="1113970" y="478329"/>
                  <a:pt x="1092203" y="495198"/>
                  <a:pt x="1070436" y="495198"/>
                </a:cubicBezTo>
                <a:cubicBezTo>
                  <a:pt x="1048124" y="494654"/>
                  <a:pt x="1027446" y="475063"/>
                  <a:pt x="1028534" y="451120"/>
                </a:cubicBezTo>
                <a:cubicBezTo>
                  <a:pt x="1029622" y="427720"/>
                  <a:pt x="1048669" y="408130"/>
                  <a:pt x="1072068" y="409218"/>
                </a:cubicBezTo>
                <a:close/>
                <a:moveTo>
                  <a:pt x="1235865" y="408130"/>
                </a:moveTo>
                <a:cubicBezTo>
                  <a:pt x="1258721" y="405953"/>
                  <a:pt x="1279400" y="427176"/>
                  <a:pt x="1279400" y="453296"/>
                </a:cubicBezTo>
                <a:cubicBezTo>
                  <a:pt x="1278855" y="478328"/>
                  <a:pt x="1258177" y="497374"/>
                  <a:pt x="1233689" y="497374"/>
                </a:cubicBezTo>
                <a:cubicBezTo>
                  <a:pt x="1209745" y="496830"/>
                  <a:pt x="1189066" y="476151"/>
                  <a:pt x="1189611" y="451664"/>
                </a:cubicBezTo>
                <a:cubicBezTo>
                  <a:pt x="1189611" y="429352"/>
                  <a:pt x="1209201" y="404864"/>
                  <a:pt x="1235865" y="408130"/>
                </a:cubicBezTo>
                <a:close/>
                <a:moveTo>
                  <a:pt x="1396941" y="403776"/>
                </a:moveTo>
                <a:cubicBezTo>
                  <a:pt x="1425238" y="403232"/>
                  <a:pt x="1445373" y="423911"/>
                  <a:pt x="1446461" y="450575"/>
                </a:cubicBezTo>
                <a:cubicBezTo>
                  <a:pt x="1447005" y="476696"/>
                  <a:pt x="1426327" y="500096"/>
                  <a:pt x="1399118" y="500640"/>
                </a:cubicBezTo>
                <a:cubicBezTo>
                  <a:pt x="1372453" y="501184"/>
                  <a:pt x="1349598" y="479961"/>
                  <a:pt x="1349598" y="453296"/>
                </a:cubicBezTo>
                <a:cubicBezTo>
                  <a:pt x="1349598" y="424999"/>
                  <a:pt x="1370277" y="404865"/>
                  <a:pt x="1396941" y="403776"/>
                </a:cubicBezTo>
                <a:close/>
                <a:moveTo>
                  <a:pt x="1560738" y="402144"/>
                </a:moveTo>
                <a:cubicBezTo>
                  <a:pt x="1588491" y="402144"/>
                  <a:pt x="1611347" y="427176"/>
                  <a:pt x="1611347" y="453297"/>
                </a:cubicBezTo>
                <a:cubicBezTo>
                  <a:pt x="1610803" y="476152"/>
                  <a:pt x="1590668" y="502817"/>
                  <a:pt x="1560194" y="502272"/>
                </a:cubicBezTo>
                <a:cubicBezTo>
                  <a:pt x="1534074" y="501728"/>
                  <a:pt x="1508498" y="479961"/>
                  <a:pt x="1511218" y="451664"/>
                </a:cubicBezTo>
                <a:cubicBezTo>
                  <a:pt x="1508498" y="425544"/>
                  <a:pt x="1534618" y="402144"/>
                  <a:pt x="1560738" y="402144"/>
                </a:cubicBezTo>
                <a:close/>
                <a:moveTo>
                  <a:pt x="1723991" y="399423"/>
                </a:moveTo>
                <a:cubicBezTo>
                  <a:pt x="1756097" y="402688"/>
                  <a:pt x="1777320" y="422278"/>
                  <a:pt x="1776776" y="452752"/>
                </a:cubicBezTo>
                <a:cubicBezTo>
                  <a:pt x="1776232" y="483226"/>
                  <a:pt x="1757730" y="501728"/>
                  <a:pt x="1725079" y="504993"/>
                </a:cubicBezTo>
                <a:cubicBezTo>
                  <a:pt x="1697870" y="507714"/>
                  <a:pt x="1670117" y="479961"/>
                  <a:pt x="1671750" y="452752"/>
                </a:cubicBezTo>
                <a:cubicBezTo>
                  <a:pt x="1673382" y="420102"/>
                  <a:pt x="1692428" y="403232"/>
                  <a:pt x="1723991" y="399423"/>
                </a:cubicBezTo>
                <a:close/>
                <a:moveTo>
                  <a:pt x="2051040" y="398335"/>
                </a:moveTo>
                <a:lnTo>
                  <a:pt x="2051041" y="398335"/>
                </a:lnTo>
                <a:lnTo>
                  <a:pt x="2051041" y="506936"/>
                </a:lnTo>
                <a:lnTo>
                  <a:pt x="2049952" y="507170"/>
                </a:lnTo>
                <a:cubicBezTo>
                  <a:pt x="2020566" y="506626"/>
                  <a:pt x="1995534" y="481593"/>
                  <a:pt x="1995534" y="452208"/>
                </a:cubicBezTo>
                <a:cubicBezTo>
                  <a:pt x="1996078" y="424455"/>
                  <a:pt x="2021655" y="397246"/>
                  <a:pt x="2051040" y="398335"/>
                </a:cubicBezTo>
                <a:close/>
                <a:moveTo>
                  <a:pt x="1888332" y="398335"/>
                </a:moveTo>
                <a:cubicBezTo>
                  <a:pt x="1915541" y="398879"/>
                  <a:pt x="1941661" y="423911"/>
                  <a:pt x="1941661" y="452208"/>
                </a:cubicBezTo>
                <a:cubicBezTo>
                  <a:pt x="1941661" y="481594"/>
                  <a:pt x="1916085" y="507170"/>
                  <a:pt x="1886699" y="506082"/>
                </a:cubicBezTo>
                <a:cubicBezTo>
                  <a:pt x="1857314" y="505538"/>
                  <a:pt x="1833914" y="481594"/>
                  <a:pt x="1833370" y="452208"/>
                </a:cubicBezTo>
                <a:cubicBezTo>
                  <a:pt x="1833370" y="423911"/>
                  <a:pt x="1860035" y="398335"/>
                  <a:pt x="1888332" y="398335"/>
                </a:cubicBezTo>
                <a:close/>
                <a:moveTo>
                  <a:pt x="12014" y="364052"/>
                </a:moveTo>
                <a:cubicBezTo>
                  <a:pt x="13102" y="365140"/>
                  <a:pt x="15279" y="367317"/>
                  <a:pt x="15823" y="370038"/>
                </a:cubicBezTo>
                <a:cubicBezTo>
                  <a:pt x="16911" y="374391"/>
                  <a:pt x="14191" y="377656"/>
                  <a:pt x="9293" y="377656"/>
                </a:cubicBezTo>
                <a:cubicBezTo>
                  <a:pt x="4940" y="377656"/>
                  <a:pt x="3307" y="374936"/>
                  <a:pt x="3307" y="371126"/>
                </a:cubicBezTo>
                <a:cubicBezTo>
                  <a:pt x="3307" y="367317"/>
                  <a:pt x="4940" y="364052"/>
                  <a:pt x="12014" y="364052"/>
                </a:cubicBezTo>
                <a:close/>
                <a:moveTo>
                  <a:pt x="172545" y="353713"/>
                </a:moveTo>
                <a:cubicBezTo>
                  <a:pt x="184517" y="353713"/>
                  <a:pt x="190503" y="359154"/>
                  <a:pt x="190503" y="370582"/>
                </a:cubicBezTo>
                <a:cubicBezTo>
                  <a:pt x="190503" y="381466"/>
                  <a:pt x="184517" y="387996"/>
                  <a:pt x="173090" y="387996"/>
                </a:cubicBezTo>
                <a:cubicBezTo>
                  <a:pt x="163839" y="388540"/>
                  <a:pt x="155676" y="381466"/>
                  <a:pt x="155676" y="371126"/>
                </a:cubicBezTo>
                <a:cubicBezTo>
                  <a:pt x="155676" y="362419"/>
                  <a:pt x="161662" y="352080"/>
                  <a:pt x="172545" y="353713"/>
                </a:cubicBezTo>
                <a:close/>
                <a:moveTo>
                  <a:pt x="336886" y="345550"/>
                </a:moveTo>
                <a:cubicBezTo>
                  <a:pt x="350490" y="346094"/>
                  <a:pt x="362462" y="358610"/>
                  <a:pt x="361374" y="371670"/>
                </a:cubicBezTo>
                <a:cubicBezTo>
                  <a:pt x="360286" y="385275"/>
                  <a:pt x="348858" y="395614"/>
                  <a:pt x="335798" y="395070"/>
                </a:cubicBezTo>
                <a:cubicBezTo>
                  <a:pt x="319472" y="394526"/>
                  <a:pt x="311854" y="381466"/>
                  <a:pt x="311854" y="370038"/>
                </a:cubicBezTo>
                <a:cubicBezTo>
                  <a:pt x="311854" y="356978"/>
                  <a:pt x="324370" y="345550"/>
                  <a:pt x="336886" y="345550"/>
                </a:cubicBezTo>
                <a:close/>
                <a:moveTo>
                  <a:pt x="499596" y="342284"/>
                </a:moveTo>
                <a:cubicBezTo>
                  <a:pt x="518642" y="341196"/>
                  <a:pt x="528437" y="354256"/>
                  <a:pt x="528437" y="370582"/>
                </a:cubicBezTo>
                <a:cubicBezTo>
                  <a:pt x="528437" y="386363"/>
                  <a:pt x="518642" y="399967"/>
                  <a:pt x="499051" y="399423"/>
                </a:cubicBezTo>
                <a:cubicBezTo>
                  <a:pt x="481094" y="399423"/>
                  <a:pt x="470210" y="387995"/>
                  <a:pt x="470210" y="370037"/>
                </a:cubicBezTo>
                <a:cubicBezTo>
                  <a:pt x="470754" y="352624"/>
                  <a:pt x="481638" y="341740"/>
                  <a:pt x="499596" y="342284"/>
                </a:cubicBezTo>
                <a:close/>
                <a:moveTo>
                  <a:pt x="663392" y="337387"/>
                </a:moveTo>
                <a:cubicBezTo>
                  <a:pt x="680262" y="337387"/>
                  <a:pt x="697675" y="354801"/>
                  <a:pt x="697131" y="371126"/>
                </a:cubicBezTo>
                <a:cubicBezTo>
                  <a:pt x="696043" y="390172"/>
                  <a:pt x="682982" y="404321"/>
                  <a:pt x="662304" y="404321"/>
                </a:cubicBezTo>
                <a:cubicBezTo>
                  <a:pt x="643258" y="405953"/>
                  <a:pt x="629109" y="389084"/>
                  <a:pt x="629109" y="371126"/>
                </a:cubicBezTo>
                <a:cubicBezTo>
                  <a:pt x="629109" y="352624"/>
                  <a:pt x="645434" y="337387"/>
                  <a:pt x="663392" y="337387"/>
                </a:cubicBezTo>
                <a:close/>
                <a:moveTo>
                  <a:pt x="825556" y="332489"/>
                </a:moveTo>
                <a:cubicBezTo>
                  <a:pt x="847323" y="333577"/>
                  <a:pt x="864193" y="349358"/>
                  <a:pt x="864737" y="370037"/>
                </a:cubicBezTo>
                <a:cubicBezTo>
                  <a:pt x="864193" y="391260"/>
                  <a:pt x="847323" y="409218"/>
                  <a:pt x="826645" y="409218"/>
                </a:cubicBezTo>
                <a:cubicBezTo>
                  <a:pt x="808687" y="412483"/>
                  <a:pt x="788008" y="387995"/>
                  <a:pt x="787464" y="371126"/>
                </a:cubicBezTo>
                <a:cubicBezTo>
                  <a:pt x="787464" y="353712"/>
                  <a:pt x="808687" y="331945"/>
                  <a:pt x="825556" y="332489"/>
                </a:cubicBezTo>
                <a:close/>
                <a:moveTo>
                  <a:pt x="989898" y="328680"/>
                </a:moveTo>
                <a:cubicBezTo>
                  <a:pt x="1013297" y="329224"/>
                  <a:pt x="1030167" y="347182"/>
                  <a:pt x="1031255" y="371126"/>
                </a:cubicBezTo>
                <a:cubicBezTo>
                  <a:pt x="1029623" y="396702"/>
                  <a:pt x="1010576" y="413027"/>
                  <a:pt x="989354" y="413027"/>
                </a:cubicBezTo>
                <a:cubicBezTo>
                  <a:pt x="964866" y="412483"/>
                  <a:pt x="946908" y="393981"/>
                  <a:pt x="947452" y="370037"/>
                </a:cubicBezTo>
                <a:cubicBezTo>
                  <a:pt x="947996" y="346094"/>
                  <a:pt x="964866" y="328680"/>
                  <a:pt x="989898" y="328680"/>
                </a:cubicBezTo>
                <a:close/>
                <a:moveTo>
                  <a:pt x="1153150" y="326504"/>
                </a:moveTo>
                <a:cubicBezTo>
                  <a:pt x="1177094" y="326504"/>
                  <a:pt x="1197228" y="347727"/>
                  <a:pt x="1197228" y="370582"/>
                </a:cubicBezTo>
                <a:cubicBezTo>
                  <a:pt x="1197228" y="392894"/>
                  <a:pt x="1176550" y="417925"/>
                  <a:pt x="1152606" y="414661"/>
                </a:cubicBezTo>
                <a:cubicBezTo>
                  <a:pt x="1130295" y="417925"/>
                  <a:pt x="1107984" y="393982"/>
                  <a:pt x="1108528" y="370038"/>
                </a:cubicBezTo>
                <a:cubicBezTo>
                  <a:pt x="1109072" y="347727"/>
                  <a:pt x="1129751" y="326504"/>
                  <a:pt x="1153150" y="326504"/>
                </a:cubicBezTo>
                <a:close/>
                <a:moveTo>
                  <a:pt x="1317492" y="323239"/>
                </a:moveTo>
                <a:cubicBezTo>
                  <a:pt x="1341979" y="322151"/>
                  <a:pt x="1367012" y="348271"/>
                  <a:pt x="1364835" y="372215"/>
                </a:cubicBezTo>
                <a:cubicBezTo>
                  <a:pt x="1361026" y="399968"/>
                  <a:pt x="1344700" y="416837"/>
                  <a:pt x="1314771" y="419014"/>
                </a:cubicBezTo>
                <a:cubicBezTo>
                  <a:pt x="1286474" y="415205"/>
                  <a:pt x="1267972" y="398879"/>
                  <a:pt x="1268516" y="370582"/>
                </a:cubicBezTo>
                <a:cubicBezTo>
                  <a:pt x="1268516" y="341197"/>
                  <a:pt x="1288650" y="324327"/>
                  <a:pt x="1317492" y="323239"/>
                </a:cubicBezTo>
                <a:close/>
                <a:moveTo>
                  <a:pt x="1479112" y="320517"/>
                </a:moveTo>
                <a:cubicBezTo>
                  <a:pt x="1503600" y="319973"/>
                  <a:pt x="1530265" y="343917"/>
                  <a:pt x="1529720" y="371670"/>
                </a:cubicBezTo>
                <a:cubicBezTo>
                  <a:pt x="1528632" y="395069"/>
                  <a:pt x="1506321" y="423366"/>
                  <a:pt x="1478568" y="420101"/>
                </a:cubicBezTo>
                <a:cubicBezTo>
                  <a:pt x="1452447" y="422822"/>
                  <a:pt x="1429592" y="397246"/>
                  <a:pt x="1429592" y="370037"/>
                </a:cubicBezTo>
                <a:cubicBezTo>
                  <a:pt x="1429592" y="342284"/>
                  <a:pt x="1455713" y="320517"/>
                  <a:pt x="1479112" y="320517"/>
                </a:cubicBezTo>
                <a:close/>
                <a:moveTo>
                  <a:pt x="1642364" y="318341"/>
                </a:moveTo>
                <a:cubicBezTo>
                  <a:pt x="1670661" y="318341"/>
                  <a:pt x="1692973" y="339020"/>
                  <a:pt x="1695694" y="370582"/>
                </a:cubicBezTo>
                <a:cubicBezTo>
                  <a:pt x="1696238" y="397791"/>
                  <a:pt x="1671206" y="423367"/>
                  <a:pt x="1643453" y="424455"/>
                </a:cubicBezTo>
                <a:cubicBezTo>
                  <a:pt x="1616788" y="425544"/>
                  <a:pt x="1589035" y="398335"/>
                  <a:pt x="1589035" y="371670"/>
                </a:cubicBezTo>
                <a:cubicBezTo>
                  <a:pt x="1589035" y="345006"/>
                  <a:pt x="1615155" y="317797"/>
                  <a:pt x="1642364" y="318341"/>
                </a:cubicBezTo>
                <a:close/>
                <a:moveTo>
                  <a:pt x="90919" y="273718"/>
                </a:moveTo>
                <a:cubicBezTo>
                  <a:pt x="96361" y="273174"/>
                  <a:pt x="106156" y="282425"/>
                  <a:pt x="106700" y="288411"/>
                </a:cubicBezTo>
                <a:cubicBezTo>
                  <a:pt x="106700" y="294941"/>
                  <a:pt x="97993" y="303648"/>
                  <a:pt x="91463" y="303648"/>
                </a:cubicBezTo>
                <a:cubicBezTo>
                  <a:pt x="84933" y="303648"/>
                  <a:pt x="76226" y="294941"/>
                  <a:pt x="76770" y="288411"/>
                </a:cubicBezTo>
                <a:cubicBezTo>
                  <a:pt x="76770" y="283513"/>
                  <a:pt x="86021" y="274262"/>
                  <a:pt x="90919" y="273718"/>
                </a:cubicBezTo>
                <a:close/>
                <a:moveTo>
                  <a:pt x="254716" y="267733"/>
                </a:moveTo>
                <a:cubicBezTo>
                  <a:pt x="267776" y="267733"/>
                  <a:pt x="276483" y="276440"/>
                  <a:pt x="276483" y="288956"/>
                </a:cubicBezTo>
                <a:cubicBezTo>
                  <a:pt x="276483" y="301472"/>
                  <a:pt x="266688" y="311811"/>
                  <a:pt x="254172" y="311811"/>
                </a:cubicBezTo>
                <a:cubicBezTo>
                  <a:pt x="243289" y="311811"/>
                  <a:pt x="232405" y="300384"/>
                  <a:pt x="232405" y="289500"/>
                </a:cubicBezTo>
                <a:cubicBezTo>
                  <a:pt x="232405" y="276984"/>
                  <a:pt x="242744" y="267733"/>
                  <a:pt x="254716" y="267733"/>
                </a:cubicBezTo>
                <a:close/>
                <a:moveTo>
                  <a:pt x="1941117" y="263202"/>
                </a:moveTo>
                <a:cubicBezTo>
                  <a:pt x="1937852" y="261570"/>
                  <a:pt x="1936219" y="263202"/>
                  <a:pt x="1936219" y="266467"/>
                </a:cubicBezTo>
                <a:cubicBezTo>
                  <a:pt x="1936763" y="268644"/>
                  <a:pt x="1937852" y="270276"/>
                  <a:pt x="1938396" y="272453"/>
                </a:cubicBezTo>
                <a:cubicBezTo>
                  <a:pt x="1944382" y="290955"/>
                  <a:pt x="1943838" y="308913"/>
                  <a:pt x="1932954" y="325782"/>
                </a:cubicBezTo>
                <a:cubicBezTo>
                  <a:pt x="1931866" y="327415"/>
                  <a:pt x="1931866" y="329047"/>
                  <a:pt x="1930777" y="331224"/>
                </a:cubicBezTo>
                <a:cubicBezTo>
                  <a:pt x="1932410" y="331224"/>
                  <a:pt x="1935131" y="331224"/>
                  <a:pt x="1936219" y="330136"/>
                </a:cubicBezTo>
                <a:cubicBezTo>
                  <a:pt x="1945470" y="323061"/>
                  <a:pt x="1955265" y="320885"/>
                  <a:pt x="1966693" y="320340"/>
                </a:cubicBezTo>
                <a:cubicBezTo>
                  <a:pt x="1978121" y="319796"/>
                  <a:pt x="1989004" y="323061"/>
                  <a:pt x="1998799" y="328503"/>
                </a:cubicBezTo>
                <a:cubicBezTo>
                  <a:pt x="2000432" y="329047"/>
                  <a:pt x="2001520" y="329592"/>
                  <a:pt x="2003153" y="330136"/>
                </a:cubicBezTo>
                <a:cubicBezTo>
                  <a:pt x="2002609" y="328503"/>
                  <a:pt x="2002609" y="326326"/>
                  <a:pt x="2001520" y="324694"/>
                </a:cubicBezTo>
                <a:cubicBezTo>
                  <a:pt x="1999344" y="319796"/>
                  <a:pt x="1995534" y="314899"/>
                  <a:pt x="1994446" y="309457"/>
                </a:cubicBezTo>
                <a:cubicBezTo>
                  <a:pt x="1992269" y="295308"/>
                  <a:pt x="1990093" y="281160"/>
                  <a:pt x="1998255" y="267555"/>
                </a:cubicBezTo>
                <a:cubicBezTo>
                  <a:pt x="2000432" y="267555"/>
                  <a:pt x="2000432" y="265923"/>
                  <a:pt x="2000976" y="263746"/>
                </a:cubicBezTo>
                <a:cubicBezTo>
                  <a:pt x="1998799" y="263746"/>
                  <a:pt x="1996623" y="262658"/>
                  <a:pt x="1995534" y="263746"/>
                </a:cubicBezTo>
                <a:cubicBezTo>
                  <a:pt x="1977577" y="272997"/>
                  <a:pt x="1959075" y="272997"/>
                  <a:pt x="1941117" y="263202"/>
                </a:cubicBezTo>
                <a:close/>
                <a:moveTo>
                  <a:pt x="417425" y="262291"/>
                </a:moveTo>
                <a:cubicBezTo>
                  <a:pt x="434839" y="262291"/>
                  <a:pt x="445178" y="272086"/>
                  <a:pt x="445178" y="288956"/>
                </a:cubicBezTo>
                <a:cubicBezTo>
                  <a:pt x="445178" y="305825"/>
                  <a:pt x="434839" y="316164"/>
                  <a:pt x="417969" y="317253"/>
                </a:cubicBezTo>
                <a:cubicBezTo>
                  <a:pt x="404909" y="317797"/>
                  <a:pt x="389672" y="306369"/>
                  <a:pt x="390216" y="290044"/>
                </a:cubicBezTo>
                <a:cubicBezTo>
                  <a:pt x="391305" y="272086"/>
                  <a:pt x="400011" y="262291"/>
                  <a:pt x="417425" y="262291"/>
                </a:cubicBezTo>
                <a:close/>
                <a:moveTo>
                  <a:pt x="580678" y="256304"/>
                </a:moveTo>
                <a:cubicBezTo>
                  <a:pt x="596459" y="255760"/>
                  <a:pt x="616049" y="273174"/>
                  <a:pt x="613872" y="288955"/>
                </a:cubicBezTo>
                <a:cubicBezTo>
                  <a:pt x="615505" y="304736"/>
                  <a:pt x="598635" y="322150"/>
                  <a:pt x="581222" y="322150"/>
                </a:cubicBezTo>
                <a:cubicBezTo>
                  <a:pt x="564352" y="322150"/>
                  <a:pt x="548571" y="308001"/>
                  <a:pt x="548027" y="289499"/>
                </a:cubicBezTo>
                <a:cubicBezTo>
                  <a:pt x="547483" y="272086"/>
                  <a:pt x="565441" y="256849"/>
                  <a:pt x="580678" y="256304"/>
                </a:cubicBezTo>
                <a:close/>
                <a:moveTo>
                  <a:pt x="743930" y="251951"/>
                </a:moveTo>
                <a:cubicBezTo>
                  <a:pt x="764609" y="251951"/>
                  <a:pt x="782566" y="268820"/>
                  <a:pt x="782022" y="289499"/>
                </a:cubicBezTo>
                <a:cubicBezTo>
                  <a:pt x="781478" y="311266"/>
                  <a:pt x="765153" y="326503"/>
                  <a:pt x="744474" y="326503"/>
                </a:cubicBezTo>
                <a:cubicBezTo>
                  <a:pt x="723795" y="326503"/>
                  <a:pt x="708014" y="311266"/>
                  <a:pt x="707470" y="289499"/>
                </a:cubicBezTo>
                <a:cubicBezTo>
                  <a:pt x="706926" y="271541"/>
                  <a:pt x="722163" y="252495"/>
                  <a:pt x="743930" y="251951"/>
                </a:cubicBezTo>
                <a:close/>
                <a:moveTo>
                  <a:pt x="907183" y="249775"/>
                </a:moveTo>
                <a:cubicBezTo>
                  <a:pt x="929494" y="249775"/>
                  <a:pt x="946908" y="263924"/>
                  <a:pt x="947452" y="289500"/>
                </a:cubicBezTo>
                <a:cubicBezTo>
                  <a:pt x="947996" y="311811"/>
                  <a:pt x="931127" y="330313"/>
                  <a:pt x="908271" y="329225"/>
                </a:cubicBezTo>
                <a:cubicBezTo>
                  <a:pt x="885960" y="330857"/>
                  <a:pt x="868002" y="312355"/>
                  <a:pt x="867458" y="290044"/>
                </a:cubicBezTo>
                <a:cubicBezTo>
                  <a:pt x="867458" y="266100"/>
                  <a:pt x="884872" y="249775"/>
                  <a:pt x="907183" y="249775"/>
                </a:cubicBezTo>
                <a:close/>
                <a:moveTo>
                  <a:pt x="1070435" y="245965"/>
                </a:moveTo>
                <a:cubicBezTo>
                  <a:pt x="1093291" y="245421"/>
                  <a:pt x="1116146" y="264467"/>
                  <a:pt x="1114513" y="290043"/>
                </a:cubicBezTo>
                <a:cubicBezTo>
                  <a:pt x="1115602" y="312899"/>
                  <a:pt x="1092202" y="334122"/>
                  <a:pt x="1069347" y="333578"/>
                </a:cubicBezTo>
                <a:cubicBezTo>
                  <a:pt x="1047036" y="333034"/>
                  <a:pt x="1026357" y="311266"/>
                  <a:pt x="1026357" y="288955"/>
                </a:cubicBezTo>
                <a:cubicBezTo>
                  <a:pt x="1026901" y="268276"/>
                  <a:pt x="1045403" y="245965"/>
                  <a:pt x="1070435" y="245965"/>
                </a:cubicBezTo>
                <a:close/>
                <a:moveTo>
                  <a:pt x="1233689" y="241613"/>
                </a:moveTo>
                <a:cubicBezTo>
                  <a:pt x="1257632" y="241068"/>
                  <a:pt x="1281032" y="263924"/>
                  <a:pt x="1282120" y="288412"/>
                </a:cubicBezTo>
                <a:cubicBezTo>
                  <a:pt x="1282665" y="312900"/>
                  <a:pt x="1260898" y="336299"/>
                  <a:pt x="1235321" y="335755"/>
                </a:cubicBezTo>
                <a:cubicBezTo>
                  <a:pt x="1206480" y="335211"/>
                  <a:pt x="1190155" y="318886"/>
                  <a:pt x="1187434" y="289500"/>
                </a:cubicBezTo>
                <a:cubicBezTo>
                  <a:pt x="1184713" y="266100"/>
                  <a:pt x="1208657" y="242701"/>
                  <a:pt x="1233689" y="241613"/>
                </a:cubicBezTo>
                <a:close/>
                <a:moveTo>
                  <a:pt x="1397485" y="238891"/>
                </a:moveTo>
                <a:cubicBezTo>
                  <a:pt x="1421973" y="237259"/>
                  <a:pt x="1448638" y="264467"/>
                  <a:pt x="1448094" y="288955"/>
                </a:cubicBezTo>
                <a:cubicBezTo>
                  <a:pt x="1447005" y="312355"/>
                  <a:pt x="1424150" y="341196"/>
                  <a:pt x="1398029" y="338475"/>
                </a:cubicBezTo>
                <a:cubicBezTo>
                  <a:pt x="1372453" y="340652"/>
                  <a:pt x="1347421" y="315620"/>
                  <a:pt x="1348509" y="289499"/>
                </a:cubicBezTo>
                <a:cubicBezTo>
                  <a:pt x="1349598" y="261202"/>
                  <a:pt x="1369732" y="240524"/>
                  <a:pt x="1397485" y="238891"/>
                </a:cubicBezTo>
                <a:close/>
                <a:moveTo>
                  <a:pt x="1559650" y="237258"/>
                </a:moveTo>
                <a:cubicBezTo>
                  <a:pt x="1590668" y="236170"/>
                  <a:pt x="1611891" y="259570"/>
                  <a:pt x="1613523" y="288955"/>
                </a:cubicBezTo>
                <a:cubicBezTo>
                  <a:pt x="1613523" y="316164"/>
                  <a:pt x="1587403" y="342829"/>
                  <a:pt x="1560738" y="342829"/>
                </a:cubicBezTo>
                <a:cubicBezTo>
                  <a:pt x="1534618" y="342829"/>
                  <a:pt x="1505776" y="315620"/>
                  <a:pt x="1507953" y="289499"/>
                </a:cubicBezTo>
                <a:cubicBezTo>
                  <a:pt x="1510130" y="261202"/>
                  <a:pt x="1526455" y="238347"/>
                  <a:pt x="1559650" y="237258"/>
                </a:cubicBezTo>
                <a:close/>
                <a:moveTo>
                  <a:pt x="9837" y="198078"/>
                </a:moveTo>
                <a:cubicBezTo>
                  <a:pt x="14190" y="198078"/>
                  <a:pt x="19632" y="202976"/>
                  <a:pt x="19632" y="207873"/>
                </a:cubicBezTo>
                <a:cubicBezTo>
                  <a:pt x="19632" y="212227"/>
                  <a:pt x="14190" y="217668"/>
                  <a:pt x="10381" y="218213"/>
                </a:cubicBezTo>
                <a:cubicBezTo>
                  <a:pt x="5483" y="218757"/>
                  <a:pt x="-503" y="212771"/>
                  <a:pt x="42" y="207873"/>
                </a:cubicBezTo>
                <a:cubicBezTo>
                  <a:pt x="42" y="202976"/>
                  <a:pt x="5483" y="198078"/>
                  <a:pt x="9837" y="198078"/>
                </a:cubicBezTo>
                <a:close/>
                <a:moveTo>
                  <a:pt x="173090" y="187739"/>
                </a:moveTo>
                <a:cubicBezTo>
                  <a:pt x="183429" y="188283"/>
                  <a:pt x="192136" y="196990"/>
                  <a:pt x="192136" y="207329"/>
                </a:cubicBezTo>
                <a:cubicBezTo>
                  <a:pt x="192136" y="217669"/>
                  <a:pt x="182341" y="228008"/>
                  <a:pt x="172546" y="227464"/>
                </a:cubicBezTo>
                <a:cubicBezTo>
                  <a:pt x="163839" y="226920"/>
                  <a:pt x="154588" y="217669"/>
                  <a:pt x="154044" y="208418"/>
                </a:cubicBezTo>
                <a:cubicBezTo>
                  <a:pt x="153500" y="198078"/>
                  <a:pt x="162751" y="187739"/>
                  <a:pt x="173090" y="187739"/>
                </a:cubicBezTo>
                <a:close/>
                <a:moveTo>
                  <a:pt x="336887" y="182297"/>
                </a:moveTo>
                <a:cubicBezTo>
                  <a:pt x="350491" y="182841"/>
                  <a:pt x="361919" y="191548"/>
                  <a:pt x="363007" y="207329"/>
                </a:cubicBezTo>
                <a:cubicBezTo>
                  <a:pt x="363551" y="219845"/>
                  <a:pt x="349947" y="233449"/>
                  <a:pt x="336887" y="233994"/>
                </a:cubicBezTo>
                <a:cubicBezTo>
                  <a:pt x="324371" y="233994"/>
                  <a:pt x="311311" y="221478"/>
                  <a:pt x="310766" y="208961"/>
                </a:cubicBezTo>
                <a:cubicBezTo>
                  <a:pt x="310222" y="195357"/>
                  <a:pt x="323282" y="181753"/>
                  <a:pt x="336887" y="182297"/>
                </a:cubicBezTo>
                <a:close/>
                <a:moveTo>
                  <a:pt x="1856225" y="180487"/>
                </a:moveTo>
                <a:cubicBezTo>
                  <a:pt x="1856225" y="182664"/>
                  <a:pt x="1855137" y="184841"/>
                  <a:pt x="1855681" y="185929"/>
                </a:cubicBezTo>
                <a:cubicBezTo>
                  <a:pt x="1863844" y="206064"/>
                  <a:pt x="1863844" y="226198"/>
                  <a:pt x="1851872" y="244700"/>
                </a:cubicBezTo>
                <a:cubicBezTo>
                  <a:pt x="1851328" y="245788"/>
                  <a:pt x="1851328" y="246877"/>
                  <a:pt x="1851328" y="247965"/>
                </a:cubicBezTo>
                <a:cubicBezTo>
                  <a:pt x="1852416" y="247965"/>
                  <a:pt x="1854049" y="247965"/>
                  <a:pt x="1854593" y="247421"/>
                </a:cubicBezTo>
                <a:cubicBezTo>
                  <a:pt x="1868197" y="237082"/>
                  <a:pt x="1883434" y="237082"/>
                  <a:pt x="1899215" y="238714"/>
                </a:cubicBezTo>
                <a:cubicBezTo>
                  <a:pt x="1904113" y="239258"/>
                  <a:pt x="1909010" y="241979"/>
                  <a:pt x="1913908" y="243067"/>
                </a:cubicBezTo>
                <a:cubicBezTo>
                  <a:pt x="1915541" y="243612"/>
                  <a:pt x="1917173" y="242523"/>
                  <a:pt x="1918806" y="242523"/>
                </a:cubicBezTo>
                <a:cubicBezTo>
                  <a:pt x="1918806" y="240891"/>
                  <a:pt x="1918806" y="239258"/>
                  <a:pt x="1918261" y="238170"/>
                </a:cubicBezTo>
                <a:cubicBezTo>
                  <a:pt x="1908466" y="220756"/>
                  <a:pt x="1910099" y="203887"/>
                  <a:pt x="1917173" y="185929"/>
                </a:cubicBezTo>
                <a:cubicBezTo>
                  <a:pt x="1917717" y="184297"/>
                  <a:pt x="1917717" y="183208"/>
                  <a:pt x="1918261" y="181576"/>
                </a:cubicBezTo>
                <a:cubicBezTo>
                  <a:pt x="1916629" y="182120"/>
                  <a:pt x="1914996" y="182120"/>
                  <a:pt x="1913908" y="182664"/>
                </a:cubicBezTo>
                <a:cubicBezTo>
                  <a:pt x="1895950" y="189738"/>
                  <a:pt x="1877992" y="190827"/>
                  <a:pt x="1860579" y="180487"/>
                </a:cubicBezTo>
                <a:cubicBezTo>
                  <a:pt x="1858946" y="181031"/>
                  <a:pt x="1857858" y="181031"/>
                  <a:pt x="1856225" y="180487"/>
                </a:cubicBezTo>
                <a:close/>
                <a:moveTo>
                  <a:pt x="499595" y="175767"/>
                </a:moveTo>
                <a:cubicBezTo>
                  <a:pt x="514832" y="175767"/>
                  <a:pt x="531702" y="193181"/>
                  <a:pt x="531158" y="207874"/>
                </a:cubicBezTo>
                <a:cubicBezTo>
                  <a:pt x="530613" y="223110"/>
                  <a:pt x="513744" y="239980"/>
                  <a:pt x="498507" y="238347"/>
                </a:cubicBezTo>
                <a:cubicBezTo>
                  <a:pt x="479461" y="236715"/>
                  <a:pt x="469666" y="224743"/>
                  <a:pt x="468033" y="207329"/>
                </a:cubicBezTo>
                <a:cubicBezTo>
                  <a:pt x="466945" y="192636"/>
                  <a:pt x="484903" y="175767"/>
                  <a:pt x="499595" y="175767"/>
                </a:cubicBezTo>
                <a:close/>
                <a:moveTo>
                  <a:pt x="662304" y="173046"/>
                </a:moveTo>
                <a:cubicBezTo>
                  <a:pt x="683527" y="171958"/>
                  <a:pt x="698220" y="189916"/>
                  <a:pt x="697676" y="207873"/>
                </a:cubicBezTo>
                <a:cubicBezTo>
                  <a:pt x="697131" y="227464"/>
                  <a:pt x="684615" y="243245"/>
                  <a:pt x="662304" y="242156"/>
                </a:cubicBezTo>
                <a:cubicBezTo>
                  <a:pt x="639993" y="241612"/>
                  <a:pt x="628565" y="229096"/>
                  <a:pt x="628021" y="207873"/>
                </a:cubicBezTo>
                <a:cubicBezTo>
                  <a:pt x="628021" y="187739"/>
                  <a:pt x="642714" y="172502"/>
                  <a:pt x="662304" y="173046"/>
                </a:cubicBezTo>
                <a:close/>
                <a:moveTo>
                  <a:pt x="826645" y="168148"/>
                </a:moveTo>
                <a:cubicBezTo>
                  <a:pt x="844602" y="168148"/>
                  <a:pt x="867458" y="187194"/>
                  <a:pt x="864737" y="207329"/>
                </a:cubicBezTo>
                <a:cubicBezTo>
                  <a:pt x="867458" y="229096"/>
                  <a:pt x="844058" y="247054"/>
                  <a:pt x="826100" y="247054"/>
                </a:cubicBezTo>
                <a:cubicBezTo>
                  <a:pt x="808687" y="247054"/>
                  <a:pt x="787464" y="228552"/>
                  <a:pt x="787464" y="207873"/>
                </a:cubicBezTo>
                <a:cubicBezTo>
                  <a:pt x="787464" y="187194"/>
                  <a:pt x="807054" y="168148"/>
                  <a:pt x="826645" y="168148"/>
                </a:cubicBezTo>
                <a:close/>
                <a:moveTo>
                  <a:pt x="987721" y="164883"/>
                </a:moveTo>
                <a:cubicBezTo>
                  <a:pt x="1012209" y="164339"/>
                  <a:pt x="1030711" y="181753"/>
                  <a:pt x="1031799" y="207329"/>
                </a:cubicBezTo>
                <a:cubicBezTo>
                  <a:pt x="1031255" y="232361"/>
                  <a:pt x="1011665" y="250319"/>
                  <a:pt x="988809" y="250319"/>
                </a:cubicBezTo>
                <a:cubicBezTo>
                  <a:pt x="965954" y="250319"/>
                  <a:pt x="946364" y="231273"/>
                  <a:pt x="945819" y="208417"/>
                </a:cubicBezTo>
                <a:cubicBezTo>
                  <a:pt x="945275" y="185018"/>
                  <a:pt x="962689" y="165428"/>
                  <a:pt x="987721" y="164883"/>
                </a:cubicBezTo>
                <a:close/>
                <a:moveTo>
                  <a:pt x="1153150" y="162707"/>
                </a:moveTo>
                <a:cubicBezTo>
                  <a:pt x="1177638" y="161619"/>
                  <a:pt x="1197772" y="180665"/>
                  <a:pt x="1197772" y="207874"/>
                </a:cubicBezTo>
                <a:cubicBezTo>
                  <a:pt x="1197772" y="235083"/>
                  <a:pt x="1176005" y="253584"/>
                  <a:pt x="1151517" y="253584"/>
                </a:cubicBezTo>
                <a:cubicBezTo>
                  <a:pt x="1128118" y="253040"/>
                  <a:pt x="1106895" y="234538"/>
                  <a:pt x="1107439" y="207329"/>
                </a:cubicBezTo>
                <a:cubicBezTo>
                  <a:pt x="1107983" y="179576"/>
                  <a:pt x="1129206" y="161075"/>
                  <a:pt x="1153150" y="162707"/>
                </a:cubicBezTo>
                <a:close/>
                <a:moveTo>
                  <a:pt x="1315315" y="158353"/>
                </a:moveTo>
                <a:cubicBezTo>
                  <a:pt x="1341435" y="156177"/>
                  <a:pt x="1365923" y="184474"/>
                  <a:pt x="1365379" y="206785"/>
                </a:cubicBezTo>
                <a:cubicBezTo>
                  <a:pt x="1365379" y="229640"/>
                  <a:pt x="1344156" y="256849"/>
                  <a:pt x="1315859" y="256305"/>
                </a:cubicBezTo>
                <a:cubicBezTo>
                  <a:pt x="1290283" y="256305"/>
                  <a:pt x="1267427" y="233994"/>
                  <a:pt x="1266883" y="207873"/>
                </a:cubicBezTo>
                <a:cubicBezTo>
                  <a:pt x="1265795" y="181209"/>
                  <a:pt x="1292460" y="157265"/>
                  <a:pt x="1315315" y="158353"/>
                </a:cubicBezTo>
                <a:close/>
                <a:moveTo>
                  <a:pt x="1478567" y="156721"/>
                </a:moveTo>
                <a:cubicBezTo>
                  <a:pt x="1510129" y="156721"/>
                  <a:pt x="1530264" y="180665"/>
                  <a:pt x="1529720" y="207329"/>
                </a:cubicBezTo>
                <a:cubicBezTo>
                  <a:pt x="1530264" y="236715"/>
                  <a:pt x="1510129" y="258482"/>
                  <a:pt x="1478567" y="258482"/>
                </a:cubicBezTo>
                <a:cubicBezTo>
                  <a:pt x="1449182" y="257938"/>
                  <a:pt x="1428503" y="238892"/>
                  <a:pt x="1427959" y="207874"/>
                </a:cubicBezTo>
                <a:cubicBezTo>
                  <a:pt x="1427415" y="179576"/>
                  <a:pt x="1447549" y="156721"/>
                  <a:pt x="1478567" y="156721"/>
                </a:cubicBezTo>
                <a:close/>
                <a:moveTo>
                  <a:pt x="1644541" y="153456"/>
                </a:moveTo>
                <a:cubicBezTo>
                  <a:pt x="1672294" y="154544"/>
                  <a:pt x="1697870" y="180665"/>
                  <a:pt x="1697326" y="209506"/>
                </a:cubicBezTo>
                <a:cubicBezTo>
                  <a:pt x="1696782" y="238347"/>
                  <a:pt x="1669573" y="263924"/>
                  <a:pt x="1641276" y="262835"/>
                </a:cubicBezTo>
                <a:cubicBezTo>
                  <a:pt x="1612979" y="261203"/>
                  <a:pt x="1587402" y="236715"/>
                  <a:pt x="1587947" y="206785"/>
                </a:cubicBezTo>
                <a:cubicBezTo>
                  <a:pt x="1587947" y="180121"/>
                  <a:pt x="1613523" y="152368"/>
                  <a:pt x="1644541" y="153456"/>
                </a:cubicBezTo>
                <a:close/>
                <a:moveTo>
                  <a:pt x="91463" y="109922"/>
                </a:moveTo>
                <a:cubicBezTo>
                  <a:pt x="97993" y="109922"/>
                  <a:pt x="107244" y="119173"/>
                  <a:pt x="107244" y="126247"/>
                </a:cubicBezTo>
                <a:cubicBezTo>
                  <a:pt x="107788" y="132777"/>
                  <a:pt x="98537" y="142028"/>
                  <a:pt x="91463" y="142028"/>
                </a:cubicBezTo>
                <a:cubicBezTo>
                  <a:pt x="83845" y="142028"/>
                  <a:pt x="75682" y="133866"/>
                  <a:pt x="75682" y="126247"/>
                </a:cubicBezTo>
                <a:cubicBezTo>
                  <a:pt x="75682" y="118629"/>
                  <a:pt x="84389" y="109922"/>
                  <a:pt x="91463" y="109922"/>
                </a:cubicBezTo>
                <a:close/>
                <a:moveTo>
                  <a:pt x="1942341" y="104915"/>
                </a:moveTo>
                <a:cubicBezTo>
                  <a:pt x="1941389" y="105799"/>
                  <a:pt x="1941389" y="107840"/>
                  <a:pt x="1942205" y="111377"/>
                </a:cubicBezTo>
                <a:cubicBezTo>
                  <a:pt x="1943294" y="118451"/>
                  <a:pt x="1944926" y="124437"/>
                  <a:pt x="1946559" y="131511"/>
                </a:cubicBezTo>
                <a:cubicBezTo>
                  <a:pt x="1944382" y="139674"/>
                  <a:pt x="1941661" y="148381"/>
                  <a:pt x="1939484" y="157088"/>
                </a:cubicBezTo>
                <a:cubicBezTo>
                  <a:pt x="1939484" y="158176"/>
                  <a:pt x="1941117" y="160353"/>
                  <a:pt x="1941117" y="160353"/>
                </a:cubicBezTo>
                <a:cubicBezTo>
                  <a:pt x="1955810" y="154367"/>
                  <a:pt x="1971046" y="150558"/>
                  <a:pt x="1986828" y="157088"/>
                </a:cubicBezTo>
                <a:cubicBezTo>
                  <a:pt x="1987372" y="157088"/>
                  <a:pt x="1987916" y="157088"/>
                  <a:pt x="1987916" y="157088"/>
                </a:cubicBezTo>
                <a:cubicBezTo>
                  <a:pt x="1994990" y="157632"/>
                  <a:pt x="1996623" y="155999"/>
                  <a:pt x="1993902" y="150013"/>
                </a:cubicBezTo>
                <a:cubicBezTo>
                  <a:pt x="1988460" y="136409"/>
                  <a:pt x="1988460" y="123349"/>
                  <a:pt x="1993902" y="109744"/>
                </a:cubicBezTo>
                <a:cubicBezTo>
                  <a:pt x="1995534" y="105935"/>
                  <a:pt x="1994446" y="103214"/>
                  <a:pt x="1989004" y="105391"/>
                </a:cubicBezTo>
                <a:cubicBezTo>
                  <a:pt x="1975400" y="109744"/>
                  <a:pt x="1961796" y="109744"/>
                  <a:pt x="1948191" y="105391"/>
                </a:cubicBezTo>
                <a:cubicBezTo>
                  <a:pt x="1945198" y="104303"/>
                  <a:pt x="1943294" y="104031"/>
                  <a:pt x="1942341" y="104915"/>
                </a:cubicBezTo>
                <a:close/>
                <a:moveTo>
                  <a:pt x="255804" y="103392"/>
                </a:moveTo>
                <a:cubicBezTo>
                  <a:pt x="269409" y="103392"/>
                  <a:pt x="277571" y="112643"/>
                  <a:pt x="277571" y="126791"/>
                </a:cubicBezTo>
                <a:cubicBezTo>
                  <a:pt x="277027" y="139852"/>
                  <a:pt x="267776" y="148558"/>
                  <a:pt x="254172" y="148014"/>
                </a:cubicBezTo>
                <a:cubicBezTo>
                  <a:pt x="241112" y="148014"/>
                  <a:pt x="231861" y="138763"/>
                  <a:pt x="232405" y="125159"/>
                </a:cubicBezTo>
                <a:cubicBezTo>
                  <a:pt x="232405" y="112099"/>
                  <a:pt x="242200" y="102848"/>
                  <a:pt x="255804" y="103392"/>
                </a:cubicBezTo>
                <a:close/>
                <a:moveTo>
                  <a:pt x="1773511" y="99405"/>
                </a:moveTo>
                <a:cubicBezTo>
                  <a:pt x="1773511" y="102126"/>
                  <a:pt x="1772966" y="104303"/>
                  <a:pt x="1773511" y="107023"/>
                </a:cubicBezTo>
                <a:cubicBezTo>
                  <a:pt x="1776232" y="114098"/>
                  <a:pt x="1778408" y="121716"/>
                  <a:pt x="1780585" y="130423"/>
                </a:cubicBezTo>
                <a:cubicBezTo>
                  <a:pt x="1778408" y="139130"/>
                  <a:pt x="1775687" y="147293"/>
                  <a:pt x="1773511" y="155999"/>
                </a:cubicBezTo>
                <a:cubicBezTo>
                  <a:pt x="1772966" y="157632"/>
                  <a:pt x="1772966" y="160897"/>
                  <a:pt x="1774055" y="161985"/>
                </a:cubicBezTo>
                <a:cubicBezTo>
                  <a:pt x="1775143" y="163074"/>
                  <a:pt x="1778408" y="163074"/>
                  <a:pt x="1780041" y="162529"/>
                </a:cubicBezTo>
                <a:cubicBezTo>
                  <a:pt x="1789836" y="155455"/>
                  <a:pt x="1800719" y="157632"/>
                  <a:pt x="1811059" y="157632"/>
                </a:cubicBezTo>
                <a:cubicBezTo>
                  <a:pt x="1817589" y="157632"/>
                  <a:pt x="1824119" y="156543"/>
                  <a:pt x="1829561" y="161985"/>
                </a:cubicBezTo>
                <a:cubicBezTo>
                  <a:pt x="1830649" y="163074"/>
                  <a:pt x="1834458" y="161985"/>
                  <a:pt x="1836635" y="161985"/>
                </a:cubicBezTo>
                <a:cubicBezTo>
                  <a:pt x="1835547" y="160353"/>
                  <a:pt x="1835002" y="158720"/>
                  <a:pt x="1833914" y="157088"/>
                </a:cubicBezTo>
                <a:cubicBezTo>
                  <a:pt x="1826840" y="139674"/>
                  <a:pt x="1826296" y="121716"/>
                  <a:pt x="1834458" y="104303"/>
                </a:cubicBezTo>
                <a:cubicBezTo>
                  <a:pt x="1835002" y="102670"/>
                  <a:pt x="1835547" y="101038"/>
                  <a:pt x="1835547" y="99405"/>
                </a:cubicBezTo>
                <a:cubicBezTo>
                  <a:pt x="1833914" y="99949"/>
                  <a:pt x="1832282" y="99949"/>
                  <a:pt x="1831193" y="101038"/>
                </a:cubicBezTo>
                <a:cubicBezTo>
                  <a:pt x="1814324" y="109200"/>
                  <a:pt x="1797454" y="109200"/>
                  <a:pt x="1780041" y="101582"/>
                </a:cubicBezTo>
                <a:cubicBezTo>
                  <a:pt x="1777864" y="100493"/>
                  <a:pt x="1775687" y="100493"/>
                  <a:pt x="1773511" y="99405"/>
                </a:cubicBezTo>
                <a:close/>
                <a:moveTo>
                  <a:pt x="417424" y="97950"/>
                </a:moveTo>
                <a:cubicBezTo>
                  <a:pt x="435382" y="97950"/>
                  <a:pt x="445721" y="108289"/>
                  <a:pt x="445721" y="126247"/>
                </a:cubicBezTo>
                <a:cubicBezTo>
                  <a:pt x="445721" y="143661"/>
                  <a:pt x="435382" y="153456"/>
                  <a:pt x="417424" y="153456"/>
                </a:cubicBezTo>
                <a:cubicBezTo>
                  <a:pt x="402187" y="155088"/>
                  <a:pt x="389127" y="141484"/>
                  <a:pt x="390215" y="125159"/>
                </a:cubicBezTo>
                <a:cubicBezTo>
                  <a:pt x="391304" y="107745"/>
                  <a:pt x="400555" y="97950"/>
                  <a:pt x="417424" y="97950"/>
                </a:cubicBezTo>
                <a:close/>
                <a:moveTo>
                  <a:pt x="580677" y="92508"/>
                </a:moveTo>
                <a:cubicBezTo>
                  <a:pt x="599724" y="92508"/>
                  <a:pt x="613328" y="106112"/>
                  <a:pt x="614960" y="125159"/>
                </a:cubicBezTo>
                <a:cubicBezTo>
                  <a:pt x="616049" y="141484"/>
                  <a:pt x="598091" y="161618"/>
                  <a:pt x="581766" y="158353"/>
                </a:cubicBezTo>
                <a:cubicBezTo>
                  <a:pt x="561631" y="158353"/>
                  <a:pt x="548571" y="145293"/>
                  <a:pt x="548571" y="125703"/>
                </a:cubicBezTo>
                <a:cubicBezTo>
                  <a:pt x="548571" y="106657"/>
                  <a:pt x="562175" y="92508"/>
                  <a:pt x="580677" y="92508"/>
                </a:cubicBezTo>
                <a:close/>
                <a:moveTo>
                  <a:pt x="745019" y="88154"/>
                </a:moveTo>
                <a:cubicBezTo>
                  <a:pt x="763521" y="87610"/>
                  <a:pt x="783111" y="107745"/>
                  <a:pt x="782567" y="126791"/>
                </a:cubicBezTo>
                <a:cubicBezTo>
                  <a:pt x="782023" y="147469"/>
                  <a:pt x="761344" y="164339"/>
                  <a:pt x="743930" y="164339"/>
                </a:cubicBezTo>
                <a:cubicBezTo>
                  <a:pt x="723796" y="163795"/>
                  <a:pt x="705838" y="144204"/>
                  <a:pt x="706382" y="125702"/>
                </a:cubicBezTo>
                <a:cubicBezTo>
                  <a:pt x="706926" y="109377"/>
                  <a:pt x="723252" y="87066"/>
                  <a:pt x="745019" y="88154"/>
                </a:cubicBezTo>
                <a:close/>
                <a:moveTo>
                  <a:pt x="1685898" y="84712"/>
                </a:moveTo>
                <a:lnTo>
                  <a:pt x="1685681" y="85147"/>
                </a:lnTo>
                <a:lnTo>
                  <a:pt x="1685354" y="85256"/>
                </a:lnTo>
                <a:cubicBezTo>
                  <a:pt x="1685354" y="85256"/>
                  <a:pt x="1685898" y="84712"/>
                  <a:pt x="1685898" y="84712"/>
                </a:cubicBezTo>
                <a:close/>
                <a:moveTo>
                  <a:pt x="907183" y="84345"/>
                </a:moveTo>
                <a:cubicBezTo>
                  <a:pt x="916978" y="84345"/>
                  <a:pt x="926773" y="87610"/>
                  <a:pt x="934935" y="95228"/>
                </a:cubicBezTo>
                <a:cubicBezTo>
                  <a:pt x="944187" y="103935"/>
                  <a:pt x="946907" y="114819"/>
                  <a:pt x="949628" y="125158"/>
                </a:cubicBezTo>
                <a:cubicBezTo>
                  <a:pt x="946907" y="150190"/>
                  <a:pt x="932759" y="166515"/>
                  <a:pt x="908271" y="167060"/>
                </a:cubicBezTo>
                <a:cubicBezTo>
                  <a:pt x="884871" y="167604"/>
                  <a:pt x="867458" y="150734"/>
                  <a:pt x="866369" y="125702"/>
                </a:cubicBezTo>
                <a:cubicBezTo>
                  <a:pt x="865825" y="103935"/>
                  <a:pt x="884871" y="83801"/>
                  <a:pt x="907183" y="84345"/>
                </a:cubicBezTo>
                <a:close/>
                <a:moveTo>
                  <a:pt x="1070979" y="82169"/>
                </a:moveTo>
                <a:cubicBezTo>
                  <a:pt x="1095467" y="79448"/>
                  <a:pt x="1115602" y="103936"/>
                  <a:pt x="1115602" y="126247"/>
                </a:cubicBezTo>
                <a:cubicBezTo>
                  <a:pt x="1115602" y="148014"/>
                  <a:pt x="1094923" y="170325"/>
                  <a:pt x="1071524" y="170325"/>
                </a:cubicBezTo>
                <a:cubicBezTo>
                  <a:pt x="1047580" y="170325"/>
                  <a:pt x="1026357" y="148558"/>
                  <a:pt x="1026357" y="125703"/>
                </a:cubicBezTo>
                <a:cubicBezTo>
                  <a:pt x="1026357" y="103936"/>
                  <a:pt x="1047036" y="79448"/>
                  <a:pt x="1070979" y="82169"/>
                </a:cubicBezTo>
                <a:close/>
                <a:moveTo>
                  <a:pt x="1684811" y="82168"/>
                </a:moveTo>
                <a:cubicBezTo>
                  <a:pt x="1684811" y="82168"/>
                  <a:pt x="1684266" y="82713"/>
                  <a:pt x="1684266" y="82713"/>
                </a:cubicBezTo>
                <a:lnTo>
                  <a:pt x="1684469" y="82365"/>
                </a:lnTo>
                <a:close/>
                <a:moveTo>
                  <a:pt x="1234777" y="78360"/>
                </a:moveTo>
                <a:cubicBezTo>
                  <a:pt x="1259809" y="76727"/>
                  <a:pt x="1284297" y="101759"/>
                  <a:pt x="1282664" y="126791"/>
                </a:cubicBezTo>
                <a:cubicBezTo>
                  <a:pt x="1280487" y="152912"/>
                  <a:pt x="1264162" y="171958"/>
                  <a:pt x="1234232" y="174135"/>
                </a:cubicBezTo>
                <a:cubicBezTo>
                  <a:pt x="1205935" y="172502"/>
                  <a:pt x="1186345" y="153456"/>
                  <a:pt x="1186889" y="126791"/>
                </a:cubicBezTo>
                <a:cubicBezTo>
                  <a:pt x="1187433" y="96318"/>
                  <a:pt x="1207024" y="79992"/>
                  <a:pt x="1234777" y="78360"/>
                </a:cubicBezTo>
                <a:close/>
                <a:moveTo>
                  <a:pt x="1398574" y="76182"/>
                </a:moveTo>
                <a:cubicBezTo>
                  <a:pt x="1424150" y="74006"/>
                  <a:pt x="1448638" y="99582"/>
                  <a:pt x="1448094" y="127335"/>
                </a:cubicBezTo>
                <a:cubicBezTo>
                  <a:pt x="1447549" y="151823"/>
                  <a:pt x="1426327" y="176311"/>
                  <a:pt x="1396941" y="175766"/>
                </a:cubicBezTo>
                <a:cubicBezTo>
                  <a:pt x="1367011" y="175222"/>
                  <a:pt x="1347421" y="151278"/>
                  <a:pt x="1347421" y="125702"/>
                </a:cubicBezTo>
                <a:cubicBezTo>
                  <a:pt x="1347421" y="99038"/>
                  <a:pt x="1369732" y="74006"/>
                  <a:pt x="1398574" y="76182"/>
                </a:cubicBezTo>
                <a:close/>
                <a:moveTo>
                  <a:pt x="1561282" y="72373"/>
                </a:moveTo>
                <a:cubicBezTo>
                  <a:pt x="1588491" y="72373"/>
                  <a:pt x="1614611" y="96861"/>
                  <a:pt x="1614611" y="126247"/>
                </a:cubicBezTo>
                <a:cubicBezTo>
                  <a:pt x="1614067" y="155632"/>
                  <a:pt x="1590667" y="180120"/>
                  <a:pt x="1560738" y="179576"/>
                </a:cubicBezTo>
                <a:cubicBezTo>
                  <a:pt x="1530808" y="179576"/>
                  <a:pt x="1507953" y="156176"/>
                  <a:pt x="1507409" y="126247"/>
                </a:cubicBezTo>
                <a:cubicBezTo>
                  <a:pt x="1506864" y="96861"/>
                  <a:pt x="1532441" y="72373"/>
                  <a:pt x="1561282" y="72373"/>
                </a:cubicBezTo>
                <a:close/>
                <a:moveTo>
                  <a:pt x="10381" y="33737"/>
                </a:moveTo>
                <a:cubicBezTo>
                  <a:pt x="15822" y="33737"/>
                  <a:pt x="20720" y="39179"/>
                  <a:pt x="20720" y="45165"/>
                </a:cubicBezTo>
                <a:cubicBezTo>
                  <a:pt x="20176" y="50606"/>
                  <a:pt x="14734" y="55504"/>
                  <a:pt x="9292" y="54960"/>
                </a:cubicBezTo>
                <a:cubicBezTo>
                  <a:pt x="4395" y="54416"/>
                  <a:pt x="41" y="49518"/>
                  <a:pt x="41" y="44621"/>
                </a:cubicBezTo>
                <a:cubicBezTo>
                  <a:pt x="-503" y="38635"/>
                  <a:pt x="4395" y="33737"/>
                  <a:pt x="10381" y="33737"/>
                </a:cubicBezTo>
                <a:close/>
                <a:moveTo>
                  <a:pt x="172546" y="23942"/>
                </a:moveTo>
                <a:cubicBezTo>
                  <a:pt x="181796" y="22854"/>
                  <a:pt x="193224" y="34826"/>
                  <a:pt x="193224" y="44621"/>
                </a:cubicBezTo>
                <a:cubicBezTo>
                  <a:pt x="193224" y="53872"/>
                  <a:pt x="182341" y="64755"/>
                  <a:pt x="173090" y="64755"/>
                </a:cubicBezTo>
                <a:cubicBezTo>
                  <a:pt x="164383" y="64755"/>
                  <a:pt x="152411" y="52784"/>
                  <a:pt x="152411" y="44621"/>
                </a:cubicBezTo>
                <a:cubicBezTo>
                  <a:pt x="152411" y="36458"/>
                  <a:pt x="164927" y="24486"/>
                  <a:pt x="172546" y="23942"/>
                </a:cubicBezTo>
                <a:close/>
                <a:moveTo>
                  <a:pt x="1861123" y="22132"/>
                </a:moveTo>
                <a:cubicBezTo>
                  <a:pt x="1861123" y="26485"/>
                  <a:pt x="1860035" y="31383"/>
                  <a:pt x="1861123" y="35737"/>
                </a:cubicBezTo>
                <a:cubicBezTo>
                  <a:pt x="1863844" y="44443"/>
                  <a:pt x="1864932" y="52606"/>
                  <a:pt x="1861123" y="61313"/>
                </a:cubicBezTo>
                <a:cubicBezTo>
                  <a:pt x="1860035" y="64034"/>
                  <a:pt x="1860035" y="67299"/>
                  <a:pt x="1858946" y="72740"/>
                </a:cubicBezTo>
                <a:cubicBezTo>
                  <a:pt x="1858402" y="76550"/>
                  <a:pt x="1861123" y="77638"/>
                  <a:pt x="1866021" y="76550"/>
                </a:cubicBezTo>
                <a:cubicBezTo>
                  <a:pt x="1868741" y="76006"/>
                  <a:pt x="1871462" y="76006"/>
                  <a:pt x="1873639" y="74917"/>
                </a:cubicBezTo>
                <a:cubicBezTo>
                  <a:pt x="1882346" y="71108"/>
                  <a:pt x="1891053" y="71108"/>
                  <a:pt x="1900304" y="74373"/>
                </a:cubicBezTo>
                <a:cubicBezTo>
                  <a:pt x="1902480" y="75461"/>
                  <a:pt x="1905201" y="76006"/>
                  <a:pt x="1907922" y="76006"/>
                </a:cubicBezTo>
                <a:cubicBezTo>
                  <a:pt x="1912276" y="76550"/>
                  <a:pt x="1914996" y="75461"/>
                  <a:pt x="1912820" y="70020"/>
                </a:cubicBezTo>
                <a:cubicBezTo>
                  <a:pt x="1907378" y="55871"/>
                  <a:pt x="1906834" y="41178"/>
                  <a:pt x="1912820" y="27030"/>
                </a:cubicBezTo>
                <a:cubicBezTo>
                  <a:pt x="1914996" y="22132"/>
                  <a:pt x="1911731" y="21588"/>
                  <a:pt x="1908466" y="22132"/>
                </a:cubicBezTo>
                <a:cubicBezTo>
                  <a:pt x="1906290" y="22676"/>
                  <a:pt x="1904657" y="24309"/>
                  <a:pt x="1902480" y="24309"/>
                </a:cubicBezTo>
                <a:cubicBezTo>
                  <a:pt x="1892685" y="24309"/>
                  <a:pt x="1882890" y="24853"/>
                  <a:pt x="1873095" y="24309"/>
                </a:cubicBezTo>
                <a:cubicBezTo>
                  <a:pt x="1868741" y="24309"/>
                  <a:pt x="1864932" y="22676"/>
                  <a:pt x="1861123" y="22132"/>
                </a:cubicBezTo>
                <a:close/>
                <a:moveTo>
                  <a:pt x="336886" y="17412"/>
                </a:moveTo>
                <a:cubicBezTo>
                  <a:pt x="347770" y="17412"/>
                  <a:pt x="363551" y="31016"/>
                  <a:pt x="363007" y="44077"/>
                </a:cubicBezTo>
                <a:cubicBezTo>
                  <a:pt x="363007" y="57681"/>
                  <a:pt x="350491" y="70741"/>
                  <a:pt x="337431" y="71285"/>
                </a:cubicBezTo>
                <a:cubicBezTo>
                  <a:pt x="324370" y="71830"/>
                  <a:pt x="310766" y="58769"/>
                  <a:pt x="310222" y="45165"/>
                </a:cubicBezTo>
                <a:cubicBezTo>
                  <a:pt x="309678" y="31016"/>
                  <a:pt x="323282" y="17956"/>
                  <a:pt x="336886" y="17412"/>
                </a:cubicBezTo>
                <a:close/>
                <a:moveTo>
                  <a:pt x="498507" y="13059"/>
                </a:moveTo>
                <a:cubicBezTo>
                  <a:pt x="514832" y="11970"/>
                  <a:pt x="531702" y="28296"/>
                  <a:pt x="531702" y="44621"/>
                </a:cubicBezTo>
                <a:cubicBezTo>
                  <a:pt x="531702" y="60402"/>
                  <a:pt x="515376" y="76183"/>
                  <a:pt x="499595" y="76727"/>
                </a:cubicBezTo>
                <a:cubicBezTo>
                  <a:pt x="483270" y="76727"/>
                  <a:pt x="467489" y="61490"/>
                  <a:pt x="467489" y="45165"/>
                </a:cubicBezTo>
                <a:cubicBezTo>
                  <a:pt x="467489" y="28840"/>
                  <a:pt x="482182" y="13059"/>
                  <a:pt x="498507" y="13059"/>
                </a:cubicBezTo>
                <a:close/>
                <a:moveTo>
                  <a:pt x="662303" y="7616"/>
                </a:moveTo>
                <a:cubicBezTo>
                  <a:pt x="680805" y="7072"/>
                  <a:pt x="698763" y="25030"/>
                  <a:pt x="698763" y="44076"/>
                </a:cubicBezTo>
                <a:cubicBezTo>
                  <a:pt x="698763" y="62578"/>
                  <a:pt x="680261" y="81624"/>
                  <a:pt x="662303" y="81080"/>
                </a:cubicBezTo>
                <a:cubicBezTo>
                  <a:pt x="644346" y="80536"/>
                  <a:pt x="626932" y="62578"/>
                  <a:pt x="626932" y="44076"/>
                </a:cubicBezTo>
                <a:cubicBezTo>
                  <a:pt x="626932" y="25574"/>
                  <a:pt x="643257" y="8160"/>
                  <a:pt x="662303" y="7616"/>
                </a:cubicBezTo>
                <a:close/>
                <a:moveTo>
                  <a:pt x="825557" y="5440"/>
                </a:moveTo>
                <a:cubicBezTo>
                  <a:pt x="847868" y="5440"/>
                  <a:pt x="865281" y="23942"/>
                  <a:pt x="865281" y="44621"/>
                </a:cubicBezTo>
                <a:cubicBezTo>
                  <a:pt x="865281" y="63667"/>
                  <a:pt x="847324" y="85978"/>
                  <a:pt x="826101" y="83257"/>
                </a:cubicBezTo>
                <a:cubicBezTo>
                  <a:pt x="805422" y="85978"/>
                  <a:pt x="786920" y="64211"/>
                  <a:pt x="786920" y="44621"/>
                </a:cubicBezTo>
                <a:cubicBezTo>
                  <a:pt x="786920" y="22854"/>
                  <a:pt x="805422" y="5440"/>
                  <a:pt x="825557" y="5440"/>
                </a:cubicBezTo>
                <a:close/>
                <a:moveTo>
                  <a:pt x="989353" y="1086"/>
                </a:moveTo>
                <a:cubicBezTo>
                  <a:pt x="1013297" y="1086"/>
                  <a:pt x="1032343" y="21220"/>
                  <a:pt x="1032343" y="43532"/>
                </a:cubicBezTo>
                <a:cubicBezTo>
                  <a:pt x="1032887" y="66931"/>
                  <a:pt x="1012753" y="88698"/>
                  <a:pt x="989897" y="87610"/>
                </a:cubicBezTo>
                <a:cubicBezTo>
                  <a:pt x="967042" y="88698"/>
                  <a:pt x="945819" y="65843"/>
                  <a:pt x="945819" y="44620"/>
                </a:cubicBezTo>
                <a:cubicBezTo>
                  <a:pt x="945819" y="23941"/>
                  <a:pt x="964321" y="1086"/>
                  <a:pt x="989353" y="1086"/>
                </a:cubicBezTo>
                <a:close/>
                <a:moveTo>
                  <a:pt x="1614056" y="0"/>
                </a:moveTo>
                <a:lnTo>
                  <a:pt x="1675529" y="0"/>
                </a:lnTo>
                <a:lnTo>
                  <a:pt x="1682905" y="4720"/>
                </a:lnTo>
                <a:lnTo>
                  <a:pt x="1933639" y="4720"/>
                </a:lnTo>
                <a:cubicBezTo>
                  <a:pt x="1966059" y="4720"/>
                  <a:pt x="1995409" y="17861"/>
                  <a:pt x="2016655" y="39107"/>
                </a:cubicBezTo>
                <a:lnTo>
                  <a:pt x="2028934" y="57318"/>
                </a:lnTo>
                <a:lnTo>
                  <a:pt x="2026008" y="71108"/>
                </a:lnTo>
                <a:cubicBezTo>
                  <a:pt x="2023832" y="74917"/>
                  <a:pt x="2026552" y="77094"/>
                  <a:pt x="2030906" y="75461"/>
                </a:cubicBezTo>
                <a:lnTo>
                  <a:pt x="2039929" y="73627"/>
                </a:lnTo>
                <a:lnTo>
                  <a:pt x="2041815" y="76424"/>
                </a:lnTo>
                <a:cubicBezTo>
                  <a:pt x="2047756" y="90470"/>
                  <a:pt x="2051041" y="105912"/>
                  <a:pt x="2051041" y="122122"/>
                </a:cubicBezTo>
                <a:lnTo>
                  <a:pt x="2051041" y="186473"/>
                </a:lnTo>
                <a:lnTo>
                  <a:pt x="2029818" y="186473"/>
                </a:lnTo>
                <a:cubicBezTo>
                  <a:pt x="2023832" y="184297"/>
                  <a:pt x="2022743" y="185929"/>
                  <a:pt x="2023287" y="192459"/>
                </a:cubicBezTo>
                <a:cubicBezTo>
                  <a:pt x="2023287" y="193548"/>
                  <a:pt x="2023287" y="195180"/>
                  <a:pt x="2023832" y="196268"/>
                </a:cubicBezTo>
                <a:cubicBezTo>
                  <a:pt x="2028185" y="210961"/>
                  <a:pt x="2026008" y="225110"/>
                  <a:pt x="2019478" y="239258"/>
                </a:cubicBezTo>
                <a:cubicBezTo>
                  <a:pt x="2018934" y="240347"/>
                  <a:pt x="2019478" y="241979"/>
                  <a:pt x="2020022" y="242523"/>
                </a:cubicBezTo>
                <a:cubicBezTo>
                  <a:pt x="2020566" y="243067"/>
                  <a:pt x="2022743" y="243612"/>
                  <a:pt x="2023287" y="243067"/>
                </a:cubicBezTo>
                <a:cubicBezTo>
                  <a:pt x="2032266" y="238986"/>
                  <a:pt x="2041245" y="237082"/>
                  <a:pt x="2050224" y="237150"/>
                </a:cubicBezTo>
                <a:lnTo>
                  <a:pt x="2051041" y="237329"/>
                </a:lnTo>
                <a:lnTo>
                  <a:pt x="2051041" y="348996"/>
                </a:lnTo>
                <a:lnTo>
                  <a:pt x="2036552" y="347754"/>
                </a:lnTo>
                <a:cubicBezTo>
                  <a:pt x="2031178" y="346733"/>
                  <a:pt x="2026009" y="344829"/>
                  <a:pt x="2021111" y="341019"/>
                </a:cubicBezTo>
                <a:cubicBezTo>
                  <a:pt x="2020022" y="339931"/>
                  <a:pt x="2018390" y="339387"/>
                  <a:pt x="2016757" y="338842"/>
                </a:cubicBezTo>
                <a:cubicBezTo>
                  <a:pt x="2016757" y="340475"/>
                  <a:pt x="2016757" y="343196"/>
                  <a:pt x="2017301" y="344284"/>
                </a:cubicBezTo>
                <a:cubicBezTo>
                  <a:pt x="2022743" y="354079"/>
                  <a:pt x="2026008" y="364419"/>
                  <a:pt x="2025464" y="376391"/>
                </a:cubicBezTo>
                <a:cubicBezTo>
                  <a:pt x="2024376" y="398702"/>
                  <a:pt x="2014580" y="413939"/>
                  <a:pt x="1994446" y="424278"/>
                </a:cubicBezTo>
                <a:cubicBezTo>
                  <a:pt x="1972135" y="435706"/>
                  <a:pt x="1950912" y="431352"/>
                  <a:pt x="1933498" y="416115"/>
                </a:cubicBezTo>
                <a:cubicBezTo>
                  <a:pt x="1917173" y="401967"/>
                  <a:pt x="1908466" y="378567"/>
                  <a:pt x="1920438" y="352447"/>
                </a:cubicBezTo>
                <a:cubicBezTo>
                  <a:pt x="1922615" y="348093"/>
                  <a:pt x="1923703" y="343196"/>
                  <a:pt x="1925336" y="338298"/>
                </a:cubicBezTo>
                <a:cubicBezTo>
                  <a:pt x="1920982" y="339931"/>
                  <a:pt x="1916085" y="341563"/>
                  <a:pt x="1911731" y="343196"/>
                </a:cubicBezTo>
                <a:cubicBezTo>
                  <a:pt x="1907378" y="344828"/>
                  <a:pt x="1903024" y="347005"/>
                  <a:pt x="1898671" y="347005"/>
                </a:cubicBezTo>
                <a:cubicBezTo>
                  <a:pt x="1882890" y="348638"/>
                  <a:pt x="1867653" y="348638"/>
                  <a:pt x="1854593" y="336666"/>
                </a:cubicBezTo>
                <a:lnTo>
                  <a:pt x="1847690" y="333480"/>
                </a:lnTo>
                <a:lnTo>
                  <a:pt x="1852961" y="344461"/>
                </a:lnTo>
                <a:cubicBezTo>
                  <a:pt x="1868742" y="372214"/>
                  <a:pt x="1855137" y="408674"/>
                  <a:pt x="1826840" y="420646"/>
                </a:cubicBezTo>
                <a:cubicBezTo>
                  <a:pt x="1803441" y="430985"/>
                  <a:pt x="1777864" y="422278"/>
                  <a:pt x="1765893" y="408130"/>
                </a:cubicBezTo>
                <a:cubicBezTo>
                  <a:pt x="1749567" y="388539"/>
                  <a:pt x="1744126" y="368405"/>
                  <a:pt x="1759362" y="342829"/>
                </a:cubicBezTo>
                <a:cubicBezTo>
                  <a:pt x="1771199" y="322422"/>
                  <a:pt x="1795584" y="313341"/>
                  <a:pt x="1815991" y="317193"/>
                </a:cubicBezTo>
                <a:cubicBezTo>
                  <a:pt x="1822793" y="318477"/>
                  <a:pt x="1829153" y="321198"/>
                  <a:pt x="1834459" y="325415"/>
                </a:cubicBezTo>
                <a:lnTo>
                  <a:pt x="1845023" y="330169"/>
                </a:lnTo>
                <a:lnTo>
                  <a:pt x="1840444" y="321429"/>
                </a:lnTo>
                <a:cubicBezTo>
                  <a:pt x="1831193" y="306736"/>
                  <a:pt x="1832282" y="290955"/>
                  <a:pt x="1834458" y="275174"/>
                </a:cubicBezTo>
                <a:cubicBezTo>
                  <a:pt x="1835002" y="269732"/>
                  <a:pt x="1838812" y="265379"/>
                  <a:pt x="1840988" y="259937"/>
                </a:cubicBezTo>
                <a:cubicBezTo>
                  <a:pt x="1841533" y="258849"/>
                  <a:pt x="1842077" y="257216"/>
                  <a:pt x="1842077" y="255584"/>
                </a:cubicBezTo>
                <a:cubicBezTo>
                  <a:pt x="1840444" y="256128"/>
                  <a:pt x="1838812" y="256672"/>
                  <a:pt x="1837723" y="257216"/>
                </a:cubicBezTo>
                <a:cubicBezTo>
                  <a:pt x="1831193" y="259937"/>
                  <a:pt x="1824663" y="263746"/>
                  <a:pt x="1817589" y="264834"/>
                </a:cubicBezTo>
                <a:cubicBezTo>
                  <a:pt x="1799631" y="268100"/>
                  <a:pt x="1782762" y="264290"/>
                  <a:pt x="1768069" y="251774"/>
                </a:cubicBezTo>
                <a:lnTo>
                  <a:pt x="1764740" y="250110"/>
                </a:lnTo>
                <a:lnTo>
                  <a:pt x="1773510" y="267189"/>
                </a:lnTo>
                <a:cubicBezTo>
                  <a:pt x="1786571" y="292765"/>
                  <a:pt x="1773510" y="323239"/>
                  <a:pt x="1750655" y="336843"/>
                </a:cubicBezTo>
                <a:cubicBezTo>
                  <a:pt x="1721270" y="354257"/>
                  <a:pt x="1685354" y="337388"/>
                  <a:pt x="1673926" y="310723"/>
                </a:cubicBezTo>
                <a:cubicBezTo>
                  <a:pt x="1664675" y="289500"/>
                  <a:pt x="1669029" y="271542"/>
                  <a:pt x="1681545" y="254673"/>
                </a:cubicBezTo>
                <a:cubicBezTo>
                  <a:pt x="1694605" y="237803"/>
                  <a:pt x="1712563" y="231817"/>
                  <a:pt x="1733786" y="235083"/>
                </a:cubicBezTo>
                <a:cubicBezTo>
                  <a:pt x="1739771" y="236171"/>
                  <a:pt x="1745757" y="239980"/>
                  <a:pt x="1751743" y="242157"/>
                </a:cubicBezTo>
                <a:lnTo>
                  <a:pt x="1762506" y="246769"/>
                </a:lnTo>
                <a:lnTo>
                  <a:pt x="1757185" y="236537"/>
                </a:lnTo>
                <a:cubicBezTo>
                  <a:pt x="1747934" y="219668"/>
                  <a:pt x="1747390" y="203343"/>
                  <a:pt x="1756097" y="185929"/>
                </a:cubicBezTo>
                <a:cubicBezTo>
                  <a:pt x="1757185" y="183752"/>
                  <a:pt x="1756641" y="180487"/>
                  <a:pt x="1757185" y="177766"/>
                </a:cubicBezTo>
                <a:cubicBezTo>
                  <a:pt x="1754464" y="177766"/>
                  <a:pt x="1751199" y="177222"/>
                  <a:pt x="1749023" y="178311"/>
                </a:cubicBezTo>
                <a:cubicBezTo>
                  <a:pt x="1722358" y="193003"/>
                  <a:pt x="1688075" y="178855"/>
                  <a:pt x="1676103" y="154911"/>
                </a:cubicBezTo>
                <a:cubicBezTo>
                  <a:pt x="1665220" y="133688"/>
                  <a:pt x="1667396" y="113554"/>
                  <a:pt x="1681001" y="94507"/>
                </a:cubicBezTo>
                <a:lnTo>
                  <a:pt x="1685681" y="85147"/>
                </a:lnTo>
                <a:lnTo>
                  <a:pt x="1693517" y="82536"/>
                </a:lnTo>
                <a:cubicBezTo>
                  <a:pt x="1710930" y="71108"/>
                  <a:pt x="1728888" y="71108"/>
                  <a:pt x="1747934" y="77638"/>
                </a:cubicBezTo>
                <a:cubicBezTo>
                  <a:pt x="1750655" y="78726"/>
                  <a:pt x="1753920" y="78726"/>
                  <a:pt x="1756641" y="79271"/>
                </a:cubicBezTo>
                <a:cubicBezTo>
                  <a:pt x="1756097" y="76550"/>
                  <a:pt x="1755553" y="74373"/>
                  <a:pt x="1754464" y="71652"/>
                </a:cubicBezTo>
                <a:cubicBezTo>
                  <a:pt x="1753920" y="70564"/>
                  <a:pt x="1753376" y="69475"/>
                  <a:pt x="1752832" y="68387"/>
                </a:cubicBezTo>
                <a:cubicBezTo>
                  <a:pt x="1747934" y="52062"/>
                  <a:pt x="1747390" y="35737"/>
                  <a:pt x="1756097" y="20500"/>
                </a:cubicBezTo>
                <a:cubicBezTo>
                  <a:pt x="1756641" y="19411"/>
                  <a:pt x="1757185" y="16690"/>
                  <a:pt x="1756641" y="16146"/>
                </a:cubicBezTo>
                <a:cubicBezTo>
                  <a:pt x="1755553" y="15058"/>
                  <a:pt x="1753376" y="14514"/>
                  <a:pt x="1751744" y="15058"/>
                </a:cubicBezTo>
                <a:cubicBezTo>
                  <a:pt x="1747934" y="16146"/>
                  <a:pt x="1744669" y="19411"/>
                  <a:pt x="1741404" y="19955"/>
                </a:cubicBezTo>
                <a:cubicBezTo>
                  <a:pt x="1724535" y="21588"/>
                  <a:pt x="1707121" y="23765"/>
                  <a:pt x="1691884" y="11249"/>
                </a:cubicBezTo>
                <a:lnTo>
                  <a:pt x="1685645" y="8369"/>
                </a:lnTo>
                <a:lnTo>
                  <a:pt x="1688620" y="14691"/>
                </a:lnTo>
                <a:cubicBezTo>
                  <a:pt x="1700048" y="32648"/>
                  <a:pt x="1700048" y="50606"/>
                  <a:pt x="1691885" y="69652"/>
                </a:cubicBezTo>
                <a:lnTo>
                  <a:pt x="1684469" y="82365"/>
                </a:lnTo>
                <a:lnTo>
                  <a:pt x="1663044" y="94684"/>
                </a:lnTo>
                <a:cubicBezTo>
                  <a:pt x="1651072" y="101759"/>
                  <a:pt x="1638556" y="100126"/>
                  <a:pt x="1626584" y="96861"/>
                </a:cubicBezTo>
                <a:cubicBezTo>
                  <a:pt x="1608082" y="91419"/>
                  <a:pt x="1595566" y="78359"/>
                  <a:pt x="1590124" y="60401"/>
                </a:cubicBezTo>
                <a:cubicBezTo>
                  <a:pt x="1586315" y="48974"/>
                  <a:pt x="1586315" y="37002"/>
                  <a:pt x="1591757" y="25030"/>
                </a:cubicBezTo>
                <a:close/>
                <a:moveTo>
                  <a:pt x="1460066" y="0"/>
                </a:moveTo>
                <a:lnTo>
                  <a:pt x="1498513" y="0"/>
                </a:lnTo>
                <a:lnTo>
                  <a:pt x="1517204" y="8092"/>
                </a:lnTo>
                <a:cubicBezTo>
                  <a:pt x="1526183" y="17411"/>
                  <a:pt x="1531352" y="30199"/>
                  <a:pt x="1531896" y="45164"/>
                </a:cubicBezTo>
                <a:cubicBezTo>
                  <a:pt x="1532985" y="71829"/>
                  <a:pt x="1505776" y="97949"/>
                  <a:pt x="1479111" y="97949"/>
                </a:cubicBezTo>
                <a:cubicBezTo>
                  <a:pt x="1451902" y="97949"/>
                  <a:pt x="1425238" y="71829"/>
                  <a:pt x="1426870" y="45164"/>
                </a:cubicBezTo>
                <a:cubicBezTo>
                  <a:pt x="1427687" y="29655"/>
                  <a:pt x="1432720" y="16867"/>
                  <a:pt x="1441631" y="7684"/>
                </a:cubicBezTo>
                <a:close/>
                <a:moveTo>
                  <a:pt x="1296749" y="0"/>
                </a:moveTo>
                <a:lnTo>
                  <a:pt x="1335755" y="0"/>
                </a:lnTo>
                <a:lnTo>
                  <a:pt x="1350278" y="10270"/>
                </a:lnTo>
                <a:cubicBezTo>
                  <a:pt x="1359937" y="19861"/>
                  <a:pt x="1366467" y="32649"/>
                  <a:pt x="1365923" y="45165"/>
                </a:cubicBezTo>
                <a:cubicBezTo>
                  <a:pt x="1364291" y="71829"/>
                  <a:pt x="1343068" y="93052"/>
                  <a:pt x="1315315" y="93052"/>
                </a:cubicBezTo>
                <a:cubicBezTo>
                  <a:pt x="1290283" y="95229"/>
                  <a:pt x="1266339" y="69109"/>
                  <a:pt x="1266339" y="44076"/>
                </a:cubicBezTo>
                <a:cubicBezTo>
                  <a:pt x="1266339" y="30472"/>
                  <a:pt x="1273141" y="18228"/>
                  <a:pt x="1282732" y="9317"/>
                </a:cubicBezTo>
                <a:close/>
                <a:moveTo>
                  <a:pt x="1148085" y="0"/>
                </a:moveTo>
                <a:lnTo>
                  <a:pt x="1161802" y="0"/>
                </a:lnTo>
                <a:lnTo>
                  <a:pt x="1169637" y="1315"/>
                </a:lnTo>
                <a:cubicBezTo>
                  <a:pt x="1186447" y="8432"/>
                  <a:pt x="1199813" y="26798"/>
                  <a:pt x="1199405" y="45164"/>
                </a:cubicBezTo>
                <a:cubicBezTo>
                  <a:pt x="1198861" y="69652"/>
                  <a:pt x="1175462" y="93596"/>
                  <a:pt x="1151518" y="91419"/>
                </a:cubicBezTo>
                <a:cubicBezTo>
                  <a:pt x="1123765" y="88154"/>
                  <a:pt x="1109072" y="72373"/>
                  <a:pt x="1105807" y="44620"/>
                </a:cubicBezTo>
                <a:cubicBezTo>
                  <a:pt x="1107440" y="30472"/>
                  <a:pt x="1111657" y="19588"/>
                  <a:pt x="1119139" y="11902"/>
                </a:cubicBezTo>
                <a:close/>
              </a:path>
            </a:pathLst>
          </a:custGeom>
          <a:solidFill>
            <a:srgbClr val="0070C0">
              <a:alpha val="28000"/>
            </a:srgbClr>
          </a:solidFill>
          <a:ln w="5432" cap="flat">
            <a:noFill/>
            <a:prstDash val="solid"/>
            <a:miter/>
          </a:ln>
        </p:spPr>
        <p:txBody>
          <a:bodyPr rtlCol="0" anchor="ctr"/>
          <a:lstStyle/>
          <a:p>
            <a:endParaRPr lang="en-IN"/>
          </a:p>
        </p:txBody>
      </p:sp>
      <p:sp>
        <p:nvSpPr>
          <p:cNvPr id="8" name="Rectangle 7">
            <a:extLst>
              <a:ext uri="{FF2B5EF4-FFF2-40B4-BE49-F238E27FC236}">
                <a16:creationId xmlns:a16="http://schemas.microsoft.com/office/drawing/2014/main" id="{BFDB8DB0-3944-459E-BFE1-B74B49B05A57}"/>
              </a:ext>
            </a:extLst>
          </p:cNvPr>
          <p:cNvSpPr/>
          <p:nvPr userDrawn="1"/>
        </p:nvSpPr>
        <p:spPr>
          <a:xfrm>
            <a:off x="-10845" y="1482434"/>
            <a:ext cx="12202845" cy="5390555"/>
          </a:xfrm>
          <a:prstGeom prst="rect">
            <a:avLst/>
          </a:prstGeom>
          <a:solidFill>
            <a:srgbClr val="00012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Tree>
    <p:extLst>
      <p:ext uri="{BB962C8B-B14F-4D97-AF65-F5344CB8AC3E}">
        <p14:creationId xmlns:p14="http://schemas.microsoft.com/office/powerpoint/2010/main" val="104988078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Slide Number Placeholder 2"/>
          <p:cNvSpPr>
            <a:spLocks noGrp="1"/>
          </p:cNvSpPr>
          <p:nvPr>
            <p:ph type="sldNum" sz="quarter" idx="10"/>
          </p:nvPr>
        </p:nvSpPr>
        <p:spPr>
          <a:xfrm>
            <a:off x="609600" y="6467500"/>
            <a:ext cx="475411" cy="212488"/>
          </a:xfrm>
        </p:spPr>
        <p:txBody>
          <a:bodyPr/>
          <a:lstStyle/>
          <a:p>
            <a:fld id="{FE970909-7705-4D10-B040-2D47FEE1CDD1}" type="slidenum">
              <a:rPr lang="en-US" smtClean="0">
                <a:solidFill>
                  <a:prstClr val="black">
                    <a:lumMod val="65000"/>
                    <a:lumOff val="35000"/>
                  </a:prstClr>
                </a:solidFill>
              </a:rPr>
              <a:pPr/>
              <a:t>‹#›</a:t>
            </a:fld>
            <a:endParaRPr lang="en-US">
              <a:solidFill>
                <a:prstClr val="black">
                  <a:lumMod val="65000"/>
                  <a:lumOff val="35000"/>
                </a:prstClr>
              </a:solidFill>
            </a:endParaRPr>
          </a:p>
        </p:txBody>
      </p:sp>
      <p:sp>
        <p:nvSpPr>
          <p:cNvPr id="4" name="Text Placeholder 5"/>
          <p:cNvSpPr>
            <a:spLocks noGrp="1"/>
          </p:cNvSpPr>
          <p:nvPr>
            <p:ph type="body" sz="quarter" idx="12" hasCustomPrompt="1"/>
          </p:nvPr>
        </p:nvSpPr>
        <p:spPr>
          <a:xfrm>
            <a:off x="609600" y="838200"/>
            <a:ext cx="10972800" cy="304800"/>
          </a:xfrm>
        </p:spPr>
        <p:txBody>
          <a:bodyPr anchor="t"/>
          <a:lstStyle>
            <a:lvl1pPr marL="0" indent="0">
              <a:lnSpc>
                <a:spcPct val="100000"/>
              </a:lnSpc>
              <a:buNone/>
              <a:defRPr sz="1800">
                <a:solidFill>
                  <a:schemeClr val="tx1">
                    <a:lumMod val="50000"/>
                    <a:lumOff val="50000"/>
                  </a:schemeClr>
                </a:solidFill>
              </a:defRPr>
            </a:lvl1pPr>
          </a:lstStyle>
          <a:p>
            <a:pPr lvl="0"/>
            <a:r>
              <a:rPr lang="en-US"/>
              <a:t>Slide Sub Title</a:t>
            </a:r>
          </a:p>
        </p:txBody>
      </p:sp>
    </p:spTree>
    <p:extLst>
      <p:ext uri="{BB962C8B-B14F-4D97-AF65-F5344CB8AC3E}">
        <p14:creationId xmlns:p14="http://schemas.microsoft.com/office/powerpoint/2010/main" val="375825262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Title and Subtitle Blan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Slide Number Placeholder 2"/>
          <p:cNvSpPr>
            <a:spLocks noGrp="1"/>
          </p:cNvSpPr>
          <p:nvPr>
            <p:ph type="sldNum" sz="quarter" idx="10"/>
          </p:nvPr>
        </p:nvSpPr>
        <p:spPr/>
        <p:txBody>
          <a:bodyPr/>
          <a:lstStyle>
            <a:lvl1pPr>
              <a:defRPr>
                <a:solidFill>
                  <a:schemeClr val="tx1">
                    <a:lumMod val="50000"/>
                    <a:lumOff val="50000"/>
                  </a:schemeClr>
                </a:solidFill>
              </a:defRPr>
            </a:lvl1pPr>
          </a:lstStyle>
          <a:p>
            <a:fld id="{F408B8BB-803D-4DA6-B398-C819AB86C7A8}" type="slidenum">
              <a:rPr lang="en-US" smtClean="0"/>
              <a:pPr/>
              <a:t>‹#›</a:t>
            </a:fld>
            <a:endParaRPr lang="en-US"/>
          </a:p>
        </p:txBody>
      </p:sp>
      <p:sp>
        <p:nvSpPr>
          <p:cNvPr id="5" name="Text Placeholder 4"/>
          <p:cNvSpPr>
            <a:spLocks noGrp="1"/>
          </p:cNvSpPr>
          <p:nvPr>
            <p:ph type="body" sz="quarter" idx="11" hasCustomPrompt="1"/>
          </p:nvPr>
        </p:nvSpPr>
        <p:spPr>
          <a:xfrm>
            <a:off x="914400" y="914400"/>
            <a:ext cx="10363200" cy="342900"/>
          </a:xfrm>
        </p:spPr>
        <p:txBody>
          <a:bodyPr lIns="18288" tIns="64008">
            <a:noAutofit/>
          </a:bodyPr>
          <a:lstStyle>
            <a:lvl1pPr marL="0" indent="0">
              <a:buNone/>
              <a:defRPr sz="1800" cap="none" baseline="0">
                <a:solidFill>
                  <a:schemeClr val="tx1">
                    <a:lumMod val="65000"/>
                    <a:lumOff val="35000"/>
                  </a:schemeClr>
                </a:solidFill>
              </a:defRPr>
            </a:lvl1pPr>
          </a:lstStyle>
          <a:p>
            <a:pPr lvl="0"/>
            <a:r>
              <a:rPr lang="en-US"/>
              <a:t>Subtitle goes here</a:t>
            </a:r>
          </a:p>
        </p:txBody>
      </p:sp>
    </p:spTree>
    <p:extLst>
      <p:ext uri="{BB962C8B-B14F-4D97-AF65-F5344CB8AC3E}">
        <p14:creationId xmlns:p14="http://schemas.microsoft.com/office/powerpoint/2010/main" val="281377215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017C8B8E-9C07-40EE-8D05-740987F04912}" type="datetimeFigureOut">
              <a:rPr lang="en-US" smtClean="0"/>
              <a:t>1/24/2023</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56C79249-B0A7-4204-9425-6A5E95FE3C4D}" type="slidenum">
              <a:rPr lang="en-US" smtClean="0"/>
              <a:t>‹#›</a:t>
            </a:fld>
            <a:endParaRPr lang="en-US"/>
          </a:p>
        </p:txBody>
      </p:sp>
    </p:spTree>
    <p:extLst>
      <p:ext uri="{BB962C8B-B14F-4D97-AF65-F5344CB8AC3E}">
        <p14:creationId xmlns:p14="http://schemas.microsoft.com/office/powerpoint/2010/main" val="196246484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Header 3">
    <p:spTree>
      <p:nvGrpSpPr>
        <p:cNvPr id="1" name=""/>
        <p:cNvGrpSpPr/>
        <p:nvPr/>
      </p:nvGrpSpPr>
      <p:grpSpPr>
        <a:xfrm>
          <a:off x="0" y="0"/>
          <a:ext cx="0" cy="0"/>
          <a:chOff x="0" y="0"/>
          <a:chExt cx="0" cy="0"/>
        </a:xfrm>
      </p:grpSpPr>
      <p:pic>
        <p:nvPicPr>
          <p:cNvPr id="5" name="Picture 7"/>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416984" y="6530978"/>
            <a:ext cx="2434167"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6" name="Straight Connector 5"/>
          <p:cNvCxnSpPr/>
          <p:nvPr/>
        </p:nvCxnSpPr>
        <p:spPr>
          <a:xfrm>
            <a:off x="2935819" y="6742113"/>
            <a:ext cx="8443383"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7" name="Slide Number Placeholder 5"/>
          <p:cNvSpPr txBox="1">
            <a:spLocks/>
          </p:cNvSpPr>
          <p:nvPr/>
        </p:nvSpPr>
        <p:spPr>
          <a:xfrm>
            <a:off x="11277600" y="6553203"/>
            <a:ext cx="609600" cy="276225"/>
          </a:xfrm>
          <a:prstGeom prst="rect">
            <a:avLst/>
          </a:prstGeom>
          <a:noFill/>
        </p:spPr>
        <p:txBody>
          <a:bodyPr>
            <a:spAutoFit/>
          </a:bodyPr>
          <a:lstStyle>
            <a:defPPr>
              <a:defRPr lang="en-US"/>
            </a:defPPr>
            <a:lvl1pPr marL="0" algn="ctr" defTabSz="914400" rtl="0" eaLnBrk="1" latinLnBrk="0" hangingPunct="1">
              <a:defRPr lang="en-US" sz="1800" kern="1200" smtClean="0">
                <a:solidFill>
                  <a:schemeClr val="bg1"/>
                </a:solidFill>
                <a:latin typeface="Tahoma" pitchFamily="34" charset="0"/>
                <a:ea typeface="Tahoma" pitchFamily="34" charset="0"/>
                <a:cs typeface="Tahoma"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fld id="{7316D0C2-15DD-41E2-B8A5-BAC0B6DB4EEC}" type="slidenum">
              <a:rPr lang="en-IN" sz="1200">
                <a:solidFill>
                  <a:prstClr val="black">
                    <a:lumMod val="50000"/>
                    <a:lumOff val="50000"/>
                  </a:prstClr>
                </a:solidFill>
              </a:rPr>
              <a:pPr fontAlgn="auto">
                <a:spcBef>
                  <a:spcPts val="0"/>
                </a:spcBef>
                <a:spcAft>
                  <a:spcPts val="0"/>
                </a:spcAft>
                <a:defRPr/>
              </a:pPr>
              <a:t>‹#›</a:t>
            </a:fld>
            <a:endParaRPr lang="en-IN" sz="1200">
              <a:solidFill>
                <a:prstClr val="black">
                  <a:lumMod val="50000"/>
                  <a:lumOff val="50000"/>
                </a:prstClr>
              </a:solidFill>
            </a:endParaRPr>
          </a:p>
        </p:txBody>
      </p:sp>
      <p:sp>
        <p:nvSpPr>
          <p:cNvPr id="3" name="Content Placeholder 2"/>
          <p:cNvSpPr>
            <a:spLocks noGrp="1"/>
          </p:cNvSpPr>
          <p:nvPr>
            <p:ph sz="half" idx="1"/>
          </p:nvPr>
        </p:nvSpPr>
        <p:spPr>
          <a:xfrm>
            <a:off x="370005" y="1170296"/>
            <a:ext cx="5624395" cy="4773304"/>
          </a:xfrm>
        </p:spPr>
        <p:txBody>
          <a:bodyPr>
            <a:noAutofit/>
          </a:bodyPr>
          <a:lstStyle>
            <a:lvl1pPr marL="342900" indent="-342900">
              <a:buFont typeface="Wingdings" panose="05000000000000000000" pitchFamily="2" charset="2"/>
              <a:buChar char="§"/>
              <a:defRPr sz="1600" baseline="0">
                <a:solidFill>
                  <a:schemeClr val="tx1">
                    <a:lumMod val="75000"/>
                    <a:lumOff val="25000"/>
                  </a:schemeClr>
                </a:solidFill>
              </a:defRPr>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Edit Master text styles</a:t>
            </a:r>
          </a:p>
        </p:txBody>
      </p:sp>
      <p:sp>
        <p:nvSpPr>
          <p:cNvPr id="4" name="Content Placeholder 3"/>
          <p:cNvSpPr>
            <a:spLocks noGrp="1"/>
          </p:cNvSpPr>
          <p:nvPr>
            <p:ph sz="half" idx="2"/>
          </p:nvPr>
        </p:nvSpPr>
        <p:spPr>
          <a:xfrm>
            <a:off x="6361376" y="1178256"/>
            <a:ext cx="5494624" cy="4765344"/>
          </a:xfrm>
        </p:spPr>
        <p:txBody>
          <a:bodyPr>
            <a:noAutofit/>
          </a:bodyPr>
          <a:lstStyle>
            <a:lvl1pPr marL="342900" indent="-342900">
              <a:buFont typeface="Wingdings" panose="05000000000000000000" pitchFamily="2" charset="2"/>
              <a:buChar char="§"/>
              <a:defRPr lang="en-US" sz="1600" kern="1200" baseline="0" dirty="0" smtClean="0">
                <a:solidFill>
                  <a:schemeClr val="tx1">
                    <a:lumMod val="75000"/>
                    <a:lumOff val="25000"/>
                  </a:schemeClr>
                </a:solidFill>
                <a:latin typeface="+mn-lt"/>
                <a:ea typeface="+mn-ea"/>
                <a:cs typeface="+mn-cs"/>
              </a:defRPr>
            </a:lvl1pPr>
            <a:lvl2pPr marL="457200" indent="0">
              <a:buNone/>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Edit Master text styles</a:t>
            </a:r>
          </a:p>
        </p:txBody>
      </p:sp>
      <p:sp>
        <p:nvSpPr>
          <p:cNvPr id="8" name="Title 1"/>
          <p:cNvSpPr>
            <a:spLocks noGrp="1"/>
          </p:cNvSpPr>
          <p:nvPr>
            <p:ph type="title"/>
          </p:nvPr>
        </p:nvSpPr>
        <p:spPr>
          <a:xfrm>
            <a:off x="370005" y="122238"/>
            <a:ext cx="10972800" cy="639762"/>
          </a:xfrm>
        </p:spPr>
        <p:txBody>
          <a:bodyPr>
            <a:noAutofit/>
          </a:bodyPr>
          <a:lstStyle>
            <a:lvl1pPr algn="l">
              <a:defRPr sz="2600" b="1">
                <a:solidFill>
                  <a:schemeClr val="tx1">
                    <a:lumMod val="75000"/>
                    <a:lumOff val="25000"/>
                  </a:schemeClr>
                </a:solidFill>
              </a:defRPr>
            </a:lvl1pPr>
          </a:lstStyle>
          <a:p>
            <a:r>
              <a:rPr lang="en-US"/>
              <a:t>Click to edit Master title style</a:t>
            </a:r>
          </a:p>
        </p:txBody>
      </p:sp>
    </p:spTree>
    <p:extLst>
      <p:ext uri="{BB962C8B-B14F-4D97-AF65-F5344CB8AC3E}">
        <p14:creationId xmlns:p14="http://schemas.microsoft.com/office/powerpoint/2010/main" val="359340172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D23E69-D645-4EC8-9693-8A5FC2701F69}"/>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CDC5C569-78E0-422A-89B8-F8BA41D4FB77}"/>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354868BF-C842-4B42-9EE4-7E1D00D33CC7}"/>
              </a:ext>
            </a:extLst>
          </p:cNvPr>
          <p:cNvSpPr>
            <a:spLocks noGrp="1"/>
          </p:cNvSpPr>
          <p:nvPr>
            <p:ph type="dt" sz="half" idx="10"/>
          </p:nvPr>
        </p:nvSpPr>
        <p:spPr/>
        <p:txBody>
          <a:bodyPr/>
          <a:lstStyle/>
          <a:p>
            <a:fld id="{6F7FEFAA-F38C-44C7-8846-C450C7CD07B6}" type="datetimeFigureOut">
              <a:rPr lang="en-US" smtClean="0"/>
              <a:t>1/24/2023</a:t>
            </a:fld>
            <a:endParaRPr lang="en-US"/>
          </a:p>
        </p:txBody>
      </p:sp>
      <p:sp>
        <p:nvSpPr>
          <p:cNvPr id="5" name="Footer Placeholder 4">
            <a:extLst>
              <a:ext uri="{FF2B5EF4-FFF2-40B4-BE49-F238E27FC236}">
                <a16:creationId xmlns:a16="http://schemas.microsoft.com/office/drawing/2014/main" id="{B5FDA68B-8BDC-4F94-8C80-D319CB98F93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FC02199-5872-4BBD-B3B1-0BD9C67F0AC2}"/>
              </a:ext>
            </a:extLst>
          </p:cNvPr>
          <p:cNvSpPr>
            <a:spLocks noGrp="1"/>
          </p:cNvSpPr>
          <p:nvPr>
            <p:ph type="sldNum" sz="quarter" idx="12"/>
          </p:nvPr>
        </p:nvSpPr>
        <p:spPr/>
        <p:txBody>
          <a:bodyPr/>
          <a:lstStyle/>
          <a:p>
            <a:fld id="{DC997B2B-D37D-41EE-ABA7-6D49B8D025C4}" type="slidenum">
              <a:rPr lang="en-US" smtClean="0"/>
              <a:t>‹#›</a:t>
            </a:fld>
            <a:endParaRPr lang="en-US"/>
          </a:p>
        </p:txBody>
      </p:sp>
    </p:spTree>
    <p:extLst>
      <p:ext uri="{BB962C8B-B14F-4D97-AF65-F5344CB8AC3E}">
        <p14:creationId xmlns:p14="http://schemas.microsoft.com/office/powerpoint/2010/main" val="115211237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horizontal">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46ADDB9-4242-4A4D-B6A7-49FEB777DFAB}"/>
              </a:ext>
            </a:extLst>
          </p:cNvPr>
          <p:cNvGraphicFramePr>
            <a:graphicFrameLocks noChangeAspect="1"/>
          </p:cNvGraphicFramePr>
          <p:nvPr>
            <p:custDataLst>
              <p:tags r:id="rId1"/>
            </p:custDataLst>
            <p:extLst>
              <p:ext uri="{D42A27DB-BD31-4B8C-83A1-F6EECF244321}">
                <p14:modId xmlns:p14="http://schemas.microsoft.com/office/powerpoint/2010/main" val="40927709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0" imgH="393" progId="TCLayout.ActiveDocument.1">
                  <p:embed/>
                </p:oleObj>
              </mc:Choice>
              <mc:Fallback>
                <p:oleObj name="think-cell Slide" r:id="rId3" imgW="400" imgH="393" progId="TCLayout.ActiveDocument.1">
                  <p:embed/>
                  <p:pic>
                    <p:nvPicPr>
                      <p:cNvPr id="3" name="Object 2" hidden="1">
                        <a:extLst>
                          <a:ext uri="{FF2B5EF4-FFF2-40B4-BE49-F238E27FC236}">
                            <a16:creationId xmlns:a16="http://schemas.microsoft.com/office/drawing/2014/main" id="{246ADDB9-4242-4A4D-B6A7-49FEB777DFA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8" name="Rectangle: Rounded Corners 4">
            <a:extLst>
              <a:ext uri="{FF2B5EF4-FFF2-40B4-BE49-F238E27FC236}">
                <a16:creationId xmlns:a16="http://schemas.microsoft.com/office/drawing/2014/main" id="{221EF850-2666-EC40-8F61-E9676002D54B}"/>
              </a:ext>
            </a:extLst>
          </p:cNvPr>
          <p:cNvSpPr/>
          <p:nvPr/>
        </p:nvSpPr>
        <p:spPr>
          <a:xfrm>
            <a:off x="364652" y="5099554"/>
            <a:ext cx="2446160" cy="1296000"/>
          </a:xfrm>
          <a:prstGeom prst="roundRect">
            <a:avLst>
              <a:gd name="adj" fmla="val 11617"/>
            </a:avLst>
          </a:prstGeom>
          <a:solidFill>
            <a:srgbClr val="72A2CE"/>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rIns="91440" rtlCol="0" anchor="ctr"/>
          <a:lstStyle/>
          <a:p>
            <a:pPr algn="ctr"/>
            <a:endParaRPr lang="en-US" b="1">
              <a:solidFill>
                <a:schemeClr val="bg1"/>
              </a:solidFill>
            </a:endParaRPr>
          </a:p>
        </p:txBody>
      </p:sp>
      <p:sp>
        <p:nvSpPr>
          <p:cNvPr id="59" name="Rectangle: Rounded Corners 7">
            <a:extLst>
              <a:ext uri="{FF2B5EF4-FFF2-40B4-BE49-F238E27FC236}">
                <a16:creationId xmlns:a16="http://schemas.microsoft.com/office/drawing/2014/main" id="{5B6D26CF-CFCF-4C43-959F-AB57F37B709E}"/>
              </a:ext>
            </a:extLst>
          </p:cNvPr>
          <p:cNvSpPr/>
          <p:nvPr/>
        </p:nvSpPr>
        <p:spPr>
          <a:xfrm>
            <a:off x="364652" y="3772122"/>
            <a:ext cx="2446160" cy="1260000"/>
          </a:xfrm>
          <a:prstGeom prst="roundRect">
            <a:avLst>
              <a:gd name="adj" fmla="val 10354"/>
            </a:avLst>
          </a:prstGeom>
          <a:solidFill>
            <a:srgbClr val="409BD0"/>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rIns="91440" rtlCol="0" anchor="ctr"/>
          <a:lstStyle/>
          <a:p>
            <a:pPr algn="ctr"/>
            <a:endParaRPr lang="en-US" b="1">
              <a:solidFill>
                <a:schemeClr val="bg1"/>
              </a:solidFill>
            </a:endParaRPr>
          </a:p>
        </p:txBody>
      </p:sp>
      <p:sp>
        <p:nvSpPr>
          <p:cNvPr id="60" name="Rectangle: Rounded Corners 5">
            <a:extLst>
              <a:ext uri="{FF2B5EF4-FFF2-40B4-BE49-F238E27FC236}">
                <a16:creationId xmlns:a16="http://schemas.microsoft.com/office/drawing/2014/main" id="{E5BE2151-96B8-0640-8C16-8B0A8D536689}"/>
              </a:ext>
            </a:extLst>
          </p:cNvPr>
          <p:cNvSpPr/>
          <p:nvPr/>
        </p:nvSpPr>
        <p:spPr>
          <a:xfrm>
            <a:off x="364652" y="2408690"/>
            <a:ext cx="2446160" cy="1296000"/>
          </a:xfrm>
          <a:prstGeom prst="roundRect">
            <a:avLst>
              <a:gd name="adj" fmla="val 10354"/>
            </a:avLst>
          </a:prstGeom>
          <a:solidFill>
            <a:srgbClr val="3CA8C6"/>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endParaRPr lang="en-US">
              <a:solidFill>
                <a:schemeClr val="bg1"/>
              </a:solidFill>
            </a:endParaRPr>
          </a:p>
        </p:txBody>
      </p:sp>
      <p:sp>
        <p:nvSpPr>
          <p:cNvPr id="61" name="Rectangle: Rounded Corners 6">
            <a:extLst>
              <a:ext uri="{FF2B5EF4-FFF2-40B4-BE49-F238E27FC236}">
                <a16:creationId xmlns:a16="http://schemas.microsoft.com/office/drawing/2014/main" id="{880D2BA1-3F35-4541-BE79-C66A76AB8B7B}"/>
              </a:ext>
            </a:extLst>
          </p:cNvPr>
          <p:cNvSpPr/>
          <p:nvPr/>
        </p:nvSpPr>
        <p:spPr>
          <a:xfrm>
            <a:off x="363732" y="1029959"/>
            <a:ext cx="2448000" cy="1296000"/>
          </a:xfrm>
          <a:prstGeom prst="roundRect">
            <a:avLst>
              <a:gd name="adj" fmla="val 10354"/>
            </a:avLst>
          </a:prstGeom>
          <a:solidFill>
            <a:srgbClr val="33ADAD"/>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rIns="91440" rtlCol="0" anchor="ctr"/>
          <a:lstStyle/>
          <a:p>
            <a:pPr algn="ctr"/>
            <a:endParaRPr lang="en-US" b="1">
              <a:solidFill>
                <a:schemeClr val="bg1"/>
              </a:solidFill>
            </a:endParaRPr>
          </a:p>
        </p:txBody>
      </p:sp>
      <p:sp>
        <p:nvSpPr>
          <p:cNvPr id="4" name="Title 11">
            <a:extLst>
              <a:ext uri="{FF2B5EF4-FFF2-40B4-BE49-F238E27FC236}">
                <a16:creationId xmlns:a16="http://schemas.microsoft.com/office/drawing/2014/main" id="{61BE9B3A-E24C-7D41-B0F2-99C8C34021EB}"/>
              </a:ext>
            </a:extLst>
          </p:cNvPr>
          <p:cNvSpPr>
            <a:spLocks noGrp="1"/>
          </p:cNvSpPr>
          <p:nvPr>
            <p:ph type="title" hasCustomPrompt="1"/>
          </p:nvPr>
        </p:nvSpPr>
        <p:spPr>
          <a:xfrm>
            <a:off x="464908" y="185817"/>
            <a:ext cx="10515600" cy="608663"/>
          </a:xfrm>
          <a:prstGeom prst="rect">
            <a:avLst/>
          </a:prstGeom>
        </p:spPr>
        <p:txBody>
          <a:bodyPr vert="horz" lIns="0" tIns="0" rIns="0" bIns="0" rtlCol="0" anchor="ctr">
            <a:normAutofit/>
          </a:bodyPr>
          <a:lstStyle>
            <a:lvl1pPr>
              <a:defRPr lang="en-US" sz="2600" dirty="0">
                <a:solidFill>
                  <a:srgbClr val="334D8B"/>
                </a:solidFill>
              </a:defRPr>
            </a:lvl1pPr>
          </a:lstStyle>
          <a:p>
            <a:pPr lvl="0"/>
            <a:r>
              <a:rPr lang="en-US"/>
              <a:t>Write your Heading here</a:t>
            </a:r>
          </a:p>
        </p:txBody>
      </p:sp>
      <p:sp>
        <p:nvSpPr>
          <p:cNvPr id="17" name="Text Placeholder 2">
            <a:extLst>
              <a:ext uri="{FF2B5EF4-FFF2-40B4-BE49-F238E27FC236}">
                <a16:creationId xmlns:a16="http://schemas.microsoft.com/office/drawing/2014/main" id="{26131AE9-8C97-8B4D-A462-FAB5410BEAA1}"/>
              </a:ext>
            </a:extLst>
          </p:cNvPr>
          <p:cNvSpPr>
            <a:spLocks noGrp="1"/>
          </p:cNvSpPr>
          <p:nvPr>
            <p:ph type="body" idx="17"/>
          </p:nvPr>
        </p:nvSpPr>
        <p:spPr>
          <a:xfrm>
            <a:off x="637807" y="1266003"/>
            <a:ext cx="1899851" cy="823912"/>
          </a:xfrm>
          <a:prstGeom prst="rect">
            <a:avLst/>
          </a:prstGeom>
        </p:spPr>
        <p:txBody>
          <a:bodyPr anchor="ctr"/>
          <a:lstStyle>
            <a:lvl1pPr marL="0" indent="0" algn="ctr">
              <a:buNone/>
              <a:defRPr sz="1800" b="1">
                <a:solidFill>
                  <a:schemeClr val="bg1">
                    <a:lumMod val="95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8" name="Text Placeholder 2">
            <a:extLst>
              <a:ext uri="{FF2B5EF4-FFF2-40B4-BE49-F238E27FC236}">
                <a16:creationId xmlns:a16="http://schemas.microsoft.com/office/drawing/2014/main" id="{630CA53A-5B1F-9F4A-A0DA-4C04A81A623D}"/>
              </a:ext>
            </a:extLst>
          </p:cNvPr>
          <p:cNvSpPr>
            <a:spLocks noGrp="1"/>
          </p:cNvSpPr>
          <p:nvPr>
            <p:ph type="body" idx="18"/>
          </p:nvPr>
        </p:nvSpPr>
        <p:spPr>
          <a:xfrm>
            <a:off x="637807" y="2644734"/>
            <a:ext cx="1899851" cy="823912"/>
          </a:xfrm>
          <a:prstGeom prst="rect">
            <a:avLst/>
          </a:prstGeom>
        </p:spPr>
        <p:txBody>
          <a:bodyPr anchor="ctr"/>
          <a:lstStyle>
            <a:lvl1pPr marL="0" indent="0" algn="ctr">
              <a:buNone/>
              <a:defRPr sz="1800" b="1">
                <a:solidFill>
                  <a:schemeClr val="bg1">
                    <a:lumMod val="95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9" name="Text Placeholder 2">
            <a:extLst>
              <a:ext uri="{FF2B5EF4-FFF2-40B4-BE49-F238E27FC236}">
                <a16:creationId xmlns:a16="http://schemas.microsoft.com/office/drawing/2014/main" id="{EC94D826-074E-B947-92F3-9BDB391A4B2C}"/>
              </a:ext>
            </a:extLst>
          </p:cNvPr>
          <p:cNvSpPr>
            <a:spLocks noGrp="1"/>
          </p:cNvSpPr>
          <p:nvPr>
            <p:ph type="body" idx="19"/>
          </p:nvPr>
        </p:nvSpPr>
        <p:spPr>
          <a:xfrm>
            <a:off x="637807" y="3990166"/>
            <a:ext cx="1899851" cy="823912"/>
          </a:xfrm>
          <a:prstGeom prst="rect">
            <a:avLst/>
          </a:prstGeom>
        </p:spPr>
        <p:txBody>
          <a:bodyPr anchor="ctr"/>
          <a:lstStyle>
            <a:lvl1pPr marL="0" indent="0" algn="ctr">
              <a:buNone/>
              <a:defRPr sz="1800" b="1">
                <a:solidFill>
                  <a:schemeClr val="bg1">
                    <a:lumMod val="95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20" name="Text Placeholder 2">
            <a:extLst>
              <a:ext uri="{FF2B5EF4-FFF2-40B4-BE49-F238E27FC236}">
                <a16:creationId xmlns:a16="http://schemas.microsoft.com/office/drawing/2014/main" id="{518D554C-BD92-1843-B042-237F90D798CF}"/>
              </a:ext>
            </a:extLst>
          </p:cNvPr>
          <p:cNvSpPr>
            <a:spLocks noGrp="1"/>
          </p:cNvSpPr>
          <p:nvPr>
            <p:ph type="body" idx="20"/>
          </p:nvPr>
        </p:nvSpPr>
        <p:spPr>
          <a:xfrm>
            <a:off x="637807" y="5335598"/>
            <a:ext cx="1899851" cy="823912"/>
          </a:xfrm>
          <a:prstGeom prst="rect">
            <a:avLst/>
          </a:prstGeom>
        </p:spPr>
        <p:txBody>
          <a:bodyPr anchor="ctr"/>
          <a:lstStyle>
            <a:lvl1pPr marL="0" indent="0" algn="ctr">
              <a:buNone/>
              <a:defRPr sz="1800" b="1">
                <a:solidFill>
                  <a:schemeClr val="bg1">
                    <a:lumMod val="95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22" name="Text Placeholder 3">
            <a:extLst>
              <a:ext uri="{FF2B5EF4-FFF2-40B4-BE49-F238E27FC236}">
                <a16:creationId xmlns:a16="http://schemas.microsoft.com/office/drawing/2014/main" id="{D2521595-DF39-B14B-9FBA-C2B0E56AA8F8}"/>
              </a:ext>
            </a:extLst>
          </p:cNvPr>
          <p:cNvSpPr>
            <a:spLocks noGrp="1"/>
          </p:cNvSpPr>
          <p:nvPr>
            <p:ph type="body" sz="half" idx="21"/>
          </p:nvPr>
        </p:nvSpPr>
        <p:spPr>
          <a:xfrm>
            <a:off x="3326507" y="1137959"/>
            <a:ext cx="7563104" cy="1080000"/>
          </a:xfrm>
          <a:prstGeom prst="rect">
            <a:avLst/>
          </a:prstGeom>
        </p:spPr>
        <p:txBody>
          <a:bodyPr>
            <a:normAutofit/>
          </a:bodyPr>
          <a:lstStyle>
            <a:lvl1pPr marL="285750" indent="-285750" algn="l">
              <a:buClr>
                <a:schemeClr val="accent3"/>
              </a:buClr>
              <a:buFont typeface="Wingdings" pitchFamily="2" charset="2"/>
              <a:buChar char="§"/>
              <a:defRPr sz="14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23" name="Text Placeholder 3">
            <a:extLst>
              <a:ext uri="{FF2B5EF4-FFF2-40B4-BE49-F238E27FC236}">
                <a16:creationId xmlns:a16="http://schemas.microsoft.com/office/drawing/2014/main" id="{023BFF9A-9293-E24A-A7AE-8A6D8E20D294}"/>
              </a:ext>
            </a:extLst>
          </p:cNvPr>
          <p:cNvSpPr>
            <a:spLocks noGrp="1"/>
          </p:cNvSpPr>
          <p:nvPr>
            <p:ph type="body" sz="half" idx="22"/>
          </p:nvPr>
        </p:nvSpPr>
        <p:spPr>
          <a:xfrm>
            <a:off x="3326507" y="2516690"/>
            <a:ext cx="7563104" cy="1080000"/>
          </a:xfrm>
          <a:prstGeom prst="rect">
            <a:avLst/>
          </a:prstGeom>
        </p:spPr>
        <p:txBody>
          <a:bodyPr>
            <a:normAutofit/>
          </a:bodyPr>
          <a:lstStyle>
            <a:lvl1pPr marL="285750" indent="-285750" algn="l">
              <a:buClr>
                <a:schemeClr val="accent3"/>
              </a:buClr>
              <a:buFont typeface="Wingdings" pitchFamily="2" charset="2"/>
              <a:buChar char="§"/>
              <a:defRPr sz="14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24" name="Text Placeholder 3">
            <a:extLst>
              <a:ext uri="{FF2B5EF4-FFF2-40B4-BE49-F238E27FC236}">
                <a16:creationId xmlns:a16="http://schemas.microsoft.com/office/drawing/2014/main" id="{E342D6D3-6E77-7843-AEE4-EF15382E60A9}"/>
              </a:ext>
            </a:extLst>
          </p:cNvPr>
          <p:cNvSpPr>
            <a:spLocks noGrp="1"/>
          </p:cNvSpPr>
          <p:nvPr>
            <p:ph type="body" sz="half" idx="23"/>
          </p:nvPr>
        </p:nvSpPr>
        <p:spPr>
          <a:xfrm>
            <a:off x="3326507" y="3862122"/>
            <a:ext cx="7563104" cy="1080000"/>
          </a:xfrm>
          <a:prstGeom prst="rect">
            <a:avLst/>
          </a:prstGeom>
        </p:spPr>
        <p:txBody>
          <a:bodyPr>
            <a:normAutofit/>
          </a:bodyPr>
          <a:lstStyle>
            <a:lvl1pPr marL="285750" indent="-285750" algn="l">
              <a:buClr>
                <a:schemeClr val="accent3"/>
              </a:buClr>
              <a:buFont typeface="Wingdings" pitchFamily="2" charset="2"/>
              <a:buChar char="§"/>
              <a:defRPr sz="14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25" name="Text Placeholder 3">
            <a:extLst>
              <a:ext uri="{FF2B5EF4-FFF2-40B4-BE49-F238E27FC236}">
                <a16:creationId xmlns:a16="http://schemas.microsoft.com/office/drawing/2014/main" id="{7118A05D-ABE3-3441-9FA2-6AEE0F630999}"/>
              </a:ext>
            </a:extLst>
          </p:cNvPr>
          <p:cNvSpPr>
            <a:spLocks noGrp="1"/>
          </p:cNvSpPr>
          <p:nvPr>
            <p:ph type="body" sz="half" idx="24"/>
          </p:nvPr>
        </p:nvSpPr>
        <p:spPr>
          <a:xfrm>
            <a:off x="3326507" y="5207554"/>
            <a:ext cx="7563104" cy="1080000"/>
          </a:xfrm>
          <a:prstGeom prst="rect">
            <a:avLst/>
          </a:prstGeom>
        </p:spPr>
        <p:txBody>
          <a:bodyPr>
            <a:normAutofit/>
          </a:bodyPr>
          <a:lstStyle>
            <a:lvl1pPr marL="285750" indent="-285750" algn="l">
              <a:buClr>
                <a:schemeClr val="accent3"/>
              </a:buClr>
              <a:buFont typeface="Wingdings" pitchFamily="2" charset="2"/>
              <a:buChar char="§"/>
              <a:defRPr sz="14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26" name="Slide Number Placeholder 5">
            <a:extLst>
              <a:ext uri="{FF2B5EF4-FFF2-40B4-BE49-F238E27FC236}">
                <a16:creationId xmlns:a16="http://schemas.microsoft.com/office/drawing/2014/main" id="{CE720B82-1CDE-49BE-8A7A-22AD0FC14CE4}"/>
              </a:ext>
            </a:extLst>
          </p:cNvPr>
          <p:cNvSpPr txBox="1">
            <a:spLocks/>
          </p:cNvSpPr>
          <p:nvPr userDrawn="1"/>
        </p:nvSpPr>
        <p:spPr>
          <a:xfrm>
            <a:off x="11373135" y="6506785"/>
            <a:ext cx="609600" cy="261610"/>
          </a:xfrm>
          <a:prstGeom prst="rect">
            <a:avLst/>
          </a:prstGeom>
          <a:noFill/>
        </p:spPr>
        <p:txBody>
          <a:bodyPr>
            <a:spAutoFit/>
          </a:bodyPr>
          <a:lstStyle>
            <a:defPPr>
              <a:defRPr lang="en-US"/>
            </a:defPPr>
            <a:lvl1pPr marL="0" algn="ctr" defTabSz="914400" rtl="0" eaLnBrk="1" latinLnBrk="0" hangingPunct="1">
              <a:defRPr lang="en-US" sz="1800" kern="1200" smtClean="0">
                <a:solidFill>
                  <a:schemeClr val="bg1"/>
                </a:solidFill>
                <a:latin typeface="Tahoma" pitchFamily="34" charset="0"/>
                <a:ea typeface="Tahoma" pitchFamily="34" charset="0"/>
                <a:cs typeface="Tahoma"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fld id="{3413C1ED-5599-4BB6-878F-244F2E6B8E4A}" type="slidenum">
              <a:rPr lang="en-IN" sz="1100">
                <a:solidFill>
                  <a:prstClr val="black">
                    <a:lumMod val="50000"/>
                    <a:lumOff val="50000"/>
                  </a:prstClr>
                </a:solidFill>
              </a:rPr>
              <a:pPr fontAlgn="auto">
                <a:spcBef>
                  <a:spcPts val="0"/>
                </a:spcBef>
                <a:spcAft>
                  <a:spcPts val="0"/>
                </a:spcAft>
                <a:defRPr/>
              </a:pPr>
              <a:t>‹#›</a:t>
            </a:fld>
            <a:endParaRPr lang="en-IN" sz="1100">
              <a:solidFill>
                <a:prstClr val="black">
                  <a:lumMod val="50000"/>
                  <a:lumOff val="50000"/>
                </a:prstClr>
              </a:solidFill>
            </a:endParaRPr>
          </a:p>
        </p:txBody>
      </p:sp>
      <p:pic>
        <p:nvPicPr>
          <p:cNvPr id="28" name="Picture 27">
            <a:extLst>
              <a:ext uri="{FF2B5EF4-FFF2-40B4-BE49-F238E27FC236}">
                <a16:creationId xmlns:a16="http://schemas.microsoft.com/office/drawing/2014/main" id="{3011651A-1847-4A11-95C2-7FCA494B86D3}"/>
              </a:ext>
            </a:extLst>
          </p:cNvPr>
          <p:cNvPicPr>
            <a:picLocks noChangeAspect="1"/>
          </p:cNvPicPr>
          <p:nvPr userDrawn="1"/>
        </p:nvPicPr>
        <p:blipFill>
          <a:blip r:embed="rId5"/>
          <a:stretch>
            <a:fillRect/>
          </a:stretch>
        </p:blipFill>
        <p:spPr>
          <a:xfrm>
            <a:off x="464908" y="6506785"/>
            <a:ext cx="1148260" cy="138938"/>
          </a:xfrm>
          <a:prstGeom prst="rect">
            <a:avLst/>
          </a:prstGeom>
        </p:spPr>
      </p:pic>
      <p:sp>
        <p:nvSpPr>
          <p:cNvPr id="29" name="Freeform: Shape 14">
            <a:extLst>
              <a:ext uri="{FF2B5EF4-FFF2-40B4-BE49-F238E27FC236}">
                <a16:creationId xmlns:a16="http://schemas.microsoft.com/office/drawing/2014/main" id="{CBF3E62E-BD2B-4DF9-B506-61B6AA5D3FBF}"/>
              </a:ext>
            </a:extLst>
          </p:cNvPr>
          <p:cNvSpPr/>
          <p:nvPr userDrawn="1"/>
        </p:nvSpPr>
        <p:spPr>
          <a:xfrm rot="5400000" flipH="1">
            <a:off x="10650813" y="-6388"/>
            <a:ext cx="1528833" cy="1553542"/>
          </a:xfrm>
          <a:custGeom>
            <a:avLst/>
            <a:gdLst>
              <a:gd name="connsiteX0" fmla="*/ 2051041 w 2051041"/>
              <a:gd name="connsiteY0" fmla="*/ 2080382 h 2084191"/>
              <a:gd name="connsiteX1" fmla="*/ 2051041 w 2051041"/>
              <a:gd name="connsiteY1" fmla="*/ 2083967 h 2084191"/>
              <a:gd name="connsiteX2" fmla="*/ 2047231 w 2051041"/>
              <a:gd name="connsiteY2" fmla="*/ 2084191 h 2084191"/>
              <a:gd name="connsiteX3" fmla="*/ 2045599 w 2051041"/>
              <a:gd name="connsiteY3" fmla="*/ 2081470 h 2084191"/>
              <a:gd name="connsiteX4" fmla="*/ 1478568 w 2051041"/>
              <a:gd name="connsiteY4" fmla="*/ 1997668 h 2084191"/>
              <a:gd name="connsiteX5" fmla="*/ 1484554 w 2051041"/>
              <a:gd name="connsiteY5" fmla="*/ 2004743 h 2084191"/>
              <a:gd name="connsiteX6" fmla="*/ 1478568 w 2051041"/>
              <a:gd name="connsiteY6" fmla="*/ 2009096 h 2084191"/>
              <a:gd name="connsiteX7" fmla="*/ 1473126 w 2051041"/>
              <a:gd name="connsiteY7" fmla="*/ 2003654 h 2084191"/>
              <a:gd name="connsiteX8" fmla="*/ 1478568 w 2051041"/>
              <a:gd name="connsiteY8" fmla="*/ 1997668 h 2084191"/>
              <a:gd name="connsiteX9" fmla="*/ 1641820 w 2051041"/>
              <a:gd name="connsiteY9" fmla="*/ 1993859 h 2084191"/>
              <a:gd name="connsiteX10" fmla="*/ 1652160 w 2051041"/>
              <a:gd name="connsiteY10" fmla="*/ 2003654 h 2084191"/>
              <a:gd name="connsiteX11" fmla="*/ 1641820 w 2051041"/>
              <a:gd name="connsiteY11" fmla="*/ 2013449 h 2084191"/>
              <a:gd name="connsiteX12" fmla="*/ 1632025 w 2051041"/>
              <a:gd name="connsiteY12" fmla="*/ 2003654 h 2084191"/>
              <a:gd name="connsiteX13" fmla="*/ 1641820 w 2051041"/>
              <a:gd name="connsiteY13" fmla="*/ 1993859 h 2084191"/>
              <a:gd name="connsiteX14" fmla="*/ 1969414 w 2051041"/>
              <a:gd name="connsiteY14" fmla="*/ 1992226 h 2084191"/>
              <a:gd name="connsiteX15" fmla="*/ 1979753 w 2051041"/>
              <a:gd name="connsiteY15" fmla="*/ 2003654 h 2084191"/>
              <a:gd name="connsiteX16" fmla="*/ 1968325 w 2051041"/>
              <a:gd name="connsiteY16" fmla="*/ 2014537 h 2084191"/>
              <a:gd name="connsiteX17" fmla="*/ 1957986 w 2051041"/>
              <a:gd name="connsiteY17" fmla="*/ 2003110 h 2084191"/>
              <a:gd name="connsiteX18" fmla="*/ 1969414 w 2051041"/>
              <a:gd name="connsiteY18" fmla="*/ 1992226 h 2084191"/>
              <a:gd name="connsiteX19" fmla="*/ 1805073 w 2051041"/>
              <a:gd name="connsiteY19" fmla="*/ 1992226 h 2084191"/>
              <a:gd name="connsiteX20" fmla="*/ 1815956 w 2051041"/>
              <a:gd name="connsiteY20" fmla="*/ 2002565 h 2084191"/>
              <a:gd name="connsiteX21" fmla="*/ 1805073 w 2051041"/>
              <a:gd name="connsiteY21" fmla="*/ 2014537 h 2084191"/>
              <a:gd name="connsiteX22" fmla="*/ 1794189 w 2051041"/>
              <a:gd name="connsiteY22" fmla="*/ 2004198 h 2084191"/>
              <a:gd name="connsiteX23" fmla="*/ 1805073 w 2051041"/>
              <a:gd name="connsiteY23" fmla="*/ 1992226 h 2084191"/>
              <a:gd name="connsiteX24" fmla="*/ 1234233 w 2051041"/>
              <a:gd name="connsiteY24" fmla="*/ 1916042 h 2084191"/>
              <a:gd name="connsiteX25" fmla="*/ 1240219 w 2051041"/>
              <a:gd name="connsiteY25" fmla="*/ 1923660 h 2084191"/>
              <a:gd name="connsiteX26" fmla="*/ 1236953 w 2051041"/>
              <a:gd name="connsiteY26" fmla="*/ 1926381 h 2084191"/>
              <a:gd name="connsiteX27" fmla="*/ 1229335 w 2051041"/>
              <a:gd name="connsiteY27" fmla="*/ 1918762 h 2084191"/>
              <a:gd name="connsiteX28" fmla="*/ 1234233 w 2051041"/>
              <a:gd name="connsiteY28" fmla="*/ 1916042 h 2084191"/>
              <a:gd name="connsiteX29" fmla="*/ 1397486 w 2051041"/>
              <a:gd name="connsiteY29" fmla="*/ 1911144 h 2084191"/>
              <a:gd name="connsiteX30" fmla="*/ 1408369 w 2051041"/>
              <a:gd name="connsiteY30" fmla="*/ 1921483 h 2084191"/>
              <a:gd name="connsiteX31" fmla="*/ 1399118 w 2051041"/>
              <a:gd name="connsiteY31" fmla="*/ 1931823 h 2084191"/>
              <a:gd name="connsiteX32" fmla="*/ 1387146 w 2051041"/>
              <a:gd name="connsiteY32" fmla="*/ 1922028 h 2084191"/>
              <a:gd name="connsiteX33" fmla="*/ 1397486 w 2051041"/>
              <a:gd name="connsiteY33" fmla="*/ 1911144 h 2084191"/>
              <a:gd name="connsiteX34" fmla="*/ 1560194 w 2051041"/>
              <a:gd name="connsiteY34" fmla="*/ 1906790 h 2084191"/>
              <a:gd name="connsiteX35" fmla="*/ 1574342 w 2051041"/>
              <a:gd name="connsiteY35" fmla="*/ 1921482 h 2084191"/>
              <a:gd name="connsiteX36" fmla="*/ 1560738 w 2051041"/>
              <a:gd name="connsiteY36" fmla="*/ 1935631 h 2084191"/>
              <a:gd name="connsiteX37" fmla="*/ 1547134 w 2051041"/>
              <a:gd name="connsiteY37" fmla="*/ 1922027 h 2084191"/>
              <a:gd name="connsiteX38" fmla="*/ 1560194 w 2051041"/>
              <a:gd name="connsiteY38" fmla="*/ 1906790 h 2084191"/>
              <a:gd name="connsiteX39" fmla="*/ 2049952 w 2051041"/>
              <a:gd name="connsiteY39" fmla="*/ 1905702 h 2084191"/>
              <a:gd name="connsiteX40" fmla="*/ 2051041 w 2051041"/>
              <a:gd name="connsiteY40" fmla="*/ 1906027 h 2084191"/>
              <a:gd name="connsiteX41" fmla="*/ 2051041 w 2051041"/>
              <a:gd name="connsiteY41" fmla="*/ 1938133 h 2084191"/>
              <a:gd name="connsiteX42" fmla="*/ 2050496 w 2051041"/>
              <a:gd name="connsiteY42" fmla="*/ 1938353 h 2084191"/>
              <a:gd name="connsiteX43" fmla="*/ 2034171 w 2051041"/>
              <a:gd name="connsiteY43" fmla="*/ 1922572 h 2084191"/>
              <a:gd name="connsiteX44" fmla="*/ 2049952 w 2051041"/>
              <a:gd name="connsiteY44" fmla="*/ 1905702 h 2084191"/>
              <a:gd name="connsiteX45" fmla="*/ 1723447 w 2051041"/>
              <a:gd name="connsiteY45" fmla="*/ 1905702 h 2084191"/>
              <a:gd name="connsiteX46" fmla="*/ 1739772 w 2051041"/>
              <a:gd name="connsiteY46" fmla="*/ 1920939 h 2084191"/>
              <a:gd name="connsiteX47" fmla="*/ 1724535 w 2051041"/>
              <a:gd name="connsiteY47" fmla="*/ 1937264 h 2084191"/>
              <a:gd name="connsiteX48" fmla="*/ 1708210 w 2051041"/>
              <a:gd name="connsiteY48" fmla="*/ 1922027 h 2084191"/>
              <a:gd name="connsiteX49" fmla="*/ 1723447 w 2051041"/>
              <a:gd name="connsiteY49" fmla="*/ 1905702 h 2084191"/>
              <a:gd name="connsiteX50" fmla="*/ 1887787 w 2051041"/>
              <a:gd name="connsiteY50" fmla="*/ 1905158 h 2084191"/>
              <a:gd name="connsiteX51" fmla="*/ 1904113 w 2051041"/>
              <a:gd name="connsiteY51" fmla="*/ 1922028 h 2084191"/>
              <a:gd name="connsiteX52" fmla="*/ 1886699 w 2051041"/>
              <a:gd name="connsiteY52" fmla="*/ 1937809 h 2084191"/>
              <a:gd name="connsiteX53" fmla="*/ 1870918 w 2051041"/>
              <a:gd name="connsiteY53" fmla="*/ 1921483 h 2084191"/>
              <a:gd name="connsiteX54" fmla="*/ 1887787 w 2051041"/>
              <a:gd name="connsiteY54" fmla="*/ 1905158 h 2084191"/>
              <a:gd name="connsiteX55" fmla="*/ 1152606 w 2051041"/>
              <a:gd name="connsiteY55" fmla="*/ 1831693 h 2084191"/>
              <a:gd name="connsiteX56" fmla="*/ 1161313 w 2051041"/>
              <a:gd name="connsiteY56" fmla="*/ 1839312 h 2084191"/>
              <a:gd name="connsiteX57" fmla="*/ 1153694 w 2051041"/>
              <a:gd name="connsiteY57" fmla="*/ 1852916 h 2084191"/>
              <a:gd name="connsiteX58" fmla="*/ 1144988 w 2051041"/>
              <a:gd name="connsiteY58" fmla="*/ 1841489 h 2084191"/>
              <a:gd name="connsiteX59" fmla="*/ 1152606 w 2051041"/>
              <a:gd name="connsiteY59" fmla="*/ 1831693 h 2084191"/>
              <a:gd name="connsiteX60" fmla="*/ 1315315 w 2051041"/>
              <a:gd name="connsiteY60" fmla="*/ 1825708 h 2084191"/>
              <a:gd name="connsiteX61" fmla="*/ 1330552 w 2051041"/>
              <a:gd name="connsiteY61" fmla="*/ 1840401 h 2084191"/>
              <a:gd name="connsiteX62" fmla="*/ 1316404 w 2051041"/>
              <a:gd name="connsiteY62" fmla="*/ 1854549 h 2084191"/>
              <a:gd name="connsiteX63" fmla="*/ 1301711 w 2051041"/>
              <a:gd name="connsiteY63" fmla="*/ 1840945 h 2084191"/>
              <a:gd name="connsiteX64" fmla="*/ 1315315 w 2051041"/>
              <a:gd name="connsiteY64" fmla="*/ 1825708 h 2084191"/>
              <a:gd name="connsiteX65" fmla="*/ 1479656 w 2051041"/>
              <a:gd name="connsiteY65" fmla="*/ 1822987 h 2084191"/>
              <a:gd name="connsiteX66" fmla="*/ 1495981 w 2051041"/>
              <a:gd name="connsiteY66" fmla="*/ 1840401 h 2084191"/>
              <a:gd name="connsiteX67" fmla="*/ 1478567 w 2051041"/>
              <a:gd name="connsiteY67" fmla="*/ 1856182 h 2084191"/>
              <a:gd name="connsiteX68" fmla="*/ 1462242 w 2051041"/>
              <a:gd name="connsiteY68" fmla="*/ 1839312 h 2084191"/>
              <a:gd name="connsiteX69" fmla="*/ 1479656 w 2051041"/>
              <a:gd name="connsiteY69" fmla="*/ 1822987 h 2084191"/>
              <a:gd name="connsiteX70" fmla="*/ 1642365 w 2051041"/>
              <a:gd name="connsiteY70" fmla="*/ 1821355 h 2084191"/>
              <a:gd name="connsiteX71" fmla="*/ 1660867 w 2051041"/>
              <a:gd name="connsiteY71" fmla="*/ 1840401 h 2084191"/>
              <a:gd name="connsiteX72" fmla="*/ 1642365 w 2051041"/>
              <a:gd name="connsiteY72" fmla="*/ 1857270 h 2084191"/>
              <a:gd name="connsiteX73" fmla="*/ 1624407 w 2051041"/>
              <a:gd name="connsiteY73" fmla="*/ 1839857 h 2084191"/>
              <a:gd name="connsiteX74" fmla="*/ 1642365 w 2051041"/>
              <a:gd name="connsiteY74" fmla="*/ 1821355 h 2084191"/>
              <a:gd name="connsiteX75" fmla="*/ 1806162 w 2051041"/>
              <a:gd name="connsiteY75" fmla="*/ 1819723 h 2084191"/>
              <a:gd name="connsiteX76" fmla="*/ 1826840 w 2051041"/>
              <a:gd name="connsiteY76" fmla="*/ 1840945 h 2084191"/>
              <a:gd name="connsiteX77" fmla="*/ 1804529 w 2051041"/>
              <a:gd name="connsiteY77" fmla="*/ 1861080 h 2084191"/>
              <a:gd name="connsiteX78" fmla="*/ 1784395 w 2051041"/>
              <a:gd name="connsiteY78" fmla="*/ 1839313 h 2084191"/>
              <a:gd name="connsiteX79" fmla="*/ 1806162 w 2051041"/>
              <a:gd name="connsiteY79" fmla="*/ 1819723 h 2084191"/>
              <a:gd name="connsiteX80" fmla="*/ 1968870 w 2051041"/>
              <a:gd name="connsiteY80" fmla="*/ 1819178 h 2084191"/>
              <a:gd name="connsiteX81" fmla="*/ 1990093 w 2051041"/>
              <a:gd name="connsiteY81" fmla="*/ 1840401 h 2084191"/>
              <a:gd name="connsiteX82" fmla="*/ 1968870 w 2051041"/>
              <a:gd name="connsiteY82" fmla="*/ 1861624 h 2084191"/>
              <a:gd name="connsiteX83" fmla="*/ 1947647 w 2051041"/>
              <a:gd name="connsiteY83" fmla="*/ 1840401 h 2084191"/>
              <a:gd name="connsiteX84" fmla="*/ 1968870 w 2051041"/>
              <a:gd name="connsiteY84" fmla="*/ 1819178 h 2084191"/>
              <a:gd name="connsiteX85" fmla="*/ 1070436 w 2051041"/>
              <a:gd name="connsiteY85" fmla="*/ 1747347 h 2084191"/>
              <a:gd name="connsiteX86" fmla="*/ 1081863 w 2051041"/>
              <a:gd name="connsiteY86" fmla="*/ 1758231 h 2084191"/>
              <a:gd name="connsiteX87" fmla="*/ 1070980 w 2051041"/>
              <a:gd name="connsiteY87" fmla="*/ 1769658 h 2084191"/>
              <a:gd name="connsiteX88" fmla="*/ 1059552 w 2051041"/>
              <a:gd name="connsiteY88" fmla="*/ 1758775 h 2084191"/>
              <a:gd name="connsiteX89" fmla="*/ 1070436 w 2051041"/>
              <a:gd name="connsiteY89" fmla="*/ 1747347 h 2084191"/>
              <a:gd name="connsiteX90" fmla="*/ 1233688 w 2051041"/>
              <a:gd name="connsiteY90" fmla="*/ 1742449 h 2084191"/>
              <a:gd name="connsiteX91" fmla="*/ 1250558 w 2051041"/>
              <a:gd name="connsiteY91" fmla="*/ 1758774 h 2084191"/>
              <a:gd name="connsiteX92" fmla="*/ 1233688 w 2051041"/>
              <a:gd name="connsiteY92" fmla="*/ 1775099 h 2084191"/>
              <a:gd name="connsiteX93" fmla="*/ 1217907 w 2051041"/>
              <a:gd name="connsiteY93" fmla="*/ 1759318 h 2084191"/>
              <a:gd name="connsiteX94" fmla="*/ 1233688 w 2051041"/>
              <a:gd name="connsiteY94" fmla="*/ 1742449 h 2084191"/>
              <a:gd name="connsiteX95" fmla="*/ 1399662 w 2051041"/>
              <a:gd name="connsiteY95" fmla="*/ 1739728 h 2084191"/>
              <a:gd name="connsiteX96" fmla="*/ 1417076 w 2051041"/>
              <a:gd name="connsiteY96" fmla="*/ 1760407 h 2084191"/>
              <a:gd name="connsiteX97" fmla="*/ 1396941 w 2051041"/>
              <a:gd name="connsiteY97" fmla="*/ 1779453 h 2084191"/>
              <a:gd name="connsiteX98" fmla="*/ 1377895 w 2051041"/>
              <a:gd name="connsiteY98" fmla="*/ 1757686 h 2084191"/>
              <a:gd name="connsiteX99" fmla="*/ 1399662 w 2051041"/>
              <a:gd name="connsiteY99" fmla="*/ 1739728 h 2084191"/>
              <a:gd name="connsiteX100" fmla="*/ 1723991 w 2051041"/>
              <a:gd name="connsiteY100" fmla="*/ 1735919 h 2084191"/>
              <a:gd name="connsiteX101" fmla="*/ 1746847 w 2051041"/>
              <a:gd name="connsiteY101" fmla="*/ 1758774 h 2084191"/>
              <a:gd name="connsiteX102" fmla="*/ 1723991 w 2051041"/>
              <a:gd name="connsiteY102" fmla="*/ 1781086 h 2084191"/>
              <a:gd name="connsiteX103" fmla="*/ 1701680 w 2051041"/>
              <a:gd name="connsiteY103" fmla="*/ 1758774 h 2084191"/>
              <a:gd name="connsiteX104" fmla="*/ 1723991 w 2051041"/>
              <a:gd name="connsiteY104" fmla="*/ 1735919 h 2084191"/>
              <a:gd name="connsiteX105" fmla="*/ 1560194 w 2051041"/>
              <a:gd name="connsiteY105" fmla="*/ 1735919 h 2084191"/>
              <a:gd name="connsiteX106" fmla="*/ 1582505 w 2051041"/>
              <a:gd name="connsiteY106" fmla="*/ 1758230 h 2084191"/>
              <a:gd name="connsiteX107" fmla="*/ 1560738 w 2051041"/>
              <a:gd name="connsiteY107" fmla="*/ 1779997 h 2084191"/>
              <a:gd name="connsiteX108" fmla="*/ 1538427 w 2051041"/>
              <a:gd name="connsiteY108" fmla="*/ 1758230 h 2084191"/>
              <a:gd name="connsiteX109" fmla="*/ 1560194 w 2051041"/>
              <a:gd name="connsiteY109" fmla="*/ 1735919 h 2084191"/>
              <a:gd name="connsiteX110" fmla="*/ 2051041 w 2051041"/>
              <a:gd name="connsiteY110" fmla="*/ 1734831 h 2084191"/>
              <a:gd name="connsiteX111" fmla="*/ 2051041 w 2051041"/>
              <a:gd name="connsiteY111" fmla="*/ 1781438 h 2084191"/>
              <a:gd name="connsiteX112" fmla="*/ 2050496 w 2051041"/>
              <a:gd name="connsiteY112" fmla="*/ 1781630 h 2084191"/>
              <a:gd name="connsiteX113" fmla="*/ 2027097 w 2051041"/>
              <a:gd name="connsiteY113" fmla="*/ 1758775 h 2084191"/>
              <a:gd name="connsiteX114" fmla="*/ 2051041 w 2051041"/>
              <a:gd name="connsiteY114" fmla="*/ 1734831 h 2084191"/>
              <a:gd name="connsiteX115" fmla="*/ 1887788 w 2051041"/>
              <a:gd name="connsiteY115" fmla="*/ 1734831 h 2084191"/>
              <a:gd name="connsiteX116" fmla="*/ 1910099 w 2051041"/>
              <a:gd name="connsiteY116" fmla="*/ 1758775 h 2084191"/>
              <a:gd name="connsiteX117" fmla="*/ 1886699 w 2051041"/>
              <a:gd name="connsiteY117" fmla="*/ 1781086 h 2084191"/>
              <a:gd name="connsiteX118" fmla="*/ 1863844 w 2051041"/>
              <a:gd name="connsiteY118" fmla="*/ 1757687 h 2084191"/>
              <a:gd name="connsiteX119" fmla="*/ 1887788 w 2051041"/>
              <a:gd name="connsiteY119" fmla="*/ 1734831 h 2084191"/>
              <a:gd name="connsiteX120" fmla="*/ 826100 w 2051041"/>
              <a:gd name="connsiteY120" fmla="*/ 1671706 h 2084191"/>
              <a:gd name="connsiteX121" fmla="*/ 832086 w 2051041"/>
              <a:gd name="connsiteY121" fmla="*/ 1677692 h 2084191"/>
              <a:gd name="connsiteX122" fmla="*/ 825556 w 2051041"/>
              <a:gd name="connsiteY122" fmla="*/ 1683134 h 2084191"/>
              <a:gd name="connsiteX123" fmla="*/ 820658 w 2051041"/>
              <a:gd name="connsiteY123" fmla="*/ 1676603 h 2084191"/>
              <a:gd name="connsiteX124" fmla="*/ 826100 w 2051041"/>
              <a:gd name="connsiteY124" fmla="*/ 1671706 h 2084191"/>
              <a:gd name="connsiteX125" fmla="*/ 989354 w 2051041"/>
              <a:gd name="connsiteY125" fmla="*/ 1661912 h 2084191"/>
              <a:gd name="connsiteX126" fmla="*/ 1004046 w 2051041"/>
              <a:gd name="connsiteY126" fmla="*/ 1676604 h 2084191"/>
              <a:gd name="connsiteX127" fmla="*/ 989354 w 2051041"/>
              <a:gd name="connsiteY127" fmla="*/ 1690209 h 2084191"/>
              <a:gd name="connsiteX128" fmla="*/ 975205 w 2051041"/>
              <a:gd name="connsiteY128" fmla="*/ 1677693 h 2084191"/>
              <a:gd name="connsiteX129" fmla="*/ 989354 w 2051041"/>
              <a:gd name="connsiteY129" fmla="*/ 1661912 h 2084191"/>
              <a:gd name="connsiteX130" fmla="*/ 1153151 w 2051041"/>
              <a:gd name="connsiteY130" fmla="*/ 1659734 h 2084191"/>
              <a:gd name="connsiteX131" fmla="*/ 1170564 w 2051041"/>
              <a:gd name="connsiteY131" fmla="*/ 1677692 h 2084191"/>
              <a:gd name="connsiteX132" fmla="*/ 1152062 w 2051041"/>
              <a:gd name="connsiteY132" fmla="*/ 1694562 h 2084191"/>
              <a:gd name="connsiteX133" fmla="*/ 1135737 w 2051041"/>
              <a:gd name="connsiteY133" fmla="*/ 1677148 h 2084191"/>
              <a:gd name="connsiteX134" fmla="*/ 1153151 w 2051041"/>
              <a:gd name="connsiteY134" fmla="*/ 1659734 h 2084191"/>
              <a:gd name="connsiteX135" fmla="*/ 1315315 w 2051041"/>
              <a:gd name="connsiteY135" fmla="*/ 1655381 h 2084191"/>
              <a:gd name="connsiteX136" fmla="*/ 1337082 w 2051041"/>
              <a:gd name="connsiteY136" fmla="*/ 1676603 h 2084191"/>
              <a:gd name="connsiteX137" fmla="*/ 1315315 w 2051041"/>
              <a:gd name="connsiteY137" fmla="*/ 1698915 h 2084191"/>
              <a:gd name="connsiteX138" fmla="*/ 1294092 w 2051041"/>
              <a:gd name="connsiteY138" fmla="*/ 1677148 h 2084191"/>
              <a:gd name="connsiteX139" fmla="*/ 1315315 w 2051041"/>
              <a:gd name="connsiteY139" fmla="*/ 1655381 h 2084191"/>
              <a:gd name="connsiteX140" fmla="*/ 1479111 w 2051041"/>
              <a:gd name="connsiteY140" fmla="*/ 1654293 h 2084191"/>
              <a:gd name="connsiteX141" fmla="*/ 1501967 w 2051041"/>
              <a:gd name="connsiteY141" fmla="*/ 1677692 h 2084191"/>
              <a:gd name="connsiteX142" fmla="*/ 1479111 w 2051041"/>
              <a:gd name="connsiteY142" fmla="*/ 1700548 h 2084191"/>
              <a:gd name="connsiteX143" fmla="*/ 1455712 w 2051041"/>
              <a:gd name="connsiteY143" fmla="*/ 1676604 h 2084191"/>
              <a:gd name="connsiteX144" fmla="*/ 1479111 w 2051041"/>
              <a:gd name="connsiteY144" fmla="*/ 1654293 h 2084191"/>
              <a:gd name="connsiteX145" fmla="*/ 1643452 w 2051041"/>
              <a:gd name="connsiteY145" fmla="*/ 1650483 h 2084191"/>
              <a:gd name="connsiteX146" fmla="*/ 1668484 w 2051041"/>
              <a:gd name="connsiteY146" fmla="*/ 1676603 h 2084191"/>
              <a:gd name="connsiteX147" fmla="*/ 1643452 w 2051041"/>
              <a:gd name="connsiteY147" fmla="*/ 1703268 h 2084191"/>
              <a:gd name="connsiteX148" fmla="*/ 1617332 w 2051041"/>
              <a:gd name="connsiteY148" fmla="*/ 1677692 h 2084191"/>
              <a:gd name="connsiteX149" fmla="*/ 1643452 w 2051041"/>
              <a:gd name="connsiteY149" fmla="*/ 1650483 h 2084191"/>
              <a:gd name="connsiteX150" fmla="*/ 1968326 w 2051041"/>
              <a:gd name="connsiteY150" fmla="*/ 1649940 h 2084191"/>
              <a:gd name="connsiteX151" fmla="*/ 1995535 w 2051041"/>
              <a:gd name="connsiteY151" fmla="*/ 1676604 h 2084191"/>
              <a:gd name="connsiteX152" fmla="*/ 1968870 w 2051041"/>
              <a:gd name="connsiteY152" fmla="*/ 1704357 h 2084191"/>
              <a:gd name="connsiteX153" fmla="*/ 1941661 w 2051041"/>
              <a:gd name="connsiteY153" fmla="*/ 1677148 h 2084191"/>
              <a:gd name="connsiteX154" fmla="*/ 1968326 w 2051041"/>
              <a:gd name="connsiteY154" fmla="*/ 1649940 h 2084191"/>
              <a:gd name="connsiteX155" fmla="*/ 1805617 w 2051041"/>
              <a:gd name="connsiteY155" fmla="*/ 1649939 h 2084191"/>
              <a:gd name="connsiteX156" fmla="*/ 1832826 w 2051041"/>
              <a:gd name="connsiteY156" fmla="*/ 1677148 h 2084191"/>
              <a:gd name="connsiteX157" fmla="*/ 1805073 w 2051041"/>
              <a:gd name="connsiteY157" fmla="*/ 1704357 h 2084191"/>
              <a:gd name="connsiteX158" fmla="*/ 1778409 w 2051041"/>
              <a:gd name="connsiteY158" fmla="*/ 1677148 h 2084191"/>
              <a:gd name="connsiteX159" fmla="*/ 1805617 w 2051041"/>
              <a:gd name="connsiteY159" fmla="*/ 1649939 h 2084191"/>
              <a:gd name="connsiteX160" fmla="*/ 744474 w 2051041"/>
              <a:gd name="connsiteY160" fmla="*/ 1588992 h 2084191"/>
              <a:gd name="connsiteX161" fmla="*/ 751004 w 2051041"/>
              <a:gd name="connsiteY161" fmla="*/ 1594978 h 2084191"/>
              <a:gd name="connsiteX162" fmla="*/ 745562 w 2051041"/>
              <a:gd name="connsiteY162" fmla="*/ 1602052 h 2084191"/>
              <a:gd name="connsiteX163" fmla="*/ 738488 w 2051041"/>
              <a:gd name="connsiteY163" fmla="*/ 1594978 h 2084191"/>
              <a:gd name="connsiteX164" fmla="*/ 744474 w 2051041"/>
              <a:gd name="connsiteY164" fmla="*/ 1588992 h 2084191"/>
              <a:gd name="connsiteX165" fmla="*/ 907183 w 2051041"/>
              <a:gd name="connsiteY165" fmla="*/ 1579741 h 2084191"/>
              <a:gd name="connsiteX166" fmla="*/ 923508 w 2051041"/>
              <a:gd name="connsiteY166" fmla="*/ 1594978 h 2084191"/>
              <a:gd name="connsiteX167" fmla="*/ 908815 w 2051041"/>
              <a:gd name="connsiteY167" fmla="*/ 1610759 h 2084191"/>
              <a:gd name="connsiteX168" fmla="*/ 892490 w 2051041"/>
              <a:gd name="connsiteY168" fmla="*/ 1595522 h 2084191"/>
              <a:gd name="connsiteX169" fmla="*/ 907183 w 2051041"/>
              <a:gd name="connsiteY169" fmla="*/ 1579741 h 2084191"/>
              <a:gd name="connsiteX170" fmla="*/ 1071524 w 2051041"/>
              <a:gd name="connsiteY170" fmla="*/ 1574843 h 2084191"/>
              <a:gd name="connsiteX171" fmla="*/ 1091114 w 2051041"/>
              <a:gd name="connsiteY171" fmla="*/ 1595522 h 2084191"/>
              <a:gd name="connsiteX172" fmla="*/ 1070980 w 2051041"/>
              <a:gd name="connsiteY172" fmla="*/ 1615656 h 2084191"/>
              <a:gd name="connsiteX173" fmla="*/ 1050301 w 2051041"/>
              <a:gd name="connsiteY173" fmla="*/ 1595522 h 2084191"/>
              <a:gd name="connsiteX174" fmla="*/ 1071524 w 2051041"/>
              <a:gd name="connsiteY174" fmla="*/ 1574843 h 2084191"/>
              <a:gd name="connsiteX175" fmla="*/ 1233688 w 2051041"/>
              <a:gd name="connsiteY175" fmla="*/ 1573210 h 2084191"/>
              <a:gd name="connsiteX176" fmla="*/ 1256544 w 2051041"/>
              <a:gd name="connsiteY176" fmla="*/ 1595522 h 2084191"/>
              <a:gd name="connsiteX177" fmla="*/ 1233688 w 2051041"/>
              <a:gd name="connsiteY177" fmla="*/ 1618377 h 2084191"/>
              <a:gd name="connsiteX178" fmla="*/ 1211377 w 2051041"/>
              <a:gd name="connsiteY178" fmla="*/ 1596610 h 2084191"/>
              <a:gd name="connsiteX179" fmla="*/ 1233688 w 2051041"/>
              <a:gd name="connsiteY179" fmla="*/ 1573210 h 2084191"/>
              <a:gd name="connsiteX180" fmla="*/ 1398030 w 2051041"/>
              <a:gd name="connsiteY180" fmla="*/ 1569402 h 2084191"/>
              <a:gd name="connsiteX181" fmla="*/ 1423062 w 2051041"/>
              <a:gd name="connsiteY181" fmla="*/ 1595522 h 2084191"/>
              <a:gd name="connsiteX182" fmla="*/ 1397485 w 2051041"/>
              <a:gd name="connsiteY182" fmla="*/ 1621099 h 2084191"/>
              <a:gd name="connsiteX183" fmla="*/ 1371365 w 2051041"/>
              <a:gd name="connsiteY183" fmla="*/ 1595522 h 2084191"/>
              <a:gd name="connsiteX184" fmla="*/ 1398030 w 2051041"/>
              <a:gd name="connsiteY184" fmla="*/ 1569402 h 2084191"/>
              <a:gd name="connsiteX185" fmla="*/ 1560194 w 2051041"/>
              <a:gd name="connsiteY185" fmla="*/ 1568313 h 2084191"/>
              <a:gd name="connsiteX186" fmla="*/ 1587947 w 2051041"/>
              <a:gd name="connsiteY186" fmla="*/ 1594433 h 2084191"/>
              <a:gd name="connsiteX187" fmla="*/ 1560194 w 2051041"/>
              <a:gd name="connsiteY187" fmla="*/ 1622730 h 2084191"/>
              <a:gd name="connsiteX188" fmla="*/ 1532985 w 2051041"/>
              <a:gd name="connsiteY188" fmla="*/ 1594977 h 2084191"/>
              <a:gd name="connsiteX189" fmla="*/ 1560194 w 2051041"/>
              <a:gd name="connsiteY189" fmla="*/ 1568313 h 2084191"/>
              <a:gd name="connsiteX190" fmla="*/ 1887244 w 2051041"/>
              <a:gd name="connsiteY190" fmla="*/ 1567225 h 2084191"/>
              <a:gd name="connsiteX191" fmla="*/ 1915541 w 2051041"/>
              <a:gd name="connsiteY191" fmla="*/ 1594978 h 2084191"/>
              <a:gd name="connsiteX192" fmla="*/ 1886699 w 2051041"/>
              <a:gd name="connsiteY192" fmla="*/ 1623819 h 2084191"/>
              <a:gd name="connsiteX193" fmla="*/ 1858947 w 2051041"/>
              <a:gd name="connsiteY193" fmla="*/ 1594978 h 2084191"/>
              <a:gd name="connsiteX194" fmla="*/ 1887244 w 2051041"/>
              <a:gd name="connsiteY194" fmla="*/ 1567225 h 2084191"/>
              <a:gd name="connsiteX195" fmla="*/ 1724535 w 2051041"/>
              <a:gd name="connsiteY195" fmla="*/ 1567225 h 2084191"/>
              <a:gd name="connsiteX196" fmla="*/ 1752288 w 2051041"/>
              <a:gd name="connsiteY196" fmla="*/ 1594978 h 2084191"/>
              <a:gd name="connsiteX197" fmla="*/ 1724535 w 2051041"/>
              <a:gd name="connsiteY197" fmla="*/ 1623275 h 2084191"/>
              <a:gd name="connsiteX198" fmla="*/ 1696238 w 2051041"/>
              <a:gd name="connsiteY198" fmla="*/ 1594978 h 2084191"/>
              <a:gd name="connsiteX199" fmla="*/ 1724535 w 2051041"/>
              <a:gd name="connsiteY199" fmla="*/ 1567225 h 2084191"/>
              <a:gd name="connsiteX200" fmla="*/ 2050496 w 2051041"/>
              <a:gd name="connsiteY200" fmla="*/ 1566680 h 2084191"/>
              <a:gd name="connsiteX201" fmla="*/ 2051041 w 2051041"/>
              <a:gd name="connsiteY201" fmla="*/ 1566888 h 2084191"/>
              <a:gd name="connsiteX202" fmla="*/ 2051041 w 2051041"/>
              <a:gd name="connsiteY202" fmla="*/ 1623794 h 2084191"/>
              <a:gd name="connsiteX203" fmla="*/ 2049408 w 2051041"/>
              <a:gd name="connsiteY203" fmla="*/ 1624363 h 2084191"/>
              <a:gd name="connsiteX204" fmla="*/ 2021655 w 2051041"/>
              <a:gd name="connsiteY204" fmla="*/ 1594977 h 2084191"/>
              <a:gd name="connsiteX205" fmla="*/ 2050496 w 2051041"/>
              <a:gd name="connsiteY205" fmla="*/ 1566680 h 2084191"/>
              <a:gd name="connsiteX206" fmla="*/ 663392 w 2051041"/>
              <a:gd name="connsiteY206" fmla="*/ 1505188 h 2084191"/>
              <a:gd name="connsiteX207" fmla="*/ 674819 w 2051041"/>
              <a:gd name="connsiteY207" fmla="*/ 1513895 h 2084191"/>
              <a:gd name="connsiteX208" fmla="*/ 662848 w 2051041"/>
              <a:gd name="connsiteY208" fmla="*/ 1522058 h 2084191"/>
              <a:gd name="connsiteX209" fmla="*/ 654685 w 2051041"/>
              <a:gd name="connsiteY209" fmla="*/ 1513351 h 2084191"/>
              <a:gd name="connsiteX210" fmla="*/ 663392 w 2051041"/>
              <a:gd name="connsiteY210" fmla="*/ 1505188 h 2084191"/>
              <a:gd name="connsiteX211" fmla="*/ 826101 w 2051041"/>
              <a:gd name="connsiteY211" fmla="*/ 1497570 h 2084191"/>
              <a:gd name="connsiteX212" fmla="*/ 842970 w 2051041"/>
              <a:gd name="connsiteY212" fmla="*/ 1513351 h 2084191"/>
              <a:gd name="connsiteX213" fmla="*/ 826645 w 2051041"/>
              <a:gd name="connsiteY213" fmla="*/ 1529676 h 2084191"/>
              <a:gd name="connsiteX214" fmla="*/ 810319 w 2051041"/>
              <a:gd name="connsiteY214" fmla="*/ 1514983 h 2084191"/>
              <a:gd name="connsiteX215" fmla="*/ 826101 w 2051041"/>
              <a:gd name="connsiteY215" fmla="*/ 1497570 h 2084191"/>
              <a:gd name="connsiteX216" fmla="*/ 988265 w 2051041"/>
              <a:gd name="connsiteY216" fmla="*/ 1492128 h 2084191"/>
              <a:gd name="connsiteX217" fmla="*/ 1010577 w 2051041"/>
              <a:gd name="connsiteY217" fmla="*/ 1513351 h 2084191"/>
              <a:gd name="connsiteX218" fmla="*/ 989354 w 2051041"/>
              <a:gd name="connsiteY218" fmla="*/ 1534574 h 2084191"/>
              <a:gd name="connsiteX219" fmla="*/ 968131 w 2051041"/>
              <a:gd name="connsiteY219" fmla="*/ 1513895 h 2084191"/>
              <a:gd name="connsiteX220" fmla="*/ 988265 w 2051041"/>
              <a:gd name="connsiteY220" fmla="*/ 1492128 h 2084191"/>
              <a:gd name="connsiteX221" fmla="*/ 1152606 w 2051041"/>
              <a:gd name="connsiteY221" fmla="*/ 1490496 h 2084191"/>
              <a:gd name="connsiteX222" fmla="*/ 1176006 w 2051041"/>
              <a:gd name="connsiteY222" fmla="*/ 1513351 h 2084191"/>
              <a:gd name="connsiteX223" fmla="*/ 1152606 w 2051041"/>
              <a:gd name="connsiteY223" fmla="*/ 1537839 h 2084191"/>
              <a:gd name="connsiteX224" fmla="*/ 1129207 w 2051041"/>
              <a:gd name="connsiteY224" fmla="*/ 1514984 h 2084191"/>
              <a:gd name="connsiteX225" fmla="*/ 1152606 w 2051041"/>
              <a:gd name="connsiteY225" fmla="*/ 1490496 h 2084191"/>
              <a:gd name="connsiteX226" fmla="*/ 1316403 w 2051041"/>
              <a:gd name="connsiteY226" fmla="*/ 1487231 h 2084191"/>
              <a:gd name="connsiteX227" fmla="*/ 1342523 w 2051041"/>
              <a:gd name="connsiteY227" fmla="*/ 1513896 h 2084191"/>
              <a:gd name="connsiteX228" fmla="*/ 1315314 w 2051041"/>
              <a:gd name="connsiteY228" fmla="*/ 1540560 h 2084191"/>
              <a:gd name="connsiteX229" fmla="*/ 1288650 w 2051041"/>
              <a:gd name="connsiteY229" fmla="*/ 1513896 h 2084191"/>
              <a:gd name="connsiteX230" fmla="*/ 1316403 w 2051041"/>
              <a:gd name="connsiteY230" fmla="*/ 1487231 h 2084191"/>
              <a:gd name="connsiteX231" fmla="*/ 1479656 w 2051041"/>
              <a:gd name="connsiteY231" fmla="*/ 1485054 h 2084191"/>
              <a:gd name="connsiteX232" fmla="*/ 1507409 w 2051041"/>
              <a:gd name="connsiteY232" fmla="*/ 1513895 h 2084191"/>
              <a:gd name="connsiteX233" fmla="*/ 1479112 w 2051041"/>
              <a:gd name="connsiteY233" fmla="*/ 1541648 h 2084191"/>
              <a:gd name="connsiteX234" fmla="*/ 1451359 w 2051041"/>
              <a:gd name="connsiteY234" fmla="*/ 1513351 h 2084191"/>
              <a:gd name="connsiteX235" fmla="*/ 1479656 w 2051041"/>
              <a:gd name="connsiteY235" fmla="*/ 1485054 h 2084191"/>
              <a:gd name="connsiteX236" fmla="*/ 1641820 w 2051041"/>
              <a:gd name="connsiteY236" fmla="*/ 1482334 h 2084191"/>
              <a:gd name="connsiteX237" fmla="*/ 1673382 w 2051041"/>
              <a:gd name="connsiteY237" fmla="*/ 1512807 h 2084191"/>
              <a:gd name="connsiteX238" fmla="*/ 1642909 w 2051041"/>
              <a:gd name="connsiteY238" fmla="*/ 1544370 h 2084191"/>
              <a:gd name="connsiteX239" fmla="*/ 1612435 w 2051041"/>
              <a:gd name="connsiteY239" fmla="*/ 1513351 h 2084191"/>
              <a:gd name="connsiteX240" fmla="*/ 1641820 w 2051041"/>
              <a:gd name="connsiteY240" fmla="*/ 1482334 h 2084191"/>
              <a:gd name="connsiteX241" fmla="*/ 1804529 w 2051041"/>
              <a:gd name="connsiteY241" fmla="*/ 1481788 h 2084191"/>
              <a:gd name="connsiteX242" fmla="*/ 1837180 w 2051041"/>
              <a:gd name="connsiteY242" fmla="*/ 1513351 h 2084191"/>
              <a:gd name="connsiteX243" fmla="*/ 1805617 w 2051041"/>
              <a:gd name="connsiteY243" fmla="*/ 1545457 h 2084191"/>
              <a:gd name="connsiteX244" fmla="*/ 1773511 w 2051041"/>
              <a:gd name="connsiteY244" fmla="*/ 1514983 h 2084191"/>
              <a:gd name="connsiteX245" fmla="*/ 1804529 w 2051041"/>
              <a:gd name="connsiteY245" fmla="*/ 1481788 h 2084191"/>
              <a:gd name="connsiteX246" fmla="*/ 1968870 w 2051041"/>
              <a:gd name="connsiteY246" fmla="*/ 1480700 h 2084191"/>
              <a:gd name="connsiteX247" fmla="*/ 2000977 w 2051041"/>
              <a:gd name="connsiteY247" fmla="*/ 1513351 h 2084191"/>
              <a:gd name="connsiteX248" fmla="*/ 1968870 w 2051041"/>
              <a:gd name="connsiteY248" fmla="*/ 1545457 h 2084191"/>
              <a:gd name="connsiteX249" fmla="*/ 1936764 w 2051041"/>
              <a:gd name="connsiteY249" fmla="*/ 1513351 h 2084191"/>
              <a:gd name="connsiteX250" fmla="*/ 1968870 w 2051041"/>
              <a:gd name="connsiteY250" fmla="*/ 1480700 h 2084191"/>
              <a:gd name="connsiteX251" fmla="*/ 581221 w 2051041"/>
              <a:gd name="connsiteY251" fmla="*/ 1423562 h 2084191"/>
              <a:gd name="connsiteX252" fmla="*/ 588840 w 2051041"/>
              <a:gd name="connsiteY252" fmla="*/ 1431725 h 2084191"/>
              <a:gd name="connsiteX253" fmla="*/ 581765 w 2051041"/>
              <a:gd name="connsiteY253" fmla="*/ 1443153 h 2084191"/>
              <a:gd name="connsiteX254" fmla="*/ 573059 w 2051041"/>
              <a:gd name="connsiteY254" fmla="*/ 1432813 h 2084191"/>
              <a:gd name="connsiteX255" fmla="*/ 581221 w 2051041"/>
              <a:gd name="connsiteY255" fmla="*/ 1423562 h 2084191"/>
              <a:gd name="connsiteX256" fmla="*/ 745562 w 2051041"/>
              <a:gd name="connsiteY256" fmla="*/ 1414855 h 2084191"/>
              <a:gd name="connsiteX257" fmla="*/ 761344 w 2051041"/>
              <a:gd name="connsiteY257" fmla="*/ 1432269 h 2084191"/>
              <a:gd name="connsiteX258" fmla="*/ 745018 w 2051041"/>
              <a:gd name="connsiteY258" fmla="*/ 1448050 h 2084191"/>
              <a:gd name="connsiteX259" fmla="*/ 728693 w 2051041"/>
              <a:gd name="connsiteY259" fmla="*/ 1431725 h 2084191"/>
              <a:gd name="connsiteX260" fmla="*/ 745562 w 2051041"/>
              <a:gd name="connsiteY260" fmla="*/ 1414855 h 2084191"/>
              <a:gd name="connsiteX261" fmla="*/ 908815 w 2051041"/>
              <a:gd name="connsiteY261" fmla="*/ 1409958 h 2084191"/>
              <a:gd name="connsiteX262" fmla="*/ 930038 w 2051041"/>
              <a:gd name="connsiteY262" fmla="*/ 1431725 h 2084191"/>
              <a:gd name="connsiteX263" fmla="*/ 907183 w 2051041"/>
              <a:gd name="connsiteY263" fmla="*/ 1453492 h 2084191"/>
              <a:gd name="connsiteX264" fmla="*/ 885960 w 2051041"/>
              <a:gd name="connsiteY264" fmla="*/ 1431725 h 2084191"/>
              <a:gd name="connsiteX265" fmla="*/ 908815 w 2051041"/>
              <a:gd name="connsiteY265" fmla="*/ 1409958 h 2084191"/>
              <a:gd name="connsiteX266" fmla="*/ 1070436 w 2051041"/>
              <a:gd name="connsiteY266" fmla="*/ 1406693 h 2084191"/>
              <a:gd name="connsiteX267" fmla="*/ 1096012 w 2051041"/>
              <a:gd name="connsiteY267" fmla="*/ 1432269 h 2084191"/>
              <a:gd name="connsiteX268" fmla="*/ 1070436 w 2051041"/>
              <a:gd name="connsiteY268" fmla="*/ 1457846 h 2084191"/>
              <a:gd name="connsiteX269" fmla="*/ 1045404 w 2051041"/>
              <a:gd name="connsiteY269" fmla="*/ 1431181 h 2084191"/>
              <a:gd name="connsiteX270" fmla="*/ 1070436 w 2051041"/>
              <a:gd name="connsiteY270" fmla="*/ 1406693 h 2084191"/>
              <a:gd name="connsiteX271" fmla="*/ 1235865 w 2051041"/>
              <a:gd name="connsiteY271" fmla="*/ 1404516 h 2084191"/>
              <a:gd name="connsiteX272" fmla="*/ 1261986 w 2051041"/>
              <a:gd name="connsiteY272" fmla="*/ 1433358 h 2084191"/>
              <a:gd name="connsiteX273" fmla="*/ 1233689 w 2051041"/>
              <a:gd name="connsiteY273" fmla="*/ 1459478 h 2084191"/>
              <a:gd name="connsiteX274" fmla="*/ 1206480 w 2051041"/>
              <a:gd name="connsiteY274" fmla="*/ 1432269 h 2084191"/>
              <a:gd name="connsiteX275" fmla="*/ 1235865 w 2051041"/>
              <a:gd name="connsiteY275" fmla="*/ 1404516 h 2084191"/>
              <a:gd name="connsiteX276" fmla="*/ 1397485 w 2051041"/>
              <a:gd name="connsiteY276" fmla="*/ 1400162 h 2084191"/>
              <a:gd name="connsiteX277" fmla="*/ 1427959 w 2051041"/>
              <a:gd name="connsiteY277" fmla="*/ 1431724 h 2084191"/>
              <a:gd name="connsiteX278" fmla="*/ 1398029 w 2051041"/>
              <a:gd name="connsiteY278" fmla="*/ 1463287 h 2084191"/>
              <a:gd name="connsiteX279" fmla="*/ 1366467 w 2051041"/>
              <a:gd name="connsiteY279" fmla="*/ 1432813 h 2084191"/>
              <a:gd name="connsiteX280" fmla="*/ 1397485 w 2051041"/>
              <a:gd name="connsiteY280" fmla="*/ 1400162 h 2084191"/>
              <a:gd name="connsiteX281" fmla="*/ 1561282 w 2051041"/>
              <a:gd name="connsiteY281" fmla="*/ 1399618 h 2084191"/>
              <a:gd name="connsiteX282" fmla="*/ 1593388 w 2051041"/>
              <a:gd name="connsiteY282" fmla="*/ 1432269 h 2084191"/>
              <a:gd name="connsiteX283" fmla="*/ 1560738 w 2051041"/>
              <a:gd name="connsiteY283" fmla="*/ 1464375 h 2084191"/>
              <a:gd name="connsiteX284" fmla="*/ 1528631 w 2051041"/>
              <a:gd name="connsiteY284" fmla="*/ 1432813 h 2084191"/>
              <a:gd name="connsiteX285" fmla="*/ 1561282 w 2051041"/>
              <a:gd name="connsiteY285" fmla="*/ 1399618 h 2084191"/>
              <a:gd name="connsiteX286" fmla="*/ 1723446 w 2051041"/>
              <a:gd name="connsiteY286" fmla="*/ 1399074 h 2084191"/>
              <a:gd name="connsiteX287" fmla="*/ 1757185 w 2051041"/>
              <a:gd name="connsiteY287" fmla="*/ 1432269 h 2084191"/>
              <a:gd name="connsiteX288" fmla="*/ 1723991 w 2051041"/>
              <a:gd name="connsiteY288" fmla="*/ 1465464 h 2084191"/>
              <a:gd name="connsiteX289" fmla="*/ 1691340 w 2051041"/>
              <a:gd name="connsiteY289" fmla="*/ 1433357 h 2084191"/>
              <a:gd name="connsiteX290" fmla="*/ 1723446 w 2051041"/>
              <a:gd name="connsiteY290" fmla="*/ 1399074 h 2084191"/>
              <a:gd name="connsiteX291" fmla="*/ 1886700 w 2051041"/>
              <a:gd name="connsiteY291" fmla="*/ 1398530 h 2084191"/>
              <a:gd name="connsiteX292" fmla="*/ 1920439 w 2051041"/>
              <a:gd name="connsiteY292" fmla="*/ 1432269 h 2084191"/>
              <a:gd name="connsiteX293" fmla="*/ 1887788 w 2051041"/>
              <a:gd name="connsiteY293" fmla="*/ 1464920 h 2084191"/>
              <a:gd name="connsiteX294" fmla="*/ 1854049 w 2051041"/>
              <a:gd name="connsiteY294" fmla="*/ 1433358 h 2084191"/>
              <a:gd name="connsiteX295" fmla="*/ 1886700 w 2051041"/>
              <a:gd name="connsiteY295" fmla="*/ 1398530 h 2084191"/>
              <a:gd name="connsiteX296" fmla="*/ 2051041 w 2051041"/>
              <a:gd name="connsiteY296" fmla="*/ 1398217 h 2084191"/>
              <a:gd name="connsiteX297" fmla="*/ 2051041 w 2051041"/>
              <a:gd name="connsiteY297" fmla="*/ 1464535 h 2084191"/>
              <a:gd name="connsiteX298" fmla="*/ 2049953 w 2051041"/>
              <a:gd name="connsiteY298" fmla="*/ 1464920 h 2084191"/>
              <a:gd name="connsiteX299" fmla="*/ 2017302 w 2051041"/>
              <a:gd name="connsiteY299" fmla="*/ 1431725 h 2084191"/>
              <a:gd name="connsiteX300" fmla="*/ 2027709 w 2051041"/>
              <a:gd name="connsiteY300" fmla="*/ 1408121 h 2084191"/>
              <a:gd name="connsiteX301" fmla="*/ 500139 w 2051041"/>
              <a:gd name="connsiteY301" fmla="*/ 1341936 h 2084191"/>
              <a:gd name="connsiteX302" fmla="*/ 511023 w 2051041"/>
              <a:gd name="connsiteY302" fmla="*/ 1350643 h 2084191"/>
              <a:gd name="connsiteX303" fmla="*/ 499595 w 2051041"/>
              <a:gd name="connsiteY303" fmla="*/ 1358261 h 2084191"/>
              <a:gd name="connsiteX304" fmla="*/ 491432 w 2051041"/>
              <a:gd name="connsiteY304" fmla="*/ 1349010 h 2084191"/>
              <a:gd name="connsiteX305" fmla="*/ 500139 w 2051041"/>
              <a:gd name="connsiteY305" fmla="*/ 1341936 h 2084191"/>
              <a:gd name="connsiteX306" fmla="*/ 662848 w 2051041"/>
              <a:gd name="connsiteY306" fmla="*/ 1333773 h 2084191"/>
              <a:gd name="connsiteX307" fmla="*/ 679173 w 2051041"/>
              <a:gd name="connsiteY307" fmla="*/ 1350643 h 2084191"/>
              <a:gd name="connsiteX308" fmla="*/ 662848 w 2051041"/>
              <a:gd name="connsiteY308" fmla="*/ 1366424 h 2084191"/>
              <a:gd name="connsiteX309" fmla="*/ 647067 w 2051041"/>
              <a:gd name="connsiteY309" fmla="*/ 1350098 h 2084191"/>
              <a:gd name="connsiteX310" fmla="*/ 662848 w 2051041"/>
              <a:gd name="connsiteY310" fmla="*/ 1333773 h 2084191"/>
              <a:gd name="connsiteX311" fmla="*/ 826645 w 2051041"/>
              <a:gd name="connsiteY311" fmla="*/ 1328331 h 2084191"/>
              <a:gd name="connsiteX312" fmla="*/ 847868 w 2051041"/>
              <a:gd name="connsiteY312" fmla="*/ 1350642 h 2084191"/>
              <a:gd name="connsiteX313" fmla="*/ 825556 w 2051041"/>
              <a:gd name="connsiteY313" fmla="*/ 1372409 h 2084191"/>
              <a:gd name="connsiteX314" fmla="*/ 804334 w 2051041"/>
              <a:gd name="connsiteY314" fmla="*/ 1349554 h 2084191"/>
              <a:gd name="connsiteX315" fmla="*/ 826645 w 2051041"/>
              <a:gd name="connsiteY315" fmla="*/ 1328331 h 2084191"/>
              <a:gd name="connsiteX316" fmla="*/ 989353 w 2051041"/>
              <a:gd name="connsiteY316" fmla="*/ 1323978 h 2084191"/>
              <a:gd name="connsiteX317" fmla="*/ 1015473 w 2051041"/>
              <a:gd name="connsiteY317" fmla="*/ 1350098 h 2084191"/>
              <a:gd name="connsiteX318" fmla="*/ 989353 w 2051041"/>
              <a:gd name="connsiteY318" fmla="*/ 1376763 h 2084191"/>
              <a:gd name="connsiteX319" fmla="*/ 963777 w 2051041"/>
              <a:gd name="connsiteY319" fmla="*/ 1350642 h 2084191"/>
              <a:gd name="connsiteX320" fmla="*/ 989353 w 2051041"/>
              <a:gd name="connsiteY320" fmla="*/ 1323978 h 2084191"/>
              <a:gd name="connsiteX321" fmla="*/ 1152606 w 2051041"/>
              <a:gd name="connsiteY321" fmla="*/ 1322889 h 2084191"/>
              <a:gd name="connsiteX322" fmla="*/ 1181447 w 2051041"/>
              <a:gd name="connsiteY322" fmla="*/ 1350098 h 2084191"/>
              <a:gd name="connsiteX323" fmla="*/ 1152606 w 2051041"/>
              <a:gd name="connsiteY323" fmla="*/ 1379483 h 2084191"/>
              <a:gd name="connsiteX324" fmla="*/ 1124853 w 2051041"/>
              <a:gd name="connsiteY324" fmla="*/ 1350642 h 2084191"/>
              <a:gd name="connsiteX325" fmla="*/ 1152606 w 2051041"/>
              <a:gd name="connsiteY325" fmla="*/ 1322889 h 2084191"/>
              <a:gd name="connsiteX326" fmla="*/ 1315315 w 2051041"/>
              <a:gd name="connsiteY326" fmla="*/ 1318536 h 2084191"/>
              <a:gd name="connsiteX327" fmla="*/ 1347966 w 2051041"/>
              <a:gd name="connsiteY327" fmla="*/ 1350098 h 2084191"/>
              <a:gd name="connsiteX328" fmla="*/ 1315315 w 2051041"/>
              <a:gd name="connsiteY328" fmla="*/ 1381661 h 2084191"/>
              <a:gd name="connsiteX329" fmla="*/ 1284297 w 2051041"/>
              <a:gd name="connsiteY329" fmla="*/ 1350098 h 2084191"/>
              <a:gd name="connsiteX330" fmla="*/ 1315315 w 2051041"/>
              <a:gd name="connsiteY330" fmla="*/ 1318536 h 2084191"/>
              <a:gd name="connsiteX331" fmla="*/ 1480744 w 2051041"/>
              <a:gd name="connsiteY331" fmla="*/ 1317448 h 2084191"/>
              <a:gd name="connsiteX332" fmla="*/ 1512306 w 2051041"/>
              <a:gd name="connsiteY332" fmla="*/ 1351731 h 2084191"/>
              <a:gd name="connsiteX333" fmla="*/ 1477479 w 2051041"/>
              <a:gd name="connsiteY333" fmla="*/ 1383293 h 2084191"/>
              <a:gd name="connsiteX334" fmla="*/ 1446461 w 2051041"/>
              <a:gd name="connsiteY334" fmla="*/ 1349554 h 2084191"/>
              <a:gd name="connsiteX335" fmla="*/ 1480744 w 2051041"/>
              <a:gd name="connsiteY335" fmla="*/ 1317448 h 2084191"/>
              <a:gd name="connsiteX336" fmla="*/ 1642908 w 2051041"/>
              <a:gd name="connsiteY336" fmla="*/ 1315815 h 2084191"/>
              <a:gd name="connsiteX337" fmla="*/ 1676647 w 2051041"/>
              <a:gd name="connsiteY337" fmla="*/ 1351731 h 2084191"/>
              <a:gd name="connsiteX338" fmla="*/ 1640732 w 2051041"/>
              <a:gd name="connsiteY338" fmla="*/ 1383837 h 2084191"/>
              <a:gd name="connsiteX339" fmla="*/ 1608081 w 2051041"/>
              <a:gd name="connsiteY339" fmla="*/ 1349554 h 2084191"/>
              <a:gd name="connsiteX340" fmla="*/ 1642908 w 2051041"/>
              <a:gd name="connsiteY340" fmla="*/ 1315815 h 2084191"/>
              <a:gd name="connsiteX341" fmla="*/ 1968870 w 2051041"/>
              <a:gd name="connsiteY341" fmla="*/ 1314183 h 2084191"/>
              <a:gd name="connsiteX342" fmla="*/ 2005329 w 2051041"/>
              <a:gd name="connsiteY342" fmla="*/ 1351187 h 2084191"/>
              <a:gd name="connsiteX343" fmla="*/ 1967781 w 2051041"/>
              <a:gd name="connsiteY343" fmla="*/ 1388191 h 2084191"/>
              <a:gd name="connsiteX344" fmla="*/ 1931866 w 2051041"/>
              <a:gd name="connsiteY344" fmla="*/ 1350098 h 2084191"/>
              <a:gd name="connsiteX345" fmla="*/ 1968870 w 2051041"/>
              <a:gd name="connsiteY345" fmla="*/ 1314183 h 2084191"/>
              <a:gd name="connsiteX346" fmla="*/ 1806161 w 2051041"/>
              <a:gd name="connsiteY346" fmla="*/ 1313639 h 2084191"/>
              <a:gd name="connsiteX347" fmla="*/ 1841533 w 2051041"/>
              <a:gd name="connsiteY347" fmla="*/ 1351187 h 2084191"/>
              <a:gd name="connsiteX348" fmla="*/ 1830105 w 2051041"/>
              <a:gd name="connsiteY348" fmla="*/ 1376763 h 2084191"/>
              <a:gd name="connsiteX349" fmla="*/ 1803984 w 2051041"/>
              <a:gd name="connsiteY349" fmla="*/ 1387102 h 2084191"/>
              <a:gd name="connsiteX350" fmla="*/ 1768613 w 2051041"/>
              <a:gd name="connsiteY350" fmla="*/ 1350098 h 2084191"/>
              <a:gd name="connsiteX351" fmla="*/ 1806161 w 2051041"/>
              <a:gd name="connsiteY351" fmla="*/ 1313639 h 2084191"/>
              <a:gd name="connsiteX352" fmla="*/ 419057 w 2051041"/>
              <a:gd name="connsiteY352" fmla="*/ 1262486 h 2084191"/>
              <a:gd name="connsiteX353" fmla="*/ 424499 w 2051041"/>
              <a:gd name="connsiteY353" fmla="*/ 1269016 h 2084191"/>
              <a:gd name="connsiteX354" fmla="*/ 417969 w 2051041"/>
              <a:gd name="connsiteY354" fmla="*/ 1278811 h 2084191"/>
              <a:gd name="connsiteX355" fmla="*/ 411983 w 2051041"/>
              <a:gd name="connsiteY355" fmla="*/ 1269016 h 2084191"/>
              <a:gd name="connsiteX356" fmla="*/ 419057 w 2051041"/>
              <a:gd name="connsiteY356" fmla="*/ 1262486 h 2084191"/>
              <a:gd name="connsiteX357" fmla="*/ 581221 w 2051041"/>
              <a:gd name="connsiteY357" fmla="*/ 1252147 h 2084191"/>
              <a:gd name="connsiteX358" fmla="*/ 597547 w 2051041"/>
              <a:gd name="connsiteY358" fmla="*/ 1269017 h 2084191"/>
              <a:gd name="connsiteX359" fmla="*/ 580133 w 2051041"/>
              <a:gd name="connsiteY359" fmla="*/ 1284254 h 2084191"/>
              <a:gd name="connsiteX360" fmla="*/ 564896 w 2051041"/>
              <a:gd name="connsiteY360" fmla="*/ 1268472 h 2084191"/>
              <a:gd name="connsiteX361" fmla="*/ 581221 w 2051041"/>
              <a:gd name="connsiteY361" fmla="*/ 1252147 h 2084191"/>
              <a:gd name="connsiteX362" fmla="*/ 745018 w 2051041"/>
              <a:gd name="connsiteY362" fmla="*/ 1246705 h 2084191"/>
              <a:gd name="connsiteX363" fmla="*/ 766241 w 2051041"/>
              <a:gd name="connsiteY363" fmla="*/ 1269560 h 2084191"/>
              <a:gd name="connsiteX364" fmla="*/ 744474 w 2051041"/>
              <a:gd name="connsiteY364" fmla="*/ 1290783 h 2084191"/>
              <a:gd name="connsiteX365" fmla="*/ 722707 w 2051041"/>
              <a:gd name="connsiteY365" fmla="*/ 1267928 h 2084191"/>
              <a:gd name="connsiteX366" fmla="*/ 745018 w 2051041"/>
              <a:gd name="connsiteY366" fmla="*/ 1246705 h 2084191"/>
              <a:gd name="connsiteX367" fmla="*/ 907727 w 2051041"/>
              <a:gd name="connsiteY367" fmla="*/ 1241807 h 2084191"/>
              <a:gd name="connsiteX368" fmla="*/ 933847 w 2051041"/>
              <a:gd name="connsiteY368" fmla="*/ 1269016 h 2084191"/>
              <a:gd name="connsiteX369" fmla="*/ 907183 w 2051041"/>
              <a:gd name="connsiteY369" fmla="*/ 1295136 h 2084191"/>
              <a:gd name="connsiteX370" fmla="*/ 880518 w 2051041"/>
              <a:gd name="connsiteY370" fmla="*/ 1267927 h 2084191"/>
              <a:gd name="connsiteX371" fmla="*/ 907727 w 2051041"/>
              <a:gd name="connsiteY371" fmla="*/ 1241807 h 2084191"/>
              <a:gd name="connsiteX372" fmla="*/ 1070979 w 2051041"/>
              <a:gd name="connsiteY372" fmla="*/ 1240719 h 2084191"/>
              <a:gd name="connsiteX373" fmla="*/ 1099821 w 2051041"/>
              <a:gd name="connsiteY373" fmla="*/ 1268472 h 2084191"/>
              <a:gd name="connsiteX374" fmla="*/ 1070435 w 2051041"/>
              <a:gd name="connsiteY374" fmla="*/ 1297858 h 2084191"/>
              <a:gd name="connsiteX375" fmla="*/ 1042138 w 2051041"/>
              <a:gd name="connsiteY375" fmla="*/ 1269560 h 2084191"/>
              <a:gd name="connsiteX376" fmla="*/ 1070979 w 2051041"/>
              <a:gd name="connsiteY376" fmla="*/ 1240719 h 2084191"/>
              <a:gd name="connsiteX377" fmla="*/ 1234233 w 2051041"/>
              <a:gd name="connsiteY377" fmla="*/ 1235821 h 2084191"/>
              <a:gd name="connsiteX378" fmla="*/ 1266883 w 2051041"/>
              <a:gd name="connsiteY378" fmla="*/ 1269016 h 2084191"/>
              <a:gd name="connsiteX379" fmla="*/ 1234233 w 2051041"/>
              <a:gd name="connsiteY379" fmla="*/ 1300578 h 2084191"/>
              <a:gd name="connsiteX380" fmla="*/ 1201582 w 2051041"/>
              <a:gd name="connsiteY380" fmla="*/ 1267383 h 2084191"/>
              <a:gd name="connsiteX381" fmla="*/ 1234233 w 2051041"/>
              <a:gd name="connsiteY381" fmla="*/ 1235821 h 2084191"/>
              <a:gd name="connsiteX382" fmla="*/ 1396397 w 2051041"/>
              <a:gd name="connsiteY382" fmla="*/ 1234733 h 2084191"/>
              <a:gd name="connsiteX383" fmla="*/ 1431224 w 2051041"/>
              <a:gd name="connsiteY383" fmla="*/ 1268472 h 2084191"/>
              <a:gd name="connsiteX384" fmla="*/ 1396941 w 2051041"/>
              <a:gd name="connsiteY384" fmla="*/ 1302755 h 2084191"/>
              <a:gd name="connsiteX385" fmla="*/ 1363746 w 2051041"/>
              <a:gd name="connsiteY385" fmla="*/ 1269016 h 2084191"/>
              <a:gd name="connsiteX386" fmla="*/ 1396397 w 2051041"/>
              <a:gd name="connsiteY386" fmla="*/ 1234733 h 2084191"/>
              <a:gd name="connsiteX387" fmla="*/ 1559649 w 2051041"/>
              <a:gd name="connsiteY387" fmla="*/ 1232557 h 2084191"/>
              <a:gd name="connsiteX388" fmla="*/ 1597742 w 2051041"/>
              <a:gd name="connsiteY388" fmla="*/ 1268472 h 2084191"/>
              <a:gd name="connsiteX389" fmla="*/ 1561826 w 2051041"/>
              <a:gd name="connsiteY389" fmla="*/ 1305476 h 2084191"/>
              <a:gd name="connsiteX390" fmla="*/ 1523734 w 2051041"/>
              <a:gd name="connsiteY390" fmla="*/ 1269561 h 2084191"/>
              <a:gd name="connsiteX391" fmla="*/ 1559649 w 2051041"/>
              <a:gd name="connsiteY391" fmla="*/ 1232557 h 2084191"/>
              <a:gd name="connsiteX392" fmla="*/ 1723990 w 2051041"/>
              <a:gd name="connsiteY392" fmla="*/ 1231468 h 2084191"/>
              <a:gd name="connsiteX393" fmla="*/ 1762083 w 2051041"/>
              <a:gd name="connsiteY393" fmla="*/ 1268472 h 2084191"/>
              <a:gd name="connsiteX394" fmla="*/ 1724535 w 2051041"/>
              <a:gd name="connsiteY394" fmla="*/ 1307109 h 2084191"/>
              <a:gd name="connsiteX395" fmla="*/ 1686442 w 2051041"/>
              <a:gd name="connsiteY395" fmla="*/ 1270105 h 2084191"/>
              <a:gd name="connsiteX396" fmla="*/ 1723990 w 2051041"/>
              <a:gd name="connsiteY396" fmla="*/ 1231468 h 2084191"/>
              <a:gd name="connsiteX397" fmla="*/ 1888332 w 2051041"/>
              <a:gd name="connsiteY397" fmla="*/ 1230924 h 2084191"/>
              <a:gd name="connsiteX398" fmla="*/ 1925336 w 2051041"/>
              <a:gd name="connsiteY398" fmla="*/ 1269561 h 2084191"/>
              <a:gd name="connsiteX399" fmla="*/ 1887243 w 2051041"/>
              <a:gd name="connsiteY399" fmla="*/ 1307653 h 2084191"/>
              <a:gd name="connsiteX400" fmla="*/ 1849151 w 2051041"/>
              <a:gd name="connsiteY400" fmla="*/ 1267928 h 2084191"/>
              <a:gd name="connsiteX401" fmla="*/ 1888332 w 2051041"/>
              <a:gd name="connsiteY401" fmla="*/ 1230924 h 2084191"/>
              <a:gd name="connsiteX402" fmla="*/ 2049952 w 2051041"/>
              <a:gd name="connsiteY402" fmla="*/ 1230380 h 2084191"/>
              <a:gd name="connsiteX403" fmla="*/ 2051041 w 2051041"/>
              <a:gd name="connsiteY403" fmla="*/ 1230805 h 2084191"/>
              <a:gd name="connsiteX404" fmla="*/ 2051041 w 2051041"/>
              <a:gd name="connsiteY404" fmla="*/ 1307109 h 2084191"/>
              <a:gd name="connsiteX405" fmla="*/ 2012404 w 2051041"/>
              <a:gd name="connsiteY405" fmla="*/ 1268472 h 2084191"/>
              <a:gd name="connsiteX406" fmla="*/ 2049952 w 2051041"/>
              <a:gd name="connsiteY406" fmla="*/ 1230380 h 2084191"/>
              <a:gd name="connsiteX407" fmla="*/ 337431 w 2051041"/>
              <a:gd name="connsiteY407" fmla="*/ 1181404 h 2084191"/>
              <a:gd name="connsiteX408" fmla="*/ 345050 w 2051041"/>
              <a:gd name="connsiteY408" fmla="*/ 1187934 h 2084191"/>
              <a:gd name="connsiteX409" fmla="*/ 336343 w 2051041"/>
              <a:gd name="connsiteY409" fmla="*/ 1192288 h 2084191"/>
              <a:gd name="connsiteX410" fmla="*/ 330901 w 2051041"/>
              <a:gd name="connsiteY410" fmla="*/ 1185758 h 2084191"/>
              <a:gd name="connsiteX411" fmla="*/ 337431 w 2051041"/>
              <a:gd name="connsiteY411" fmla="*/ 1181404 h 2084191"/>
              <a:gd name="connsiteX412" fmla="*/ 499051 w 2051041"/>
              <a:gd name="connsiteY412" fmla="*/ 1171065 h 2084191"/>
              <a:gd name="connsiteX413" fmla="*/ 516465 w 2051041"/>
              <a:gd name="connsiteY413" fmla="*/ 1187390 h 2084191"/>
              <a:gd name="connsiteX414" fmla="*/ 500140 w 2051041"/>
              <a:gd name="connsiteY414" fmla="*/ 1202627 h 2084191"/>
              <a:gd name="connsiteX415" fmla="*/ 483814 w 2051041"/>
              <a:gd name="connsiteY415" fmla="*/ 1187390 h 2084191"/>
              <a:gd name="connsiteX416" fmla="*/ 499051 w 2051041"/>
              <a:gd name="connsiteY416" fmla="*/ 1171065 h 2084191"/>
              <a:gd name="connsiteX417" fmla="*/ 662848 w 2051041"/>
              <a:gd name="connsiteY417" fmla="*/ 1165623 h 2084191"/>
              <a:gd name="connsiteX418" fmla="*/ 684615 w 2051041"/>
              <a:gd name="connsiteY418" fmla="*/ 1187390 h 2084191"/>
              <a:gd name="connsiteX419" fmla="*/ 662848 w 2051041"/>
              <a:gd name="connsiteY419" fmla="*/ 1209157 h 2084191"/>
              <a:gd name="connsiteX420" fmla="*/ 641081 w 2051041"/>
              <a:gd name="connsiteY420" fmla="*/ 1186846 h 2084191"/>
              <a:gd name="connsiteX421" fmla="*/ 662848 w 2051041"/>
              <a:gd name="connsiteY421" fmla="*/ 1165623 h 2084191"/>
              <a:gd name="connsiteX422" fmla="*/ 825556 w 2051041"/>
              <a:gd name="connsiteY422" fmla="*/ 1160725 h 2084191"/>
              <a:gd name="connsiteX423" fmla="*/ 852765 w 2051041"/>
              <a:gd name="connsiteY423" fmla="*/ 1186846 h 2084191"/>
              <a:gd name="connsiteX424" fmla="*/ 826645 w 2051041"/>
              <a:gd name="connsiteY424" fmla="*/ 1213511 h 2084191"/>
              <a:gd name="connsiteX425" fmla="*/ 798892 w 2051041"/>
              <a:gd name="connsiteY425" fmla="*/ 1188479 h 2084191"/>
              <a:gd name="connsiteX426" fmla="*/ 825556 w 2051041"/>
              <a:gd name="connsiteY426" fmla="*/ 1160725 h 2084191"/>
              <a:gd name="connsiteX427" fmla="*/ 989353 w 2051041"/>
              <a:gd name="connsiteY427" fmla="*/ 1158004 h 2084191"/>
              <a:gd name="connsiteX428" fmla="*/ 1018195 w 2051041"/>
              <a:gd name="connsiteY428" fmla="*/ 1187934 h 2084191"/>
              <a:gd name="connsiteX429" fmla="*/ 988809 w 2051041"/>
              <a:gd name="connsiteY429" fmla="*/ 1216775 h 2084191"/>
              <a:gd name="connsiteX430" fmla="*/ 959968 w 2051041"/>
              <a:gd name="connsiteY430" fmla="*/ 1187934 h 2084191"/>
              <a:gd name="connsiteX431" fmla="*/ 989353 w 2051041"/>
              <a:gd name="connsiteY431" fmla="*/ 1158004 h 2084191"/>
              <a:gd name="connsiteX432" fmla="*/ 1152062 w 2051041"/>
              <a:gd name="connsiteY432" fmla="*/ 1153651 h 2084191"/>
              <a:gd name="connsiteX433" fmla="*/ 1185801 w 2051041"/>
              <a:gd name="connsiteY433" fmla="*/ 1186301 h 2084191"/>
              <a:gd name="connsiteX434" fmla="*/ 1153150 w 2051041"/>
              <a:gd name="connsiteY434" fmla="*/ 1219496 h 2084191"/>
              <a:gd name="connsiteX435" fmla="*/ 1119956 w 2051041"/>
              <a:gd name="connsiteY435" fmla="*/ 1187390 h 2084191"/>
              <a:gd name="connsiteX436" fmla="*/ 1152062 w 2051041"/>
              <a:gd name="connsiteY436" fmla="*/ 1153651 h 2084191"/>
              <a:gd name="connsiteX437" fmla="*/ 1315315 w 2051041"/>
              <a:gd name="connsiteY437" fmla="*/ 1152018 h 2084191"/>
              <a:gd name="connsiteX438" fmla="*/ 1351230 w 2051041"/>
              <a:gd name="connsiteY438" fmla="*/ 1186845 h 2084191"/>
              <a:gd name="connsiteX439" fmla="*/ 1315859 w 2051041"/>
              <a:gd name="connsiteY439" fmla="*/ 1221673 h 2084191"/>
              <a:gd name="connsiteX440" fmla="*/ 1281576 w 2051041"/>
              <a:gd name="connsiteY440" fmla="*/ 1187390 h 2084191"/>
              <a:gd name="connsiteX441" fmla="*/ 1315315 w 2051041"/>
              <a:gd name="connsiteY441" fmla="*/ 1152018 h 2084191"/>
              <a:gd name="connsiteX442" fmla="*/ 1479656 w 2051041"/>
              <a:gd name="connsiteY442" fmla="*/ 1149298 h 2084191"/>
              <a:gd name="connsiteX443" fmla="*/ 1516660 w 2051041"/>
              <a:gd name="connsiteY443" fmla="*/ 1188479 h 2084191"/>
              <a:gd name="connsiteX444" fmla="*/ 1478023 w 2051041"/>
              <a:gd name="connsiteY444" fmla="*/ 1224394 h 2084191"/>
              <a:gd name="connsiteX445" fmla="*/ 1441563 w 2051041"/>
              <a:gd name="connsiteY445" fmla="*/ 1185758 h 2084191"/>
              <a:gd name="connsiteX446" fmla="*/ 1479656 w 2051041"/>
              <a:gd name="connsiteY446" fmla="*/ 1149298 h 2084191"/>
              <a:gd name="connsiteX447" fmla="*/ 1642365 w 2051041"/>
              <a:gd name="connsiteY447" fmla="*/ 1148209 h 2084191"/>
              <a:gd name="connsiteX448" fmla="*/ 1681001 w 2051041"/>
              <a:gd name="connsiteY448" fmla="*/ 1187390 h 2084191"/>
              <a:gd name="connsiteX449" fmla="*/ 1641821 w 2051041"/>
              <a:gd name="connsiteY449" fmla="*/ 1226026 h 2084191"/>
              <a:gd name="connsiteX450" fmla="*/ 1603728 w 2051041"/>
              <a:gd name="connsiteY450" fmla="*/ 1186846 h 2084191"/>
              <a:gd name="connsiteX451" fmla="*/ 1642365 w 2051041"/>
              <a:gd name="connsiteY451" fmla="*/ 1148209 h 2084191"/>
              <a:gd name="connsiteX452" fmla="*/ 1969414 w 2051041"/>
              <a:gd name="connsiteY452" fmla="*/ 1147665 h 2084191"/>
              <a:gd name="connsiteX453" fmla="*/ 2009139 w 2051041"/>
              <a:gd name="connsiteY453" fmla="*/ 1187934 h 2084191"/>
              <a:gd name="connsiteX454" fmla="*/ 1968870 w 2051041"/>
              <a:gd name="connsiteY454" fmla="*/ 1227114 h 2084191"/>
              <a:gd name="connsiteX455" fmla="*/ 1929145 w 2051041"/>
              <a:gd name="connsiteY455" fmla="*/ 1186301 h 2084191"/>
              <a:gd name="connsiteX456" fmla="*/ 1969414 w 2051041"/>
              <a:gd name="connsiteY456" fmla="*/ 1147665 h 2084191"/>
              <a:gd name="connsiteX457" fmla="*/ 1805617 w 2051041"/>
              <a:gd name="connsiteY457" fmla="*/ 1147665 h 2084191"/>
              <a:gd name="connsiteX458" fmla="*/ 1844798 w 2051041"/>
              <a:gd name="connsiteY458" fmla="*/ 1187934 h 2084191"/>
              <a:gd name="connsiteX459" fmla="*/ 1805073 w 2051041"/>
              <a:gd name="connsiteY459" fmla="*/ 1226571 h 2084191"/>
              <a:gd name="connsiteX460" fmla="*/ 1766981 w 2051041"/>
              <a:gd name="connsiteY460" fmla="*/ 1186845 h 2084191"/>
              <a:gd name="connsiteX461" fmla="*/ 1805617 w 2051041"/>
              <a:gd name="connsiteY461" fmla="*/ 1147665 h 2084191"/>
              <a:gd name="connsiteX462" fmla="*/ 417425 w 2051041"/>
              <a:gd name="connsiteY462" fmla="*/ 1090527 h 2084191"/>
              <a:gd name="connsiteX463" fmla="*/ 432662 w 2051041"/>
              <a:gd name="connsiteY463" fmla="*/ 1105764 h 2084191"/>
              <a:gd name="connsiteX464" fmla="*/ 417969 w 2051041"/>
              <a:gd name="connsiteY464" fmla="*/ 1120457 h 2084191"/>
              <a:gd name="connsiteX465" fmla="*/ 402732 w 2051041"/>
              <a:gd name="connsiteY465" fmla="*/ 1105219 h 2084191"/>
              <a:gd name="connsiteX466" fmla="*/ 417425 w 2051041"/>
              <a:gd name="connsiteY466" fmla="*/ 1090527 h 2084191"/>
              <a:gd name="connsiteX467" fmla="*/ 580677 w 2051041"/>
              <a:gd name="connsiteY467" fmla="*/ 1083996 h 2084191"/>
              <a:gd name="connsiteX468" fmla="*/ 602444 w 2051041"/>
              <a:gd name="connsiteY468" fmla="*/ 1105219 h 2084191"/>
              <a:gd name="connsiteX469" fmla="*/ 581221 w 2051041"/>
              <a:gd name="connsiteY469" fmla="*/ 1127530 h 2084191"/>
              <a:gd name="connsiteX470" fmla="*/ 558910 w 2051041"/>
              <a:gd name="connsiteY470" fmla="*/ 1105219 h 2084191"/>
              <a:gd name="connsiteX471" fmla="*/ 580677 w 2051041"/>
              <a:gd name="connsiteY471" fmla="*/ 1083996 h 2084191"/>
              <a:gd name="connsiteX472" fmla="*/ 743386 w 2051041"/>
              <a:gd name="connsiteY472" fmla="*/ 1079099 h 2084191"/>
              <a:gd name="connsiteX473" fmla="*/ 770595 w 2051041"/>
              <a:gd name="connsiteY473" fmla="*/ 1105219 h 2084191"/>
              <a:gd name="connsiteX474" fmla="*/ 745019 w 2051041"/>
              <a:gd name="connsiteY474" fmla="*/ 1132428 h 2084191"/>
              <a:gd name="connsiteX475" fmla="*/ 717810 w 2051041"/>
              <a:gd name="connsiteY475" fmla="*/ 1106308 h 2084191"/>
              <a:gd name="connsiteX476" fmla="*/ 743386 w 2051041"/>
              <a:gd name="connsiteY476" fmla="*/ 1079099 h 2084191"/>
              <a:gd name="connsiteX477" fmla="*/ 907727 w 2051041"/>
              <a:gd name="connsiteY477" fmla="*/ 1076378 h 2084191"/>
              <a:gd name="connsiteX478" fmla="*/ 937112 w 2051041"/>
              <a:gd name="connsiteY478" fmla="*/ 1105219 h 2084191"/>
              <a:gd name="connsiteX479" fmla="*/ 908271 w 2051041"/>
              <a:gd name="connsiteY479" fmla="*/ 1134061 h 2084191"/>
              <a:gd name="connsiteX480" fmla="*/ 878885 w 2051041"/>
              <a:gd name="connsiteY480" fmla="*/ 1105764 h 2084191"/>
              <a:gd name="connsiteX481" fmla="*/ 907727 w 2051041"/>
              <a:gd name="connsiteY481" fmla="*/ 1076378 h 2084191"/>
              <a:gd name="connsiteX482" fmla="*/ 1071524 w 2051041"/>
              <a:gd name="connsiteY482" fmla="*/ 1072569 h 2084191"/>
              <a:gd name="connsiteX483" fmla="*/ 1104174 w 2051041"/>
              <a:gd name="connsiteY483" fmla="*/ 1105220 h 2084191"/>
              <a:gd name="connsiteX484" fmla="*/ 1070435 w 2051041"/>
              <a:gd name="connsiteY484" fmla="*/ 1137870 h 2084191"/>
              <a:gd name="connsiteX485" fmla="*/ 1038329 w 2051041"/>
              <a:gd name="connsiteY485" fmla="*/ 1105764 h 2084191"/>
              <a:gd name="connsiteX486" fmla="*/ 1071524 w 2051041"/>
              <a:gd name="connsiteY486" fmla="*/ 1072569 h 2084191"/>
              <a:gd name="connsiteX487" fmla="*/ 1235865 w 2051041"/>
              <a:gd name="connsiteY487" fmla="*/ 1068760 h 2084191"/>
              <a:gd name="connsiteX488" fmla="*/ 1271237 w 2051041"/>
              <a:gd name="connsiteY488" fmla="*/ 1106852 h 2084191"/>
              <a:gd name="connsiteX489" fmla="*/ 1234777 w 2051041"/>
              <a:gd name="connsiteY489" fmla="*/ 1142223 h 2084191"/>
              <a:gd name="connsiteX490" fmla="*/ 1198861 w 2051041"/>
              <a:gd name="connsiteY490" fmla="*/ 1105219 h 2084191"/>
              <a:gd name="connsiteX491" fmla="*/ 1235865 w 2051041"/>
              <a:gd name="connsiteY491" fmla="*/ 1068760 h 2084191"/>
              <a:gd name="connsiteX492" fmla="*/ 1396397 w 2051041"/>
              <a:gd name="connsiteY492" fmla="*/ 1067127 h 2084191"/>
              <a:gd name="connsiteX493" fmla="*/ 1435578 w 2051041"/>
              <a:gd name="connsiteY493" fmla="*/ 1105219 h 2084191"/>
              <a:gd name="connsiteX494" fmla="*/ 1396941 w 2051041"/>
              <a:gd name="connsiteY494" fmla="*/ 1143856 h 2084191"/>
              <a:gd name="connsiteX495" fmla="*/ 1358849 w 2051041"/>
              <a:gd name="connsiteY495" fmla="*/ 1105763 h 2084191"/>
              <a:gd name="connsiteX496" fmla="*/ 1396397 w 2051041"/>
              <a:gd name="connsiteY496" fmla="*/ 1067127 h 2084191"/>
              <a:gd name="connsiteX497" fmla="*/ 1560738 w 2051041"/>
              <a:gd name="connsiteY497" fmla="*/ 1066582 h 2084191"/>
              <a:gd name="connsiteX498" fmla="*/ 1599919 w 2051041"/>
              <a:gd name="connsiteY498" fmla="*/ 1105763 h 2084191"/>
              <a:gd name="connsiteX499" fmla="*/ 1560738 w 2051041"/>
              <a:gd name="connsiteY499" fmla="*/ 1144400 h 2084191"/>
              <a:gd name="connsiteX500" fmla="*/ 1521013 w 2051041"/>
              <a:gd name="connsiteY500" fmla="*/ 1105763 h 2084191"/>
              <a:gd name="connsiteX501" fmla="*/ 1560738 w 2051041"/>
              <a:gd name="connsiteY501" fmla="*/ 1066582 h 2084191"/>
              <a:gd name="connsiteX502" fmla="*/ 1723447 w 2051041"/>
              <a:gd name="connsiteY502" fmla="*/ 1064406 h 2084191"/>
              <a:gd name="connsiteX503" fmla="*/ 1764260 w 2051041"/>
              <a:gd name="connsiteY503" fmla="*/ 1104675 h 2084191"/>
              <a:gd name="connsiteX504" fmla="*/ 1724535 w 2051041"/>
              <a:gd name="connsiteY504" fmla="*/ 1146032 h 2084191"/>
              <a:gd name="connsiteX505" fmla="*/ 1683178 w 2051041"/>
              <a:gd name="connsiteY505" fmla="*/ 1105764 h 2084191"/>
              <a:gd name="connsiteX506" fmla="*/ 1723447 w 2051041"/>
              <a:gd name="connsiteY506" fmla="*/ 1064406 h 2084191"/>
              <a:gd name="connsiteX507" fmla="*/ 2051041 w 2051041"/>
              <a:gd name="connsiteY507" fmla="*/ 1063318 h 2084191"/>
              <a:gd name="connsiteX508" fmla="*/ 2051041 w 2051041"/>
              <a:gd name="connsiteY508" fmla="*/ 1147740 h 2084191"/>
              <a:gd name="connsiteX509" fmla="*/ 2049952 w 2051041"/>
              <a:gd name="connsiteY509" fmla="*/ 1148210 h 2084191"/>
              <a:gd name="connsiteX510" fmla="*/ 2008051 w 2051041"/>
              <a:gd name="connsiteY510" fmla="*/ 1105764 h 2084191"/>
              <a:gd name="connsiteX511" fmla="*/ 2051041 w 2051041"/>
              <a:gd name="connsiteY511" fmla="*/ 1063318 h 2084191"/>
              <a:gd name="connsiteX512" fmla="*/ 1887787 w 2051041"/>
              <a:gd name="connsiteY512" fmla="*/ 1062773 h 2084191"/>
              <a:gd name="connsiteX513" fmla="*/ 1929145 w 2051041"/>
              <a:gd name="connsiteY513" fmla="*/ 1105763 h 2084191"/>
              <a:gd name="connsiteX514" fmla="*/ 1886699 w 2051041"/>
              <a:gd name="connsiteY514" fmla="*/ 1147665 h 2084191"/>
              <a:gd name="connsiteX515" fmla="*/ 1844798 w 2051041"/>
              <a:gd name="connsiteY515" fmla="*/ 1105219 h 2084191"/>
              <a:gd name="connsiteX516" fmla="*/ 1887787 w 2051041"/>
              <a:gd name="connsiteY516" fmla="*/ 1062773 h 2084191"/>
              <a:gd name="connsiteX517" fmla="*/ 335798 w 2051041"/>
              <a:gd name="connsiteY517" fmla="*/ 1011621 h 2084191"/>
              <a:gd name="connsiteX518" fmla="*/ 348314 w 2051041"/>
              <a:gd name="connsiteY518" fmla="*/ 1023049 h 2084191"/>
              <a:gd name="connsiteX519" fmla="*/ 336886 w 2051041"/>
              <a:gd name="connsiteY519" fmla="*/ 1036109 h 2084191"/>
              <a:gd name="connsiteX520" fmla="*/ 324370 w 2051041"/>
              <a:gd name="connsiteY520" fmla="*/ 1024681 h 2084191"/>
              <a:gd name="connsiteX521" fmla="*/ 335798 w 2051041"/>
              <a:gd name="connsiteY521" fmla="*/ 1011621 h 2084191"/>
              <a:gd name="connsiteX522" fmla="*/ 499051 w 2051041"/>
              <a:gd name="connsiteY522" fmla="*/ 1002914 h 2084191"/>
              <a:gd name="connsiteX523" fmla="*/ 520818 w 2051041"/>
              <a:gd name="connsiteY523" fmla="*/ 1024137 h 2084191"/>
              <a:gd name="connsiteX524" fmla="*/ 499595 w 2051041"/>
              <a:gd name="connsiteY524" fmla="*/ 1045360 h 2084191"/>
              <a:gd name="connsiteX525" fmla="*/ 478372 w 2051041"/>
              <a:gd name="connsiteY525" fmla="*/ 1024137 h 2084191"/>
              <a:gd name="connsiteX526" fmla="*/ 499051 w 2051041"/>
              <a:gd name="connsiteY526" fmla="*/ 1002914 h 2084191"/>
              <a:gd name="connsiteX527" fmla="*/ 663392 w 2051041"/>
              <a:gd name="connsiteY527" fmla="*/ 997473 h 2084191"/>
              <a:gd name="connsiteX528" fmla="*/ 688424 w 2051041"/>
              <a:gd name="connsiteY528" fmla="*/ 1024138 h 2084191"/>
              <a:gd name="connsiteX529" fmla="*/ 661759 w 2051041"/>
              <a:gd name="connsiteY529" fmla="*/ 1050258 h 2084191"/>
              <a:gd name="connsiteX530" fmla="*/ 636727 w 2051041"/>
              <a:gd name="connsiteY530" fmla="*/ 1023593 h 2084191"/>
              <a:gd name="connsiteX531" fmla="*/ 663392 w 2051041"/>
              <a:gd name="connsiteY531" fmla="*/ 997473 h 2084191"/>
              <a:gd name="connsiteX532" fmla="*/ 826645 w 2051041"/>
              <a:gd name="connsiteY532" fmla="*/ 995840 h 2084191"/>
              <a:gd name="connsiteX533" fmla="*/ 854942 w 2051041"/>
              <a:gd name="connsiteY533" fmla="*/ 1024137 h 2084191"/>
              <a:gd name="connsiteX534" fmla="*/ 825557 w 2051041"/>
              <a:gd name="connsiteY534" fmla="*/ 1052978 h 2084191"/>
              <a:gd name="connsiteX535" fmla="*/ 797260 w 2051041"/>
              <a:gd name="connsiteY535" fmla="*/ 1023593 h 2084191"/>
              <a:gd name="connsiteX536" fmla="*/ 826645 w 2051041"/>
              <a:gd name="connsiteY536" fmla="*/ 995840 h 2084191"/>
              <a:gd name="connsiteX537" fmla="*/ 990441 w 2051041"/>
              <a:gd name="connsiteY537" fmla="*/ 990942 h 2084191"/>
              <a:gd name="connsiteX538" fmla="*/ 1022548 w 2051041"/>
              <a:gd name="connsiteY538" fmla="*/ 1025225 h 2084191"/>
              <a:gd name="connsiteX539" fmla="*/ 988809 w 2051041"/>
              <a:gd name="connsiteY539" fmla="*/ 1056787 h 2084191"/>
              <a:gd name="connsiteX540" fmla="*/ 956702 w 2051041"/>
              <a:gd name="connsiteY540" fmla="*/ 1023593 h 2084191"/>
              <a:gd name="connsiteX541" fmla="*/ 990441 w 2051041"/>
              <a:gd name="connsiteY541" fmla="*/ 990942 h 2084191"/>
              <a:gd name="connsiteX542" fmla="*/ 1150974 w 2051041"/>
              <a:gd name="connsiteY542" fmla="*/ 987678 h 2084191"/>
              <a:gd name="connsiteX543" fmla="*/ 1189610 w 2051041"/>
              <a:gd name="connsiteY543" fmla="*/ 1023593 h 2084191"/>
              <a:gd name="connsiteX544" fmla="*/ 1152062 w 2051041"/>
              <a:gd name="connsiteY544" fmla="*/ 1061685 h 2084191"/>
              <a:gd name="connsiteX545" fmla="*/ 1115058 w 2051041"/>
              <a:gd name="connsiteY545" fmla="*/ 1024682 h 2084191"/>
              <a:gd name="connsiteX546" fmla="*/ 1150974 w 2051041"/>
              <a:gd name="connsiteY546" fmla="*/ 987678 h 2084191"/>
              <a:gd name="connsiteX547" fmla="*/ 1315314 w 2051041"/>
              <a:gd name="connsiteY547" fmla="*/ 985501 h 2084191"/>
              <a:gd name="connsiteX548" fmla="*/ 1354495 w 2051041"/>
              <a:gd name="connsiteY548" fmla="*/ 1023593 h 2084191"/>
              <a:gd name="connsiteX549" fmla="*/ 1315858 w 2051041"/>
              <a:gd name="connsiteY549" fmla="*/ 1062230 h 2084191"/>
              <a:gd name="connsiteX550" fmla="*/ 1277222 w 2051041"/>
              <a:gd name="connsiteY550" fmla="*/ 1024137 h 2084191"/>
              <a:gd name="connsiteX551" fmla="*/ 1315314 w 2051041"/>
              <a:gd name="connsiteY551" fmla="*/ 985501 h 2084191"/>
              <a:gd name="connsiteX552" fmla="*/ 1479656 w 2051041"/>
              <a:gd name="connsiteY552" fmla="*/ 984412 h 2084191"/>
              <a:gd name="connsiteX553" fmla="*/ 1519380 w 2051041"/>
              <a:gd name="connsiteY553" fmla="*/ 1025225 h 2084191"/>
              <a:gd name="connsiteX554" fmla="*/ 1478567 w 2051041"/>
              <a:gd name="connsiteY554" fmla="*/ 1063318 h 2084191"/>
              <a:gd name="connsiteX555" fmla="*/ 1439387 w 2051041"/>
              <a:gd name="connsiteY555" fmla="*/ 1023593 h 2084191"/>
              <a:gd name="connsiteX556" fmla="*/ 1479656 w 2051041"/>
              <a:gd name="connsiteY556" fmla="*/ 984412 h 2084191"/>
              <a:gd name="connsiteX557" fmla="*/ 1641820 w 2051041"/>
              <a:gd name="connsiteY557" fmla="*/ 981691 h 2084191"/>
              <a:gd name="connsiteX558" fmla="*/ 1684810 w 2051041"/>
              <a:gd name="connsiteY558" fmla="*/ 1023592 h 2084191"/>
              <a:gd name="connsiteX559" fmla="*/ 1642909 w 2051041"/>
              <a:gd name="connsiteY559" fmla="*/ 1066038 h 2084191"/>
              <a:gd name="connsiteX560" fmla="*/ 1599919 w 2051041"/>
              <a:gd name="connsiteY560" fmla="*/ 1023592 h 2084191"/>
              <a:gd name="connsiteX561" fmla="*/ 1641820 w 2051041"/>
              <a:gd name="connsiteY561" fmla="*/ 981691 h 2084191"/>
              <a:gd name="connsiteX562" fmla="*/ 1806161 w 2051041"/>
              <a:gd name="connsiteY562" fmla="*/ 980603 h 2084191"/>
              <a:gd name="connsiteX563" fmla="*/ 1849151 w 2051041"/>
              <a:gd name="connsiteY563" fmla="*/ 1023592 h 2084191"/>
              <a:gd name="connsiteX564" fmla="*/ 1805617 w 2051041"/>
              <a:gd name="connsiteY564" fmla="*/ 1067127 h 2084191"/>
              <a:gd name="connsiteX565" fmla="*/ 1762083 w 2051041"/>
              <a:gd name="connsiteY565" fmla="*/ 1023592 h 2084191"/>
              <a:gd name="connsiteX566" fmla="*/ 1806161 w 2051041"/>
              <a:gd name="connsiteY566" fmla="*/ 980603 h 2084191"/>
              <a:gd name="connsiteX567" fmla="*/ 1969414 w 2051041"/>
              <a:gd name="connsiteY567" fmla="*/ 980059 h 2084191"/>
              <a:gd name="connsiteX568" fmla="*/ 2012404 w 2051041"/>
              <a:gd name="connsiteY568" fmla="*/ 1024137 h 2084191"/>
              <a:gd name="connsiteX569" fmla="*/ 1968870 w 2051041"/>
              <a:gd name="connsiteY569" fmla="*/ 1067127 h 2084191"/>
              <a:gd name="connsiteX570" fmla="*/ 1924792 w 2051041"/>
              <a:gd name="connsiteY570" fmla="*/ 1024137 h 2084191"/>
              <a:gd name="connsiteX571" fmla="*/ 1969414 w 2051041"/>
              <a:gd name="connsiteY571" fmla="*/ 980059 h 2084191"/>
              <a:gd name="connsiteX572" fmla="*/ 254171 w 2051041"/>
              <a:gd name="connsiteY572" fmla="*/ 931083 h 2084191"/>
              <a:gd name="connsiteX573" fmla="*/ 265599 w 2051041"/>
              <a:gd name="connsiteY573" fmla="*/ 941967 h 2084191"/>
              <a:gd name="connsiteX574" fmla="*/ 254171 w 2051041"/>
              <a:gd name="connsiteY574" fmla="*/ 952850 h 2084191"/>
              <a:gd name="connsiteX575" fmla="*/ 243832 w 2051041"/>
              <a:gd name="connsiteY575" fmla="*/ 941967 h 2084191"/>
              <a:gd name="connsiteX576" fmla="*/ 254171 w 2051041"/>
              <a:gd name="connsiteY576" fmla="*/ 931083 h 2084191"/>
              <a:gd name="connsiteX577" fmla="*/ 417968 w 2051041"/>
              <a:gd name="connsiteY577" fmla="*/ 922377 h 2084191"/>
              <a:gd name="connsiteX578" fmla="*/ 437559 w 2051041"/>
              <a:gd name="connsiteY578" fmla="*/ 942511 h 2084191"/>
              <a:gd name="connsiteX579" fmla="*/ 417968 w 2051041"/>
              <a:gd name="connsiteY579" fmla="*/ 961557 h 2084191"/>
              <a:gd name="connsiteX580" fmla="*/ 397834 w 2051041"/>
              <a:gd name="connsiteY580" fmla="*/ 941423 h 2084191"/>
              <a:gd name="connsiteX581" fmla="*/ 417968 w 2051041"/>
              <a:gd name="connsiteY581" fmla="*/ 922377 h 2084191"/>
              <a:gd name="connsiteX582" fmla="*/ 581222 w 2051041"/>
              <a:gd name="connsiteY582" fmla="*/ 916934 h 2084191"/>
              <a:gd name="connsiteX583" fmla="*/ 606798 w 2051041"/>
              <a:gd name="connsiteY583" fmla="*/ 943054 h 2084191"/>
              <a:gd name="connsiteX584" fmla="*/ 581222 w 2051041"/>
              <a:gd name="connsiteY584" fmla="*/ 967542 h 2084191"/>
              <a:gd name="connsiteX585" fmla="*/ 556190 w 2051041"/>
              <a:gd name="connsiteY585" fmla="*/ 943054 h 2084191"/>
              <a:gd name="connsiteX586" fmla="*/ 581222 w 2051041"/>
              <a:gd name="connsiteY586" fmla="*/ 916934 h 2084191"/>
              <a:gd name="connsiteX587" fmla="*/ 744474 w 2051041"/>
              <a:gd name="connsiteY587" fmla="*/ 913669 h 2084191"/>
              <a:gd name="connsiteX588" fmla="*/ 773315 w 2051041"/>
              <a:gd name="connsiteY588" fmla="*/ 942510 h 2084191"/>
              <a:gd name="connsiteX589" fmla="*/ 743930 w 2051041"/>
              <a:gd name="connsiteY589" fmla="*/ 970807 h 2084191"/>
              <a:gd name="connsiteX590" fmla="*/ 716177 w 2051041"/>
              <a:gd name="connsiteY590" fmla="*/ 941966 h 2084191"/>
              <a:gd name="connsiteX591" fmla="*/ 744474 w 2051041"/>
              <a:gd name="connsiteY591" fmla="*/ 913669 h 2084191"/>
              <a:gd name="connsiteX592" fmla="*/ 908271 w 2051041"/>
              <a:gd name="connsiteY592" fmla="*/ 908772 h 2084191"/>
              <a:gd name="connsiteX593" fmla="*/ 940377 w 2051041"/>
              <a:gd name="connsiteY593" fmla="*/ 944144 h 2084191"/>
              <a:gd name="connsiteX594" fmla="*/ 906094 w 2051041"/>
              <a:gd name="connsiteY594" fmla="*/ 975162 h 2084191"/>
              <a:gd name="connsiteX595" fmla="*/ 874532 w 2051041"/>
              <a:gd name="connsiteY595" fmla="*/ 940879 h 2084191"/>
              <a:gd name="connsiteX596" fmla="*/ 908271 w 2051041"/>
              <a:gd name="connsiteY596" fmla="*/ 908772 h 2084191"/>
              <a:gd name="connsiteX597" fmla="*/ 1072068 w 2051041"/>
              <a:gd name="connsiteY597" fmla="*/ 906051 h 2084191"/>
              <a:gd name="connsiteX598" fmla="*/ 1107984 w 2051041"/>
              <a:gd name="connsiteY598" fmla="*/ 942511 h 2084191"/>
              <a:gd name="connsiteX599" fmla="*/ 1070980 w 2051041"/>
              <a:gd name="connsiteY599" fmla="*/ 979515 h 2084191"/>
              <a:gd name="connsiteX600" fmla="*/ 1034520 w 2051041"/>
              <a:gd name="connsiteY600" fmla="*/ 942511 h 2084191"/>
              <a:gd name="connsiteX601" fmla="*/ 1072068 w 2051041"/>
              <a:gd name="connsiteY601" fmla="*/ 906051 h 2084191"/>
              <a:gd name="connsiteX602" fmla="*/ 1235321 w 2051041"/>
              <a:gd name="connsiteY602" fmla="*/ 903874 h 2084191"/>
              <a:gd name="connsiteX603" fmla="*/ 1272325 w 2051041"/>
              <a:gd name="connsiteY603" fmla="*/ 943054 h 2084191"/>
              <a:gd name="connsiteX604" fmla="*/ 1233688 w 2051041"/>
              <a:gd name="connsiteY604" fmla="*/ 981147 h 2084191"/>
              <a:gd name="connsiteX605" fmla="*/ 1195596 w 2051041"/>
              <a:gd name="connsiteY605" fmla="*/ 940878 h 2084191"/>
              <a:gd name="connsiteX606" fmla="*/ 1235321 w 2051041"/>
              <a:gd name="connsiteY606" fmla="*/ 903874 h 2084191"/>
              <a:gd name="connsiteX607" fmla="*/ 1397486 w 2051041"/>
              <a:gd name="connsiteY607" fmla="*/ 901153 h 2084191"/>
              <a:gd name="connsiteX608" fmla="*/ 1438299 w 2051041"/>
              <a:gd name="connsiteY608" fmla="*/ 942511 h 2084191"/>
              <a:gd name="connsiteX609" fmla="*/ 1396941 w 2051041"/>
              <a:gd name="connsiteY609" fmla="*/ 983324 h 2084191"/>
              <a:gd name="connsiteX610" fmla="*/ 1356128 w 2051041"/>
              <a:gd name="connsiteY610" fmla="*/ 941967 h 2084191"/>
              <a:gd name="connsiteX611" fmla="*/ 1397486 w 2051041"/>
              <a:gd name="connsiteY611" fmla="*/ 901153 h 2084191"/>
              <a:gd name="connsiteX612" fmla="*/ 1560738 w 2051041"/>
              <a:gd name="connsiteY612" fmla="*/ 898977 h 2084191"/>
              <a:gd name="connsiteX613" fmla="*/ 1603728 w 2051041"/>
              <a:gd name="connsiteY613" fmla="*/ 942511 h 2084191"/>
              <a:gd name="connsiteX614" fmla="*/ 1560738 w 2051041"/>
              <a:gd name="connsiteY614" fmla="*/ 985501 h 2084191"/>
              <a:gd name="connsiteX615" fmla="*/ 1517204 w 2051041"/>
              <a:gd name="connsiteY615" fmla="*/ 941423 h 2084191"/>
              <a:gd name="connsiteX616" fmla="*/ 1560738 w 2051041"/>
              <a:gd name="connsiteY616" fmla="*/ 898977 h 2084191"/>
              <a:gd name="connsiteX617" fmla="*/ 1723990 w 2051041"/>
              <a:gd name="connsiteY617" fmla="*/ 897888 h 2084191"/>
              <a:gd name="connsiteX618" fmla="*/ 1768069 w 2051041"/>
              <a:gd name="connsiteY618" fmla="*/ 942510 h 2084191"/>
              <a:gd name="connsiteX619" fmla="*/ 1723990 w 2051041"/>
              <a:gd name="connsiteY619" fmla="*/ 986589 h 2084191"/>
              <a:gd name="connsiteX620" fmla="*/ 1679912 w 2051041"/>
              <a:gd name="connsiteY620" fmla="*/ 941422 h 2084191"/>
              <a:gd name="connsiteX621" fmla="*/ 1723990 w 2051041"/>
              <a:gd name="connsiteY621" fmla="*/ 897888 h 2084191"/>
              <a:gd name="connsiteX622" fmla="*/ 2050497 w 2051041"/>
              <a:gd name="connsiteY622" fmla="*/ 897344 h 2084191"/>
              <a:gd name="connsiteX623" fmla="*/ 2051041 w 2051041"/>
              <a:gd name="connsiteY623" fmla="*/ 897453 h 2084191"/>
              <a:gd name="connsiteX624" fmla="*/ 2051041 w 2051041"/>
              <a:gd name="connsiteY624" fmla="*/ 986917 h 2084191"/>
              <a:gd name="connsiteX625" fmla="*/ 2049952 w 2051041"/>
              <a:gd name="connsiteY625" fmla="*/ 987133 h 2084191"/>
              <a:gd name="connsiteX626" fmla="*/ 2005330 w 2051041"/>
              <a:gd name="connsiteY626" fmla="*/ 941422 h 2084191"/>
              <a:gd name="connsiteX627" fmla="*/ 2050497 w 2051041"/>
              <a:gd name="connsiteY627" fmla="*/ 897344 h 2084191"/>
              <a:gd name="connsiteX628" fmla="*/ 1887243 w 2051041"/>
              <a:gd name="connsiteY628" fmla="*/ 897344 h 2084191"/>
              <a:gd name="connsiteX629" fmla="*/ 1931866 w 2051041"/>
              <a:gd name="connsiteY629" fmla="*/ 942511 h 2084191"/>
              <a:gd name="connsiteX630" fmla="*/ 1887243 w 2051041"/>
              <a:gd name="connsiteY630" fmla="*/ 986589 h 2084191"/>
              <a:gd name="connsiteX631" fmla="*/ 1843165 w 2051041"/>
              <a:gd name="connsiteY631" fmla="*/ 941422 h 2084191"/>
              <a:gd name="connsiteX632" fmla="*/ 1887243 w 2051041"/>
              <a:gd name="connsiteY632" fmla="*/ 897344 h 2084191"/>
              <a:gd name="connsiteX633" fmla="*/ 172545 w 2051041"/>
              <a:gd name="connsiteY633" fmla="*/ 854354 h 2084191"/>
              <a:gd name="connsiteX634" fmla="*/ 179619 w 2051041"/>
              <a:gd name="connsiteY634" fmla="*/ 860884 h 2084191"/>
              <a:gd name="connsiteX635" fmla="*/ 173634 w 2051041"/>
              <a:gd name="connsiteY635" fmla="*/ 866870 h 2084191"/>
              <a:gd name="connsiteX636" fmla="*/ 166015 w 2051041"/>
              <a:gd name="connsiteY636" fmla="*/ 861973 h 2084191"/>
              <a:gd name="connsiteX637" fmla="*/ 172545 w 2051041"/>
              <a:gd name="connsiteY637" fmla="*/ 854354 h 2084191"/>
              <a:gd name="connsiteX638" fmla="*/ 336342 w 2051041"/>
              <a:gd name="connsiteY638" fmla="*/ 843471 h 2084191"/>
              <a:gd name="connsiteX639" fmla="*/ 353211 w 2051041"/>
              <a:gd name="connsiteY639" fmla="*/ 860340 h 2084191"/>
              <a:gd name="connsiteX640" fmla="*/ 336886 w 2051041"/>
              <a:gd name="connsiteY640" fmla="*/ 877210 h 2084191"/>
              <a:gd name="connsiteX641" fmla="*/ 320017 w 2051041"/>
              <a:gd name="connsiteY641" fmla="*/ 860884 h 2084191"/>
              <a:gd name="connsiteX642" fmla="*/ 336342 w 2051041"/>
              <a:gd name="connsiteY642" fmla="*/ 843471 h 2084191"/>
              <a:gd name="connsiteX643" fmla="*/ 500139 w 2051041"/>
              <a:gd name="connsiteY643" fmla="*/ 837485 h 2084191"/>
              <a:gd name="connsiteX644" fmla="*/ 522994 w 2051041"/>
              <a:gd name="connsiteY644" fmla="*/ 861428 h 2084191"/>
              <a:gd name="connsiteX645" fmla="*/ 499595 w 2051041"/>
              <a:gd name="connsiteY645" fmla="*/ 884284 h 2084191"/>
              <a:gd name="connsiteX646" fmla="*/ 476739 w 2051041"/>
              <a:gd name="connsiteY646" fmla="*/ 860340 h 2084191"/>
              <a:gd name="connsiteX647" fmla="*/ 500139 w 2051041"/>
              <a:gd name="connsiteY647" fmla="*/ 837485 h 2084191"/>
              <a:gd name="connsiteX648" fmla="*/ 662848 w 2051041"/>
              <a:gd name="connsiteY648" fmla="*/ 832587 h 2084191"/>
              <a:gd name="connsiteX649" fmla="*/ 690057 w 2051041"/>
              <a:gd name="connsiteY649" fmla="*/ 860340 h 2084191"/>
              <a:gd name="connsiteX650" fmla="*/ 662848 w 2051041"/>
              <a:gd name="connsiteY650" fmla="*/ 888637 h 2084191"/>
              <a:gd name="connsiteX651" fmla="*/ 634551 w 2051041"/>
              <a:gd name="connsiteY651" fmla="*/ 861428 h 2084191"/>
              <a:gd name="connsiteX652" fmla="*/ 662848 w 2051041"/>
              <a:gd name="connsiteY652" fmla="*/ 832587 h 2084191"/>
              <a:gd name="connsiteX653" fmla="*/ 826101 w 2051041"/>
              <a:gd name="connsiteY653" fmla="*/ 827146 h 2084191"/>
              <a:gd name="connsiteX654" fmla="*/ 859295 w 2051041"/>
              <a:gd name="connsiteY654" fmla="*/ 860885 h 2084191"/>
              <a:gd name="connsiteX655" fmla="*/ 825556 w 2051041"/>
              <a:gd name="connsiteY655" fmla="*/ 892991 h 2084191"/>
              <a:gd name="connsiteX656" fmla="*/ 793450 w 2051041"/>
              <a:gd name="connsiteY656" fmla="*/ 860885 h 2084191"/>
              <a:gd name="connsiteX657" fmla="*/ 826101 w 2051041"/>
              <a:gd name="connsiteY657" fmla="*/ 827146 h 2084191"/>
              <a:gd name="connsiteX658" fmla="*/ 988809 w 2051041"/>
              <a:gd name="connsiteY658" fmla="*/ 824424 h 2084191"/>
              <a:gd name="connsiteX659" fmla="*/ 1025813 w 2051041"/>
              <a:gd name="connsiteY659" fmla="*/ 860339 h 2084191"/>
              <a:gd name="connsiteX660" fmla="*/ 989897 w 2051041"/>
              <a:gd name="connsiteY660" fmla="*/ 897344 h 2084191"/>
              <a:gd name="connsiteX661" fmla="*/ 953437 w 2051041"/>
              <a:gd name="connsiteY661" fmla="*/ 861972 h 2084191"/>
              <a:gd name="connsiteX662" fmla="*/ 988809 w 2051041"/>
              <a:gd name="connsiteY662" fmla="*/ 824424 h 2084191"/>
              <a:gd name="connsiteX663" fmla="*/ 1153695 w 2051041"/>
              <a:gd name="connsiteY663" fmla="*/ 821704 h 2084191"/>
              <a:gd name="connsiteX664" fmla="*/ 1191243 w 2051041"/>
              <a:gd name="connsiteY664" fmla="*/ 861429 h 2084191"/>
              <a:gd name="connsiteX665" fmla="*/ 1152606 w 2051041"/>
              <a:gd name="connsiteY665" fmla="*/ 899521 h 2084191"/>
              <a:gd name="connsiteX666" fmla="*/ 1114514 w 2051041"/>
              <a:gd name="connsiteY666" fmla="*/ 859252 h 2084191"/>
              <a:gd name="connsiteX667" fmla="*/ 1153695 w 2051041"/>
              <a:gd name="connsiteY667" fmla="*/ 821704 h 2084191"/>
              <a:gd name="connsiteX668" fmla="*/ 1316403 w 2051041"/>
              <a:gd name="connsiteY668" fmla="*/ 818982 h 2084191"/>
              <a:gd name="connsiteX669" fmla="*/ 1357216 w 2051041"/>
              <a:gd name="connsiteY669" fmla="*/ 860884 h 2084191"/>
              <a:gd name="connsiteX670" fmla="*/ 1315315 w 2051041"/>
              <a:gd name="connsiteY670" fmla="*/ 901697 h 2084191"/>
              <a:gd name="connsiteX671" fmla="*/ 1274501 w 2051041"/>
              <a:gd name="connsiteY671" fmla="*/ 860340 h 2084191"/>
              <a:gd name="connsiteX672" fmla="*/ 1316403 w 2051041"/>
              <a:gd name="connsiteY672" fmla="*/ 818982 h 2084191"/>
              <a:gd name="connsiteX673" fmla="*/ 1479112 w 2051041"/>
              <a:gd name="connsiteY673" fmla="*/ 816806 h 2084191"/>
              <a:gd name="connsiteX674" fmla="*/ 1522646 w 2051041"/>
              <a:gd name="connsiteY674" fmla="*/ 860340 h 2084191"/>
              <a:gd name="connsiteX675" fmla="*/ 1479656 w 2051041"/>
              <a:gd name="connsiteY675" fmla="*/ 904419 h 2084191"/>
              <a:gd name="connsiteX676" fmla="*/ 1435578 w 2051041"/>
              <a:gd name="connsiteY676" fmla="*/ 860884 h 2084191"/>
              <a:gd name="connsiteX677" fmla="*/ 1479112 w 2051041"/>
              <a:gd name="connsiteY677" fmla="*/ 816806 h 2084191"/>
              <a:gd name="connsiteX678" fmla="*/ 1642909 w 2051041"/>
              <a:gd name="connsiteY678" fmla="*/ 815718 h 2084191"/>
              <a:gd name="connsiteX679" fmla="*/ 1686987 w 2051041"/>
              <a:gd name="connsiteY679" fmla="*/ 860885 h 2084191"/>
              <a:gd name="connsiteX680" fmla="*/ 1641276 w 2051041"/>
              <a:gd name="connsiteY680" fmla="*/ 905507 h 2084191"/>
              <a:gd name="connsiteX681" fmla="*/ 1597742 w 2051041"/>
              <a:gd name="connsiteY681" fmla="*/ 860340 h 2084191"/>
              <a:gd name="connsiteX682" fmla="*/ 1642909 w 2051041"/>
              <a:gd name="connsiteY682" fmla="*/ 815718 h 2084191"/>
              <a:gd name="connsiteX683" fmla="*/ 1806161 w 2051041"/>
              <a:gd name="connsiteY683" fmla="*/ 815173 h 2084191"/>
              <a:gd name="connsiteX684" fmla="*/ 1852416 w 2051041"/>
              <a:gd name="connsiteY684" fmla="*/ 860884 h 2084191"/>
              <a:gd name="connsiteX685" fmla="*/ 1805617 w 2051041"/>
              <a:gd name="connsiteY685" fmla="*/ 906594 h 2084191"/>
              <a:gd name="connsiteX686" fmla="*/ 1759906 w 2051041"/>
              <a:gd name="connsiteY686" fmla="*/ 860884 h 2084191"/>
              <a:gd name="connsiteX687" fmla="*/ 1806161 w 2051041"/>
              <a:gd name="connsiteY687" fmla="*/ 815173 h 2084191"/>
              <a:gd name="connsiteX688" fmla="*/ 1968326 w 2051041"/>
              <a:gd name="connsiteY688" fmla="*/ 812453 h 2084191"/>
              <a:gd name="connsiteX689" fmla="*/ 2000977 w 2051041"/>
              <a:gd name="connsiteY689" fmla="*/ 826057 h 2084191"/>
              <a:gd name="connsiteX690" fmla="*/ 2015670 w 2051041"/>
              <a:gd name="connsiteY690" fmla="*/ 859796 h 2084191"/>
              <a:gd name="connsiteX691" fmla="*/ 1969415 w 2051041"/>
              <a:gd name="connsiteY691" fmla="*/ 907684 h 2084191"/>
              <a:gd name="connsiteX692" fmla="*/ 1922071 w 2051041"/>
              <a:gd name="connsiteY692" fmla="*/ 860885 h 2084191"/>
              <a:gd name="connsiteX693" fmla="*/ 1968326 w 2051041"/>
              <a:gd name="connsiteY693" fmla="*/ 812453 h 2084191"/>
              <a:gd name="connsiteX694" fmla="*/ 255260 w 2051041"/>
              <a:gd name="connsiteY694" fmla="*/ 762932 h 2084191"/>
              <a:gd name="connsiteX695" fmla="*/ 270497 w 2051041"/>
              <a:gd name="connsiteY695" fmla="*/ 779802 h 2084191"/>
              <a:gd name="connsiteX696" fmla="*/ 254172 w 2051041"/>
              <a:gd name="connsiteY696" fmla="*/ 795038 h 2084191"/>
              <a:gd name="connsiteX697" fmla="*/ 238935 w 2051041"/>
              <a:gd name="connsiteY697" fmla="*/ 778713 h 2084191"/>
              <a:gd name="connsiteX698" fmla="*/ 255260 w 2051041"/>
              <a:gd name="connsiteY698" fmla="*/ 762932 h 2084191"/>
              <a:gd name="connsiteX699" fmla="*/ 416881 w 2051041"/>
              <a:gd name="connsiteY699" fmla="*/ 756402 h 2084191"/>
              <a:gd name="connsiteX700" fmla="*/ 440280 w 2051041"/>
              <a:gd name="connsiteY700" fmla="*/ 778713 h 2084191"/>
              <a:gd name="connsiteX701" fmla="*/ 419057 w 2051041"/>
              <a:gd name="connsiteY701" fmla="*/ 801024 h 2084191"/>
              <a:gd name="connsiteX702" fmla="*/ 396202 w 2051041"/>
              <a:gd name="connsiteY702" fmla="*/ 779257 h 2084191"/>
              <a:gd name="connsiteX703" fmla="*/ 416881 w 2051041"/>
              <a:gd name="connsiteY703" fmla="*/ 756402 h 2084191"/>
              <a:gd name="connsiteX704" fmla="*/ 581766 w 2051041"/>
              <a:gd name="connsiteY704" fmla="*/ 751505 h 2084191"/>
              <a:gd name="connsiteX705" fmla="*/ 608975 w 2051041"/>
              <a:gd name="connsiteY705" fmla="*/ 779802 h 2084191"/>
              <a:gd name="connsiteX706" fmla="*/ 580678 w 2051041"/>
              <a:gd name="connsiteY706" fmla="*/ 806467 h 2084191"/>
              <a:gd name="connsiteX707" fmla="*/ 553469 w 2051041"/>
              <a:gd name="connsiteY707" fmla="*/ 778714 h 2084191"/>
              <a:gd name="connsiteX708" fmla="*/ 581766 w 2051041"/>
              <a:gd name="connsiteY708" fmla="*/ 751505 h 2084191"/>
              <a:gd name="connsiteX709" fmla="*/ 746107 w 2051041"/>
              <a:gd name="connsiteY709" fmla="*/ 746607 h 2084191"/>
              <a:gd name="connsiteX710" fmla="*/ 777125 w 2051041"/>
              <a:gd name="connsiteY710" fmla="*/ 780346 h 2084191"/>
              <a:gd name="connsiteX711" fmla="*/ 742842 w 2051041"/>
              <a:gd name="connsiteY711" fmla="*/ 811364 h 2084191"/>
              <a:gd name="connsiteX712" fmla="*/ 712368 w 2051041"/>
              <a:gd name="connsiteY712" fmla="*/ 778713 h 2084191"/>
              <a:gd name="connsiteX713" fmla="*/ 746107 w 2051041"/>
              <a:gd name="connsiteY713" fmla="*/ 746607 h 2084191"/>
              <a:gd name="connsiteX714" fmla="*/ 907727 w 2051041"/>
              <a:gd name="connsiteY714" fmla="*/ 741710 h 2084191"/>
              <a:gd name="connsiteX715" fmla="*/ 944187 w 2051041"/>
              <a:gd name="connsiteY715" fmla="*/ 778714 h 2084191"/>
              <a:gd name="connsiteX716" fmla="*/ 907727 w 2051041"/>
              <a:gd name="connsiteY716" fmla="*/ 815174 h 2084191"/>
              <a:gd name="connsiteX717" fmla="*/ 872355 w 2051041"/>
              <a:gd name="connsiteY717" fmla="*/ 779258 h 2084191"/>
              <a:gd name="connsiteX718" fmla="*/ 907727 w 2051041"/>
              <a:gd name="connsiteY718" fmla="*/ 741710 h 2084191"/>
              <a:gd name="connsiteX719" fmla="*/ 1070979 w 2051041"/>
              <a:gd name="connsiteY719" fmla="*/ 740621 h 2084191"/>
              <a:gd name="connsiteX720" fmla="*/ 1110160 w 2051041"/>
              <a:gd name="connsiteY720" fmla="*/ 779258 h 2084191"/>
              <a:gd name="connsiteX721" fmla="*/ 1070979 w 2051041"/>
              <a:gd name="connsiteY721" fmla="*/ 817894 h 2084191"/>
              <a:gd name="connsiteX722" fmla="*/ 1031799 w 2051041"/>
              <a:gd name="connsiteY722" fmla="*/ 778714 h 2084191"/>
              <a:gd name="connsiteX723" fmla="*/ 1070979 w 2051041"/>
              <a:gd name="connsiteY723" fmla="*/ 740621 h 2084191"/>
              <a:gd name="connsiteX724" fmla="*/ 1233688 w 2051041"/>
              <a:gd name="connsiteY724" fmla="*/ 736268 h 2084191"/>
              <a:gd name="connsiteX725" fmla="*/ 1276134 w 2051041"/>
              <a:gd name="connsiteY725" fmla="*/ 777625 h 2084191"/>
              <a:gd name="connsiteX726" fmla="*/ 1235320 w 2051041"/>
              <a:gd name="connsiteY726" fmla="*/ 820615 h 2084191"/>
              <a:gd name="connsiteX727" fmla="*/ 1192331 w 2051041"/>
              <a:gd name="connsiteY727" fmla="*/ 779258 h 2084191"/>
              <a:gd name="connsiteX728" fmla="*/ 1233688 w 2051041"/>
              <a:gd name="connsiteY728" fmla="*/ 736268 h 2084191"/>
              <a:gd name="connsiteX729" fmla="*/ 1397485 w 2051041"/>
              <a:gd name="connsiteY729" fmla="*/ 735724 h 2084191"/>
              <a:gd name="connsiteX730" fmla="*/ 1441019 w 2051041"/>
              <a:gd name="connsiteY730" fmla="*/ 779802 h 2084191"/>
              <a:gd name="connsiteX731" fmla="*/ 1396397 w 2051041"/>
              <a:gd name="connsiteY731" fmla="*/ 823336 h 2084191"/>
              <a:gd name="connsiteX732" fmla="*/ 1352863 w 2051041"/>
              <a:gd name="connsiteY732" fmla="*/ 779258 h 2084191"/>
              <a:gd name="connsiteX733" fmla="*/ 1397485 w 2051041"/>
              <a:gd name="connsiteY733" fmla="*/ 735724 h 2084191"/>
              <a:gd name="connsiteX734" fmla="*/ 1562371 w 2051041"/>
              <a:gd name="connsiteY734" fmla="*/ 734636 h 2084191"/>
              <a:gd name="connsiteX735" fmla="*/ 1605905 w 2051041"/>
              <a:gd name="connsiteY735" fmla="*/ 779802 h 2084191"/>
              <a:gd name="connsiteX736" fmla="*/ 1560194 w 2051041"/>
              <a:gd name="connsiteY736" fmla="*/ 823881 h 2084191"/>
              <a:gd name="connsiteX737" fmla="*/ 1515572 w 2051041"/>
              <a:gd name="connsiteY737" fmla="*/ 777626 h 2084191"/>
              <a:gd name="connsiteX738" fmla="*/ 1562371 w 2051041"/>
              <a:gd name="connsiteY738" fmla="*/ 734636 h 2084191"/>
              <a:gd name="connsiteX739" fmla="*/ 1724535 w 2051041"/>
              <a:gd name="connsiteY739" fmla="*/ 730827 h 2084191"/>
              <a:gd name="connsiteX740" fmla="*/ 1772422 w 2051041"/>
              <a:gd name="connsiteY740" fmla="*/ 779258 h 2084191"/>
              <a:gd name="connsiteX741" fmla="*/ 1723446 w 2051041"/>
              <a:gd name="connsiteY741" fmla="*/ 826602 h 2084191"/>
              <a:gd name="connsiteX742" fmla="*/ 1676647 w 2051041"/>
              <a:gd name="connsiteY742" fmla="*/ 778714 h 2084191"/>
              <a:gd name="connsiteX743" fmla="*/ 1724535 w 2051041"/>
              <a:gd name="connsiteY743" fmla="*/ 730827 h 2084191"/>
              <a:gd name="connsiteX744" fmla="*/ 1886699 w 2051041"/>
              <a:gd name="connsiteY744" fmla="*/ 730826 h 2084191"/>
              <a:gd name="connsiteX745" fmla="*/ 1935131 w 2051041"/>
              <a:gd name="connsiteY745" fmla="*/ 778713 h 2084191"/>
              <a:gd name="connsiteX746" fmla="*/ 1887244 w 2051041"/>
              <a:gd name="connsiteY746" fmla="*/ 827145 h 2084191"/>
              <a:gd name="connsiteX747" fmla="*/ 1838812 w 2051041"/>
              <a:gd name="connsiteY747" fmla="*/ 778713 h 2084191"/>
              <a:gd name="connsiteX748" fmla="*/ 1886699 w 2051041"/>
              <a:gd name="connsiteY748" fmla="*/ 730826 h 2084191"/>
              <a:gd name="connsiteX749" fmla="*/ 2050496 w 2051041"/>
              <a:gd name="connsiteY749" fmla="*/ 730282 h 2084191"/>
              <a:gd name="connsiteX750" fmla="*/ 2051041 w 2051041"/>
              <a:gd name="connsiteY750" fmla="*/ 730396 h 2084191"/>
              <a:gd name="connsiteX751" fmla="*/ 2051041 w 2051041"/>
              <a:gd name="connsiteY751" fmla="*/ 826942 h 2084191"/>
              <a:gd name="connsiteX752" fmla="*/ 2049952 w 2051041"/>
              <a:gd name="connsiteY752" fmla="*/ 827145 h 2084191"/>
              <a:gd name="connsiteX753" fmla="*/ 2002065 w 2051041"/>
              <a:gd name="connsiteY753" fmla="*/ 778169 h 2084191"/>
              <a:gd name="connsiteX754" fmla="*/ 2050496 w 2051041"/>
              <a:gd name="connsiteY754" fmla="*/ 730282 h 2084191"/>
              <a:gd name="connsiteX755" fmla="*/ 173634 w 2051041"/>
              <a:gd name="connsiteY755" fmla="*/ 685660 h 2084191"/>
              <a:gd name="connsiteX756" fmla="*/ 184518 w 2051041"/>
              <a:gd name="connsiteY756" fmla="*/ 698176 h 2084191"/>
              <a:gd name="connsiteX757" fmla="*/ 172546 w 2051041"/>
              <a:gd name="connsiteY757" fmla="*/ 709059 h 2084191"/>
              <a:gd name="connsiteX758" fmla="*/ 161118 w 2051041"/>
              <a:gd name="connsiteY758" fmla="*/ 697088 h 2084191"/>
              <a:gd name="connsiteX759" fmla="*/ 173634 w 2051041"/>
              <a:gd name="connsiteY759" fmla="*/ 685660 h 2084191"/>
              <a:gd name="connsiteX760" fmla="*/ 335798 w 2051041"/>
              <a:gd name="connsiteY760" fmla="*/ 675320 h 2084191"/>
              <a:gd name="connsiteX761" fmla="*/ 357565 w 2051041"/>
              <a:gd name="connsiteY761" fmla="*/ 696543 h 2084191"/>
              <a:gd name="connsiteX762" fmla="*/ 336342 w 2051041"/>
              <a:gd name="connsiteY762" fmla="*/ 718854 h 2084191"/>
              <a:gd name="connsiteX763" fmla="*/ 315120 w 2051041"/>
              <a:gd name="connsiteY763" fmla="*/ 697631 h 2084191"/>
              <a:gd name="connsiteX764" fmla="*/ 335798 w 2051041"/>
              <a:gd name="connsiteY764" fmla="*/ 675320 h 2084191"/>
              <a:gd name="connsiteX765" fmla="*/ 499051 w 2051041"/>
              <a:gd name="connsiteY765" fmla="*/ 670423 h 2084191"/>
              <a:gd name="connsiteX766" fmla="*/ 526804 w 2051041"/>
              <a:gd name="connsiteY766" fmla="*/ 697088 h 2084191"/>
              <a:gd name="connsiteX767" fmla="*/ 499595 w 2051041"/>
              <a:gd name="connsiteY767" fmla="*/ 724296 h 2084191"/>
              <a:gd name="connsiteX768" fmla="*/ 472930 w 2051041"/>
              <a:gd name="connsiteY768" fmla="*/ 697632 h 2084191"/>
              <a:gd name="connsiteX769" fmla="*/ 499051 w 2051041"/>
              <a:gd name="connsiteY769" fmla="*/ 670423 h 2084191"/>
              <a:gd name="connsiteX770" fmla="*/ 662848 w 2051041"/>
              <a:gd name="connsiteY770" fmla="*/ 665525 h 2084191"/>
              <a:gd name="connsiteX771" fmla="*/ 694954 w 2051041"/>
              <a:gd name="connsiteY771" fmla="*/ 697087 h 2084191"/>
              <a:gd name="connsiteX772" fmla="*/ 663392 w 2051041"/>
              <a:gd name="connsiteY772" fmla="*/ 729194 h 2084191"/>
              <a:gd name="connsiteX773" fmla="*/ 632374 w 2051041"/>
              <a:gd name="connsiteY773" fmla="*/ 698176 h 2084191"/>
              <a:gd name="connsiteX774" fmla="*/ 662848 w 2051041"/>
              <a:gd name="connsiteY774" fmla="*/ 665525 h 2084191"/>
              <a:gd name="connsiteX775" fmla="*/ 825013 w 2051041"/>
              <a:gd name="connsiteY775" fmla="*/ 663349 h 2084191"/>
              <a:gd name="connsiteX776" fmla="*/ 860384 w 2051041"/>
              <a:gd name="connsiteY776" fmla="*/ 697632 h 2084191"/>
              <a:gd name="connsiteX777" fmla="*/ 826101 w 2051041"/>
              <a:gd name="connsiteY777" fmla="*/ 731915 h 2084191"/>
              <a:gd name="connsiteX778" fmla="*/ 791818 w 2051041"/>
              <a:gd name="connsiteY778" fmla="*/ 698176 h 2084191"/>
              <a:gd name="connsiteX779" fmla="*/ 825013 w 2051041"/>
              <a:gd name="connsiteY779" fmla="*/ 663349 h 2084191"/>
              <a:gd name="connsiteX780" fmla="*/ 988809 w 2051041"/>
              <a:gd name="connsiteY780" fmla="*/ 658995 h 2084191"/>
              <a:gd name="connsiteX781" fmla="*/ 1027446 w 2051041"/>
              <a:gd name="connsiteY781" fmla="*/ 697087 h 2084191"/>
              <a:gd name="connsiteX782" fmla="*/ 989353 w 2051041"/>
              <a:gd name="connsiteY782" fmla="*/ 735723 h 2084191"/>
              <a:gd name="connsiteX783" fmla="*/ 950717 w 2051041"/>
              <a:gd name="connsiteY783" fmla="*/ 697631 h 2084191"/>
              <a:gd name="connsiteX784" fmla="*/ 988809 w 2051041"/>
              <a:gd name="connsiteY784" fmla="*/ 658995 h 2084191"/>
              <a:gd name="connsiteX785" fmla="*/ 1152607 w 2051041"/>
              <a:gd name="connsiteY785" fmla="*/ 655729 h 2084191"/>
              <a:gd name="connsiteX786" fmla="*/ 1195052 w 2051041"/>
              <a:gd name="connsiteY786" fmla="*/ 697087 h 2084191"/>
              <a:gd name="connsiteX787" fmla="*/ 1153151 w 2051041"/>
              <a:gd name="connsiteY787" fmla="*/ 739533 h 2084191"/>
              <a:gd name="connsiteX788" fmla="*/ 1110705 w 2051041"/>
              <a:gd name="connsiteY788" fmla="*/ 697631 h 2084191"/>
              <a:gd name="connsiteX789" fmla="*/ 1152607 w 2051041"/>
              <a:gd name="connsiteY789" fmla="*/ 655729 h 2084191"/>
              <a:gd name="connsiteX790" fmla="*/ 1316948 w 2051041"/>
              <a:gd name="connsiteY790" fmla="*/ 653554 h 2084191"/>
              <a:gd name="connsiteX791" fmla="*/ 1359937 w 2051041"/>
              <a:gd name="connsiteY791" fmla="*/ 697632 h 2084191"/>
              <a:gd name="connsiteX792" fmla="*/ 1315315 w 2051041"/>
              <a:gd name="connsiteY792" fmla="*/ 740622 h 2084191"/>
              <a:gd name="connsiteX793" fmla="*/ 1271781 w 2051041"/>
              <a:gd name="connsiteY793" fmla="*/ 696544 h 2084191"/>
              <a:gd name="connsiteX794" fmla="*/ 1316948 w 2051041"/>
              <a:gd name="connsiteY794" fmla="*/ 653554 h 2084191"/>
              <a:gd name="connsiteX795" fmla="*/ 1479112 w 2051041"/>
              <a:gd name="connsiteY795" fmla="*/ 651921 h 2084191"/>
              <a:gd name="connsiteX796" fmla="*/ 1524823 w 2051041"/>
              <a:gd name="connsiteY796" fmla="*/ 697088 h 2084191"/>
              <a:gd name="connsiteX797" fmla="*/ 1479112 w 2051041"/>
              <a:gd name="connsiteY797" fmla="*/ 742254 h 2084191"/>
              <a:gd name="connsiteX798" fmla="*/ 1433945 w 2051041"/>
              <a:gd name="connsiteY798" fmla="*/ 697088 h 2084191"/>
              <a:gd name="connsiteX799" fmla="*/ 1479112 w 2051041"/>
              <a:gd name="connsiteY799" fmla="*/ 651921 h 2084191"/>
              <a:gd name="connsiteX800" fmla="*/ 1642909 w 2051041"/>
              <a:gd name="connsiteY800" fmla="*/ 649744 h 2084191"/>
              <a:gd name="connsiteX801" fmla="*/ 1690796 w 2051041"/>
              <a:gd name="connsiteY801" fmla="*/ 697087 h 2084191"/>
              <a:gd name="connsiteX802" fmla="*/ 1642909 w 2051041"/>
              <a:gd name="connsiteY802" fmla="*/ 745519 h 2084191"/>
              <a:gd name="connsiteX803" fmla="*/ 1594477 w 2051041"/>
              <a:gd name="connsiteY803" fmla="*/ 697632 h 2084191"/>
              <a:gd name="connsiteX804" fmla="*/ 1642909 w 2051041"/>
              <a:gd name="connsiteY804" fmla="*/ 649744 h 2084191"/>
              <a:gd name="connsiteX805" fmla="*/ 1805617 w 2051041"/>
              <a:gd name="connsiteY805" fmla="*/ 648112 h 2084191"/>
              <a:gd name="connsiteX806" fmla="*/ 1854593 w 2051041"/>
              <a:gd name="connsiteY806" fmla="*/ 698176 h 2084191"/>
              <a:gd name="connsiteX807" fmla="*/ 1805073 w 2051041"/>
              <a:gd name="connsiteY807" fmla="*/ 746607 h 2084191"/>
              <a:gd name="connsiteX808" fmla="*/ 1756097 w 2051041"/>
              <a:gd name="connsiteY808" fmla="*/ 697087 h 2084191"/>
              <a:gd name="connsiteX809" fmla="*/ 1805617 w 2051041"/>
              <a:gd name="connsiteY809" fmla="*/ 648112 h 2084191"/>
              <a:gd name="connsiteX810" fmla="*/ 1969414 w 2051041"/>
              <a:gd name="connsiteY810" fmla="*/ 647023 h 2084191"/>
              <a:gd name="connsiteX811" fmla="*/ 2018934 w 2051041"/>
              <a:gd name="connsiteY811" fmla="*/ 698176 h 2084191"/>
              <a:gd name="connsiteX812" fmla="*/ 1968326 w 2051041"/>
              <a:gd name="connsiteY812" fmla="*/ 746063 h 2084191"/>
              <a:gd name="connsiteX813" fmla="*/ 1918806 w 2051041"/>
              <a:gd name="connsiteY813" fmla="*/ 697087 h 2084191"/>
              <a:gd name="connsiteX814" fmla="*/ 1969414 w 2051041"/>
              <a:gd name="connsiteY814" fmla="*/ 647023 h 2084191"/>
              <a:gd name="connsiteX815" fmla="*/ 90919 w 2051041"/>
              <a:gd name="connsiteY815" fmla="*/ 606754 h 2084191"/>
              <a:gd name="connsiteX816" fmla="*/ 99626 w 2051041"/>
              <a:gd name="connsiteY816" fmla="*/ 615460 h 2084191"/>
              <a:gd name="connsiteX817" fmla="*/ 92007 w 2051041"/>
              <a:gd name="connsiteY817" fmla="*/ 627976 h 2084191"/>
              <a:gd name="connsiteX818" fmla="*/ 82756 w 2051041"/>
              <a:gd name="connsiteY818" fmla="*/ 616005 h 2084191"/>
              <a:gd name="connsiteX819" fmla="*/ 90919 w 2051041"/>
              <a:gd name="connsiteY819" fmla="*/ 606754 h 2084191"/>
              <a:gd name="connsiteX820" fmla="*/ 254172 w 2051041"/>
              <a:gd name="connsiteY820" fmla="*/ 598047 h 2084191"/>
              <a:gd name="connsiteX821" fmla="*/ 272674 w 2051041"/>
              <a:gd name="connsiteY821" fmla="*/ 614917 h 2084191"/>
              <a:gd name="connsiteX822" fmla="*/ 255260 w 2051041"/>
              <a:gd name="connsiteY822" fmla="*/ 633419 h 2084191"/>
              <a:gd name="connsiteX823" fmla="*/ 236758 w 2051041"/>
              <a:gd name="connsiteY823" fmla="*/ 616005 h 2084191"/>
              <a:gd name="connsiteX824" fmla="*/ 254172 w 2051041"/>
              <a:gd name="connsiteY824" fmla="*/ 598047 h 2084191"/>
              <a:gd name="connsiteX825" fmla="*/ 418513 w 2051041"/>
              <a:gd name="connsiteY825" fmla="*/ 590429 h 2084191"/>
              <a:gd name="connsiteX826" fmla="*/ 443001 w 2051041"/>
              <a:gd name="connsiteY826" fmla="*/ 614917 h 2084191"/>
              <a:gd name="connsiteX827" fmla="*/ 419058 w 2051041"/>
              <a:gd name="connsiteY827" fmla="*/ 640493 h 2084191"/>
              <a:gd name="connsiteX828" fmla="*/ 392937 w 2051041"/>
              <a:gd name="connsiteY828" fmla="*/ 616005 h 2084191"/>
              <a:gd name="connsiteX829" fmla="*/ 418513 w 2051041"/>
              <a:gd name="connsiteY829" fmla="*/ 590429 h 2084191"/>
              <a:gd name="connsiteX830" fmla="*/ 581222 w 2051041"/>
              <a:gd name="connsiteY830" fmla="*/ 587163 h 2084191"/>
              <a:gd name="connsiteX831" fmla="*/ 610063 w 2051041"/>
              <a:gd name="connsiteY831" fmla="*/ 616549 h 2084191"/>
              <a:gd name="connsiteX832" fmla="*/ 580677 w 2051041"/>
              <a:gd name="connsiteY832" fmla="*/ 645390 h 2084191"/>
              <a:gd name="connsiteX833" fmla="*/ 551836 w 2051041"/>
              <a:gd name="connsiteY833" fmla="*/ 615461 h 2084191"/>
              <a:gd name="connsiteX834" fmla="*/ 581222 w 2051041"/>
              <a:gd name="connsiteY834" fmla="*/ 587163 h 2084191"/>
              <a:gd name="connsiteX835" fmla="*/ 743930 w 2051041"/>
              <a:gd name="connsiteY835" fmla="*/ 582266 h 2084191"/>
              <a:gd name="connsiteX836" fmla="*/ 779301 w 2051041"/>
              <a:gd name="connsiteY836" fmla="*/ 616005 h 2084191"/>
              <a:gd name="connsiteX837" fmla="*/ 745563 w 2051041"/>
              <a:gd name="connsiteY837" fmla="*/ 649744 h 2084191"/>
              <a:gd name="connsiteX838" fmla="*/ 711824 w 2051041"/>
              <a:gd name="connsiteY838" fmla="*/ 616549 h 2084191"/>
              <a:gd name="connsiteX839" fmla="*/ 743930 w 2051041"/>
              <a:gd name="connsiteY839" fmla="*/ 582266 h 2084191"/>
              <a:gd name="connsiteX840" fmla="*/ 907183 w 2051041"/>
              <a:gd name="connsiteY840" fmla="*/ 577913 h 2084191"/>
              <a:gd name="connsiteX841" fmla="*/ 945276 w 2051041"/>
              <a:gd name="connsiteY841" fmla="*/ 615461 h 2084191"/>
              <a:gd name="connsiteX842" fmla="*/ 907727 w 2051041"/>
              <a:gd name="connsiteY842" fmla="*/ 654098 h 2084191"/>
              <a:gd name="connsiteX843" fmla="*/ 869091 w 2051041"/>
              <a:gd name="connsiteY843" fmla="*/ 616006 h 2084191"/>
              <a:gd name="connsiteX844" fmla="*/ 907183 w 2051041"/>
              <a:gd name="connsiteY844" fmla="*/ 577913 h 2084191"/>
              <a:gd name="connsiteX845" fmla="*/ 1069891 w 2051041"/>
              <a:gd name="connsiteY845" fmla="*/ 574648 h 2084191"/>
              <a:gd name="connsiteX846" fmla="*/ 1111248 w 2051041"/>
              <a:gd name="connsiteY846" fmla="*/ 615461 h 2084191"/>
              <a:gd name="connsiteX847" fmla="*/ 1070435 w 2051041"/>
              <a:gd name="connsiteY847" fmla="*/ 656274 h 2084191"/>
              <a:gd name="connsiteX848" fmla="*/ 1029622 w 2051041"/>
              <a:gd name="connsiteY848" fmla="*/ 614917 h 2084191"/>
              <a:gd name="connsiteX849" fmla="*/ 1069891 w 2051041"/>
              <a:gd name="connsiteY849" fmla="*/ 574648 h 2084191"/>
              <a:gd name="connsiteX850" fmla="*/ 1235321 w 2051041"/>
              <a:gd name="connsiteY850" fmla="*/ 572472 h 2084191"/>
              <a:gd name="connsiteX851" fmla="*/ 1277222 w 2051041"/>
              <a:gd name="connsiteY851" fmla="*/ 616550 h 2084191"/>
              <a:gd name="connsiteX852" fmla="*/ 1233688 w 2051041"/>
              <a:gd name="connsiteY852" fmla="*/ 660084 h 2084191"/>
              <a:gd name="connsiteX853" fmla="*/ 1190154 w 2051041"/>
              <a:gd name="connsiteY853" fmla="*/ 614917 h 2084191"/>
              <a:gd name="connsiteX854" fmla="*/ 1235321 w 2051041"/>
              <a:gd name="connsiteY854" fmla="*/ 572472 h 2084191"/>
              <a:gd name="connsiteX855" fmla="*/ 1397485 w 2051041"/>
              <a:gd name="connsiteY855" fmla="*/ 569206 h 2084191"/>
              <a:gd name="connsiteX856" fmla="*/ 1443196 w 2051041"/>
              <a:gd name="connsiteY856" fmla="*/ 616005 h 2084191"/>
              <a:gd name="connsiteX857" fmla="*/ 1396941 w 2051041"/>
              <a:gd name="connsiteY857" fmla="*/ 661172 h 2084191"/>
              <a:gd name="connsiteX858" fmla="*/ 1351775 w 2051041"/>
              <a:gd name="connsiteY858" fmla="*/ 614373 h 2084191"/>
              <a:gd name="connsiteX859" fmla="*/ 1397485 w 2051041"/>
              <a:gd name="connsiteY859" fmla="*/ 569206 h 2084191"/>
              <a:gd name="connsiteX860" fmla="*/ 1560738 w 2051041"/>
              <a:gd name="connsiteY860" fmla="*/ 567029 h 2084191"/>
              <a:gd name="connsiteX861" fmla="*/ 1609714 w 2051041"/>
              <a:gd name="connsiteY861" fmla="*/ 615461 h 2084191"/>
              <a:gd name="connsiteX862" fmla="*/ 1561283 w 2051041"/>
              <a:gd name="connsiteY862" fmla="*/ 663892 h 2084191"/>
              <a:gd name="connsiteX863" fmla="*/ 1512851 w 2051041"/>
              <a:gd name="connsiteY863" fmla="*/ 616005 h 2084191"/>
              <a:gd name="connsiteX864" fmla="*/ 1560738 w 2051041"/>
              <a:gd name="connsiteY864" fmla="*/ 567029 h 2084191"/>
              <a:gd name="connsiteX865" fmla="*/ 1725624 w 2051041"/>
              <a:gd name="connsiteY865" fmla="*/ 565397 h 2084191"/>
              <a:gd name="connsiteX866" fmla="*/ 1774599 w 2051041"/>
              <a:gd name="connsiteY866" fmla="*/ 616005 h 2084191"/>
              <a:gd name="connsiteX867" fmla="*/ 1723447 w 2051041"/>
              <a:gd name="connsiteY867" fmla="*/ 664981 h 2084191"/>
              <a:gd name="connsiteX868" fmla="*/ 1674471 w 2051041"/>
              <a:gd name="connsiteY868" fmla="*/ 615461 h 2084191"/>
              <a:gd name="connsiteX869" fmla="*/ 1725624 w 2051041"/>
              <a:gd name="connsiteY869" fmla="*/ 565397 h 2084191"/>
              <a:gd name="connsiteX870" fmla="*/ 1886699 w 2051041"/>
              <a:gd name="connsiteY870" fmla="*/ 564853 h 2084191"/>
              <a:gd name="connsiteX871" fmla="*/ 1938396 w 2051041"/>
              <a:gd name="connsiteY871" fmla="*/ 614917 h 2084191"/>
              <a:gd name="connsiteX872" fmla="*/ 1887787 w 2051041"/>
              <a:gd name="connsiteY872" fmla="*/ 665525 h 2084191"/>
              <a:gd name="connsiteX873" fmla="*/ 1837179 w 2051041"/>
              <a:gd name="connsiteY873" fmla="*/ 615461 h 2084191"/>
              <a:gd name="connsiteX874" fmla="*/ 1886699 w 2051041"/>
              <a:gd name="connsiteY874" fmla="*/ 564853 h 2084191"/>
              <a:gd name="connsiteX875" fmla="*/ 2050496 w 2051041"/>
              <a:gd name="connsiteY875" fmla="*/ 564852 h 2084191"/>
              <a:gd name="connsiteX876" fmla="*/ 2051041 w 2051041"/>
              <a:gd name="connsiteY876" fmla="*/ 564962 h 2084191"/>
              <a:gd name="connsiteX877" fmla="*/ 2051041 w 2051041"/>
              <a:gd name="connsiteY877" fmla="*/ 665899 h 2084191"/>
              <a:gd name="connsiteX878" fmla="*/ 2049952 w 2051041"/>
              <a:gd name="connsiteY878" fmla="*/ 666069 h 2084191"/>
              <a:gd name="connsiteX879" fmla="*/ 1999344 w 2051041"/>
              <a:gd name="connsiteY879" fmla="*/ 615460 h 2084191"/>
              <a:gd name="connsiteX880" fmla="*/ 2050496 w 2051041"/>
              <a:gd name="connsiteY880" fmla="*/ 564852 h 2084191"/>
              <a:gd name="connsiteX881" fmla="*/ 173090 w 2051041"/>
              <a:gd name="connsiteY881" fmla="*/ 517509 h 2084191"/>
              <a:gd name="connsiteX882" fmla="*/ 189959 w 2051041"/>
              <a:gd name="connsiteY882" fmla="*/ 533834 h 2084191"/>
              <a:gd name="connsiteX883" fmla="*/ 173634 w 2051041"/>
              <a:gd name="connsiteY883" fmla="*/ 550160 h 2084191"/>
              <a:gd name="connsiteX884" fmla="*/ 157308 w 2051041"/>
              <a:gd name="connsiteY884" fmla="*/ 534923 h 2084191"/>
              <a:gd name="connsiteX885" fmla="*/ 173090 w 2051041"/>
              <a:gd name="connsiteY885" fmla="*/ 517509 h 2084191"/>
              <a:gd name="connsiteX886" fmla="*/ 335798 w 2051041"/>
              <a:gd name="connsiteY886" fmla="*/ 511523 h 2084191"/>
              <a:gd name="connsiteX887" fmla="*/ 358654 w 2051041"/>
              <a:gd name="connsiteY887" fmla="*/ 533834 h 2084191"/>
              <a:gd name="connsiteX888" fmla="*/ 336343 w 2051041"/>
              <a:gd name="connsiteY888" fmla="*/ 556689 h 2084191"/>
              <a:gd name="connsiteX889" fmla="*/ 312943 w 2051041"/>
              <a:gd name="connsiteY889" fmla="*/ 534378 h 2084191"/>
              <a:gd name="connsiteX890" fmla="*/ 335798 w 2051041"/>
              <a:gd name="connsiteY890" fmla="*/ 511523 h 2084191"/>
              <a:gd name="connsiteX891" fmla="*/ 500139 w 2051041"/>
              <a:gd name="connsiteY891" fmla="*/ 506626 h 2084191"/>
              <a:gd name="connsiteX892" fmla="*/ 527348 w 2051041"/>
              <a:gd name="connsiteY892" fmla="*/ 535467 h 2084191"/>
              <a:gd name="connsiteX893" fmla="*/ 497963 w 2051041"/>
              <a:gd name="connsiteY893" fmla="*/ 561587 h 2084191"/>
              <a:gd name="connsiteX894" fmla="*/ 471842 w 2051041"/>
              <a:gd name="connsiteY894" fmla="*/ 533290 h 2084191"/>
              <a:gd name="connsiteX895" fmla="*/ 500139 w 2051041"/>
              <a:gd name="connsiteY895" fmla="*/ 506626 h 2084191"/>
              <a:gd name="connsiteX896" fmla="*/ 662304 w 2051041"/>
              <a:gd name="connsiteY896" fmla="*/ 500639 h 2084191"/>
              <a:gd name="connsiteX897" fmla="*/ 696042 w 2051041"/>
              <a:gd name="connsiteY897" fmla="*/ 533290 h 2084191"/>
              <a:gd name="connsiteX898" fmla="*/ 663392 w 2051041"/>
              <a:gd name="connsiteY898" fmla="*/ 566485 h 2084191"/>
              <a:gd name="connsiteX899" fmla="*/ 630197 w 2051041"/>
              <a:gd name="connsiteY899" fmla="*/ 534378 h 2084191"/>
              <a:gd name="connsiteX900" fmla="*/ 662304 w 2051041"/>
              <a:gd name="connsiteY900" fmla="*/ 500639 h 2084191"/>
              <a:gd name="connsiteX901" fmla="*/ 825557 w 2051041"/>
              <a:gd name="connsiteY901" fmla="*/ 496830 h 2084191"/>
              <a:gd name="connsiteX902" fmla="*/ 863649 w 2051041"/>
              <a:gd name="connsiteY902" fmla="*/ 534923 h 2084191"/>
              <a:gd name="connsiteX903" fmla="*/ 825557 w 2051041"/>
              <a:gd name="connsiteY903" fmla="*/ 571383 h 2084191"/>
              <a:gd name="connsiteX904" fmla="*/ 788553 w 2051041"/>
              <a:gd name="connsiteY904" fmla="*/ 534379 h 2084191"/>
              <a:gd name="connsiteX905" fmla="*/ 825557 w 2051041"/>
              <a:gd name="connsiteY905" fmla="*/ 496830 h 2084191"/>
              <a:gd name="connsiteX906" fmla="*/ 989898 w 2051041"/>
              <a:gd name="connsiteY906" fmla="*/ 494110 h 2084191"/>
              <a:gd name="connsiteX907" fmla="*/ 1029078 w 2051041"/>
              <a:gd name="connsiteY907" fmla="*/ 534923 h 2084191"/>
              <a:gd name="connsiteX908" fmla="*/ 989353 w 2051041"/>
              <a:gd name="connsiteY908" fmla="*/ 574104 h 2084191"/>
              <a:gd name="connsiteX909" fmla="*/ 949629 w 2051041"/>
              <a:gd name="connsiteY909" fmla="*/ 533835 h 2084191"/>
              <a:gd name="connsiteX910" fmla="*/ 989898 w 2051041"/>
              <a:gd name="connsiteY910" fmla="*/ 494110 h 2084191"/>
              <a:gd name="connsiteX911" fmla="*/ 1152062 w 2051041"/>
              <a:gd name="connsiteY911" fmla="*/ 490301 h 2084191"/>
              <a:gd name="connsiteX912" fmla="*/ 1196140 w 2051041"/>
              <a:gd name="connsiteY912" fmla="*/ 533835 h 2084191"/>
              <a:gd name="connsiteX913" fmla="*/ 1152606 w 2051041"/>
              <a:gd name="connsiteY913" fmla="*/ 577369 h 2084191"/>
              <a:gd name="connsiteX914" fmla="*/ 1109072 w 2051041"/>
              <a:gd name="connsiteY914" fmla="*/ 534379 h 2084191"/>
              <a:gd name="connsiteX915" fmla="*/ 1152062 w 2051041"/>
              <a:gd name="connsiteY915" fmla="*/ 490301 h 2084191"/>
              <a:gd name="connsiteX916" fmla="*/ 1316947 w 2051041"/>
              <a:gd name="connsiteY916" fmla="*/ 489212 h 2084191"/>
              <a:gd name="connsiteX917" fmla="*/ 1361570 w 2051041"/>
              <a:gd name="connsiteY917" fmla="*/ 534923 h 2084191"/>
              <a:gd name="connsiteX918" fmla="*/ 1315859 w 2051041"/>
              <a:gd name="connsiteY918" fmla="*/ 580090 h 2084191"/>
              <a:gd name="connsiteX919" fmla="*/ 1270693 w 2051041"/>
              <a:gd name="connsiteY919" fmla="*/ 533835 h 2084191"/>
              <a:gd name="connsiteX920" fmla="*/ 1316947 w 2051041"/>
              <a:gd name="connsiteY920" fmla="*/ 489212 h 2084191"/>
              <a:gd name="connsiteX921" fmla="*/ 1479112 w 2051041"/>
              <a:gd name="connsiteY921" fmla="*/ 484315 h 2084191"/>
              <a:gd name="connsiteX922" fmla="*/ 1528087 w 2051041"/>
              <a:gd name="connsiteY922" fmla="*/ 533835 h 2084191"/>
              <a:gd name="connsiteX923" fmla="*/ 1479656 w 2051041"/>
              <a:gd name="connsiteY923" fmla="*/ 582267 h 2084191"/>
              <a:gd name="connsiteX924" fmla="*/ 1431224 w 2051041"/>
              <a:gd name="connsiteY924" fmla="*/ 533835 h 2084191"/>
              <a:gd name="connsiteX925" fmla="*/ 1479112 w 2051041"/>
              <a:gd name="connsiteY925" fmla="*/ 484315 h 2084191"/>
              <a:gd name="connsiteX926" fmla="*/ 1643452 w 2051041"/>
              <a:gd name="connsiteY926" fmla="*/ 484314 h 2084191"/>
              <a:gd name="connsiteX927" fmla="*/ 1692973 w 2051041"/>
              <a:gd name="connsiteY927" fmla="*/ 534923 h 2084191"/>
              <a:gd name="connsiteX928" fmla="*/ 1641276 w 2051041"/>
              <a:gd name="connsiteY928" fmla="*/ 583898 h 2084191"/>
              <a:gd name="connsiteX929" fmla="*/ 1592300 w 2051041"/>
              <a:gd name="connsiteY929" fmla="*/ 532202 h 2084191"/>
              <a:gd name="connsiteX930" fmla="*/ 1643452 w 2051041"/>
              <a:gd name="connsiteY930" fmla="*/ 484314 h 2084191"/>
              <a:gd name="connsiteX931" fmla="*/ 1806162 w 2051041"/>
              <a:gd name="connsiteY931" fmla="*/ 481594 h 2084191"/>
              <a:gd name="connsiteX932" fmla="*/ 1857858 w 2051041"/>
              <a:gd name="connsiteY932" fmla="*/ 536011 h 2084191"/>
              <a:gd name="connsiteX933" fmla="*/ 1803441 w 2051041"/>
              <a:gd name="connsiteY933" fmla="*/ 586075 h 2084191"/>
              <a:gd name="connsiteX934" fmla="*/ 1753377 w 2051041"/>
              <a:gd name="connsiteY934" fmla="*/ 533290 h 2084191"/>
              <a:gd name="connsiteX935" fmla="*/ 1806162 w 2051041"/>
              <a:gd name="connsiteY935" fmla="*/ 481594 h 2084191"/>
              <a:gd name="connsiteX936" fmla="*/ 1968326 w 2051041"/>
              <a:gd name="connsiteY936" fmla="*/ 480505 h 2084191"/>
              <a:gd name="connsiteX937" fmla="*/ 2022200 w 2051041"/>
              <a:gd name="connsiteY937" fmla="*/ 534379 h 2084191"/>
              <a:gd name="connsiteX938" fmla="*/ 1969415 w 2051041"/>
              <a:gd name="connsiteY938" fmla="*/ 588252 h 2084191"/>
              <a:gd name="connsiteX939" fmla="*/ 1915541 w 2051041"/>
              <a:gd name="connsiteY939" fmla="*/ 534923 h 2084191"/>
              <a:gd name="connsiteX940" fmla="*/ 1968326 w 2051041"/>
              <a:gd name="connsiteY940" fmla="*/ 480505 h 2084191"/>
              <a:gd name="connsiteX941" fmla="*/ 91464 w 2051041"/>
              <a:gd name="connsiteY941" fmla="*/ 440780 h 2084191"/>
              <a:gd name="connsiteX942" fmla="*/ 102891 w 2051041"/>
              <a:gd name="connsiteY942" fmla="*/ 451664 h 2084191"/>
              <a:gd name="connsiteX943" fmla="*/ 92008 w 2051041"/>
              <a:gd name="connsiteY943" fmla="*/ 464179 h 2084191"/>
              <a:gd name="connsiteX944" fmla="*/ 80036 w 2051041"/>
              <a:gd name="connsiteY944" fmla="*/ 452752 h 2084191"/>
              <a:gd name="connsiteX945" fmla="*/ 91464 w 2051041"/>
              <a:gd name="connsiteY945" fmla="*/ 440780 h 2084191"/>
              <a:gd name="connsiteX946" fmla="*/ 254172 w 2051041"/>
              <a:gd name="connsiteY946" fmla="*/ 430441 h 2084191"/>
              <a:gd name="connsiteX947" fmla="*/ 275939 w 2051041"/>
              <a:gd name="connsiteY947" fmla="*/ 452208 h 2084191"/>
              <a:gd name="connsiteX948" fmla="*/ 254716 w 2051041"/>
              <a:gd name="connsiteY948" fmla="*/ 473975 h 2084191"/>
              <a:gd name="connsiteX949" fmla="*/ 232405 w 2051041"/>
              <a:gd name="connsiteY949" fmla="*/ 452752 h 2084191"/>
              <a:gd name="connsiteX950" fmla="*/ 254172 w 2051041"/>
              <a:gd name="connsiteY950" fmla="*/ 430441 h 2084191"/>
              <a:gd name="connsiteX951" fmla="*/ 417969 w 2051041"/>
              <a:gd name="connsiteY951" fmla="*/ 424999 h 2084191"/>
              <a:gd name="connsiteX952" fmla="*/ 444634 w 2051041"/>
              <a:gd name="connsiteY952" fmla="*/ 452752 h 2084191"/>
              <a:gd name="connsiteX953" fmla="*/ 417425 w 2051041"/>
              <a:gd name="connsiteY953" fmla="*/ 479417 h 2084191"/>
              <a:gd name="connsiteX954" fmla="*/ 390760 w 2051041"/>
              <a:gd name="connsiteY954" fmla="*/ 452208 h 2084191"/>
              <a:gd name="connsiteX955" fmla="*/ 417969 w 2051041"/>
              <a:gd name="connsiteY955" fmla="*/ 424999 h 2084191"/>
              <a:gd name="connsiteX956" fmla="*/ 580677 w 2051041"/>
              <a:gd name="connsiteY956" fmla="*/ 419558 h 2084191"/>
              <a:gd name="connsiteX957" fmla="*/ 612783 w 2051041"/>
              <a:gd name="connsiteY957" fmla="*/ 452208 h 2084191"/>
              <a:gd name="connsiteX958" fmla="*/ 581221 w 2051041"/>
              <a:gd name="connsiteY958" fmla="*/ 484315 h 2084191"/>
              <a:gd name="connsiteX959" fmla="*/ 549115 w 2051041"/>
              <a:gd name="connsiteY959" fmla="*/ 452208 h 2084191"/>
              <a:gd name="connsiteX960" fmla="*/ 580677 w 2051041"/>
              <a:gd name="connsiteY960" fmla="*/ 419558 h 2084191"/>
              <a:gd name="connsiteX961" fmla="*/ 743931 w 2051041"/>
              <a:gd name="connsiteY961" fmla="*/ 415748 h 2084191"/>
              <a:gd name="connsiteX962" fmla="*/ 780390 w 2051041"/>
              <a:gd name="connsiteY962" fmla="*/ 452208 h 2084191"/>
              <a:gd name="connsiteX963" fmla="*/ 744475 w 2051041"/>
              <a:gd name="connsiteY963" fmla="*/ 489212 h 2084191"/>
              <a:gd name="connsiteX964" fmla="*/ 708559 w 2051041"/>
              <a:gd name="connsiteY964" fmla="*/ 453840 h 2084191"/>
              <a:gd name="connsiteX965" fmla="*/ 743931 w 2051041"/>
              <a:gd name="connsiteY965" fmla="*/ 415748 h 2084191"/>
              <a:gd name="connsiteX966" fmla="*/ 908271 w 2051041"/>
              <a:gd name="connsiteY966" fmla="*/ 414116 h 2084191"/>
              <a:gd name="connsiteX967" fmla="*/ 946363 w 2051041"/>
              <a:gd name="connsiteY967" fmla="*/ 453296 h 2084191"/>
              <a:gd name="connsiteX968" fmla="*/ 906638 w 2051041"/>
              <a:gd name="connsiteY968" fmla="*/ 491933 h 2084191"/>
              <a:gd name="connsiteX969" fmla="*/ 868546 w 2051041"/>
              <a:gd name="connsiteY969" fmla="*/ 452208 h 2084191"/>
              <a:gd name="connsiteX970" fmla="*/ 908271 w 2051041"/>
              <a:gd name="connsiteY970" fmla="*/ 414116 h 2084191"/>
              <a:gd name="connsiteX971" fmla="*/ 1072068 w 2051041"/>
              <a:gd name="connsiteY971" fmla="*/ 409218 h 2084191"/>
              <a:gd name="connsiteX972" fmla="*/ 1113970 w 2051041"/>
              <a:gd name="connsiteY972" fmla="*/ 452752 h 2084191"/>
              <a:gd name="connsiteX973" fmla="*/ 1070436 w 2051041"/>
              <a:gd name="connsiteY973" fmla="*/ 495198 h 2084191"/>
              <a:gd name="connsiteX974" fmla="*/ 1028534 w 2051041"/>
              <a:gd name="connsiteY974" fmla="*/ 451120 h 2084191"/>
              <a:gd name="connsiteX975" fmla="*/ 1072068 w 2051041"/>
              <a:gd name="connsiteY975" fmla="*/ 409218 h 2084191"/>
              <a:gd name="connsiteX976" fmla="*/ 1235865 w 2051041"/>
              <a:gd name="connsiteY976" fmla="*/ 408130 h 2084191"/>
              <a:gd name="connsiteX977" fmla="*/ 1279400 w 2051041"/>
              <a:gd name="connsiteY977" fmla="*/ 453296 h 2084191"/>
              <a:gd name="connsiteX978" fmla="*/ 1233689 w 2051041"/>
              <a:gd name="connsiteY978" fmla="*/ 497374 h 2084191"/>
              <a:gd name="connsiteX979" fmla="*/ 1189611 w 2051041"/>
              <a:gd name="connsiteY979" fmla="*/ 451664 h 2084191"/>
              <a:gd name="connsiteX980" fmla="*/ 1235865 w 2051041"/>
              <a:gd name="connsiteY980" fmla="*/ 408130 h 2084191"/>
              <a:gd name="connsiteX981" fmla="*/ 1396941 w 2051041"/>
              <a:gd name="connsiteY981" fmla="*/ 403776 h 2084191"/>
              <a:gd name="connsiteX982" fmla="*/ 1446461 w 2051041"/>
              <a:gd name="connsiteY982" fmla="*/ 450575 h 2084191"/>
              <a:gd name="connsiteX983" fmla="*/ 1399118 w 2051041"/>
              <a:gd name="connsiteY983" fmla="*/ 500640 h 2084191"/>
              <a:gd name="connsiteX984" fmla="*/ 1349598 w 2051041"/>
              <a:gd name="connsiteY984" fmla="*/ 453296 h 2084191"/>
              <a:gd name="connsiteX985" fmla="*/ 1396941 w 2051041"/>
              <a:gd name="connsiteY985" fmla="*/ 403776 h 2084191"/>
              <a:gd name="connsiteX986" fmla="*/ 1560738 w 2051041"/>
              <a:gd name="connsiteY986" fmla="*/ 402144 h 2084191"/>
              <a:gd name="connsiteX987" fmla="*/ 1611347 w 2051041"/>
              <a:gd name="connsiteY987" fmla="*/ 453297 h 2084191"/>
              <a:gd name="connsiteX988" fmla="*/ 1560194 w 2051041"/>
              <a:gd name="connsiteY988" fmla="*/ 502272 h 2084191"/>
              <a:gd name="connsiteX989" fmla="*/ 1511218 w 2051041"/>
              <a:gd name="connsiteY989" fmla="*/ 451664 h 2084191"/>
              <a:gd name="connsiteX990" fmla="*/ 1560738 w 2051041"/>
              <a:gd name="connsiteY990" fmla="*/ 402144 h 2084191"/>
              <a:gd name="connsiteX991" fmla="*/ 1723991 w 2051041"/>
              <a:gd name="connsiteY991" fmla="*/ 399423 h 2084191"/>
              <a:gd name="connsiteX992" fmla="*/ 1776776 w 2051041"/>
              <a:gd name="connsiteY992" fmla="*/ 452752 h 2084191"/>
              <a:gd name="connsiteX993" fmla="*/ 1725079 w 2051041"/>
              <a:gd name="connsiteY993" fmla="*/ 504993 h 2084191"/>
              <a:gd name="connsiteX994" fmla="*/ 1671750 w 2051041"/>
              <a:gd name="connsiteY994" fmla="*/ 452752 h 2084191"/>
              <a:gd name="connsiteX995" fmla="*/ 1723991 w 2051041"/>
              <a:gd name="connsiteY995" fmla="*/ 399423 h 2084191"/>
              <a:gd name="connsiteX996" fmla="*/ 2051040 w 2051041"/>
              <a:gd name="connsiteY996" fmla="*/ 398335 h 2084191"/>
              <a:gd name="connsiteX997" fmla="*/ 2051041 w 2051041"/>
              <a:gd name="connsiteY997" fmla="*/ 398335 h 2084191"/>
              <a:gd name="connsiteX998" fmla="*/ 2051041 w 2051041"/>
              <a:gd name="connsiteY998" fmla="*/ 506936 h 2084191"/>
              <a:gd name="connsiteX999" fmla="*/ 2049952 w 2051041"/>
              <a:gd name="connsiteY999" fmla="*/ 507170 h 2084191"/>
              <a:gd name="connsiteX1000" fmla="*/ 1995534 w 2051041"/>
              <a:gd name="connsiteY1000" fmla="*/ 452208 h 2084191"/>
              <a:gd name="connsiteX1001" fmla="*/ 2051040 w 2051041"/>
              <a:gd name="connsiteY1001" fmla="*/ 398335 h 2084191"/>
              <a:gd name="connsiteX1002" fmla="*/ 1888332 w 2051041"/>
              <a:gd name="connsiteY1002" fmla="*/ 398335 h 2084191"/>
              <a:gd name="connsiteX1003" fmla="*/ 1941661 w 2051041"/>
              <a:gd name="connsiteY1003" fmla="*/ 452208 h 2084191"/>
              <a:gd name="connsiteX1004" fmla="*/ 1886699 w 2051041"/>
              <a:gd name="connsiteY1004" fmla="*/ 506082 h 2084191"/>
              <a:gd name="connsiteX1005" fmla="*/ 1833370 w 2051041"/>
              <a:gd name="connsiteY1005" fmla="*/ 452208 h 2084191"/>
              <a:gd name="connsiteX1006" fmla="*/ 1888332 w 2051041"/>
              <a:gd name="connsiteY1006" fmla="*/ 398335 h 2084191"/>
              <a:gd name="connsiteX1007" fmla="*/ 12014 w 2051041"/>
              <a:gd name="connsiteY1007" fmla="*/ 364052 h 2084191"/>
              <a:gd name="connsiteX1008" fmla="*/ 15823 w 2051041"/>
              <a:gd name="connsiteY1008" fmla="*/ 370038 h 2084191"/>
              <a:gd name="connsiteX1009" fmla="*/ 9293 w 2051041"/>
              <a:gd name="connsiteY1009" fmla="*/ 377656 h 2084191"/>
              <a:gd name="connsiteX1010" fmla="*/ 3307 w 2051041"/>
              <a:gd name="connsiteY1010" fmla="*/ 371126 h 2084191"/>
              <a:gd name="connsiteX1011" fmla="*/ 12014 w 2051041"/>
              <a:gd name="connsiteY1011" fmla="*/ 364052 h 2084191"/>
              <a:gd name="connsiteX1012" fmla="*/ 172545 w 2051041"/>
              <a:gd name="connsiteY1012" fmla="*/ 353713 h 2084191"/>
              <a:gd name="connsiteX1013" fmla="*/ 190503 w 2051041"/>
              <a:gd name="connsiteY1013" fmla="*/ 370582 h 2084191"/>
              <a:gd name="connsiteX1014" fmla="*/ 173090 w 2051041"/>
              <a:gd name="connsiteY1014" fmla="*/ 387996 h 2084191"/>
              <a:gd name="connsiteX1015" fmla="*/ 155676 w 2051041"/>
              <a:gd name="connsiteY1015" fmla="*/ 371126 h 2084191"/>
              <a:gd name="connsiteX1016" fmla="*/ 172545 w 2051041"/>
              <a:gd name="connsiteY1016" fmla="*/ 353713 h 2084191"/>
              <a:gd name="connsiteX1017" fmla="*/ 336886 w 2051041"/>
              <a:gd name="connsiteY1017" fmla="*/ 345550 h 2084191"/>
              <a:gd name="connsiteX1018" fmla="*/ 361374 w 2051041"/>
              <a:gd name="connsiteY1018" fmla="*/ 371670 h 2084191"/>
              <a:gd name="connsiteX1019" fmla="*/ 335798 w 2051041"/>
              <a:gd name="connsiteY1019" fmla="*/ 395070 h 2084191"/>
              <a:gd name="connsiteX1020" fmla="*/ 311854 w 2051041"/>
              <a:gd name="connsiteY1020" fmla="*/ 370038 h 2084191"/>
              <a:gd name="connsiteX1021" fmla="*/ 336886 w 2051041"/>
              <a:gd name="connsiteY1021" fmla="*/ 345550 h 2084191"/>
              <a:gd name="connsiteX1022" fmla="*/ 499596 w 2051041"/>
              <a:gd name="connsiteY1022" fmla="*/ 342284 h 2084191"/>
              <a:gd name="connsiteX1023" fmla="*/ 528437 w 2051041"/>
              <a:gd name="connsiteY1023" fmla="*/ 370582 h 2084191"/>
              <a:gd name="connsiteX1024" fmla="*/ 499051 w 2051041"/>
              <a:gd name="connsiteY1024" fmla="*/ 399423 h 2084191"/>
              <a:gd name="connsiteX1025" fmla="*/ 470210 w 2051041"/>
              <a:gd name="connsiteY1025" fmla="*/ 370037 h 2084191"/>
              <a:gd name="connsiteX1026" fmla="*/ 499596 w 2051041"/>
              <a:gd name="connsiteY1026" fmla="*/ 342284 h 2084191"/>
              <a:gd name="connsiteX1027" fmla="*/ 663392 w 2051041"/>
              <a:gd name="connsiteY1027" fmla="*/ 337387 h 2084191"/>
              <a:gd name="connsiteX1028" fmla="*/ 697131 w 2051041"/>
              <a:gd name="connsiteY1028" fmla="*/ 371126 h 2084191"/>
              <a:gd name="connsiteX1029" fmla="*/ 662304 w 2051041"/>
              <a:gd name="connsiteY1029" fmla="*/ 404321 h 2084191"/>
              <a:gd name="connsiteX1030" fmla="*/ 629109 w 2051041"/>
              <a:gd name="connsiteY1030" fmla="*/ 371126 h 2084191"/>
              <a:gd name="connsiteX1031" fmla="*/ 663392 w 2051041"/>
              <a:gd name="connsiteY1031" fmla="*/ 337387 h 2084191"/>
              <a:gd name="connsiteX1032" fmla="*/ 825556 w 2051041"/>
              <a:gd name="connsiteY1032" fmla="*/ 332489 h 2084191"/>
              <a:gd name="connsiteX1033" fmla="*/ 864737 w 2051041"/>
              <a:gd name="connsiteY1033" fmla="*/ 370037 h 2084191"/>
              <a:gd name="connsiteX1034" fmla="*/ 826645 w 2051041"/>
              <a:gd name="connsiteY1034" fmla="*/ 409218 h 2084191"/>
              <a:gd name="connsiteX1035" fmla="*/ 787464 w 2051041"/>
              <a:gd name="connsiteY1035" fmla="*/ 371126 h 2084191"/>
              <a:gd name="connsiteX1036" fmla="*/ 825556 w 2051041"/>
              <a:gd name="connsiteY1036" fmla="*/ 332489 h 2084191"/>
              <a:gd name="connsiteX1037" fmla="*/ 989898 w 2051041"/>
              <a:gd name="connsiteY1037" fmla="*/ 328680 h 2084191"/>
              <a:gd name="connsiteX1038" fmla="*/ 1031255 w 2051041"/>
              <a:gd name="connsiteY1038" fmla="*/ 371126 h 2084191"/>
              <a:gd name="connsiteX1039" fmla="*/ 989354 w 2051041"/>
              <a:gd name="connsiteY1039" fmla="*/ 413027 h 2084191"/>
              <a:gd name="connsiteX1040" fmla="*/ 947452 w 2051041"/>
              <a:gd name="connsiteY1040" fmla="*/ 370037 h 2084191"/>
              <a:gd name="connsiteX1041" fmla="*/ 989898 w 2051041"/>
              <a:gd name="connsiteY1041" fmla="*/ 328680 h 2084191"/>
              <a:gd name="connsiteX1042" fmla="*/ 1153150 w 2051041"/>
              <a:gd name="connsiteY1042" fmla="*/ 326504 h 2084191"/>
              <a:gd name="connsiteX1043" fmla="*/ 1197228 w 2051041"/>
              <a:gd name="connsiteY1043" fmla="*/ 370582 h 2084191"/>
              <a:gd name="connsiteX1044" fmla="*/ 1152606 w 2051041"/>
              <a:gd name="connsiteY1044" fmla="*/ 414661 h 2084191"/>
              <a:gd name="connsiteX1045" fmla="*/ 1108528 w 2051041"/>
              <a:gd name="connsiteY1045" fmla="*/ 370038 h 2084191"/>
              <a:gd name="connsiteX1046" fmla="*/ 1153150 w 2051041"/>
              <a:gd name="connsiteY1046" fmla="*/ 326504 h 2084191"/>
              <a:gd name="connsiteX1047" fmla="*/ 1317492 w 2051041"/>
              <a:gd name="connsiteY1047" fmla="*/ 323239 h 2084191"/>
              <a:gd name="connsiteX1048" fmla="*/ 1364835 w 2051041"/>
              <a:gd name="connsiteY1048" fmla="*/ 372215 h 2084191"/>
              <a:gd name="connsiteX1049" fmla="*/ 1314771 w 2051041"/>
              <a:gd name="connsiteY1049" fmla="*/ 419014 h 2084191"/>
              <a:gd name="connsiteX1050" fmla="*/ 1268516 w 2051041"/>
              <a:gd name="connsiteY1050" fmla="*/ 370582 h 2084191"/>
              <a:gd name="connsiteX1051" fmla="*/ 1317492 w 2051041"/>
              <a:gd name="connsiteY1051" fmla="*/ 323239 h 2084191"/>
              <a:gd name="connsiteX1052" fmla="*/ 1479112 w 2051041"/>
              <a:gd name="connsiteY1052" fmla="*/ 320517 h 2084191"/>
              <a:gd name="connsiteX1053" fmla="*/ 1529720 w 2051041"/>
              <a:gd name="connsiteY1053" fmla="*/ 371670 h 2084191"/>
              <a:gd name="connsiteX1054" fmla="*/ 1478568 w 2051041"/>
              <a:gd name="connsiteY1054" fmla="*/ 420101 h 2084191"/>
              <a:gd name="connsiteX1055" fmla="*/ 1429592 w 2051041"/>
              <a:gd name="connsiteY1055" fmla="*/ 370037 h 2084191"/>
              <a:gd name="connsiteX1056" fmla="*/ 1479112 w 2051041"/>
              <a:gd name="connsiteY1056" fmla="*/ 320517 h 2084191"/>
              <a:gd name="connsiteX1057" fmla="*/ 1642364 w 2051041"/>
              <a:gd name="connsiteY1057" fmla="*/ 318341 h 2084191"/>
              <a:gd name="connsiteX1058" fmla="*/ 1695694 w 2051041"/>
              <a:gd name="connsiteY1058" fmla="*/ 370582 h 2084191"/>
              <a:gd name="connsiteX1059" fmla="*/ 1643453 w 2051041"/>
              <a:gd name="connsiteY1059" fmla="*/ 424455 h 2084191"/>
              <a:gd name="connsiteX1060" fmla="*/ 1589035 w 2051041"/>
              <a:gd name="connsiteY1060" fmla="*/ 371670 h 2084191"/>
              <a:gd name="connsiteX1061" fmla="*/ 1642364 w 2051041"/>
              <a:gd name="connsiteY1061" fmla="*/ 318341 h 2084191"/>
              <a:gd name="connsiteX1062" fmla="*/ 90919 w 2051041"/>
              <a:gd name="connsiteY1062" fmla="*/ 273718 h 2084191"/>
              <a:gd name="connsiteX1063" fmla="*/ 106700 w 2051041"/>
              <a:gd name="connsiteY1063" fmla="*/ 288411 h 2084191"/>
              <a:gd name="connsiteX1064" fmla="*/ 91463 w 2051041"/>
              <a:gd name="connsiteY1064" fmla="*/ 303648 h 2084191"/>
              <a:gd name="connsiteX1065" fmla="*/ 76770 w 2051041"/>
              <a:gd name="connsiteY1065" fmla="*/ 288411 h 2084191"/>
              <a:gd name="connsiteX1066" fmla="*/ 90919 w 2051041"/>
              <a:gd name="connsiteY1066" fmla="*/ 273718 h 2084191"/>
              <a:gd name="connsiteX1067" fmla="*/ 254716 w 2051041"/>
              <a:gd name="connsiteY1067" fmla="*/ 267733 h 2084191"/>
              <a:gd name="connsiteX1068" fmla="*/ 276483 w 2051041"/>
              <a:gd name="connsiteY1068" fmla="*/ 288956 h 2084191"/>
              <a:gd name="connsiteX1069" fmla="*/ 254172 w 2051041"/>
              <a:gd name="connsiteY1069" fmla="*/ 311811 h 2084191"/>
              <a:gd name="connsiteX1070" fmla="*/ 232405 w 2051041"/>
              <a:gd name="connsiteY1070" fmla="*/ 289500 h 2084191"/>
              <a:gd name="connsiteX1071" fmla="*/ 254716 w 2051041"/>
              <a:gd name="connsiteY1071" fmla="*/ 267733 h 2084191"/>
              <a:gd name="connsiteX1072" fmla="*/ 1941117 w 2051041"/>
              <a:gd name="connsiteY1072" fmla="*/ 263202 h 2084191"/>
              <a:gd name="connsiteX1073" fmla="*/ 1936219 w 2051041"/>
              <a:gd name="connsiteY1073" fmla="*/ 266467 h 2084191"/>
              <a:gd name="connsiteX1074" fmla="*/ 1938396 w 2051041"/>
              <a:gd name="connsiteY1074" fmla="*/ 272453 h 2084191"/>
              <a:gd name="connsiteX1075" fmla="*/ 1932954 w 2051041"/>
              <a:gd name="connsiteY1075" fmla="*/ 325782 h 2084191"/>
              <a:gd name="connsiteX1076" fmla="*/ 1930777 w 2051041"/>
              <a:gd name="connsiteY1076" fmla="*/ 331224 h 2084191"/>
              <a:gd name="connsiteX1077" fmla="*/ 1936219 w 2051041"/>
              <a:gd name="connsiteY1077" fmla="*/ 330136 h 2084191"/>
              <a:gd name="connsiteX1078" fmla="*/ 1966693 w 2051041"/>
              <a:gd name="connsiteY1078" fmla="*/ 320340 h 2084191"/>
              <a:gd name="connsiteX1079" fmla="*/ 1998799 w 2051041"/>
              <a:gd name="connsiteY1079" fmla="*/ 328503 h 2084191"/>
              <a:gd name="connsiteX1080" fmla="*/ 2003153 w 2051041"/>
              <a:gd name="connsiteY1080" fmla="*/ 330136 h 2084191"/>
              <a:gd name="connsiteX1081" fmla="*/ 2001520 w 2051041"/>
              <a:gd name="connsiteY1081" fmla="*/ 324694 h 2084191"/>
              <a:gd name="connsiteX1082" fmla="*/ 1994446 w 2051041"/>
              <a:gd name="connsiteY1082" fmla="*/ 309457 h 2084191"/>
              <a:gd name="connsiteX1083" fmla="*/ 1998255 w 2051041"/>
              <a:gd name="connsiteY1083" fmla="*/ 267555 h 2084191"/>
              <a:gd name="connsiteX1084" fmla="*/ 2000976 w 2051041"/>
              <a:gd name="connsiteY1084" fmla="*/ 263746 h 2084191"/>
              <a:gd name="connsiteX1085" fmla="*/ 1995534 w 2051041"/>
              <a:gd name="connsiteY1085" fmla="*/ 263746 h 2084191"/>
              <a:gd name="connsiteX1086" fmla="*/ 1941117 w 2051041"/>
              <a:gd name="connsiteY1086" fmla="*/ 263202 h 2084191"/>
              <a:gd name="connsiteX1087" fmla="*/ 417425 w 2051041"/>
              <a:gd name="connsiteY1087" fmla="*/ 262291 h 2084191"/>
              <a:gd name="connsiteX1088" fmla="*/ 445178 w 2051041"/>
              <a:gd name="connsiteY1088" fmla="*/ 288956 h 2084191"/>
              <a:gd name="connsiteX1089" fmla="*/ 417969 w 2051041"/>
              <a:gd name="connsiteY1089" fmla="*/ 317253 h 2084191"/>
              <a:gd name="connsiteX1090" fmla="*/ 390216 w 2051041"/>
              <a:gd name="connsiteY1090" fmla="*/ 290044 h 2084191"/>
              <a:gd name="connsiteX1091" fmla="*/ 417425 w 2051041"/>
              <a:gd name="connsiteY1091" fmla="*/ 262291 h 2084191"/>
              <a:gd name="connsiteX1092" fmla="*/ 580678 w 2051041"/>
              <a:gd name="connsiteY1092" fmla="*/ 256304 h 2084191"/>
              <a:gd name="connsiteX1093" fmla="*/ 613872 w 2051041"/>
              <a:gd name="connsiteY1093" fmla="*/ 288955 h 2084191"/>
              <a:gd name="connsiteX1094" fmla="*/ 581222 w 2051041"/>
              <a:gd name="connsiteY1094" fmla="*/ 322150 h 2084191"/>
              <a:gd name="connsiteX1095" fmla="*/ 548027 w 2051041"/>
              <a:gd name="connsiteY1095" fmla="*/ 289499 h 2084191"/>
              <a:gd name="connsiteX1096" fmla="*/ 580678 w 2051041"/>
              <a:gd name="connsiteY1096" fmla="*/ 256304 h 2084191"/>
              <a:gd name="connsiteX1097" fmla="*/ 743930 w 2051041"/>
              <a:gd name="connsiteY1097" fmla="*/ 251951 h 2084191"/>
              <a:gd name="connsiteX1098" fmla="*/ 782022 w 2051041"/>
              <a:gd name="connsiteY1098" fmla="*/ 289499 h 2084191"/>
              <a:gd name="connsiteX1099" fmla="*/ 744474 w 2051041"/>
              <a:gd name="connsiteY1099" fmla="*/ 326503 h 2084191"/>
              <a:gd name="connsiteX1100" fmla="*/ 707470 w 2051041"/>
              <a:gd name="connsiteY1100" fmla="*/ 289499 h 2084191"/>
              <a:gd name="connsiteX1101" fmla="*/ 743930 w 2051041"/>
              <a:gd name="connsiteY1101" fmla="*/ 251951 h 2084191"/>
              <a:gd name="connsiteX1102" fmla="*/ 907183 w 2051041"/>
              <a:gd name="connsiteY1102" fmla="*/ 249775 h 2084191"/>
              <a:gd name="connsiteX1103" fmla="*/ 947452 w 2051041"/>
              <a:gd name="connsiteY1103" fmla="*/ 289500 h 2084191"/>
              <a:gd name="connsiteX1104" fmla="*/ 908271 w 2051041"/>
              <a:gd name="connsiteY1104" fmla="*/ 329225 h 2084191"/>
              <a:gd name="connsiteX1105" fmla="*/ 867458 w 2051041"/>
              <a:gd name="connsiteY1105" fmla="*/ 290044 h 2084191"/>
              <a:gd name="connsiteX1106" fmla="*/ 907183 w 2051041"/>
              <a:gd name="connsiteY1106" fmla="*/ 249775 h 2084191"/>
              <a:gd name="connsiteX1107" fmla="*/ 1070435 w 2051041"/>
              <a:gd name="connsiteY1107" fmla="*/ 245965 h 2084191"/>
              <a:gd name="connsiteX1108" fmla="*/ 1114513 w 2051041"/>
              <a:gd name="connsiteY1108" fmla="*/ 290043 h 2084191"/>
              <a:gd name="connsiteX1109" fmla="*/ 1069347 w 2051041"/>
              <a:gd name="connsiteY1109" fmla="*/ 333578 h 2084191"/>
              <a:gd name="connsiteX1110" fmla="*/ 1026357 w 2051041"/>
              <a:gd name="connsiteY1110" fmla="*/ 288955 h 2084191"/>
              <a:gd name="connsiteX1111" fmla="*/ 1070435 w 2051041"/>
              <a:gd name="connsiteY1111" fmla="*/ 245965 h 2084191"/>
              <a:gd name="connsiteX1112" fmla="*/ 1233689 w 2051041"/>
              <a:gd name="connsiteY1112" fmla="*/ 241613 h 2084191"/>
              <a:gd name="connsiteX1113" fmla="*/ 1282120 w 2051041"/>
              <a:gd name="connsiteY1113" fmla="*/ 288412 h 2084191"/>
              <a:gd name="connsiteX1114" fmla="*/ 1235321 w 2051041"/>
              <a:gd name="connsiteY1114" fmla="*/ 335755 h 2084191"/>
              <a:gd name="connsiteX1115" fmla="*/ 1187434 w 2051041"/>
              <a:gd name="connsiteY1115" fmla="*/ 289500 h 2084191"/>
              <a:gd name="connsiteX1116" fmla="*/ 1233689 w 2051041"/>
              <a:gd name="connsiteY1116" fmla="*/ 241613 h 2084191"/>
              <a:gd name="connsiteX1117" fmla="*/ 1397485 w 2051041"/>
              <a:gd name="connsiteY1117" fmla="*/ 238891 h 2084191"/>
              <a:gd name="connsiteX1118" fmla="*/ 1448094 w 2051041"/>
              <a:gd name="connsiteY1118" fmla="*/ 288955 h 2084191"/>
              <a:gd name="connsiteX1119" fmla="*/ 1398029 w 2051041"/>
              <a:gd name="connsiteY1119" fmla="*/ 338475 h 2084191"/>
              <a:gd name="connsiteX1120" fmla="*/ 1348509 w 2051041"/>
              <a:gd name="connsiteY1120" fmla="*/ 289499 h 2084191"/>
              <a:gd name="connsiteX1121" fmla="*/ 1397485 w 2051041"/>
              <a:gd name="connsiteY1121" fmla="*/ 238891 h 2084191"/>
              <a:gd name="connsiteX1122" fmla="*/ 1559650 w 2051041"/>
              <a:gd name="connsiteY1122" fmla="*/ 237258 h 2084191"/>
              <a:gd name="connsiteX1123" fmla="*/ 1613523 w 2051041"/>
              <a:gd name="connsiteY1123" fmla="*/ 288955 h 2084191"/>
              <a:gd name="connsiteX1124" fmla="*/ 1560738 w 2051041"/>
              <a:gd name="connsiteY1124" fmla="*/ 342829 h 2084191"/>
              <a:gd name="connsiteX1125" fmla="*/ 1507953 w 2051041"/>
              <a:gd name="connsiteY1125" fmla="*/ 289499 h 2084191"/>
              <a:gd name="connsiteX1126" fmla="*/ 1559650 w 2051041"/>
              <a:gd name="connsiteY1126" fmla="*/ 237258 h 2084191"/>
              <a:gd name="connsiteX1127" fmla="*/ 9837 w 2051041"/>
              <a:gd name="connsiteY1127" fmla="*/ 198078 h 2084191"/>
              <a:gd name="connsiteX1128" fmla="*/ 19632 w 2051041"/>
              <a:gd name="connsiteY1128" fmla="*/ 207873 h 2084191"/>
              <a:gd name="connsiteX1129" fmla="*/ 10381 w 2051041"/>
              <a:gd name="connsiteY1129" fmla="*/ 218213 h 2084191"/>
              <a:gd name="connsiteX1130" fmla="*/ 42 w 2051041"/>
              <a:gd name="connsiteY1130" fmla="*/ 207873 h 2084191"/>
              <a:gd name="connsiteX1131" fmla="*/ 9837 w 2051041"/>
              <a:gd name="connsiteY1131" fmla="*/ 198078 h 2084191"/>
              <a:gd name="connsiteX1132" fmla="*/ 173090 w 2051041"/>
              <a:gd name="connsiteY1132" fmla="*/ 187739 h 2084191"/>
              <a:gd name="connsiteX1133" fmla="*/ 192136 w 2051041"/>
              <a:gd name="connsiteY1133" fmla="*/ 207329 h 2084191"/>
              <a:gd name="connsiteX1134" fmla="*/ 172546 w 2051041"/>
              <a:gd name="connsiteY1134" fmla="*/ 227464 h 2084191"/>
              <a:gd name="connsiteX1135" fmla="*/ 154044 w 2051041"/>
              <a:gd name="connsiteY1135" fmla="*/ 208418 h 2084191"/>
              <a:gd name="connsiteX1136" fmla="*/ 173090 w 2051041"/>
              <a:gd name="connsiteY1136" fmla="*/ 187739 h 2084191"/>
              <a:gd name="connsiteX1137" fmla="*/ 336887 w 2051041"/>
              <a:gd name="connsiteY1137" fmla="*/ 182297 h 2084191"/>
              <a:gd name="connsiteX1138" fmla="*/ 363007 w 2051041"/>
              <a:gd name="connsiteY1138" fmla="*/ 207329 h 2084191"/>
              <a:gd name="connsiteX1139" fmla="*/ 336887 w 2051041"/>
              <a:gd name="connsiteY1139" fmla="*/ 233994 h 2084191"/>
              <a:gd name="connsiteX1140" fmla="*/ 310766 w 2051041"/>
              <a:gd name="connsiteY1140" fmla="*/ 208961 h 2084191"/>
              <a:gd name="connsiteX1141" fmla="*/ 336887 w 2051041"/>
              <a:gd name="connsiteY1141" fmla="*/ 182297 h 2084191"/>
              <a:gd name="connsiteX1142" fmla="*/ 1856225 w 2051041"/>
              <a:gd name="connsiteY1142" fmla="*/ 180487 h 2084191"/>
              <a:gd name="connsiteX1143" fmla="*/ 1855681 w 2051041"/>
              <a:gd name="connsiteY1143" fmla="*/ 185929 h 2084191"/>
              <a:gd name="connsiteX1144" fmla="*/ 1851872 w 2051041"/>
              <a:gd name="connsiteY1144" fmla="*/ 244700 h 2084191"/>
              <a:gd name="connsiteX1145" fmla="*/ 1851328 w 2051041"/>
              <a:gd name="connsiteY1145" fmla="*/ 247965 h 2084191"/>
              <a:gd name="connsiteX1146" fmla="*/ 1854593 w 2051041"/>
              <a:gd name="connsiteY1146" fmla="*/ 247421 h 2084191"/>
              <a:gd name="connsiteX1147" fmla="*/ 1899215 w 2051041"/>
              <a:gd name="connsiteY1147" fmla="*/ 238714 h 2084191"/>
              <a:gd name="connsiteX1148" fmla="*/ 1913908 w 2051041"/>
              <a:gd name="connsiteY1148" fmla="*/ 243067 h 2084191"/>
              <a:gd name="connsiteX1149" fmla="*/ 1918806 w 2051041"/>
              <a:gd name="connsiteY1149" fmla="*/ 242523 h 2084191"/>
              <a:gd name="connsiteX1150" fmla="*/ 1918261 w 2051041"/>
              <a:gd name="connsiteY1150" fmla="*/ 238170 h 2084191"/>
              <a:gd name="connsiteX1151" fmla="*/ 1917173 w 2051041"/>
              <a:gd name="connsiteY1151" fmla="*/ 185929 h 2084191"/>
              <a:gd name="connsiteX1152" fmla="*/ 1918261 w 2051041"/>
              <a:gd name="connsiteY1152" fmla="*/ 181576 h 2084191"/>
              <a:gd name="connsiteX1153" fmla="*/ 1913908 w 2051041"/>
              <a:gd name="connsiteY1153" fmla="*/ 182664 h 2084191"/>
              <a:gd name="connsiteX1154" fmla="*/ 1860579 w 2051041"/>
              <a:gd name="connsiteY1154" fmla="*/ 180487 h 2084191"/>
              <a:gd name="connsiteX1155" fmla="*/ 1856225 w 2051041"/>
              <a:gd name="connsiteY1155" fmla="*/ 180487 h 2084191"/>
              <a:gd name="connsiteX1156" fmla="*/ 499595 w 2051041"/>
              <a:gd name="connsiteY1156" fmla="*/ 175767 h 2084191"/>
              <a:gd name="connsiteX1157" fmla="*/ 531158 w 2051041"/>
              <a:gd name="connsiteY1157" fmla="*/ 207874 h 2084191"/>
              <a:gd name="connsiteX1158" fmla="*/ 498507 w 2051041"/>
              <a:gd name="connsiteY1158" fmla="*/ 238347 h 2084191"/>
              <a:gd name="connsiteX1159" fmla="*/ 468033 w 2051041"/>
              <a:gd name="connsiteY1159" fmla="*/ 207329 h 2084191"/>
              <a:gd name="connsiteX1160" fmla="*/ 499595 w 2051041"/>
              <a:gd name="connsiteY1160" fmla="*/ 175767 h 2084191"/>
              <a:gd name="connsiteX1161" fmla="*/ 662304 w 2051041"/>
              <a:gd name="connsiteY1161" fmla="*/ 173046 h 2084191"/>
              <a:gd name="connsiteX1162" fmla="*/ 697676 w 2051041"/>
              <a:gd name="connsiteY1162" fmla="*/ 207873 h 2084191"/>
              <a:gd name="connsiteX1163" fmla="*/ 662304 w 2051041"/>
              <a:gd name="connsiteY1163" fmla="*/ 242156 h 2084191"/>
              <a:gd name="connsiteX1164" fmla="*/ 628021 w 2051041"/>
              <a:gd name="connsiteY1164" fmla="*/ 207873 h 2084191"/>
              <a:gd name="connsiteX1165" fmla="*/ 662304 w 2051041"/>
              <a:gd name="connsiteY1165" fmla="*/ 173046 h 2084191"/>
              <a:gd name="connsiteX1166" fmla="*/ 826645 w 2051041"/>
              <a:gd name="connsiteY1166" fmla="*/ 168148 h 2084191"/>
              <a:gd name="connsiteX1167" fmla="*/ 864737 w 2051041"/>
              <a:gd name="connsiteY1167" fmla="*/ 207329 h 2084191"/>
              <a:gd name="connsiteX1168" fmla="*/ 826100 w 2051041"/>
              <a:gd name="connsiteY1168" fmla="*/ 247054 h 2084191"/>
              <a:gd name="connsiteX1169" fmla="*/ 787464 w 2051041"/>
              <a:gd name="connsiteY1169" fmla="*/ 207873 h 2084191"/>
              <a:gd name="connsiteX1170" fmla="*/ 826645 w 2051041"/>
              <a:gd name="connsiteY1170" fmla="*/ 168148 h 2084191"/>
              <a:gd name="connsiteX1171" fmla="*/ 987721 w 2051041"/>
              <a:gd name="connsiteY1171" fmla="*/ 164883 h 2084191"/>
              <a:gd name="connsiteX1172" fmla="*/ 1031799 w 2051041"/>
              <a:gd name="connsiteY1172" fmla="*/ 207329 h 2084191"/>
              <a:gd name="connsiteX1173" fmla="*/ 988809 w 2051041"/>
              <a:gd name="connsiteY1173" fmla="*/ 250319 h 2084191"/>
              <a:gd name="connsiteX1174" fmla="*/ 945819 w 2051041"/>
              <a:gd name="connsiteY1174" fmla="*/ 208417 h 2084191"/>
              <a:gd name="connsiteX1175" fmla="*/ 987721 w 2051041"/>
              <a:gd name="connsiteY1175" fmla="*/ 164883 h 2084191"/>
              <a:gd name="connsiteX1176" fmla="*/ 1153150 w 2051041"/>
              <a:gd name="connsiteY1176" fmla="*/ 162707 h 2084191"/>
              <a:gd name="connsiteX1177" fmla="*/ 1197772 w 2051041"/>
              <a:gd name="connsiteY1177" fmla="*/ 207874 h 2084191"/>
              <a:gd name="connsiteX1178" fmla="*/ 1151517 w 2051041"/>
              <a:gd name="connsiteY1178" fmla="*/ 253584 h 2084191"/>
              <a:gd name="connsiteX1179" fmla="*/ 1107439 w 2051041"/>
              <a:gd name="connsiteY1179" fmla="*/ 207329 h 2084191"/>
              <a:gd name="connsiteX1180" fmla="*/ 1153150 w 2051041"/>
              <a:gd name="connsiteY1180" fmla="*/ 162707 h 2084191"/>
              <a:gd name="connsiteX1181" fmla="*/ 1315315 w 2051041"/>
              <a:gd name="connsiteY1181" fmla="*/ 158353 h 2084191"/>
              <a:gd name="connsiteX1182" fmla="*/ 1365379 w 2051041"/>
              <a:gd name="connsiteY1182" fmla="*/ 206785 h 2084191"/>
              <a:gd name="connsiteX1183" fmla="*/ 1315859 w 2051041"/>
              <a:gd name="connsiteY1183" fmla="*/ 256305 h 2084191"/>
              <a:gd name="connsiteX1184" fmla="*/ 1266883 w 2051041"/>
              <a:gd name="connsiteY1184" fmla="*/ 207873 h 2084191"/>
              <a:gd name="connsiteX1185" fmla="*/ 1315315 w 2051041"/>
              <a:gd name="connsiteY1185" fmla="*/ 158353 h 2084191"/>
              <a:gd name="connsiteX1186" fmla="*/ 1478567 w 2051041"/>
              <a:gd name="connsiteY1186" fmla="*/ 156721 h 2084191"/>
              <a:gd name="connsiteX1187" fmla="*/ 1529720 w 2051041"/>
              <a:gd name="connsiteY1187" fmla="*/ 207329 h 2084191"/>
              <a:gd name="connsiteX1188" fmla="*/ 1478567 w 2051041"/>
              <a:gd name="connsiteY1188" fmla="*/ 258482 h 2084191"/>
              <a:gd name="connsiteX1189" fmla="*/ 1427959 w 2051041"/>
              <a:gd name="connsiteY1189" fmla="*/ 207874 h 2084191"/>
              <a:gd name="connsiteX1190" fmla="*/ 1478567 w 2051041"/>
              <a:gd name="connsiteY1190" fmla="*/ 156721 h 2084191"/>
              <a:gd name="connsiteX1191" fmla="*/ 1644541 w 2051041"/>
              <a:gd name="connsiteY1191" fmla="*/ 153456 h 2084191"/>
              <a:gd name="connsiteX1192" fmla="*/ 1697326 w 2051041"/>
              <a:gd name="connsiteY1192" fmla="*/ 209506 h 2084191"/>
              <a:gd name="connsiteX1193" fmla="*/ 1641276 w 2051041"/>
              <a:gd name="connsiteY1193" fmla="*/ 262835 h 2084191"/>
              <a:gd name="connsiteX1194" fmla="*/ 1587947 w 2051041"/>
              <a:gd name="connsiteY1194" fmla="*/ 206785 h 2084191"/>
              <a:gd name="connsiteX1195" fmla="*/ 1644541 w 2051041"/>
              <a:gd name="connsiteY1195" fmla="*/ 153456 h 2084191"/>
              <a:gd name="connsiteX1196" fmla="*/ 91463 w 2051041"/>
              <a:gd name="connsiteY1196" fmla="*/ 109922 h 2084191"/>
              <a:gd name="connsiteX1197" fmla="*/ 107244 w 2051041"/>
              <a:gd name="connsiteY1197" fmla="*/ 126247 h 2084191"/>
              <a:gd name="connsiteX1198" fmla="*/ 91463 w 2051041"/>
              <a:gd name="connsiteY1198" fmla="*/ 142028 h 2084191"/>
              <a:gd name="connsiteX1199" fmla="*/ 75682 w 2051041"/>
              <a:gd name="connsiteY1199" fmla="*/ 126247 h 2084191"/>
              <a:gd name="connsiteX1200" fmla="*/ 91463 w 2051041"/>
              <a:gd name="connsiteY1200" fmla="*/ 109922 h 2084191"/>
              <a:gd name="connsiteX1201" fmla="*/ 1942341 w 2051041"/>
              <a:gd name="connsiteY1201" fmla="*/ 104915 h 2084191"/>
              <a:gd name="connsiteX1202" fmla="*/ 1942205 w 2051041"/>
              <a:gd name="connsiteY1202" fmla="*/ 111377 h 2084191"/>
              <a:gd name="connsiteX1203" fmla="*/ 1946559 w 2051041"/>
              <a:gd name="connsiteY1203" fmla="*/ 131511 h 2084191"/>
              <a:gd name="connsiteX1204" fmla="*/ 1939484 w 2051041"/>
              <a:gd name="connsiteY1204" fmla="*/ 157088 h 2084191"/>
              <a:gd name="connsiteX1205" fmla="*/ 1941117 w 2051041"/>
              <a:gd name="connsiteY1205" fmla="*/ 160353 h 2084191"/>
              <a:gd name="connsiteX1206" fmla="*/ 1986828 w 2051041"/>
              <a:gd name="connsiteY1206" fmla="*/ 157088 h 2084191"/>
              <a:gd name="connsiteX1207" fmla="*/ 1987916 w 2051041"/>
              <a:gd name="connsiteY1207" fmla="*/ 157088 h 2084191"/>
              <a:gd name="connsiteX1208" fmla="*/ 1993902 w 2051041"/>
              <a:gd name="connsiteY1208" fmla="*/ 150013 h 2084191"/>
              <a:gd name="connsiteX1209" fmla="*/ 1993902 w 2051041"/>
              <a:gd name="connsiteY1209" fmla="*/ 109744 h 2084191"/>
              <a:gd name="connsiteX1210" fmla="*/ 1989004 w 2051041"/>
              <a:gd name="connsiteY1210" fmla="*/ 105391 h 2084191"/>
              <a:gd name="connsiteX1211" fmla="*/ 1948191 w 2051041"/>
              <a:gd name="connsiteY1211" fmla="*/ 105391 h 2084191"/>
              <a:gd name="connsiteX1212" fmla="*/ 1942341 w 2051041"/>
              <a:gd name="connsiteY1212" fmla="*/ 104915 h 2084191"/>
              <a:gd name="connsiteX1213" fmla="*/ 255804 w 2051041"/>
              <a:gd name="connsiteY1213" fmla="*/ 103392 h 2084191"/>
              <a:gd name="connsiteX1214" fmla="*/ 277571 w 2051041"/>
              <a:gd name="connsiteY1214" fmla="*/ 126791 h 2084191"/>
              <a:gd name="connsiteX1215" fmla="*/ 254172 w 2051041"/>
              <a:gd name="connsiteY1215" fmla="*/ 148014 h 2084191"/>
              <a:gd name="connsiteX1216" fmla="*/ 232405 w 2051041"/>
              <a:gd name="connsiteY1216" fmla="*/ 125159 h 2084191"/>
              <a:gd name="connsiteX1217" fmla="*/ 255804 w 2051041"/>
              <a:gd name="connsiteY1217" fmla="*/ 103392 h 2084191"/>
              <a:gd name="connsiteX1218" fmla="*/ 1773511 w 2051041"/>
              <a:gd name="connsiteY1218" fmla="*/ 99405 h 2084191"/>
              <a:gd name="connsiteX1219" fmla="*/ 1773511 w 2051041"/>
              <a:gd name="connsiteY1219" fmla="*/ 107023 h 2084191"/>
              <a:gd name="connsiteX1220" fmla="*/ 1780585 w 2051041"/>
              <a:gd name="connsiteY1220" fmla="*/ 130423 h 2084191"/>
              <a:gd name="connsiteX1221" fmla="*/ 1773511 w 2051041"/>
              <a:gd name="connsiteY1221" fmla="*/ 155999 h 2084191"/>
              <a:gd name="connsiteX1222" fmla="*/ 1774055 w 2051041"/>
              <a:gd name="connsiteY1222" fmla="*/ 161985 h 2084191"/>
              <a:gd name="connsiteX1223" fmla="*/ 1780041 w 2051041"/>
              <a:gd name="connsiteY1223" fmla="*/ 162529 h 2084191"/>
              <a:gd name="connsiteX1224" fmla="*/ 1811059 w 2051041"/>
              <a:gd name="connsiteY1224" fmla="*/ 157632 h 2084191"/>
              <a:gd name="connsiteX1225" fmla="*/ 1829561 w 2051041"/>
              <a:gd name="connsiteY1225" fmla="*/ 161985 h 2084191"/>
              <a:gd name="connsiteX1226" fmla="*/ 1836635 w 2051041"/>
              <a:gd name="connsiteY1226" fmla="*/ 161985 h 2084191"/>
              <a:gd name="connsiteX1227" fmla="*/ 1833914 w 2051041"/>
              <a:gd name="connsiteY1227" fmla="*/ 157088 h 2084191"/>
              <a:gd name="connsiteX1228" fmla="*/ 1834458 w 2051041"/>
              <a:gd name="connsiteY1228" fmla="*/ 104303 h 2084191"/>
              <a:gd name="connsiteX1229" fmla="*/ 1835547 w 2051041"/>
              <a:gd name="connsiteY1229" fmla="*/ 99405 h 2084191"/>
              <a:gd name="connsiteX1230" fmla="*/ 1831193 w 2051041"/>
              <a:gd name="connsiteY1230" fmla="*/ 101038 h 2084191"/>
              <a:gd name="connsiteX1231" fmla="*/ 1780041 w 2051041"/>
              <a:gd name="connsiteY1231" fmla="*/ 101582 h 2084191"/>
              <a:gd name="connsiteX1232" fmla="*/ 1773511 w 2051041"/>
              <a:gd name="connsiteY1232" fmla="*/ 99405 h 2084191"/>
              <a:gd name="connsiteX1233" fmla="*/ 417424 w 2051041"/>
              <a:gd name="connsiteY1233" fmla="*/ 97950 h 2084191"/>
              <a:gd name="connsiteX1234" fmla="*/ 445721 w 2051041"/>
              <a:gd name="connsiteY1234" fmla="*/ 126247 h 2084191"/>
              <a:gd name="connsiteX1235" fmla="*/ 417424 w 2051041"/>
              <a:gd name="connsiteY1235" fmla="*/ 153456 h 2084191"/>
              <a:gd name="connsiteX1236" fmla="*/ 390215 w 2051041"/>
              <a:gd name="connsiteY1236" fmla="*/ 125159 h 2084191"/>
              <a:gd name="connsiteX1237" fmla="*/ 417424 w 2051041"/>
              <a:gd name="connsiteY1237" fmla="*/ 97950 h 2084191"/>
              <a:gd name="connsiteX1238" fmla="*/ 580677 w 2051041"/>
              <a:gd name="connsiteY1238" fmla="*/ 92508 h 2084191"/>
              <a:gd name="connsiteX1239" fmla="*/ 614960 w 2051041"/>
              <a:gd name="connsiteY1239" fmla="*/ 125159 h 2084191"/>
              <a:gd name="connsiteX1240" fmla="*/ 581766 w 2051041"/>
              <a:gd name="connsiteY1240" fmla="*/ 158353 h 2084191"/>
              <a:gd name="connsiteX1241" fmla="*/ 548571 w 2051041"/>
              <a:gd name="connsiteY1241" fmla="*/ 125703 h 2084191"/>
              <a:gd name="connsiteX1242" fmla="*/ 580677 w 2051041"/>
              <a:gd name="connsiteY1242" fmla="*/ 92508 h 2084191"/>
              <a:gd name="connsiteX1243" fmla="*/ 745019 w 2051041"/>
              <a:gd name="connsiteY1243" fmla="*/ 88154 h 2084191"/>
              <a:gd name="connsiteX1244" fmla="*/ 782567 w 2051041"/>
              <a:gd name="connsiteY1244" fmla="*/ 126791 h 2084191"/>
              <a:gd name="connsiteX1245" fmla="*/ 743930 w 2051041"/>
              <a:gd name="connsiteY1245" fmla="*/ 164339 h 2084191"/>
              <a:gd name="connsiteX1246" fmla="*/ 706382 w 2051041"/>
              <a:gd name="connsiteY1246" fmla="*/ 125702 h 2084191"/>
              <a:gd name="connsiteX1247" fmla="*/ 745019 w 2051041"/>
              <a:gd name="connsiteY1247" fmla="*/ 88154 h 2084191"/>
              <a:gd name="connsiteX1248" fmla="*/ 1685898 w 2051041"/>
              <a:gd name="connsiteY1248" fmla="*/ 84712 h 2084191"/>
              <a:gd name="connsiteX1249" fmla="*/ 1685681 w 2051041"/>
              <a:gd name="connsiteY1249" fmla="*/ 85147 h 2084191"/>
              <a:gd name="connsiteX1250" fmla="*/ 1685354 w 2051041"/>
              <a:gd name="connsiteY1250" fmla="*/ 85256 h 2084191"/>
              <a:gd name="connsiteX1251" fmla="*/ 1685898 w 2051041"/>
              <a:gd name="connsiteY1251" fmla="*/ 84712 h 2084191"/>
              <a:gd name="connsiteX1252" fmla="*/ 907183 w 2051041"/>
              <a:gd name="connsiteY1252" fmla="*/ 84345 h 2084191"/>
              <a:gd name="connsiteX1253" fmla="*/ 934935 w 2051041"/>
              <a:gd name="connsiteY1253" fmla="*/ 95228 h 2084191"/>
              <a:gd name="connsiteX1254" fmla="*/ 949628 w 2051041"/>
              <a:gd name="connsiteY1254" fmla="*/ 125158 h 2084191"/>
              <a:gd name="connsiteX1255" fmla="*/ 908271 w 2051041"/>
              <a:gd name="connsiteY1255" fmla="*/ 167060 h 2084191"/>
              <a:gd name="connsiteX1256" fmla="*/ 866369 w 2051041"/>
              <a:gd name="connsiteY1256" fmla="*/ 125702 h 2084191"/>
              <a:gd name="connsiteX1257" fmla="*/ 907183 w 2051041"/>
              <a:gd name="connsiteY1257" fmla="*/ 84345 h 2084191"/>
              <a:gd name="connsiteX1258" fmla="*/ 1070979 w 2051041"/>
              <a:gd name="connsiteY1258" fmla="*/ 82169 h 2084191"/>
              <a:gd name="connsiteX1259" fmla="*/ 1115602 w 2051041"/>
              <a:gd name="connsiteY1259" fmla="*/ 126247 h 2084191"/>
              <a:gd name="connsiteX1260" fmla="*/ 1071524 w 2051041"/>
              <a:gd name="connsiteY1260" fmla="*/ 170325 h 2084191"/>
              <a:gd name="connsiteX1261" fmla="*/ 1026357 w 2051041"/>
              <a:gd name="connsiteY1261" fmla="*/ 125703 h 2084191"/>
              <a:gd name="connsiteX1262" fmla="*/ 1070979 w 2051041"/>
              <a:gd name="connsiteY1262" fmla="*/ 82169 h 2084191"/>
              <a:gd name="connsiteX1263" fmla="*/ 1684811 w 2051041"/>
              <a:gd name="connsiteY1263" fmla="*/ 82168 h 2084191"/>
              <a:gd name="connsiteX1264" fmla="*/ 1684266 w 2051041"/>
              <a:gd name="connsiteY1264" fmla="*/ 82713 h 2084191"/>
              <a:gd name="connsiteX1265" fmla="*/ 1684469 w 2051041"/>
              <a:gd name="connsiteY1265" fmla="*/ 82365 h 2084191"/>
              <a:gd name="connsiteX1266" fmla="*/ 1234777 w 2051041"/>
              <a:gd name="connsiteY1266" fmla="*/ 78360 h 2084191"/>
              <a:gd name="connsiteX1267" fmla="*/ 1282664 w 2051041"/>
              <a:gd name="connsiteY1267" fmla="*/ 126791 h 2084191"/>
              <a:gd name="connsiteX1268" fmla="*/ 1234232 w 2051041"/>
              <a:gd name="connsiteY1268" fmla="*/ 174135 h 2084191"/>
              <a:gd name="connsiteX1269" fmla="*/ 1186889 w 2051041"/>
              <a:gd name="connsiteY1269" fmla="*/ 126791 h 2084191"/>
              <a:gd name="connsiteX1270" fmla="*/ 1234777 w 2051041"/>
              <a:gd name="connsiteY1270" fmla="*/ 78360 h 2084191"/>
              <a:gd name="connsiteX1271" fmla="*/ 1398574 w 2051041"/>
              <a:gd name="connsiteY1271" fmla="*/ 76182 h 2084191"/>
              <a:gd name="connsiteX1272" fmla="*/ 1448094 w 2051041"/>
              <a:gd name="connsiteY1272" fmla="*/ 127335 h 2084191"/>
              <a:gd name="connsiteX1273" fmla="*/ 1396941 w 2051041"/>
              <a:gd name="connsiteY1273" fmla="*/ 175766 h 2084191"/>
              <a:gd name="connsiteX1274" fmla="*/ 1347421 w 2051041"/>
              <a:gd name="connsiteY1274" fmla="*/ 125702 h 2084191"/>
              <a:gd name="connsiteX1275" fmla="*/ 1398574 w 2051041"/>
              <a:gd name="connsiteY1275" fmla="*/ 76182 h 2084191"/>
              <a:gd name="connsiteX1276" fmla="*/ 1561282 w 2051041"/>
              <a:gd name="connsiteY1276" fmla="*/ 72373 h 2084191"/>
              <a:gd name="connsiteX1277" fmla="*/ 1614611 w 2051041"/>
              <a:gd name="connsiteY1277" fmla="*/ 126247 h 2084191"/>
              <a:gd name="connsiteX1278" fmla="*/ 1560738 w 2051041"/>
              <a:gd name="connsiteY1278" fmla="*/ 179576 h 2084191"/>
              <a:gd name="connsiteX1279" fmla="*/ 1507409 w 2051041"/>
              <a:gd name="connsiteY1279" fmla="*/ 126247 h 2084191"/>
              <a:gd name="connsiteX1280" fmla="*/ 1561282 w 2051041"/>
              <a:gd name="connsiteY1280" fmla="*/ 72373 h 2084191"/>
              <a:gd name="connsiteX1281" fmla="*/ 10381 w 2051041"/>
              <a:gd name="connsiteY1281" fmla="*/ 33737 h 2084191"/>
              <a:gd name="connsiteX1282" fmla="*/ 20720 w 2051041"/>
              <a:gd name="connsiteY1282" fmla="*/ 45165 h 2084191"/>
              <a:gd name="connsiteX1283" fmla="*/ 9292 w 2051041"/>
              <a:gd name="connsiteY1283" fmla="*/ 54960 h 2084191"/>
              <a:gd name="connsiteX1284" fmla="*/ 41 w 2051041"/>
              <a:gd name="connsiteY1284" fmla="*/ 44621 h 2084191"/>
              <a:gd name="connsiteX1285" fmla="*/ 10381 w 2051041"/>
              <a:gd name="connsiteY1285" fmla="*/ 33737 h 2084191"/>
              <a:gd name="connsiteX1286" fmla="*/ 172546 w 2051041"/>
              <a:gd name="connsiteY1286" fmla="*/ 23942 h 2084191"/>
              <a:gd name="connsiteX1287" fmla="*/ 193224 w 2051041"/>
              <a:gd name="connsiteY1287" fmla="*/ 44621 h 2084191"/>
              <a:gd name="connsiteX1288" fmla="*/ 173090 w 2051041"/>
              <a:gd name="connsiteY1288" fmla="*/ 64755 h 2084191"/>
              <a:gd name="connsiteX1289" fmla="*/ 152411 w 2051041"/>
              <a:gd name="connsiteY1289" fmla="*/ 44621 h 2084191"/>
              <a:gd name="connsiteX1290" fmla="*/ 172546 w 2051041"/>
              <a:gd name="connsiteY1290" fmla="*/ 23942 h 2084191"/>
              <a:gd name="connsiteX1291" fmla="*/ 1861123 w 2051041"/>
              <a:gd name="connsiteY1291" fmla="*/ 22132 h 2084191"/>
              <a:gd name="connsiteX1292" fmla="*/ 1861123 w 2051041"/>
              <a:gd name="connsiteY1292" fmla="*/ 35737 h 2084191"/>
              <a:gd name="connsiteX1293" fmla="*/ 1861123 w 2051041"/>
              <a:gd name="connsiteY1293" fmla="*/ 61313 h 2084191"/>
              <a:gd name="connsiteX1294" fmla="*/ 1858946 w 2051041"/>
              <a:gd name="connsiteY1294" fmla="*/ 72740 h 2084191"/>
              <a:gd name="connsiteX1295" fmla="*/ 1866021 w 2051041"/>
              <a:gd name="connsiteY1295" fmla="*/ 76550 h 2084191"/>
              <a:gd name="connsiteX1296" fmla="*/ 1873639 w 2051041"/>
              <a:gd name="connsiteY1296" fmla="*/ 74917 h 2084191"/>
              <a:gd name="connsiteX1297" fmla="*/ 1900304 w 2051041"/>
              <a:gd name="connsiteY1297" fmla="*/ 74373 h 2084191"/>
              <a:gd name="connsiteX1298" fmla="*/ 1907922 w 2051041"/>
              <a:gd name="connsiteY1298" fmla="*/ 76006 h 2084191"/>
              <a:gd name="connsiteX1299" fmla="*/ 1912820 w 2051041"/>
              <a:gd name="connsiteY1299" fmla="*/ 70020 h 2084191"/>
              <a:gd name="connsiteX1300" fmla="*/ 1912820 w 2051041"/>
              <a:gd name="connsiteY1300" fmla="*/ 27030 h 2084191"/>
              <a:gd name="connsiteX1301" fmla="*/ 1908466 w 2051041"/>
              <a:gd name="connsiteY1301" fmla="*/ 22132 h 2084191"/>
              <a:gd name="connsiteX1302" fmla="*/ 1902480 w 2051041"/>
              <a:gd name="connsiteY1302" fmla="*/ 24309 h 2084191"/>
              <a:gd name="connsiteX1303" fmla="*/ 1873095 w 2051041"/>
              <a:gd name="connsiteY1303" fmla="*/ 24309 h 2084191"/>
              <a:gd name="connsiteX1304" fmla="*/ 1861123 w 2051041"/>
              <a:gd name="connsiteY1304" fmla="*/ 22132 h 2084191"/>
              <a:gd name="connsiteX1305" fmla="*/ 336886 w 2051041"/>
              <a:gd name="connsiteY1305" fmla="*/ 17412 h 2084191"/>
              <a:gd name="connsiteX1306" fmla="*/ 363007 w 2051041"/>
              <a:gd name="connsiteY1306" fmla="*/ 44077 h 2084191"/>
              <a:gd name="connsiteX1307" fmla="*/ 337431 w 2051041"/>
              <a:gd name="connsiteY1307" fmla="*/ 71285 h 2084191"/>
              <a:gd name="connsiteX1308" fmla="*/ 310222 w 2051041"/>
              <a:gd name="connsiteY1308" fmla="*/ 45165 h 2084191"/>
              <a:gd name="connsiteX1309" fmla="*/ 336886 w 2051041"/>
              <a:gd name="connsiteY1309" fmla="*/ 17412 h 2084191"/>
              <a:gd name="connsiteX1310" fmla="*/ 498507 w 2051041"/>
              <a:gd name="connsiteY1310" fmla="*/ 13059 h 2084191"/>
              <a:gd name="connsiteX1311" fmla="*/ 531702 w 2051041"/>
              <a:gd name="connsiteY1311" fmla="*/ 44621 h 2084191"/>
              <a:gd name="connsiteX1312" fmla="*/ 499595 w 2051041"/>
              <a:gd name="connsiteY1312" fmla="*/ 76727 h 2084191"/>
              <a:gd name="connsiteX1313" fmla="*/ 467489 w 2051041"/>
              <a:gd name="connsiteY1313" fmla="*/ 45165 h 2084191"/>
              <a:gd name="connsiteX1314" fmla="*/ 498507 w 2051041"/>
              <a:gd name="connsiteY1314" fmla="*/ 13059 h 2084191"/>
              <a:gd name="connsiteX1315" fmla="*/ 662303 w 2051041"/>
              <a:gd name="connsiteY1315" fmla="*/ 7616 h 2084191"/>
              <a:gd name="connsiteX1316" fmla="*/ 698763 w 2051041"/>
              <a:gd name="connsiteY1316" fmla="*/ 44076 h 2084191"/>
              <a:gd name="connsiteX1317" fmla="*/ 662303 w 2051041"/>
              <a:gd name="connsiteY1317" fmla="*/ 81080 h 2084191"/>
              <a:gd name="connsiteX1318" fmla="*/ 626932 w 2051041"/>
              <a:gd name="connsiteY1318" fmla="*/ 44076 h 2084191"/>
              <a:gd name="connsiteX1319" fmla="*/ 662303 w 2051041"/>
              <a:gd name="connsiteY1319" fmla="*/ 7616 h 2084191"/>
              <a:gd name="connsiteX1320" fmla="*/ 825557 w 2051041"/>
              <a:gd name="connsiteY1320" fmla="*/ 5440 h 2084191"/>
              <a:gd name="connsiteX1321" fmla="*/ 865281 w 2051041"/>
              <a:gd name="connsiteY1321" fmla="*/ 44621 h 2084191"/>
              <a:gd name="connsiteX1322" fmla="*/ 826101 w 2051041"/>
              <a:gd name="connsiteY1322" fmla="*/ 83257 h 2084191"/>
              <a:gd name="connsiteX1323" fmla="*/ 786920 w 2051041"/>
              <a:gd name="connsiteY1323" fmla="*/ 44621 h 2084191"/>
              <a:gd name="connsiteX1324" fmla="*/ 825557 w 2051041"/>
              <a:gd name="connsiteY1324" fmla="*/ 5440 h 2084191"/>
              <a:gd name="connsiteX1325" fmla="*/ 989353 w 2051041"/>
              <a:gd name="connsiteY1325" fmla="*/ 1086 h 2084191"/>
              <a:gd name="connsiteX1326" fmla="*/ 1032343 w 2051041"/>
              <a:gd name="connsiteY1326" fmla="*/ 43532 h 2084191"/>
              <a:gd name="connsiteX1327" fmla="*/ 989897 w 2051041"/>
              <a:gd name="connsiteY1327" fmla="*/ 87610 h 2084191"/>
              <a:gd name="connsiteX1328" fmla="*/ 945819 w 2051041"/>
              <a:gd name="connsiteY1328" fmla="*/ 44620 h 2084191"/>
              <a:gd name="connsiteX1329" fmla="*/ 989353 w 2051041"/>
              <a:gd name="connsiteY1329" fmla="*/ 1086 h 2084191"/>
              <a:gd name="connsiteX1330" fmla="*/ 1614056 w 2051041"/>
              <a:gd name="connsiteY1330" fmla="*/ 0 h 2084191"/>
              <a:gd name="connsiteX1331" fmla="*/ 1675529 w 2051041"/>
              <a:gd name="connsiteY1331" fmla="*/ 0 h 2084191"/>
              <a:gd name="connsiteX1332" fmla="*/ 1682905 w 2051041"/>
              <a:gd name="connsiteY1332" fmla="*/ 4720 h 2084191"/>
              <a:gd name="connsiteX1333" fmla="*/ 1933639 w 2051041"/>
              <a:gd name="connsiteY1333" fmla="*/ 4720 h 2084191"/>
              <a:gd name="connsiteX1334" fmla="*/ 2016655 w 2051041"/>
              <a:gd name="connsiteY1334" fmla="*/ 39107 h 2084191"/>
              <a:gd name="connsiteX1335" fmla="*/ 2028934 w 2051041"/>
              <a:gd name="connsiteY1335" fmla="*/ 57318 h 2084191"/>
              <a:gd name="connsiteX1336" fmla="*/ 2026008 w 2051041"/>
              <a:gd name="connsiteY1336" fmla="*/ 71108 h 2084191"/>
              <a:gd name="connsiteX1337" fmla="*/ 2030906 w 2051041"/>
              <a:gd name="connsiteY1337" fmla="*/ 75461 h 2084191"/>
              <a:gd name="connsiteX1338" fmla="*/ 2039929 w 2051041"/>
              <a:gd name="connsiteY1338" fmla="*/ 73627 h 2084191"/>
              <a:gd name="connsiteX1339" fmla="*/ 2041815 w 2051041"/>
              <a:gd name="connsiteY1339" fmla="*/ 76424 h 2084191"/>
              <a:gd name="connsiteX1340" fmla="*/ 2051041 w 2051041"/>
              <a:gd name="connsiteY1340" fmla="*/ 122122 h 2084191"/>
              <a:gd name="connsiteX1341" fmla="*/ 2051041 w 2051041"/>
              <a:gd name="connsiteY1341" fmla="*/ 186473 h 2084191"/>
              <a:gd name="connsiteX1342" fmla="*/ 2029818 w 2051041"/>
              <a:gd name="connsiteY1342" fmla="*/ 186473 h 2084191"/>
              <a:gd name="connsiteX1343" fmla="*/ 2023287 w 2051041"/>
              <a:gd name="connsiteY1343" fmla="*/ 192459 h 2084191"/>
              <a:gd name="connsiteX1344" fmla="*/ 2023832 w 2051041"/>
              <a:gd name="connsiteY1344" fmla="*/ 196268 h 2084191"/>
              <a:gd name="connsiteX1345" fmla="*/ 2019478 w 2051041"/>
              <a:gd name="connsiteY1345" fmla="*/ 239258 h 2084191"/>
              <a:gd name="connsiteX1346" fmla="*/ 2020022 w 2051041"/>
              <a:gd name="connsiteY1346" fmla="*/ 242523 h 2084191"/>
              <a:gd name="connsiteX1347" fmla="*/ 2023287 w 2051041"/>
              <a:gd name="connsiteY1347" fmla="*/ 243067 h 2084191"/>
              <a:gd name="connsiteX1348" fmla="*/ 2050224 w 2051041"/>
              <a:gd name="connsiteY1348" fmla="*/ 237150 h 2084191"/>
              <a:gd name="connsiteX1349" fmla="*/ 2051041 w 2051041"/>
              <a:gd name="connsiteY1349" fmla="*/ 237329 h 2084191"/>
              <a:gd name="connsiteX1350" fmla="*/ 2051041 w 2051041"/>
              <a:gd name="connsiteY1350" fmla="*/ 348996 h 2084191"/>
              <a:gd name="connsiteX1351" fmla="*/ 2036552 w 2051041"/>
              <a:gd name="connsiteY1351" fmla="*/ 347754 h 2084191"/>
              <a:gd name="connsiteX1352" fmla="*/ 2021111 w 2051041"/>
              <a:gd name="connsiteY1352" fmla="*/ 341019 h 2084191"/>
              <a:gd name="connsiteX1353" fmla="*/ 2016757 w 2051041"/>
              <a:gd name="connsiteY1353" fmla="*/ 338842 h 2084191"/>
              <a:gd name="connsiteX1354" fmla="*/ 2017301 w 2051041"/>
              <a:gd name="connsiteY1354" fmla="*/ 344284 h 2084191"/>
              <a:gd name="connsiteX1355" fmla="*/ 2025464 w 2051041"/>
              <a:gd name="connsiteY1355" fmla="*/ 376391 h 2084191"/>
              <a:gd name="connsiteX1356" fmla="*/ 1994446 w 2051041"/>
              <a:gd name="connsiteY1356" fmla="*/ 424278 h 2084191"/>
              <a:gd name="connsiteX1357" fmla="*/ 1933498 w 2051041"/>
              <a:gd name="connsiteY1357" fmla="*/ 416115 h 2084191"/>
              <a:gd name="connsiteX1358" fmla="*/ 1920438 w 2051041"/>
              <a:gd name="connsiteY1358" fmla="*/ 352447 h 2084191"/>
              <a:gd name="connsiteX1359" fmla="*/ 1925336 w 2051041"/>
              <a:gd name="connsiteY1359" fmla="*/ 338298 h 2084191"/>
              <a:gd name="connsiteX1360" fmla="*/ 1911731 w 2051041"/>
              <a:gd name="connsiteY1360" fmla="*/ 343196 h 2084191"/>
              <a:gd name="connsiteX1361" fmla="*/ 1898671 w 2051041"/>
              <a:gd name="connsiteY1361" fmla="*/ 347005 h 2084191"/>
              <a:gd name="connsiteX1362" fmla="*/ 1854593 w 2051041"/>
              <a:gd name="connsiteY1362" fmla="*/ 336666 h 2084191"/>
              <a:gd name="connsiteX1363" fmla="*/ 1847690 w 2051041"/>
              <a:gd name="connsiteY1363" fmla="*/ 333480 h 2084191"/>
              <a:gd name="connsiteX1364" fmla="*/ 1852961 w 2051041"/>
              <a:gd name="connsiteY1364" fmla="*/ 344461 h 2084191"/>
              <a:gd name="connsiteX1365" fmla="*/ 1826840 w 2051041"/>
              <a:gd name="connsiteY1365" fmla="*/ 420646 h 2084191"/>
              <a:gd name="connsiteX1366" fmla="*/ 1765893 w 2051041"/>
              <a:gd name="connsiteY1366" fmla="*/ 408130 h 2084191"/>
              <a:gd name="connsiteX1367" fmla="*/ 1759362 w 2051041"/>
              <a:gd name="connsiteY1367" fmla="*/ 342829 h 2084191"/>
              <a:gd name="connsiteX1368" fmla="*/ 1815991 w 2051041"/>
              <a:gd name="connsiteY1368" fmla="*/ 317193 h 2084191"/>
              <a:gd name="connsiteX1369" fmla="*/ 1834459 w 2051041"/>
              <a:gd name="connsiteY1369" fmla="*/ 325415 h 2084191"/>
              <a:gd name="connsiteX1370" fmla="*/ 1845023 w 2051041"/>
              <a:gd name="connsiteY1370" fmla="*/ 330169 h 2084191"/>
              <a:gd name="connsiteX1371" fmla="*/ 1840444 w 2051041"/>
              <a:gd name="connsiteY1371" fmla="*/ 321429 h 2084191"/>
              <a:gd name="connsiteX1372" fmla="*/ 1834458 w 2051041"/>
              <a:gd name="connsiteY1372" fmla="*/ 275174 h 2084191"/>
              <a:gd name="connsiteX1373" fmla="*/ 1840988 w 2051041"/>
              <a:gd name="connsiteY1373" fmla="*/ 259937 h 2084191"/>
              <a:gd name="connsiteX1374" fmla="*/ 1842077 w 2051041"/>
              <a:gd name="connsiteY1374" fmla="*/ 255584 h 2084191"/>
              <a:gd name="connsiteX1375" fmla="*/ 1837723 w 2051041"/>
              <a:gd name="connsiteY1375" fmla="*/ 257216 h 2084191"/>
              <a:gd name="connsiteX1376" fmla="*/ 1817589 w 2051041"/>
              <a:gd name="connsiteY1376" fmla="*/ 264834 h 2084191"/>
              <a:gd name="connsiteX1377" fmla="*/ 1768069 w 2051041"/>
              <a:gd name="connsiteY1377" fmla="*/ 251774 h 2084191"/>
              <a:gd name="connsiteX1378" fmla="*/ 1764740 w 2051041"/>
              <a:gd name="connsiteY1378" fmla="*/ 250110 h 2084191"/>
              <a:gd name="connsiteX1379" fmla="*/ 1773510 w 2051041"/>
              <a:gd name="connsiteY1379" fmla="*/ 267189 h 2084191"/>
              <a:gd name="connsiteX1380" fmla="*/ 1750655 w 2051041"/>
              <a:gd name="connsiteY1380" fmla="*/ 336843 h 2084191"/>
              <a:gd name="connsiteX1381" fmla="*/ 1673926 w 2051041"/>
              <a:gd name="connsiteY1381" fmla="*/ 310723 h 2084191"/>
              <a:gd name="connsiteX1382" fmla="*/ 1681545 w 2051041"/>
              <a:gd name="connsiteY1382" fmla="*/ 254673 h 2084191"/>
              <a:gd name="connsiteX1383" fmla="*/ 1733786 w 2051041"/>
              <a:gd name="connsiteY1383" fmla="*/ 235083 h 2084191"/>
              <a:gd name="connsiteX1384" fmla="*/ 1751743 w 2051041"/>
              <a:gd name="connsiteY1384" fmla="*/ 242157 h 2084191"/>
              <a:gd name="connsiteX1385" fmla="*/ 1762506 w 2051041"/>
              <a:gd name="connsiteY1385" fmla="*/ 246769 h 2084191"/>
              <a:gd name="connsiteX1386" fmla="*/ 1757185 w 2051041"/>
              <a:gd name="connsiteY1386" fmla="*/ 236537 h 2084191"/>
              <a:gd name="connsiteX1387" fmla="*/ 1756097 w 2051041"/>
              <a:gd name="connsiteY1387" fmla="*/ 185929 h 2084191"/>
              <a:gd name="connsiteX1388" fmla="*/ 1757185 w 2051041"/>
              <a:gd name="connsiteY1388" fmla="*/ 177766 h 2084191"/>
              <a:gd name="connsiteX1389" fmla="*/ 1749023 w 2051041"/>
              <a:gd name="connsiteY1389" fmla="*/ 178311 h 2084191"/>
              <a:gd name="connsiteX1390" fmla="*/ 1676103 w 2051041"/>
              <a:gd name="connsiteY1390" fmla="*/ 154911 h 2084191"/>
              <a:gd name="connsiteX1391" fmla="*/ 1681001 w 2051041"/>
              <a:gd name="connsiteY1391" fmla="*/ 94507 h 2084191"/>
              <a:gd name="connsiteX1392" fmla="*/ 1685681 w 2051041"/>
              <a:gd name="connsiteY1392" fmla="*/ 85147 h 2084191"/>
              <a:gd name="connsiteX1393" fmla="*/ 1693517 w 2051041"/>
              <a:gd name="connsiteY1393" fmla="*/ 82536 h 2084191"/>
              <a:gd name="connsiteX1394" fmla="*/ 1747934 w 2051041"/>
              <a:gd name="connsiteY1394" fmla="*/ 77638 h 2084191"/>
              <a:gd name="connsiteX1395" fmla="*/ 1756641 w 2051041"/>
              <a:gd name="connsiteY1395" fmla="*/ 79271 h 2084191"/>
              <a:gd name="connsiteX1396" fmla="*/ 1754464 w 2051041"/>
              <a:gd name="connsiteY1396" fmla="*/ 71652 h 2084191"/>
              <a:gd name="connsiteX1397" fmla="*/ 1752832 w 2051041"/>
              <a:gd name="connsiteY1397" fmla="*/ 68387 h 2084191"/>
              <a:gd name="connsiteX1398" fmla="*/ 1756097 w 2051041"/>
              <a:gd name="connsiteY1398" fmla="*/ 20500 h 2084191"/>
              <a:gd name="connsiteX1399" fmla="*/ 1756641 w 2051041"/>
              <a:gd name="connsiteY1399" fmla="*/ 16146 h 2084191"/>
              <a:gd name="connsiteX1400" fmla="*/ 1751744 w 2051041"/>
              <a:gd name="connsiteY1400" fmla="*/ 15058 h 2084191"/>
              <a:gd name="connsiteX1401" fmla="*/ 1741404 w 2051041"/>
              <a:gd name="connsiteY1401" fmla="*/ 19955 h 2084191"/>
              <a:gd name="connsiteX1402" fmla="*/ 1691884 w 2051041"/>
              <a:gd name="connsiteY1402" fmla="*/ 11249 h 2084191"/>
              <a:gd name="connsiteX1403" fmla="*/ 1685645 w 2051041"/>
              <a:gd name="connsiteY1403" fmla="*/ 8369 h 2084191"/>
              <a:gd name="connsiteX1404" fmla="*/ 1688620 w 2051041"/>
              <a:gd name="connsiteY1404" fmla="*/ 14691 h 2084191"/>
              <a:gd name="connsiteX1405" fmla="*/ 1691885 w 2051041"/>
              <a:gd name="connsiteY1405" fmla="*/ 69652 h 2084191"/>
              <a:gd name="connsiteX1406" fmla="*/ 1684469 w 2051041"/>
              <a:gd name="connsiteY1406" fmla="*/ 82365 h 2084191"/>
              <a:gd name="connsiteX1407" fmla="*/ 1663044 w 2051041"/>
              <a:gd name="connsiteY1407" fmla="*/ 94684 h 2084191"/>
              <a:gd name="connsiteX1408" fmla="*/ 1626584 w 2051041"/>
              <a:gd name="connsiteY1408" fmla="*/ 96861 h 2084191"/>
              <a:gd name="connsiteX1409" fmla="*/ 1590124 w 2051041"/>
              <a:gd name="connsiteY1409" fmla="*/ 60401 h 2084191"/>
              <a:gd name="connsiteX1410" fmla="*/ 1591757 w 2051041"/>
              <a:gd name="connsiteY1410" fmla="*/ 25030 h 2084191"/>
              <a:gd name="connsiteX1411" fmla="*/ 1460066 w 2051041"/>
              <a:gd name="connsiteY1411" fmla="*/ 0 h 2084191"/>
              <a:gd name="connsiteX1412" fmla="*/ 1498513 w 2051041"/>
              <a:gd name="connsiteY1412" fmla="*/ 0 h 2084191"/>
              <a:gd name="connsiteX1413" fmla="*/ 1517204 w 2051041"/>
              <a:gd name="connsiteY1413" fmla="*/ 8092 h 2084191"/>
              <a:gd name="connsiteX1414" fmla="*/ 1531896 w 2051041"/>
              <a:gd name="connsiteY1414" fmla="*/ 45164 h 2084191"/>
              <a:gd name="connsiteX1415" fmla="*/ 1479111 w 2051041"/>
              <a:gd name="connsiteY1415" fmla="*/ 97949 h 2084191"/>
              <a:gd name="connsiteX1416" fmla="*/ 1426870 w 2051041"/>
              <a:gd name="connsiteY1416" fmla="*/ 45164 h 2084191"/>
              <a:gd name="connsiteX1417" fmla="*/ 1441631 w 2051041"/>
              <a:gd name="connsiteY1417" fmla="*/ 7684 h 2084191"/>
              <a:gd name="connsiteX1418" fmla="*/ 1296749 w 2051041"/>
              <a:gd name="connsiteY1418" fmla="*/ 0 h 2084191"/>
              <a:gd name="connsiteX1419" fmla="*/ 1335755 w 2051041"/>
              <a:gd name="connsiteY1419" fmla="*/ 0 h 2084191"/>
              <a:gd name="connsiteX1420" fmla="*/ 1350278 w 2051041"/>
              <a:gd name="connsiteY1420" fmla="*/ 10270 h 2084191"/>
              <a:gd name="connsiteX1421" fmla="*/ 1365923 w 2051041"/>
              <a:gd name="connsiteY1421" fmla="*/ 45165 h 2084191"/>
              <a:gd name="connsiteX1422" fmla="*/ 1315315 w 2051041"/>
              <a:gd name="connsiteY1422" fmla="*/ 93052 h 2084191"/>
              <a:gd name="connsiteX1423" fmla="*/ 1266339 w 2051041"/>
              <a:gd name="connsiteY1423" fmla="*/ 44076 h 2084191"/>
              <a:gd name="connsiteX1424" fmla="*/ 1282732 w 2051041"/>
              <a:gd name="connsiteY1424" fmla="*/ 9317 h 2084191"/>
              <a:gd name="connsiteX1425" fmla="*/ 1148085 w 2051041"/>
              <a:gd name="connsiteY1425" fmla="*/ 0 h 2084191"/>
              <a:gd name="connsiteX1426" fmla="*/ 1161802 w 2051041"/>
              <a:gd name="connsiteY1426" fmla="*/ 0 h 2084191"/>
              <a:gd name="connsiteX1427" fmla="*/ 1169637 w 2051041"/>
              <a:gd name="connsiteY1427" fmla="*/ 1315 h 2084191"/>
              <a:gd name="connsiteX1428" fmla="*/ 1199405 w 2051041"/>
              <a:gd name="connsiteY1428" fmla="*/ 45164 h 2084191"/>
              <a:gd name="connsiteX1429" fmla="*/ 1151518 w 2051041"/>
              <a:gd name="connsiteY1429" fmla="*/ 91419 h 2084191"/>
              <a:gd name="connsiteX1430" fmla="*/ 1105807 w 2051041"/>
              <a:gd name="connsiteY1430" fmla="*/ 44620 h 2084191"/>
              <a:gd name="connsiteX1431" fmla="*/ 1119139 w 2051041"/>
              <a:gd name="connsiteY1431" fmla="*/ 11902 h 20841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Lst>
            <a:rect l="l" t="t" r="r" b="b"/>
            <a:pathLst>
              <a:path w="2051041" h="2084191">
                <a:moveTo>
                  <a:pt x="2051041" y="2080382"/>
                </a:moveTo>
                <a:lnTo>
                  <a:pt x="2051041" y="2083967"/>
                </a:lnTo>
                <a:lnTo>
                  <a:pt x="2047231" y="2084191"/>
                </a:lnTo>
                <a:cubicBezTo>
                  <a:pt x="2046687" y="2084191"/>
                  <a:pt x="2046143" y="2082559"/>
                  <a:pt x="2045599" y="2081470"/>
                </a:cubicBezTo>
                <a:close/>
                <a:moveTo>
                  <a:pt x="1478568" y="1997668"/>
                </a:moveTo>
                <a:cubicBezTo>
                  <a:pt x="1484010" y="1997668"/>
                  <a:pt x="1485642" y="2000933"/>
                  <a:pt x="1484554" y="2004743"/>
                </a:cubicBezTo>
                <a:cubicBezTo>
                  <a:pt x="1484010" y="2006919"/>
                  <a:pt x="1480745" y="2008551"/>
                  <a:pt x="1478568" y="2009096"/>
                </a:cubicBezTo>
                <a:cubicBezTo>
                  <a:pt x="1474759" y="2009640"/>
                  <a:pt x="1473126" y="2007463"/>
                  <a:pt x="1473126" y="2003654"/>
                </a:cubicBezTo>
                <a:cubicBezTo>
                  <a:pt x="1473126" y="1998756"/>
                  <a:pt x="1475303" y="1997124"/>
                  <a:pt x="1478568" y="1997668"/>
                </a:cubicBezTo>
                <a:close/>
                <a:moveTo>
                  <a:pt x="1641820" y="1993859"/>
                </a:moveTo>
                <a:cubicBezTo>
                  <a:pt x="1646718" y="1993314"/>
                  <a:pt x="1652160" y="1999300"/>
                  <a:pt x="1652160" y="2003654"/>
                </a:cubicBezTo>
                <a:cubicBezTo>
                  <a:pt x="1652160" y="2008551"/>
                  <a:pt x="1646718" y="2013449"/>
                  <a:pt x="1641820" y="2013449"/>
                </a:cubicBezTo>
                <a:cubicBezTo>
                  <a:pt x="1636923" y="2013449"/>
                  <a:pt x="1632025" y="2008007"/>
                  <a:pt x="1632025" y="2003654"/>
                </a:cubicBezTo>
                <a:cubicBezTo>
                  <a:pt x="1632025" y="1999300"/>
                  <a:pt x="1638011" y="1993859"/>
                  <a:pt x="1641820" y="1993859"/>
                </a:cubicBezTo>
                <a:close/>
                <a:moveTo>
                  <a:pt x="1969414" y="1992226"/>
                </a:moveTo>
                <a:cubicBezTo>
                  <a:pt x="1976488" y="1992226"/>
                  <a:pt x="1979753" y="1996035"/>
                  <a:pt x="1979753" y="2003654"/>
                </a:cubicBezTo>
                <a:cubicBezTo>
                  <a:pt x="1979753" y="2011272"/>
                  <a:pt x="1975944" y="2014537"/>
                  <a:pt x="1968325" y="2014537"/>
                </a:cubicBezTo>
                <a:cubicBezTo>
                  <a:pt x="1960707" y="2014537"/>
                  <a:pt x="1957442" y="2010728"/>
                  <a:pt x="1957986" y="2003110"/>
                </a:cubicBezTo>
                <a:cubicBezTo>
                  <a:pt x="1957986" y="1994947"/>
                  <a:pt x="1961251" y="1992226"/>
                  <a:pt x="1969414" y="1992226"/>
                </a:cubicBezTo>
                <a:close/>
                <a:moveTo>
                  <a:pt x="1805073" y="1992226"/>
                </a:moveTo>
                <a:cubicBezTo>
                  <a:pt x="1811058" y="1992226"/>
                  <a:pt x="1815956" y="1996035"/>
                  <a:pt x="1815956" y="2002565"/>
                </a:cubicBezTo>
                <a:cubicBezTo>
                  <a:pt x="1816500" y="2009096"/>
                  <a:pt x="1812147" y="2014537"/>
                  <a:pt x="1805073" y="2014537"/>
                </a:cubicBezTo>
                <a:cubicBezTo>
                  <a:pt x="1799087" y="2014537"/>
                  <a:pt x="1794189" y="2010184"/>
                  <a:pt x="1794189" y="2004198"/>
                </a:cubicBezTo>
                <a:cubicBezTo>
                  <a:pt x="1794189" y="1997668"/>
                  <a:pt x="1799087" y="1992770"/>
                  <a:pt x="1805073" y="1992226"/>
                </a:cubicBezTo>
                <a:close/>
                <a:moveTo>
                  <a:pt x="1234233" y="1916042"/>
                </a:moveTo>
                <a:cubicBezTo>
                  <a:pt x="1238586" y="1915497"/>
                  <a:pt x="1240763" y="1917674"/>
                  <a:pt x="1240219" y="1923660"/>
                </a:cubicBezTo>
                <a:cubicBezTo>
                  <a:pt x="1239674" y="1924204"/>
                  <a:pt x="1237498" y="1926381"/>
                  <a:pt x="1236953" y="1926381"/>
                </a:cubicBezTo>
                <a:cubicBezTo>
                  <a:pt x="1234233" y="1924204"/>
                  <a:pt x="1231512" y="1921483"/>
                  <a:pt x="1229335" y="1918762"/>
                </a:cubicBezTo>
                <a:cubicBezTo>
                  <a:pt x="1230968" y="1917674"/>
                  <a:pt x="1232600" y="1916586"/>
                  <a:pt x="1234233" y="1916042"/>
                </a:cubicBezTo>
                <a:close/>
                <a:moveTo>
                  <a:pt x="1397486" y="1911144"/>
                </a:moveTo>
                <a:cubicBezTo>
                  <a:pt x="1402927" y="1911144"/>
                  <a:pt x="1408369" y="1916041"/>
                  <a:pt x="1408369" y="1921483"/>
                </a:cubicBezTo>
                <a:cubicBezTo>
                  <a:pt x="1408369" y="1926925"/>
                  <a:pt x="1404016" y="1931279"/>
                  <a:pt x="1399118" y="1931823"/>
                </a:cubicBezTo>
                <a:cubicBezTo>
                  <a:pt x="1392588" y="1932367"/>
                  <a:pt x="1387146" y="1928013"/>
                  <a:pt x="1387146" y="1922028"/>
                </a:cubicBezTo>
                <a:cubicBezTo>
                  <a:pt x="1386602" y="1916586"/>
                  <a:pt x="1391500" y="1911144"/>
                  <a:pt x="1397486" y="1911144"/>
                </a:cubicBezTo>
                <a:close/>
                <a:moveTo>
                  <a:pt x="1560194" y="1906790"/>
                </a:moveTo>
                <a:cubicBezTo>
                  <a:pt x="1566180" y="1906790"/>
                  <a:pt x="1574342" y="1914953"/>
                  <a:pt x="1574342" y="1921482"/>
                </a:cubicBezTo>
                <a:cubicBezTo>
                  <a:pt x="1574342" y="1928013"/>
                  <a:pt x="1566724" y="1936175"/>
                  <a:pt x="1560738" y="1935631"/>
                </a:cubicBezTo>
                <a:cubicBezTo>
                  <a:pt x="1554752" y="1935631"/>
                  <a:pt x="1547678" y="1928557"/>
                  <a:pt x="1547134" y="1922027"/>
                </a:cubicBezTo>
                <a:cubicBezTo>
                  <a:pt x="1546589" y="1915497"/>
                  <a:pt x="1554208" y="1907334"/>
                  <a:pt x="1560194" y="1906790"/>
                </a:cubicBezTo>
                <a:close/>
                <a:moveTo>
                  <a:pt x="2049952" y="1905702"/>
                </a:moveTo>
                <a:lnTo>
                  <a:pt x="2051041" y="1906027"/>
                </a:lnTo>
                <a:lnTo>
                  <a:pt x="2051041" y="1938133"/>
                </a:lnTo>
                <a:lnTo>
                  <a:pt x="2050496" y="1938353"/>
                </a:lnTo>
                <a:cubicBezTo>
                  <a:pt x="2039613" y="1937808"/>
                  <a:pt x="2034715" y="1933455"/>
                  <a:pt x="2034171" y="1922572"/>
                </a:cubicBezTo>
                <a:cubicBezTo>
                  <a:pt x="2034171" y="1911144"/>
                  <a:pt x="2039069" y="1905702"/>
                  <a:pt x="2049952" y="1905702"/>
                </a:cubicBezTo>
                <a:close/>
                <a:moveTo>
                  <a:pt x="1723447" y="1905702"/>
                </a:moveTo>
                <a:cubicBezTo>
                  <a:pt x="1730521" y="1905702"/>
                  <a:pt x="1739772" y="1914409"/>
                  <a:pt x="1739772" y="1920939"/>
                </a:cubicBezTo>
                <a:cubicBezTo>
                  <a:pt x="1740316" y="1929101"/>
                  <a:pt x="1732698" y="1936720"/>
                  <a:pt x="1724535" y="1937264"/>
                </a:cubicBezTo>
                <a:cubicBezTo>
                  <a:pt x="1716373" y="1937264"/>
                  <a:pt x="1708754" y="1930190"/>
                  <a:pt x="1708210" y="1922027"/>
                </a:cubicBezTo>
                <a:cubicBezTo>
                  <a:pt x="1708210" y="1914953"/>
                  <a:pt x="1716373" y="1905702"/>
                  <a:pt x="1723447" y="1905702"/>
                </a:cubicBezTo>
                <a:close/>
                <a:moveTo>
                  <a:pt x="1887787" y="1905158"/>
                </a:moveTo>
                <a:cubicBezTo>
                  <a:pt x="1898671" y="1905158"/>
                  <a:pt x="1904113" y="1911144"/>
                  <a:pt x="1904113" y="1922028"/>
                </a:cubicBezTo>
                <a:cubicBezTo>
                  <a:pt x="1904113" y="1932367"/>
                  <a:pt x="1898127" y="1937809"/>
                  <a:pt x="1886699" y="1937809"/>
                </a:cubicBezTo>
                <a:cubicBezTo>
                  <a:pt x="1876360" y="1937809"/>
                  <a:pt x="1870918" y="1931823"/>
                  <a:pt x="1870918" y="1921483"/>
                </a:cubicBezTo>
                <a:cubicBezTo>
                  <a:pt x="1870918" y="1910600"/>
                  <a:pt x="1876904" y="1904614"/>
                  <a:pt x="1887787" y="1905158"/>
                </a:cubicBezTo>
                <a:close/>
                <a:moveTo>
                  <a:pt x="1152606" y="1831693"/>
                </a:moveTo>
                <a:cubicBezTo>
                  <a:pt x="1155871" y="1832782"/>
                  <a:pt x="1160769" y="1836591"/>
                  <a:pt x="1161313" y="1839312"/>
                </a:cubicBezTo>
                <a:cubicBezTo>
                  <a:pt x="1160769" y="1843121"/>
                  <a:pt x="1156959" y="1846931"/>
                  <a:pt x="1153694" y="1852916"/>
                </a:cubicBezTo>
                <a:cubicBezTo>
                  <a:pt x="1149341" y="1847475"/>
                  <a:pt x="1146076" y="1844754"/>
                  <a:pt x="1144988" y="1841489"/>
                </a:cubicBezTo>
                <a:cubicBezTo>
                  <a:pt x="1143355" y="1837135"/>
                  <a:pt x="1148797" y="1830605"/>
                  <a:pt x="1152606" y="1831693"/>
                </a:cubicBezTo>
                <a:close/>
                <a:moveTo>
                  <a:pt x="1315315" y="1825708"/>
                </a:moveTo>
                <a:cubicBezTo>
                  <a:pt x="1321301" y="1825164"/>
                  <a:pt x="1331096" y="1834415"/>
                  <a:pt x="1330552" y="1840401"/>
                </a:cubicBezTo>
                <a:cubicBezTo>
                  <a:pt x="1330552" y="1845298"/>
                  <a:pt x="1321301" y="1854549"/>
                  <a:pt x="1316404" y="1854549"/>
                </a:cubicBezTo>
                <a:cubicBezTo>
                  <a:pt x="1310962" y="1855094"/>
                  <a:pt x="1302255" y="1846387"/>
                  <a:pt x="1301711" y="1840945"/>
                </a:cubicBezTo>
                <a:cubicBezTo>
                  <a:pt x="1301167" y="1834959"/>
                  <a:pt x="1309329" y="1826252"/>
                  <a:pt x="1315315" y="1825708"/>
                </a:cubicBezTo>
                <a:close/>
                <a:moveTo>
                  <a:pt x="1479656" y="1822987"/>
                </a:moveTo>
                <a:cubicBezTo>
                  <a:pt x="1489995" y="1823531"/>
                  <a:pt x="1495981" y="1830061"/>
                  <a:pt x="1495981" y="1840401"/>
                </a:cubicBezTo>
                <a:cubicBezTo>
                  <a:pt x="1495981" y="1851284"/>
                  <a:pt x="1490539" y="1856726"/>
                  <a:pt x="1478567" y="1856182"/>
                </a:cubicBezTo>
                <a:cubicBezTo>
                  <a:pt x="1467140" y="1856182"/>
                  <a:pt x="1462242" y="1850740"/>
                  <a:pt x="1462242" y="1839312"/>
                </a:cubicBezTo>
                <a:cubicBezTo>
                  <a:pt x="1462242" y="1828429"/>
                  <a:pt x="1468772" y="1822443"/>
                  <a:pt x="1479656" y="1822987"/>
                </a:cubicBezTo>
                <a:close/>
                <a:moveTo>
                  <a:pt x="1642365" y="1821355"/>
                </a:moveTo>
                <a:cubicBezTo>
                  <a:pt x="1653248" y="1821355"/>
                  <a:pt x="1661955" y="1829518"/>
                  <a:pt x="1660867" y="1840401"/>
                </a:cubicBezTo>
                <a:cubicBezTo>
                  <a:pt x="1659778" y="1853461"/>
                  <a:pt x="1653792" y="1857270"/>
                  <a:pt x="1642365" y="1857270"/>
                </a:cubicBezTo>
                <a:cubicBezTo>
                  <a:pt x="1630937" y="1857270"/>
                  <a:pt x="1624407" y="1850740"/>
                  <a:pt x="1624407" y="1839857"/>
                </a:cubicBezTo>
                <a:cubicBezTo>
                  <a:pt x="1624407" y="1828973"/>
                  <a:pt x="1632025" y="1821355"/>
                  <a:pt x="1642365" y="1821355"/>
                </a:cubicBezTo>
                <a:close/>
                <a:moveTo>
                  <a:pt x="1806162" y="1819723"/>
                </a:moveTo>
                <a:cubicBezTo>
                  <a:pt x="1816501" y="1819723"/>
                  <a:pt x="1827385" y="1831150"/>
                  <a:pt x="1826840" y="1840945"/>
                </a:cubicBezTo>
                <a:cubicBezTo>
                  <a:pt x="1826296" y="1850740"/>
                  <a:pt x="1813780" y="1862168"/>
                  <a:pt x="1804529" y="1861080"/>
                </a:cubicBezTo>
                <a:cubicBezTo>
                  <a:pt x="1795278" y="1860536"/>
                  <a:pt x="1783851" y="1847476"/>
                  <a:pt x="1784395" y="1839313"/>
                </a:cubicBezTo>
                <a:cubicBezTo>
                  <a:pt x="1784939" y="1828973"/>
                  <a:pt x="1796367" y="1819178"/>
                  <a:pt x="1806162" y="1819723"/>
                </a:cubicBezTo>
                <a:close/>
                <a:moveTo>
                  <a:pt x="1968870" y="1819178"/>
                </a:moveTo>
                <a:cubicBezTo>
                  <a:pt x="1980298" y="1819178"/>
                  <a:pt x="1990093" y="1828973"/>
                  <a:pt x="1990093" y="1840401"/>
                </a:cubicBezTo>
                <a:cubicBezTo>
                  <a:pt x="1990093" y="1851285"/>
                  <a:pt x="1980298" y="1861624"/>
                  <a:pt x="1968870" y="1861624"/>
                </a:cubicBezTo>
                <a:cubicBezTo>
                  <a:pt x="1957986" y="1861624"/>
                  <a:pt x="1947647" y="1851285"/>
                  <a:pt x="1947647" y="1840401"/>
                </a:cubicBezTo>
                <a:cubicBezTo>
                  <a:pt x="1947647" y="1828973"/>
                  <a:pt x="1957986" y="1819178"/>
                  <a:pt x="1968870" y="1819178"/>
                </a:cubicBezTo>
                <a:close/>
                <a:moveTo>
                  <a:pt x="1070436" y="1747347"/>
                </a:moveTo>
                <a:cubicBezTo>
                  <a:pt x="1078598" y="1747347"/>
                  <a:pt x="1081863" y="1750612"/>
                  <a:pt x="1081863" y="1758231"/>
                </a:cubicBezTo>
                <a:cubicBezTo>
                  <a:pt x="1081863" y="1766393"/>
                  <a:pt x="1078598" y="1769658"/>
                  <a:pt x="1070980" y="1769658"/>
                </a:cubicBezTo>
                <a:cubicBezTo>
                  <a:pt x="1063361" y="1769658"/>
                  <a:pt x="1060096" y="1766393"/>
                  <a:pt x="1059552" y="1758775"/>
                </a:cubicBezTo>
                <a:cubicBezTo>
                  <a:pt x="1059552" y="1751156"/>
                  <a:pt x="1062817" y="1747347"/>
                  <a:pt x="1070436" y="1747347"/>
                </a:cubicBezTo>
                <a:close/>
                <a:moveTo>
                  <a:pt x="1233688" y="1742449"/>
                </a:moveTo>
                <a:cubicBezTo>
                  <a:pt x="1242939" y="1741904"/>
                  <a:pt x="1250558" y="1750067"/>
                  <a:pt x="1250558" y="1758774"/>
                </a:cubicBezTo>
                <a:cubicBezTo>
                  <a:pt x="1250558" y="1767481"/>
                  <a:pt x="1242939" y="1775099"/>
                  <a:pt x="1233688" y="1775099"/>
                </a:cubicBezTo>
                <a:cubicBezTo>
                  <a:pt x="1224981" y="1775099"/>
                  <a:pt x="1218451" y="1768025"/>
                  <a:pt x="1217907" y="1759318"/>
                </a:cubicBezTo>
                <a:cubicBezTo>
                  <a:pt x="1217907" y="1750067"/>
                  <a:pt x="1224981" y="1742449"/>
                  <a:pt x="1233688" y="1742449"/>
                </a:cubicBezTo>
                <a:close/>
                <a:moveTo>
                  <a:pt x="1399662" y="1739728"/>
                </a:moveTo>
                <a:cubicBezTo>
                  <a:pt x="1410002" y="1740817"/>
                  <a:pt x="1418164" y="1750068"/>
                  <a:pt x="1417076" y="1760407"/>
                </a:cubicBezTo>
                <a:cubicBezTo>
                  <a:pt x="1415988" y="1769114"/>
                  <a:pt x="1404560" y="1779997"/>
                  <a:pt x="1396941" y="1779453"/>
                </a:cubicBezTo>
                <a:cubicBezTo>
                  <a:pt x="1388779" y="1778909"/>
                  <a:pt x="1376807" y="1765305"/>
                  <a:pt x="1377895" y="1757686"/>
                </a:cubicBezTo>
                <a:cubicBezTo>
                  <a:pt x="1379528" y="1746803"/>
                  <a:pt x="1389867" y="1738640"/>
                  <a:pt x="1399662" y="1739728"/>
                </a:cubicBezTo>
                <a:close/>
                <a:moveTo>
                  <a:pt x="1723991" y="1735919"/>
                </a:moveTo>
                <a:cubicBezTo>
                  <a:pt x="1738140" y="1735919"/>
                  <a:pt x="1746847" y="1744626"/>
                  <a:pt x="1746847" y="1758774"/>
                </a:cubicBezTo>
                <a:cubicBezTo>
                  <a:pt x="1746847" y="1772379"/>
                  <a:pt x="1738140" y="1781086"/>
                  <a:pt x="1723991" y="1781086"/>
                </a:cubicBezTo>
                <a:cubicBezTo>
                  <a:pt x="1709299" y="1781086"/>
                  <a:pt x="1701680" y="1773467"/>
                  <a:pt x="1701680" y="1758774"/>
                </a:cubicBezTo>
                <a:cubicBezTo>
                  <a:pt x="1701680" y="1744626"/>
                  <a:pt x="1709843" y="1735919"/>
                  <a:pt x="1723991" y="1735919"/>
                </a:cubicBezTo>
                <a:close/>
                <a:moveTo>
                  <a:pt x="1560194" y="1735919"/>
                </a:moveTo>
                <a:cubicBezTo>
                  <a:pt x="1572710" y="1736463"/>
                  <a:pt x="1582505" y="1746258"/>
                  <a:pt x="1582505" y="1758230"/>
                </a:cubicBezTo>
                <a:cubicBezTo>
                  <a:pt x="1582505" y="1770202"/>
                  <a:pt x="1572710" y="1779997"/>
                  <a:pt x="1560738" y="1779997"/>
                </a:cubicBezTo>
                <a:cubicBezTo>
                  <a:pt x="1549855" y="1779997"/>
                  <a:pt x="1538427" y="1769114"/>
                  <a:pt x="1538427" y="1758230"/>
                </a:cubicBezTo>
                <a:cubicBezTo>
                  <a:pt x="1538427" y="1746803"/>
                  <a:pt x="1548766" y="1735919"/>
                  <a:pt x="1560194" y="1735919"/>
                </a:cubicBezTo>
                <a:close/>
                <a:moveTo>
                  <a:pt x="2051041" y="1734831"/>
                </a:moveTo>
                <a:lnTo>
                  <a:pt x="2051041" y="1781438"/>
                </a:lnTo>
                <a:lnTo>
                  <a:pt x="2050496" y="1781630"/>
                </a:lnTo>
                <a:cubicBezTo>
                  <a:pt x="2033627" y="1782174"/>
                  <a:pt x="2027097" y="1772379"/>
                  <a:pt x="2027097" y="1758775"/>
                </a:cubicBezTo>
                <a:cubicBezTo>
                  <a:pt x="2027097" y="1744082"/>
                  <a:pt x="2033627" y="1734831"/>
                  <a:pt x="2051041" y="1734831"/>
                </a:cubicBezTo>
                <a:close/>
                <a:moveTo>
                  <a:pt x="1887788" y="1734831"/>
                </a:moveTo>
                <a:cubicBezTo>
                  <a:pt x="1902481" y="1735375"/>
                  <a:pt x="1910099" y="1742994"/>
                  <a:pt x="1910099" y="1758775"/>
                </a:cubicBezTo>
                <a:cubicBezTo>
                  <a:pt x="1910099" y="1771835"/>
                  <a:pt x="1903025" y="1782718"/>
                  <a:pt x="1886699" y="1781086"/>
                </a:cubicBezTo>
                <a:cubicBezTo>
                  <a:pt x="1872551" y="1782174"/>
                  <a:pt x="1863844" y="1770203"/>
                  <a:pt x="1863844" y="1757687"/>
                </a:cubicBezTo>
                <a:cubicBezTo>
                  <a:pt x="1863844" y="1742994"/>
                  <a:pt x="1874728" y="1734287"/>
                  <a:pt x="1887788" y="1734831"/>
                </a:cubicBezTo>
                <a:close/>
                <a:moveTo>
                  <a:pt x="826100" y="1671706"/>
                </a:moveTo>
                <a:cubicBezTo>
                  <a:pt x="830454" y="1670618"/>
                  <a:pt x="832086" y="1673338"/>
                  <a:pt x="832086" y="1677692"/>
                </a:cubicBezTo>
                <a:cubicBezTo>
                  <a:pt x="832086" y="1681501"/>
                  <a:pt x="829365" y="1683134"/>
                  <a:pt x="825556" y="1683134"/>
                </a:cubicBezTo>
                <a:cubicBezTo>
                  <a:pt x="821203" y="1683134"/>
                  <a:pt x="819570" y="1679869"/>
                  <a:pt x="820658" y="1676603"/>
                </a:cubicBezTo>
                <a:cubicBezTo>
                  <a:pt x="821203" y="1674427"/>
                  <a:pt x="823924" y="1672250"/>
                  <a:pt x="826100" y="1671706"/>
                </a:cubicBezTo>
                <a:close/>
                <a:moveTo>
                  <a:pt x="989354" y="1661912"/>
                </a:moveTo>
                <a:cubicBezTo>
                  <a:pt x="994251" y="1661912"/>
                  <a:pt x="1004046" y="1671707"/>
                  <a:pt x="1004046" y="1676604"/>
                </a:cubicBezTo>
                <a:cubicBezTo>
                  <a:pt x="1004046" y="1682590"/>
                  <a:pt x="996428" y="1690209"/>
                  <a:pt x="989354" y="1690209"/>
                </a:cubicBezTo>
                <a:cubicBezTo>
                  <a:pt x="982823" y="1690209"/>
                  <a:pt x="975749" y="1683679"/>
                  <a:pt x="975205" y="1677693"/>
                </a:cubicBezTo>
                <a:cubicBezTo>
                  <a:pt x="974661" y="1671707"/>
                  <a:pt x="983912" y="1661367"/>
                  <a:pt x="989354" y="1661912"/>
                </a:cubicBezTo>
                <a:close/>
                <a:moveTo>
                  <a:pt x="1153151" y="1659734"/>
                </a:moveTo>
                <a:cubicBezTo>
                  <a:pt x="1162946" y="1658646"/>
                  <a:pt x="1171108" y="1667353"/>
                  <a:pt x="1170564" y="1677692"/>
                </a:cubicBezTo>
                <a:cubicBezTo>
                  <a:pt x="1170020" y="1688575"/>
                  <a:pt x="1162946" y="1694562"/>
                  <a:pt x="1152062" y="1694562"/>
                </a:cubicBezTo>
                <a:cubicBezTo>
                  <a:pt x="1141179" y="1694017"/>
                  <a:pt x="1135737" y="1688031"/>
                  <a:pt x="1135737" y="1677148"/>
                </a:cubicBezTo>
                <a:cubicBezTo>
                  <a:pt x="1135737" y="1664632"/>
                  <a:pt x="1141179" y="1659190"/>
                  <a:pt x="1153151" y="1659734"/>
                </a:cubicBezTo>
                <a:close/>
                <a:moveTo>
                  <a:pt x="1315315" y="1655381"/>
                </a:moveTo>
                <a:cubicBezTo>
                  <a:pt x="1327287" y="1654836"/>
                  <a:pt x="1337082" y="1664088"/>
                  <a:pt x="1337082" y="1676603"/>
                </a:cubicBezTo>
                <a:cubicBezTo>
                  <a:pt x="1337082" y="1688575"/>
                  <a:pt x="1326743" y="1698915"/>
                  <a:pt x="1315315" y="1698915"/>
                </a:cubicBezTo>
                <a:cubicBezTo>
                  <a:pt x="1304976" y="1698915"/>
                  <a:pt x="1294092" y="1687487"/>
                  <a:pt x="1294092" y="1677148"/>
                </a:cubicBezTo>
                <a:cubicBezTo>
                  <a:pt x="1294092" y="1666264"/>
                  <a:pt x="1304431" y="1655925"/>
                  <a:pt x="1315315" y="1655381"/>
                </a:cubicBezTo>
                <a:close/>
                <a:moveTo>
                  <a:pt x="1479111" y="1654293"/>
                </a:moveTo>
                <a:cubicBezTo>
                  <a:pt x="1495437" y="1653204"/>
                  <a:pt x="1501967" y="1664632"/>
                  <a:pt x="1501967" y="1677692"/>
                </a:cubicBezTo>
                <a:cubicBezTo>
                  <a:pt x="1501967" y="1689664"/>
                  <a:pt x="1492716" y="1700548"/>
                  <a:pt x="1479111" y="1700548"/>
                </a:cubicBezTo>
                <a:cubicBezTo>
                  <a:pt x="1466596" y="1700548"/>
                  <a:pt x="1455712" y="1690208"/>
                  <a:pt x="1455712" y="1676604"/>
                </a:cubicBezTo>
                <a:cubicBezTo>
                  <a:pt x="1456256" y="1663544"/>
                  <a:pt x="1464963" y="1653204"/>
                  <a:pt x="1479111" y="1654293"/>
                </a:cubicBezTo>
                <a:close/>
                <a:moveTo>
                  <a:pt x="1643452" y="1650483"/>
                </a:moveTo>
                <a:cubicBezTo>
                  <a:pt x="1654880" y="1651027"/>
                  <a:pt x="1667940" y="1664087"/>
                  <a:pt x="1668484" y="1676603"/>
                </a:cubicBezTo>
                <a:cubicBezTo>
                  <a:pt x="1669029" y="1689120"/>
                  <a:pt x="1655968" y="1702724"/>
                  <a:pt x="1643452" y="1703268"/>
                </a:cubicBezTo>
                <a:cubicBezTo>
                  <a:pt x="1631480" y="1703812"/>
                  <a:pt x="1617332" y="1690208"/>
                  <a:pt x="1617332" y="1677692"/>
                </a:cubicBezTo>
                <a:cubicBezTo>
                  <a:pt x="1616788" y="1664632"/>
                  <a:pt x="1630392" y="1650483"/>
                  <a:pt x="1643452" y="1650483"/>
                </a:cubicBezTo>
                <a:close/>
                <a:moveTo>
                  <a:pt x="1968326" y="1649940"/>
                </a:moveTo>
                <a:cubicBezTo>
                  <a:pt x="1983019" y="1649395"/>
                  <a:pt x="1997167" y="1664088"/>
                  <a:pt x="1995535" y="1676604"/>
                </a:cubicBezTo>
                <a:cubicBezTo>
                  <a:pt x="1997167" y="1689664"/>
                  <a:pt x="1982474" y="1704901"/>
                  <a:pt x="1968870" y="1704357"/>
                </a:cubicBezTo>
                <a:cubicBezTo>
                  <a:pt x="1954177" y="1703813"/>
                  <a:pt x="1942205" y="1691841"/>
                  <a:pt x="1941661" y="1677148"/>
                </a:cubicBezTo>
                <a:cubicBezTo>
                  <a:pt x="1941117" y="1662456"/>
                  <a:pt x="1956354" y="1649940"/>
                  <a:pt x="1968326" y="1649940"/>
                </a:cubicBezTo>
                <a:close/>
                <a:moveTo>
                  <a:pt x="1805617" y="1649939"/>
                </a:moveTo>
                <a:cubicBezTo>
                  <a:pt x="1819222" y="1648851"/>
                  <a:pt x="1832826" y="1664088"/>
                  <a:pt x="1832826" y="1677148"/>
                </a:cubicBezTo>
                <a:cubicBezTo>
                  <a:pt x="1832282" y="1690752"/>
                  <a:pt x="1819222" y="1703812"/>
                  <a:pt x="1805073" y="1704357"/>
                </a:cubicBezTo>
                <a:cubicBezTo>
                  <a:pt x="1792557" y="1704901"/>
                  <a:pt x="1777864" y="1688031"/>
                  <a:pt x="1778409" y="1677148"/>
                </a:cubicBezTo>
                <a:cubicBezTo>
                  <a:pt x="1779497" y="1662999"/>
                  <a:pt x="1791469" y="1649939"/>
                  <a:pt x="1805617" y="1649939"/>
                </a:cubicBezTo>
                <a:close/>
                <a:moveTo>
                  <a:pt x="744474" y="1588992"/>
                </a:moveTo>
                <a:cubicBezTo>
                  <a:pt x="748827" y="1588992"/>
                  <a:pt x="751004" y="1590624"/>
                  <a:pt x="751004" y="1594978"/>
                </a:cubicBezTo>
                <a:cubicBezTo>
                  <a:pt x="751004" y="1598787"/>
                  <a:pt x="749916" y="1601508"/>
                  <a:pt x="745562" y="1602052"/>
                </a:cubicBezTo>
                <a:cubicBezTo>
                  <a:pt x="740665" y="1602052"/>
                  <a:pt x="738488" y="1600420"/>
                  <a:pt x="738488" y="1594978"/>
                </a:cubicBezTo>
                <a:cubicBezTo>
                  <a:pt x="737944" y="1590624"/>
                  <a:pt x="740121" y="1588992"/>
                  <a:pt x="744474" y="1588992"/>
                </a:cubicBezTo>
                <a:close/>
                <a:moveTo>
                  <a:pt x="907183" y="1579741"/>
                </a:moveTo>
                <a:cubicBezTo>
                  <a:pt x="913169" y="1579197"/>
                  <a:pt x="923508" y="1588992"/>
                  <a:pt x="923508" y="1594978"/>
                </a:cubicBezTo>
                <a:cubicBezTo>
                  <a:pt x="923508" y="1600964"/>
                  <a:pt x="915345" y="1610215"/>
                  <a:pt x="908815" y="1610759"/>
                </a:cubicBezTo>
                <a:cubicBezTo>
                  <a:pt x="901197" y="1611303"/>
                  <a:pt x="892490" y="1603685"/>
                  <a:pt x="892490" y="1595522"/>
                </a:cubicBezTo>
                <a:cubicBezTo>
                  <a:pt x="892490" y="1588448"/>
                  <a:pt x="900653" y="1579741"/>
                  <a:pt x="907183" y="1579741"/>
                </a:cubicBezTo>
                <a:close/>
                <a:moveTo>
                  <a:pt x="1071524" y="1574843"/>
                </a:moveTo>
                <a:cubicBezTo>
                  <a:pt x="1081319" y="1575387"/>
                  <a:pt x="1091114" y="1585726"/>
                  <a:pt x="1091114" y="1595522"/>
                </a:cubicBezTo>
                <a:cubicBezTo>
                  <a:pt x="1091114" y="1605317"/>
                  <a:pt x="1080231" y="1615656"/>
                  <a:pt x="1070980" y="1615656"/>
                </a:cubicBezTo>
                <a:cubicBezTo>
                  <a:pt x="1062273" y="1615656"/>
                  <a:pt x="1050845" y="1604228"/>
                  <a:pt x="1050301" y="1595522"/>
                </a:cubicBezTo>
                <a:cubicBezTo>
                  <a:pt x="1050301" y="1586270"/>
                  <a:pt x="1062273" y="1574299"/>
                  <a:pt x="1071524" y="1574843"/>
                </a:cubicBezTo>
                <a:close/>
                <a:moveTo>
                  <a:pt x="1233688" y="1573210"/>
                </a:moveTo>
                <a:cubicBezTo>
                  <a:pt x="1247837" y="1573210"/>
                  <a:pt x="1256544" y="1581373"/>
                  <a:pt x="1256544" y="1595522"/>
                </a:cubicBezTo>
                <a:cubicBezTo>
                  <a:pt x="1256544" y="1609670"/>
                  <a:pt x="1247837" y="1618377"/>
                  <a:pt x="1233688" y="1618377"/>
                </a:cubicBezTo>
                <a:cubicBezTo>
                  <a:pt x="1221172" y="1618377"/>
                  <a:pt x="1212465" y="1608582"/>
                  <a:pt x="1211377" y="1596610"/>
                </a:cubicBezTo>
                <a:cubicBezTo>
                  <a:pt x="1210289" y="1584638"/>
                  <a:pt x="1222261" y="1571034"/>
                  <a:pt x="1233688" y="1573210"/>
                </a:cubicBezTo>
                <a:close/>
                <a:moveTo>
                  <a:pt x="1398030" y="1569402"/>
                </a:moveTo>
                <a:cubicBezTo>
                  <a:pt x="1411634" y="1569946"/>
                  <a:pt x="1423606" y="1582462"/>
                  <a:pt x="1423062" y="1595522"/>
                </a:cubicBezTo>
                <a:cubicBezTo>
                  <a:pt x="1423062" y="1608582"/>
                  <a:pt x="1410546" y="1621099"/>
                  <a:pt x="1397485" y="1621099"/>
                </a:cubicBezTo>
                <a:cubicBezTo>
                  <a:pt x="1384969" y="1621099"/>
                  <a:pt x="1371365" y="1608038"/>
                  <a:pt x="1371365" y="1595522"/>
                </a:cubicBezTo>
                <a:cubicBezTo>
                  <a:pt x="1371365" y="1582462"/>
                  <a:pt x="1384969" y="1568857"/>
                  <a:pt x="1398030" y="1569402"/>
                </a:cubicBezTo>
                <a:close/>
                <a:moveTo>
                  <a:pt x="1560194" y="1568313"/>
                </a:moveTo>
                <a:cubicBezTo>
                  <a:pt x="1574342" y="1566680"/>
                  <a:pt x="1587403" y="1581373"/>
                  <a:pt x="1587947" y="1594433"/>
                </a:cubicBezTo>
                <a:cubicBezTo>
                  <a:pt x="1588491" y="1608582"/>
                  <a:pt x="1574887" y="1622730"/>
                  <a:pt x="1560194" y="1622730"/>
                </a:cubicBezTo>
                <a:cubicBezTo>
                  <a:pt x="1547134" y="1622730"/>
                  <a:pt x="1532985" y="1608582"/>
                  <a:pt x="1532985" y="1594977"/>
                </a:cubicBezTo>
                <a:cubicBezTo>
                  <a:pt x="1532985" y="1581917"/>
                  <a:pt x="1547134" y="1566680"/>
                  <a:pt x="1560194" y="1568313"/>
                </a:cubicBezTo>
                <a:close/>
                <a:moveTo>
                  <a:pt x="1887244" y="1567225"/>
                </a:moveTo>
                <a:cubicBezTo>
                  <a:pt x="1905202" y="1567225"/>
                  <a:pt x="1915541" y="1578109"/>
                  <a:pt x="1915541" y="1594978"/>
                </a:cubicBezTo>
                <a:cubicBezTo>
                  <a:pt x="1915541" y="1612392"/>
                  <a:pt x="1903569" y="1624363"/>
                  <a:pt x="1886699" y="1623819"/>
                </a:cubicBezTo>
                <a:cubicBezTo>
                  <a:pt x="1872551" y="1623819"/>
                  <a:pt x="1857314" y="1613480"/>
                  <a:pt x="1858947" y="1594978"/>
                </a:cubicBezTo>
                <a:cubicBezTo>
                  <a:pt x="1857858" y="1577564"/>
                  <a:pt x="1870918" y="1567225"/>
                  <a:pt x="1887244" y="1567225"/>
                </a:cubicBezTo>
                <a:close/>
                <a:moveTo>
                  <a:pt x="1724535" y="1567225"/>
                </a:moveTo>
                <a:cubicBezTo>
                  <a:pt x="1743037" y="1567225"/>
                  <a:pt x="1752288" y="1581373"/>
                  <a:pt x="1752288" y="1594978"/>
                </a:cubicBezTo>
                <a:cubicBezTo>
                  <a:pt x="1752288" y="1609127"/>
                  <a:pt x="1741949" y="1623275"/>
                  <a:pt x="1724535" y="1623275"/>
                </a:cubicBezTo>
                <a:cubicBezTo>
                  <a:pt x="1710930" y="1623819"/>
                  <a:pt x="1694605" y="1613480"/>
                  <a:pt x="1696238" y="1594978"/>
                </a:cubicBezTo>
                <a:cubicBezTo>
                  <a:pt x="1694605" y="1577564"/>
                  <a:pt x="1708754" y="1567225"/>
                  <a:pt x="1724535" y="1567225"/>
                </a:cubicBezTo>
                <a:close/>
                <a:moveTo>
                  <a:pt x="2050496" y="1566680"/>
                </a:moveTo>
                <a:lnTo>
                  <a:pt x="2051041" y="1566888"/>
                </a:lnTo>
                <a:lnTo>
                  <a:pt x="2051041" y="1623794"/>
                </a:lnTo>
                <a:lnTo>
                  <a:pt x="2049408" y="1624363"/>
                </a:lnTo>
                <a:cubicBezTo>
                  <a:pt x="2033083" y="1623818"/>
                  <a:pt x="2021111" y="1611302"/>
                  <a:pt x="2021655" y="1594977"/>
                </a:cubicBezTo>
                <a:cubicBezTo>
                  <a:pt x="2022199" y="1575931"/>
                  <a:pt x="2033627" y="1567224"/>
                  <a:pt x="2050496" y="1566680"/>
                </a:cubicBezTo>
                <a:close/>
                <a:moveTo>
                  <a:pt x="663392" y="1505188"/>
                </a:moveTo>
                <a:cubicBezTo>
                  <a:pt x="666113" y="1505188"/>
                  <a:pt x="669922" y="1510086"/>
                  <a:pt x="674819" y="1513895"/>
                </a:cubicBezTo>
                <a:cubicBezTo>
                  <a:pt x="669378" y="1517704"/>
                  <a:pt x="665569" y="1522602"/>
                  <a:pt x="662848" y="1522058"/>
                </a:cubicBezTo>
                <a:cubicBezTo>
                  <a:pt x="659583" y="1521513"/>
                  <a:pt x="654685" y="1516072"/>
                  <a:pt x="654685" y="1513351"/>
                </a:cubicBezTo>
                <a:cubicBezTo>
                  <a:pt x="654685" y="1510086"/>
                  <a:pt x="660127" y="1505188"/>
                  <a:pt x="663392" y="1505188"/>
                </a:cubicBezTo>
                <a:close/>
                <a:moveTo>
                  <a:pt x="826101" y="1497570"/>
                </a:moveTo>
                <a:cubicBezTo>
                  <a:pt x="834263" y="1497025"/>
                  <a:pt x="842426" y="1505188"/>
                  <a:pt x="842970" y="1513351"/>
                </a:cubicBezTo>
                <a:cubicBezTo>
                  <a:pt x="842970" y="1522058"/>
                  <a:pt x="835352" y="1529676"/>
                  <a:pt x="826645" y="1529676"/>
                </a:cubicBezTo>
                <a:cubicBezTo>
                  <a:pt x="818482" y="1529676"/>
                  <a:pt x="810864" y="1523146"/>
                  <a:pt x="810319" y="1514983"/>
                </a:cubicBezTo>
                <a:cubicBezTo>
                  <a:pt x="809775" y="1506276"/>
                  <a:pt x="817394" y="1498114"/>
                  <a:pt x="826101" y="1497570"/>
                </a:cubicBezTo>
                <a:close/>
                <a:moveTo>
                  <a:pt x="988265" y="1492128"/>
                </a:moveTo>
                <a:cubicBezTo>
                  <a:pt x="998605" y="1492128"/>
                  <a:pt x="1010577" y="1501379"/>
                  <a:pt x="1010577" y="1513351"/>
                </a:cubicBezTo>
                <a:cubicBezTo>
                  <a:pt x="1010577" y="1524234"/>
                  <a:pt x="1000237" y="1534574"/>
                  <a:pt x="989354" y="1534574"/>
                </a:cubicBezTo>
                <a:cubicBezTo>
                  <a:pt x="979559" y="1534574"/>
                  <a:pt x="968675" y="1523690"/>
                  <a:pt x="968131" y="1513895"/>
                </a:cubicBezTo>
                <a:cubicBezTo>
                  <a:pt x="968131" y="1503556"/>
                  <a:pt x="977926" y="1492672"/>
                  <a:pt x="988265" y="1492128"/>
                </a:cubicBezTo>
                <a:close/>
                <a:moveTo>
                  <a:pt x="1152606" y="1490496"/>
                </a:moveTo>
                <a:cubicBezTo>
                  <a:pt x="1167299" y="1489407"/>
                  <a:pt x="1176006" y="1498658"/>
                  <a:pt x="1176006" y="1513351"/>
                </a:cubicBezTo>
                <a:cubicBezTo>
                  <a:pt x="1176006" y="1530764"/>
                  <a:pt x="1166755" y="1537295"/>
                  <a:pt x="1152606" y="1537839"/>
                </a:cubicBezTo>
                <a:cubicBezTo>
                  <a:pt x="1139546" y="1537839"/>
                  <a:pt x="1129207" y="1530764"/>
                  <a:pt x="1129207" y="1514984"/>
                </a:cubicBezTo>
                <a:cubicBezTo>
                  <a:pt x="1129207" y="1498114"/>
                  <a:pt x="1138458" y="1491040"/>
                  <a:pt x="1152606" y="1490496"/>
                </a:cubicBezTo>
                <a:close/>
                <a:moveTo>
                  <a:pt x="1316403" y="1487231"/>
                </a:moveTo>
                <a:cubicBezTo>
                  <a:pt x="1331095" y="1487775"/>
                  <a:pt x="1342523" y="1499203"/>
                  <a:pt x="1342523" y="1513896"/>
                </a:cubicBezTo>
                <a:cubicBezTo>
                  <a:pt x="1342523" y="1528588"/>
                  <a:pt x="1330551" y="1540560"/>
                  <a:pt x="1315314" y="1540560"/>
                </a:cubicBezTo>
                <a:cubicBezTo>
                  <a:pt x="1303887" y="1542193"/>
                  <a:pt x="1288106" y="1527500"/>
                  <a:pt x="1288650" y="1513896"/>
                </a:cubicBezTo>
                <a:cubicBezTo>
                  <a:pt x="1289194" y="1498659"/>
                  <a:pt x="1301166" y="1486687"/>
                  <a:pt x="1316403" y="1487231"/>
                </a:cubicBezTo>
                <a:close/>
                <a:moveTo>
                  <a:pt x="1479656" y="1485054"/>
                </a:moveTo>
                <a:cubicBezTo>
                  <a:pt x="1495437" y="1485598"/>
                  <a:pt x="1508497" y="1496482"/>
                  <a:pt x="1507409" y="1513895"/>
                </a:cubicBezTo>
                <a:cubicBezTo>
                  <a:pt x="1508497" y="1527500"/>
                  <a:pt x="1498158" y="1542192"/>
                  <a:pt x="1479112" y="1541648"/>
                </a:cubicBezTo>
                <a:cubicBezTo>
                  <a:pt x="1462787" y="1541648"/>
                  <a:pt x="1451359" y="1529676"/>
                  <a:pt x="1451359" y="1513351"/>
                </a:cubicBezTo>
                <a:cubicBezTo>
                  <a:pt x="1451359" y="1493761"/>
                  <a:pt x="1466596" y="1485054"/>
                  <a:pt x="1479656" y="1485054"/>
                </a:cubicBezTo>
                <a:close/>
                <a:moveTo>
                  <a:pt x="1641820" y="1482334"/>
                </a:moveTo>
                <a:cubicBezTo>
                  <a:pt x="1657057" y="1481789"/>
                  <a:pt x="1672838" y="1496482"/>
                  <a:pt x="1673382" y="1512807"/>
                </a:cubicBezTo>
                <a:cubicBezTo>
                  <a:pt x="1673927" y="1528044"/>
                  <a:pt x="1658145" y="1544370"/>
                  <a:pt x="1642909" y="1544370"/>
                </a:cubicBezTo>
                <a:cubicBezTo>
                  <a:pt x="1626039" y="1542193"/>
                  <a:pt x="1612979" y="1532942"/>
                  <a:pt x="1612435" y="1513351"/>
                </a:cubicBezTo>
                <a:cubicBezTo>
                  <a:pt x="1611890" y="1497571"/>
                  <a:pt x="1626583" y="1483422"/>
                  <a:pt x="1641820" y="1482334"/>
                </a:cubicBezTo>
                <a:close/>
                <a:moveTo>
                  <a:pt x="1804529" y="1481788"/>
                </a:moveTo>
                <a:cubicBezTo>
                  <a:pt x="1820855" y="1481244"/>
                  <a:pt x="1836091" y="1494304"/>
                  <a:pt x="1837180" y="1513351"/>
                </a:cubicBezTo>
                <a:cubicBezTo>
                  <a:pt x="1838812" y="1528043"/>
                  <a:pt x="1825208" y="1544913"/>
                  <a:pt x="1805617" y="1545457"/>
                </a:cubicBezTo>
                <a:cubicBezTo>
                  <a:pt x="1787660" y="1544913"/>
                  <a:pt x="1774055" y="1532397"/>
                  <a:pt x="1773511" y="1514983"/>
                </a:cubicBezTo>
                <a:cubicBezTo>
                  <a:pt x="1772967" y="1494849"/>
                  <a:pt x="1788204" y="1482333"/>
                  <a:pt x="1804529" y="1481788"/>
                </a:cubicBezTo>
                <a:close/>
                <a:moveTo>
                  <a:pt x="1968870" y="1480700"/>
                </a:moveTo>
                <a:cubicBezTo>
                  <a:pt x="1984651" y="1480700"/>
                  <a:pt x="2000977" y="1495937"/>
                  <a:pt x="2000977" y="1513351"/>
                </a:cubicBezTo>
                <a:cubicBezTo>
                  <a:pt x="2001521" y="1529132"/>
                  <a:pt x="1987916" y="1546001"/>
                  <a:pt x="1968870" y="1545457"/>
                </a:cubicBezTo>
                <a:cubicBezTo>
                  <a:pt x="1949824" y="1545457"/>
                  <a:pt x="1936764" y="1530764"/>
                  <a:pt x="1936764" y="1513351"/>
                </a:cubicBezTo>
                <a:cubicBezTo>
                  <a:pt x="1936764" y="1493760"/>
                  <a:pt x="1953633" y="1480700"/>
                  <a:pt x="1968870" y="1480700"/>
                </a:cubicBezTo>
                <a:close/>
                <a:moveTo>
                  <a:pt x="581221" y="1423562"/>
                </a:moveTo>
                <a:cubicBezTo>
                  <a:pt x="586663" y="1423562"/>
                  <a:pt x="589384" y="1427371"/>
                  <a:pt x="588840" y="1431725"/>
                </a:cubicBezTo>
                <a:cubicBezTo>
                  <a:pt x="588840" y="1434990"/>
                  <a:pt x="585030" y="1438255"/>
                  <a:pt x="581765" y="1443153"/>
                </a:cubicBezTo>
                <a:cubicBezTo>
                  <a:pt x="577412" y="1438255"/>
                  <a:pt x="574147" y="1436078"/>
                  <a:pt x="573059" y="1432813"/>
                </a:cubicBezTo>
                <a:cubicBezTo>
                  <a:pt x="571426" y="1429004"/>
                  <a:pt x="576868" y="1423562"/>
                  <a:pt x="581221" y="1423562"/>
                </a:cubicBezTo>
                <a:close/>
                <a:moveTo>
                  <a:pt x="745562" y="1414855"/>
                </a:moveTo>
                <a:cubicBezTo>
                  <a:pt x="754269" y="1415399"/>
                  <a:pt x="761344" y="1423018"/>
                  <a:pt x="761344" y="1432269"/>
                </a:cubicBezTo>
                <a:cubicBezTo>
                  <a:pt x="761344" y="1442064"/>
                  <a:pt x="754813" y="1448050"/>
                  <a:pt x="745018" y="1448050"/>
                </a:cubicBezTo>
                <a:cubicBezTo>
                  <a:pt x="734679" y="1448050"/>
                  <a:pt x="728693" y="1442064"/>
                  <a:pt x="728693" y="1431725"/>
                </a:cubicBezTo>
                <a:cubicBezTo>
                  <a:pt x="728693" y="1421386"/>
                  <a:pt x="735223" y="1414311"/>
                  <a:pt x="745562" y="1414855"/>
                </a:cubicBezTo>
                <a:close/>
                <a:moveTo>
                  <a:pt x="908815" y="1409958"/>
                </a:moveTo>
                <a:cubicBezTo>
                  <a:pt x="920243" y="1410502"/>
                  <a:pt x="930038" y="1420297"/>
                  <a:pt x="930038" y="1431725"/>
                </a:cubicBezTo>
                <a:cubicBezTo>
                  <a:pt x="929494" y="1443697"/>
                  <a:pt x="919155" y="1454036"/>
                  <a:pt x="907183" y="1453492"/>
                </a:cubicBezTo>
                <a:cubicBezTo>
                  <a:pt x="896844" y="1453492"/>
                  <a:pt x="885960" y="1442064"/>
                  <a:pt x="885960" y="1431725"/>
                </a:cubicBezTo>
                <a:cubicBezTo>
                  <a:pt x="885960" y="1420297"/>
                  <a:pt x="897388" y="1409414"/>
                  <a:pt x="908815" y="1409958"/>
                </a:cubicBezTo>
                <a:close/>
                <a:moveTo>
                  <a:pt x="1070436" y="1406693"/>
                </a:moveTo>
                <a:cubicBezTo>
                  <a:pt x="1084584" y="1406693"/>
                  <a:pt x="1096012" y="1418121"/>
                  <a:pt x="1096012" y="1432269"/>
                </a:cubicBezTo>
                <a:cubicBezTo>
                  <a:pt x="1096012" y="1445329"/>
                  <a:pt x="1082952" y="1458390"/>
                  <a:pt x="1070436" y="1457846"/>
                </a:cubicBezTo>
                <a:cubicBezTo>
                  <a:pt x="1058464" y="1457301"/>
                  <a:pt x="1044860" y="1443153"/>
                  <a:pt x="1045404" y="1431181"/>
                </a:cubicBezTo>
                <a:cubicBezTo>
                  <a:pt x="1045948" y="1418665"/>
                  <a:pt x="1057920" y="1406693"/>
                  <a:pt x="1070436" y="1406693"/>
                </a:cubicBezTo>
                <a:close/>
                <a:moveTo>
                  <a:pt x="1235865" y="1404516"/>
                </a:moveTo>
                <a:cubicBezTo>
                  <a:pt x="1252191" y="1405605"/>
                  <a:pt x="1262530" y="1415944"/>
                  <a:pt x="1261986" y="1433358"/>
                </a:cubicBezTo>
                <a:cubicBezTo>
                  <a:pt x="1261442" y="1449683"/>
                  <a:pt x="1251102" y="1459478"/>
                  <a:pt x="1233689" y="1459478"/>
                </a:cubicBezTo>
                <a:cubicBezTo>
                  <a:pt x="1218452" y="1461655"/>
                  <a:pt x="1206480" y="1445329"/>
                  <a:pt x="1206480" y="1432269"/>
                </a:cubicBezTo>
                <a:cubicBezTo>
                  <a:pt x="1206480" y="1417032"/>
                  <a:pt x="1220084" y="1403428"/>
                  <a:pt x="1235865" y="1404516"/>
                </a:cubicBezTo>
                <a:close/>
                <a:moveTo>
                  <a:pt x="1397485" y="1400162"/>
                </a:moveTo>
                <a:cubicBezTo>
                  <a:pt x="1412178" y="1400162"/>
                  <a:pt x="1427959" y="1416487"/>
                  <a:pt x="1427959" y="1431724"/>
                </a:cubicBezTo>
                <a:cubicBezTo>
                  <a:pt x="1428503" y="1446961"/>
                  <a:pt x="1413810" y="1462198"/>
                  <a:pt x="1398029" y="1463287"/>
                </a:cubicBezTo>
                <a:cubicBezTo>
                  <a:pt x="1384425" y="1464375"/>
                  <a:pt x="1367555" y="1448049"/>
                  <a:pt x="1366467" y="1432813"/>
                </a:cubicBezTo>
                <a:cubicBezTo>
                  <a:pt x="1365923" y="1418120"/>
                  <a:pt x="1382792" y="1400162"/>
                  <a:pt x="1397485" y="1400162"/>
                </a:cubicBezTo>
                <a:close/>
                <a:moveTo>
                  <a:pt x="1561282" y="1399618"/>
                </a:moveTo>
                <a:cubicBezTo>
                  <a:pt x="1575975" y="1399618"/>
                  <a:pt x="1593388" y="1415943"/>
                  <a:pt x="1593388" y="1432269"/>
                </a:cubicBezTo>
                <a:cubicBezTo>
                  <a:pt x="1593388" y="1446961"/>
                  <a:pt x="1578696" y="1464919"/>
                  <a:pt x="1560738" y="1464375"/>
                </a:cubicBezTo>
                <a:cubicBezTo>
                  <a:pt x="1542236" y="1463831"/>
                  <a:pt x="1529176" y="1450226"/>
                  <a:pt x="1528631" y="1432813"/>
                </a:cubicBezTo>
                <a:cubicBezTo>
                  <a:pt x="1528087" y="1414311"/>
                  <a:pt x="1545501" y="1399618"/>
                  <a:pt x="1561282" y="1399618"/>
                </a:cubicBezTo>
                <a:close/>
                <a:moveTo>
                  <a:pt x="1723446" y="1399074"/>
                </a:moveTo>
                <a:cubicBezTo>
                  <a:pt x="1741948" y="1399074"/>
                  <a:pt x="1757185" y="1413767"/>
                  <a:pt x="1757185" y="1432269"/>
                </a:cubicBezTo>
                <a:cubicBezTo>
                  <a:pt x="1757185" y="1451315"/>
                  <a:pt x="1743037" y="1463831"/>
                  <a:pt x="1723991" y="1465464"/>
                </a:cubicBezTo>
                <a:cubicBezTo>
                  <a:pt x="1707121" y="1466552"/>
                  <a:pt x="1690252" y="1448594"/>
                  <a:pt x="1691340" y="1433357"/>
                </a:cubicBezTo>
                <a:cubicBezTo>
                  <a:pt x="1692428" y="1412678"/>
                  <a:pt x="1704400" y="1399074"/>
                  <a:pt x="1723446" y="1399074"/>
                </a:cubicBezTo>
                <a:close/>
                <a:moveTo>
                  <a:pt x="1886700" y="1398530"/>
                </a:moveTo>
                <a:cubicBezTo>
                  <a:pt x="1904113" y="1396898"/>
                  <a:pt x="1922071" y="1415944"/>
                  <a:pt x="1920439" y="1432269"/>
                </a:cubicBezTo>
                <a:cubicBezTo>
                  <a:pt x="1919350" y="1451315"/>
                  <a:pt x="1907378" y="1464920"/>
                  <a:pt x="1887788" y="1464920"/>
                </a:cubicBezTo>
                <a:cubicBezTo>
                  <a:pt x="1867109" y="1464920"/>
                  <a:pt x="1854049" y="1452948"/>
                  <a:pt x="1854049" y="1433358"/>
                </a:cubicBezTo>
                <a:cubicBezTo>
                  <a:pt x="1854049" y="1412679"/>
                  <a:pt x="1867109" y="1400163"/>
                  <a:pt x="1886700" y="1398530"/>
                </a:cubicBezTo>
                <a:close/>
                <a:moveTo>
                  <a:pt x="2051041" y="1398217"/>
                </a:moveTo>
                <a:lnTo>
                  <a:pt x="2051041" y="1464535"/>
                </a:lnTo>
                <a:lnTo>
                  <a:pt x="2049953" y="1464920"/>
                </a:lnTo>
                <a:cubicBezTo>
                  <a:pt x="2032539" y="1467096"/>
                  <a:pt x="2017302" y="1450771"/>
                  <a:pt x="2017302" y="1431725"/>
                </a:cubicBezTo>
                <a:cubicBezTo>
                  <a:pt x="2017302" y="1422746"/>
                  <a:pt x="2021383" y="1414311"/>
                  <a:pt x="2027709" y="1408121"/>
                </a:cubicBezTo>
                <a:close/>
                <a:moveTo>
                  <a:pt x="500139" y="1341936"/>
                </a:moveTo>
                <a:cubicBezTo>
                  <a:pt x="503404" y="1343568"/>
                  <a:pt x="506125" y="1346833"/>
                  <a:pt x="511023" y="1350643"/>
                </a:cubicBezTo>
                <a:cubicBezTo>
                  <a:pt x="506125" y="1354452"/>
                  <a:pt x="502860" y="1357717"/>
                  <a:pt x="499595" y="1358261"/>
                </a:cubicBezTo>
                <a:cubicBezTo>
                  <a:pt x="495241" y="1359349"/>
                  <a:pt x="490888" y="1353908"/>
                  <a:pt x="491432" y="1349010"/>
                </a:cubicBezTo>
                <a:cubicBezTo>
                  <a:pt x="491976" y="1344112"/>
                  <a:pt x="495241" y="1340848"/>
                  <a:pt x="500139" y="1341936"/>
                </a:cubicBezTo>
                <a:close/>
                <a:moveTo>
                  <a:pt x="662848" y="1333773"/>
                </a:moveTo>
                <a:cubicBezTo>
                  <a:pt x="673187" y="1333773"/>
                  <a:pt x="679173" y="1340303"/>
                  <a:pt x="679173" y="1350643"/>
                </a:cubicBezTo>
                <a:cubicBezTo>
                  <a:pt x="679173" y="1359894"/>
                  <a:pt x="672099" y="1366424"/>
                  <a:pt x="662848" y="1366424"/>
                </a:cubicBezTo>
                <a:cubicBezTo>
                  <a:pt x="653053" y="1366424"/>
                  <a:pt x="647067" y="1359894"/>
                  <a:pt x="647067" y="1350098"/>
                </a:cubicBezTo>
                <a:cubicBezTo>
                  <a:pt x="647067" y="1339759"/>
                  <a:pt x="653053" y="1333773"/>
                  <a:pt x="662848" y="1333773"/>
                </a:cubicBezTo>
                <a:close/>
                <a:moveTo>
                  <a:pt x="826645" y="1328331"/>
                </a:moveTo>
                <a:cubicBezTo>
                  <a:pt x="838617" y="1328331"/>
                  <a:pt x="848412" y="1338670"/>
                  <a:pt x="847868" y="1350642"/>
                </a:cubicBezTo>
                <a:cubicBezTo>
                  <a:pt x="847868" y="1362070"/>
                  <a:pt x="836984" y="1372409"/>
                  <a:pt x="825556" y="1372409"/>
                </a:cubicBezTo>
                <a:cubicBezTo>
                  <a:pt x="814673" y="1372409"/>
                  <a:pt x="803789" y="1360982"/>
                  <a:pt x="804334" y="1349554"/>
                </a:cubicBezTo>
                <a:cubicBezTo>
                  <a:pt x="804334" y="1337582"/>
                  <a:pt x="814673" y="1328331"/>
                  <a:pt x="826645" y="1328331"/>
                </a:cubicBezTo>
                <a:close/>
                <a:moveTo>
                  <a:pt x="989353" y="1323978"/>
                </a:moveTo>
                <a:cubicBezTo>
                  <a:pt x="1002957" y="1324522"/>
                  <a:pt x="1014385" y="1334861"/>
                  <a:pt x="1015473" y="1350098"/>
                </a:cubicBezTo>
                <a:cubicBezTo>
                  <a:pt x="1014929" y="1363702"/>
                  <a:pt x="1004046" y="1376219"/>
                  <a:pt x="989353" y="1376763"/>
                </a:cubicBezTo>
                <a:cubicBezTo>
                  <a:pt x="976293" y="1376763"/>
                  <a:pt x="963777" y="1364791"/>
                  <a:pt x="963777" y="1350642"/>
                </a:cubicBezTo>
                <a:cubicBezTo>
                  <a:pt x="963233" y="1334861"/>
                  <a:pt x="977925" y="1323434"/>
                  <a:pt x="989353" y="1323978"/>
                </a:cubicBezTo>
                <a:close/>
                <a:moveTo>
                  <a:pt x="1152606" y="1322889"/>
                </a:moveTo>
                <a:cubicBezTo>
                  <a:pt x="1170564" y="1320712"/>
                  <a:pt x="1180903" y="1335405"/>
                  <a:pt x="1181447" y="1350098"/>
                </a:cubicBezTo>
                <a:cubicBezTo>
                  <a:pt x="1181447" y="1364791"/>
                  <a:pt x="1171108" y="1379483"/>
                  <a:pt x="1152606" y="1379483"/>
                </a:cubicBezTo>
                <a:cubicBezTo>
                  <a:pt x="1137913" y="1379483"/>
                  <a:pt x="1124853" y="1367511"/>
                  <a:pt x="1124853" y="1350642"/>
                </a:cubicBezTo>
                <a:cubicBezTo>
                  <a:pt x="1124309" y="1333228"/>
                  <a:pt x="1137913" y="1320712"/>
                  <a:pt x="1152606" y="1322889"/>
                </a:cubicBezTo>
                <a:close/>
                <a:moveTo>
                  <a:pt x="1315315" y="1318536"/>
                </a:moveTo>
                <a:cubicBezTo>
                  <a:pt x="1334361" y="1318536"/>
                  <a:pt x="1345789" y="1331596"/>
                  <a:pt x="1347966" y="1350098"/>
                </a:cubicBezTo>
                <a:cubicBezTo>
                  <a:pt x="1345245" y="1369144"/>
                  <a:pt x="1334905" y="1382205"/>
                  <a:pt x="1315315" y="1381661"/>
                </a:cubicBezTo>
                <a:cubicBezTo>
                  <a:pt x="1296813" y="1381116"/>
                  <a:pt x="1284841" y="1369144"/>
                  <a:pt x="1284297" y="1350098"/>
                </a:cubicBezTo>
                <a:cubicBezTo>
                  <a:pt x="1284297" y="1331052"/>
                  <a:pt x="1297357" y="1319080"/>
                  <a:pt x="1315315" y="1318536"/>
                </a:cubicBezTo>
                <a:close/>
                <a:moveTo>
                  <a:pt x="1480744" y="1317448"/>
                </a:moveTo>
                <a:cubicBezTo>
                  <a:pt x="1499246" y="1317992"/>
                  <a:pt x="1512851" y="1332140"/>
                  <a:pt x="1512306" y="1351731"/>
                </a:cubicBezTo>
                <a:cubicBezTo>
                  <a:pt x="1511762" y="1370233"/>
                  <a:pt x="1497070" y="1383837"/>
                  <a:pt x="1477479" y="1383293"/>
                </a:cubicBezTo>
                <a:cubicBezTo>
                  <a:pt x="1458977" y="1382749"/>
                  <a:pt x="1447550" y="1368600"/>
                  <a:pt x="1446461" y="1349554"/>
                </a:cubicBezTo>
                <a:cubicBezTo>
                  <a:pt x="1445373" y="1333773"/>
                  <a:pt x="1463331" y="1314727"/>
                  <a:pt x="1480744" y="1317448"/>
                </a:cubicBezTo>
                <a:close/>
                <a:moveTo>
                  <a:pt x="1642908" y="1315815"/>
                </a:moveTo>
                <a:cubicBezTo>
                  <a:pt x="1663043" y="1315815"/>
                  <a:pt x="1677735" y="1333229"/>
                  <a:pt x="1676647" y="1351731"/>
                </a:cubicBezTo>
                <a:cubicBezTo>
                  <a:pt x="1675559" y="1371865"/>
                  <a:pt x="1661954" y="1384381"/>
                  <a:pt x="1640732" y="1383837"/>
                </a:cubicBezTo>
                <a:cubicBezTo>
                  <a:pt x="1620597" y="1384381"/>
                  <a:pt x="1608081" y="1368056"/>
                  <a:pt x="1608081" y="1349554"/>
                </a:cubicBezTo>
                <a:cubicBezTo>
                  <a:pt x="1608081" y="1329964"/>
                  <a:pt x="1623318" y="1315815"/>
                  <a:pt x="1642908" y="1315815"/>
                </a:cubicBezTo>
                <a:close/>
                <a:moveTo>
                  <a:pt x="1968870" y="1314183"/>
                </a:moveTo>
                <a:cubicBezTo>
                  <a:pt x="1989548" y="1314727"/>
                  <a:pt x="2004785" y="1329420"/>
                  <a:pt x="2005329" y="1351187"/>
                </a:cubicBezTo>
                <a:cubicBezTo>
                  <a:pt x="2004785" y="1370233"/>
                  <a:pt x="1985739" y="1388735"/>
                  <a:pt x="1967781" y="1388191"/>
                </a:cubicBezTo>
                <a:cubicBezTo>
                  <a:pt x="1949823" y="1387647"/>
                  <a:pt x="1931322" y="1367512"/>
                  <a:pt x="1931866" y="1350098"/>
                </a:cubicBezTo>
                <a:cubicBezTo>
                  <a:pt x="1932410" y="1331596"/>
                  <a:pt x="1950912" y="1313094"/>
                  <a:pt x="1968870" y="1314183"/>
                </a:cubicBezTo>
                <a:close/>
                <a:moveTo>
                  <a:pt x="1806161" y="1313639"/>
                </a:moveTo>
                <a:cubicBezTo>
                  <a:pt x="1825207" y="1314183"/>
                  <a:pt x="1843165" y="1332141"/>
                  <a:pt x="1841533" y="1351187"/>
                </a:cubicBezTo>
                <a:cubicBezTo>
                  <a:pt x="1840988" y="1360438"/>
                  <a:pt x="1838267" y="1370233"/>
                  <a:pt x="1830105" y="1376763"/>
                </a:cubicBezTo>
                <a:cubicBezTo>
                  <a:pt x="1822486" y="1383293"/>
                  <a:pt x="1813235" y="1387102"/>
                  <a:pt x="1803984" y="1387102"/>
                </a:cubicBezTo>
                <a:cubicBezTo>
                  <a:pt x="1786027" y="1387102"/>
                  <a:pt x="1768613" y="1367512"/>
                  <a:pt x="1768613" y="1350098"/>
                </a:cubicBezTo>
                <a:cubicBezTo>
                  <a:pt x="1769157" y="1331596"/>
                  <a:pt x="1788203" y="1313094"/>
                  <a:pt x="1806161" y="1313639"/>
                </a:cubicBezTo>
                <a:close/>
                <a:moveTo>
                  <a:pt x="419057" y="1262486"/>
                </a:moveTo>
                <a:cubicBezTo>
                  <a:pt x="423410" y="1262486"/>
                  <a:pt x="425587" y="1265207"/>
                  <a:pt x="424499" y="1269016"/>
                </a:cubicBezTo>
                <a:cubicBezTo>
                  <a:pt x="423410" y="1271737"/>
                  <a:pt x="421234" y="1273914"/>
                  <a:pt x="417969" y="1278811"/>
                </a:cubicBezTo>
                <a:cubicBezTo>
                  <a:pt x="414704" y="1273914"/>
                  <a:pt x="412527" y="1271737"/>
                  <a:pt x="411983" y="1269016"/>
                </a:cubicBezTo>
                <a:cubicBezTo>
                  <a:pt x="410894" y="1264118"/>
                  <a:pt x="414159" y="1262486"/>
                  <a:pt x="419057" y="1262486"/>
                </a:cubicBezTo>
                <a:close/>
                <a:moveTo>
                  <a:pt x="581221" y="1252147"/>
                </a:moveTo>
                <a:cubicBezTo>
                  <a:pt x="591016" y="1252691"/>
                  <a:pt x="598091" y="1260310"/>
                  <a:pt x="597547" y="1269017"/>
                </a:cubicBezTo>
                <a:cubicBezTo>
                  <a:pt x="597547" y="1278268"/>
                  <a:pt x="589928" y="1284798"/>
                  <a:pt x="580133" y="1284254"/>
                </a:cubicBezTo>
                <a:cubicBezTo>
                  <a:pt x="570882" y="1283709"/>
                  <a:pt x="564896" y="1277179"/>
                  <a:pt x="564896" y="1268472"/>
                </a:cubicBezTo>
                <a:cubicBezTo>
                  <a:pt x="564896" y="1259222"/>
                  <a:pt x="571970" y="1252147"/>
                  <a:pt x="581221" y="1252147"/>
                </a:cubicBezTo>
                <a:close/>
                <a:moveTo>
                  <a:pt x="745018" y="1246705"/>
                </a:moveTo>
                <a:cubicBezTo>
                  <a:pt x="757534" y="1246705"/>
                  <a:pt x="766785" y="1257044"/>
                  <a:pt x="766241" y="1269560"/>
                </a:cubicBezTo>
                <a:cubicBezTo>
                  <a:pt x="765697" y="1280988"/>
                  <a:pt x="755358" y="1290783"/>
                  <a:pt x="744474" y="1290783"/>
                </a:cubicBezTo>
                <a:cubicBezTo>
                  <a:pt x="733046" y="1290783"/>
                  <a:pt x="722707" y="1279900"/>
                  <a:pt x="722707" y="1267928"/>
                </a:cubicBezTo>
                <a:cubicBezTo>
                  <a:pt x="722707" y="1255956"/>
                  <a:pt x="733046" y="1246705"/>
                  <a:pt x="745018" y="1246705"/>
                </a:cubicBezTo>
                <a:close/>
                <a:moveTo>
                  <a:pt x="907727" y="1241807"/>
                </a:moveTo>
                <a:cubicBezTo>
                  <a:pt x="921331" y="1241807"/>
                  <a:pt x="934391" y="1257044"/>
                  <a:pt x="933847" y="1269016"/>
                </a:cubicBezTo>
                <a:cubicBezTo>
                  <a:pt x="933847" y="1282620"/>
                  <a:pt x="920787" y="1295680"/>
                  <a:pt x="907183" y="1295136"/>
                </a:cubicBezTo>
                <a:cubicBezTo>
                  <a:pt x="893578" y="1294592"/>
                  <a:pt x="880518" y="1280988"/>
                  <a:pt x="880518" y="1267927"/>
                </a:cubicBezTo>
                <a:cubicBezTo>
                  <a:pt x="881062" y="1254323"/>
                  <a:pt x="894122" y="1242351"/>
                  <a:pt x="907727" y="1241807"/>
                </a:cubicBezTo>
                <a:close/>
                <a:moveTo>
                  <a:pt x="1070979" y="1240719"/>
                </a:moveTo>
                <a:cubicBezTo>
                  <a:pt x="1091114" y="1240175"/>
                  <a:pt x="1099276" y="1252691"/>
                  <a:pt x="1099821" y="1268472"/>
                </a:cubicBezTo>
                <a:cubicBezTo>
                  <a:pt x="1099821" y="1285886"/>
                  <a:pt x="1088393" y="1297858"/>
                  <a:pt x="1070435" y="1297858"/>
                </a:cubicBezTo>
                <a:cubicBezTo>
                  <a:pt x="1053566" y="1297858"/>
                  <a:pt x="1042138" y="1286430"/>
                  <a:pt x="1042138" y="1269560"/>
                </a:cubicBezTo>
                <a:cubicBezTo>
                  <a:pt x="1042138" y="1250514"/>
                  <a:pt x="1053566" y="1240719"/>
                  <a:pt x="1070979" y="1240719"/>
                </a:cubicBezTo>
                <a:close/>
                <a:moveTo>
                  <a:pt x="1234233" y="1235821"/>
                </a:moveTo>
                <a:cubicBezTo>
                  <a:pt x="1250558" y="1235821"/>
                  <a:pt x="1267972" y="1252691"/>
                  <a:pt x="1266883" y="1269016"/>
                </a:cubicBezTo>
                <a:cubicBezTo>
                  <a:pt x="1266339" y="1285885"/>
                  <a:pt x="1251646" y="1301122"/>
                  <a:pt x="1234233" y="1300578"/>
                </a:cubicBezTo>
                <a:cubicBezTo>
                  <a:pt x="1216275" y="1300578"/>
                  <a:pt x="1201582" y="1286430"/>
                  <a:pt x="1201582" y="1267383"/>
                </a:cubicBezTo>
                <a:cubicBezTo>
                  <a:pt x="1201582" y="1249425"/>
                  <a:pt x="1217907" y="1235821"/>
                  <a:pt x="1234233" y="1235821"/>
                </a:cubicBezTo>
                <a:close/>
                <a:moveTo>
                  <a:pt x="1396397" y="1234733"/>
                </a:moveTo>
                <a:cubicBezTo>
                  <a:pt x="1413810" y="1233645"/>
                  <a:pt x="1433945" y="1250514"/>
                  <a:pt x="1431224" y="1268472"/>
                </a:cubicBezTo>
                <a:cubicBezTo>
                  <a:pt x="1433401" y="1286430"/>
                  <a:pt x="1415443" y="1303299"/>
                  <a:pt x="1396941" y="1302755"/>
                </a:cubicBezTo>
                <a:cubicBezTo>
                  <a:pt x="1381160" y="1302211"/>
                  <a:pt x="1363202" y="1290783"/>
                  <a:pt x="1363746" y="1269016"/>
                </a:cubicBezTo>
                <a:cubicBezTo>
                  <a:pt x="1364290" y="1248881"/>
                  <a:pt x="1376806" y="1235821"/>
                  <a:pt x="1396397" y="1234733"/>
                </a:cubicBezTo>
                <a:close/>
                <a:moveTo>
                  <a:pt x="1559649" y="1232557"/>
                </a:moveTo>
                <a:cubicBezTo>
                  <a:pt x="1580328" y="1232013"/>
                  <a:pt x="1595021" y="1246705"/>
                  <a:pt x="1597742" y="1268472"/>
                </a:cubicBezTo>
                <a:cubicBezTo>
                  <a:pt x="1598286" y="1286974"/>
                  <a:pt x="1580872" y="1304932"/>
                  <a:pt x="1561826" y="1305476"/>
                </a:cubicBezTo>
                <a:cubicBezTo>
                  <a:pt x="1543868" y="1306564"/>
                  <a:pt x="1524822" y="1288063"/>
                  <a:pt x="1523734" y="1269561"/>
                </a:cubicBezTo>
                <a:cubicBezTo>
                  <a:pt x="1522645" y="1252147"/>
                  <a:pt x="1541147" y="1232557"/>
                  <a:pt x="1559649" y="1232557"/>
                </a:cubicBezTo>
                <a:close/>
                <a:moveTo>
                  <a:pt x="1723990" y="1231468"/>
                </a:moveTo>
                <a:cubicBezTo>
                  <a:pt x="1743037" y="1231468"/>
                  <a:pt x="1761539" y="1249426"/>
                  <a:pt x="1762083" y="1268472"/>
                </a:cubicBezTo>
                <a:cubicBezTo>
                  <a:pt x="1762627" y="1290239"/>
                  <a:pt x="1741404" y="1306020"/>
                  <a:pt x="1724535" y="1307109"/>
                </a:cubicBezTo>
                <a:cubicBezTo>
                  <a:pt x="1706033" y="1306564"/>
                  <a:pt x="1687531" y="1290239"/>
                  <a:pt x="1686442" y="1270105"/>
                </a:cubicBezTo>
                <a:cubicBezTo>
                  <a:pt x="1685354" y="1254323"/>
                  <a:pt x="1701679" y="1231468"/>
                  <a:pt x="1723990" y="1231468"/>
                </a:cubicBezTo>
                <a:close/>
                <a:moveTo>
                  <a:pt x="1888332" y="1230924"/>
                </a:moveTo>
                <a:cubicBezTo>
                  <a:pt x="1905745" y="1229836"/>
                  <a:pt x="1928056" y="1250514"/>
                  <a:pt x="1925336" y="1269561"/>
                </a:cubicBezTo>
                <a:cubicBezTo>
                  <a:pt x="1925336" y="1289695"/>
                  <a:pt x="1907378" y="1306564"/>
                  <a:pt x="1887243" y="1307653"/>
                </a:cubicBezTo>
                <a:cubicBezTo>
                  <a:pt x="1870918" y="1308197"/>
                  <a:pt x="1847519" y="1288063"/>
                  <a:pt x="1849151" y="1267928"/>
                </a:cubicBezTo>
                <a:cubicBezTo>
                  <a:pt x="1850239" y="1247794"/>
                  <a:pt x="1867653" y="1231468"/>
                  <a:pt x="1888332" y="1230924"/>
                </a:cubicBezTo>
                <a:close/>
                <a:moveTo>
                  <a:pt x="2049952" y="1230380"/>
                </a:moveTo>
                <a:lnTo>
                  <a:pt x="2051041" y="1230805"/>
                </a:lnTo>
                <a:lnTo>
                  <a:pt x="2051041" y="1307109"/>
                </a:lnTo>
                <a:cubicBezTo>
                  <a:pt x="2033627" y="1309830"/>
                  <a:pt x="2011316" y="1286974"/>
                  <a:pt x="2012404" y="1268472"/>
                </a:cubicBezTo>
                <a:cubicBezTo>
                  <a:pt x="2013493" y="1247794"/>
                  <a:pt x="2029274" y="1230380"/>
                  <a:pt x="2049952" y="1230380"/>
                </a:cubicBezTo>
                <a:close/>
                <a:moveTo>
                  <a:pt x="337431" y="1181404"/>
                </a:moveTo>
                <a:cubicBezTo>
                  <a:pt x="339608" y="1182493"/>
                  <a:pt x="341240" y="1184669"/>
                  <a:pt x="345050" y="1187934"/>
                </a:cubicBezTo>
                <a:cubicBezTo>
                  <a:pt x="340696" y="1190111"/>
                  <a:pt x="338519" y="1192288"/>
                  <a:pt x="336343" y="1192288"/>
                </a:cubicBezTo>
                <a:cubicBezTo>
                  <a:pt x="331445" y="1192832"/>
                  <a:pt x="330901" y="1189567"/>
                  <a:pt x="330901" y="1185758"/>
                </a:cubicBezTo>
                <a:cubicBezTo>
                  <a:pt x="330901" y="1181404"/>
                  <a:pt x="334166" y="1180860"/>
                  <a:pt x="337431" y="1181404"/>
                </a:cubicBezTo>
                <a:close/>
                <a:moveTo>
                  <a:pt x="499051" y="1171065"/>
                </a:moveTo>
                <a:cubicBezTo>
                  <a:pt x="506125" y="1170521"/>
                  <a:pt x="516465" y="1179772"/>
                  <a:pt x="516465" y="1187390"/>
                </a:cubicBezTo>
                <a:cubicBezTo>
                  <a:pt x="515921" y="1193920"/>
                  <a:pt x="507214" y="1202627"/>
                  <a:pt x="500140" y="1202627"/>
                </a:cubicBezTo>
                <a:cubicBezTo>
                  <a:pt x="493065" y="1202627"/>
                  <a:pt x="484358" y="1195008"/>
                  <a:pt x="483814" y="1187390"/>
                </a:cubicBezTo>
                <a:cubicBezTo>
                  <a:pt x="483270" y="1180316"/>
                  <a:pt x="491977" y="1171065"/>
                  <a:pt x="499051" y="1171065"/>
                </a:cubicBezTo>
                <a:close/>
                <a:moveTo>
                  <a:pt x="662848" y="1165623"/>
                </a:moveTo>
                <a:cubicBezTo>
                  <a:pt x="675364" y="1165623"/>
                  <a:pt x="684615" y="1174874"/>
                  <a:pt x="684615" y="1187390"/>
                </a:cubicBezTo>
                <a:cubicBezTo>
                  <a:pt x="684615" y="1199362"/>
                  <a:pt x="674820" y="1209157"/>
                  <a:pt x="662848" y="1209157"/>
                </a:cubicBezTo>
                <a:cubicBezTo>
                  <a:pt x="651420" y="1209157"/>
                  <a:pt x="641081" y="1198274"/>
                  <a:pt x="641081" y="1186846"/>
                </a:cubicBezTo>
                <a:cubicBezTo>
                  <a:pt x="641081" y="1175418"/>
                  <a:pt x="651420" y="1165623"/>
                  <a:pt x="662848" y="1165623"/>
                </a:cubicBezTo>
                <a:close/>
                <a:moveTo>
                  <a:pt x="825556" y="1160725"/>
                </a:moveTo>
                <a:cubicBezTo>
                  <a:pt x="840249" y="1161270"/>
                  <a:pt x="851677" y="1171609"/>
                  <a:pt x="852765" y="1186846"/>
                </a:cubicBezTo>
                <a:cubicBezTo>
                  <a:pt x="853309" y="1199906"/>
                  <a:pt x="840249" y="1213511"/>
                  <a:pt x="826645" y="1213511"/>
                </a:cubicBezTo>
                <a:cubicBezTo>
                  <a:pt x="813585" y="1214055"/>
                  <a:pt x="799980" y="1200995"/>
                  <a:pt x="798892" y="1188479"/>
                </a:cubicBezTo>
                <a:cubicBezTo>
                  <a:pt x="797803" y="1173241"/>
                  <a:pt x="814129" y="1160181"/>
                  <a:pt x="825556" y="1160725"/>
                </a:cubicBezTo>
                <a:close/>
                <a:moveTo>
                  <a:pt x="989353" y="1158004"/>
                </a:moveTo>
                <a:cubicBezTo>
                  <a:pt x="1007855" y="1159092"/>
                  <a:pt x="1018739" y="1168888"/>
                  <a:pt x="1018195" y="1187934"/>
                </a:cubicBezTo>
                <a:cubicBezTo>
                  <a:pt x="1017651" y="1206436"/>
                  <a:pt x="1007311" y="1216231"/>
                  <a:pt x="988809" y="1216775"/>
                </a:cubicBezTo>
                <a:cubicBezTo>
                  <a:pt x="972484" y="1217319"/>
                  <a:pt x="960512" y="1203715"/>
                  <a:pt x="959968" y="1187934"/>
                </a:cubicBezTo>
                <a:cubicBezTo>
                  <a:pt x="959968" y="1170520"/>
                  <a:pt x="972484" y="1158004"/>
                  <a:pt x="989353" y="1158004"/>
                </a:cubicBezTo>
                <a:close/>
                <a:moveTo>
                  <a:pt x="1152062" y="1153651"/>
                </a:moveTo>
                <a:cubicBezTo>
                  <a:pt x="1166755" y="1152562"/>
                  <a:pt x="1186345" y="1171065"/>
                  <a:pt x="1185801" y="1186301"/>
                </a:cubicBezTo>
                <a:cubicBezTo>
                  <a:pt x="1184713" y="1205348"/>
                  <a:pt x="1171652" y="1218952"/>
                  <a:pt x="1153150" y="1219496"/>
                </a:cubicBezTo>
                <a:cubicBezTo>
                  <a:pt x="1135193" y="1221129"/>
                  <a:pt x="1119412" y="1204259"/>
                  <a:pt x="1119956" y="1187390"/>
                </a:cubicBezTo>
                <a:cubicBezTo>
                  <a:pt x="1120500" y="1168888"/>
                  <a:pt x="1134648" y="1154739"/>
                  <a:pt x="1152062" y="1153651"/>
                </a:cubicBezTo>
                <a:close/>
                <a:moveTo>
                  <a:pt x="1315315" y="1152018"/>
                </a:moveTo>
                <a:cubicBezTo>
                  <a:pt x="1336537" y="1151474"/>
                  <a:pt x="1351230" y="1169432"/>
                  <a:pt x="1351230" y="1186845"/>
                </a:cubicBezTo>
                <a:cubicBezTo>
                  <a:pt x="1350686" y="1205891"/>
                  <a:pt x="1338714" y="1222217"/>
                  <a:pt x="1315859" y="1221673"/>
                </a:cubicBezTo>
                <a:cubicBezTo>
                  <a:pt x="1294092" y="1221128"/>
                  <a:pt x="1282120" y="1209157"/>
                  <a:pt x="1281576" y="1187390"/>
                </a:cubicBezTo>
                <a:cubicBezTo>
                  <a:pt x="1281031" y="1167255"/>
                  <a:pt x="1295724" y="1152562"/>
                  <a:pt x="1315315" y="1152018"/>
                </a:cubicBezTo>
                <a:close/>
                <a:moveTo>
                  <a:pt x="1479656" y="1149298"/>
                </a:moveTo>
                <a:cubicBezTo>
                  <a:pt x="1500878" y="1149842"/>
                  <a:pt x="1517204" y="1168888"/>
                  <a:pt x="1516660" y="1188479"/>
                </a:cubicBezTo>
                <a:cubicBezTo>
                  <a:pt x="1515027" y="1210246"/>
                  <a:pt x="1495981" y="1224938"/>
                  <a:pt x="1478023" y="1224394"/>
                </a:cubicBezTo>
                <a:cubicBezTo>
                  <a:pt x="1457889" y="1223850"/>
                  <a:pt x="1439931" y="1205892"/>
                  <a:pt x="1441563" y="1185758"/>
                </a:cubicBezTo>
                <a:cubicBezTo>
                  <a:pt x="1442652" y="1166167"/>
                  <a:pt x="1458977" y="1149298"/>
                  <a:pt x="1479656" y="1149298"/>
                </a:cubicBezTo>
                <a:close/>
                <a:moveTo>
                  <a:pt x="1642365" y="1148209"/>
                </a:moveTo>
                <a:cubicBezTo>
                  <a:pt x="1659779" y="1147121"/>
                  <a:pt x="1681001" y="1166711"/>
                  <a:pt x="1681001" y="1187390"/>
                </a:cubicBezTo>
                <a:cubicBezTo>
                  <a:pt x="1681001" y="1208613"/>
                  <a:pt x="1658690" y="1226026"/>
                  <a:pt x="1641821" y="1226026"/>
                </a:cubicBezTo>
                <a:cubicBezTo>
                  <a:pt x="1624407" y="1226026"/>
                  <a:pt x="1601007" y="1205348"/>
                  <a:pt x="1603728" y="1186846"/>
                </a:cubicBezTo>
                <a:cubicBezTo>
                  <a:pt x="1603728" y="1165623"/>
                  <a:pt x="1621686" y="1149298"/>
                  <a:pt x="1642365" y="1148209"/>
                </a:cubicBezTo>
                <a:close/>
                <a:moveTo>
                  <a:pt x="1969414" y="1147665"/>
                </a:moveTo>
                <a:cubicBezTo>
                  <a:pt x="1991725" y="1146032"/>
                  <a:pt x="2009139" y="1165623"/>
                  <a:pt x="2009139" y="1187934"/>
                </a:cubicBezTo>
                <a:cubicBezTo>
                  <a:pt x="2008595" y="1209157"/>
                  <a:pt x="1990093" y="1227114"/>
                  <a:pt x="1968870" y="1227114"/>
                </a:cubicBezTo>
                <a:cubicBezTo>
                  <a:pt x="1949824" y="1227114"/>
                  <a:pt x="1928601" y="1209701"/>
                  <a:pt x="1929145" y="1186301"/>
                </a:cubicBezTo>
                <a:cubicBezTo>
                  <a:pt x="1929145" y="1165623"/>
                  <a:pt x="1948191" y="1145488"/>
                  <a:pt x="1969414" y="1147665"/>
                </a:cubicBezTo>
                <a:close/>
                <a:moveTo>
                  <a:pt x="1805617" y="1147665"/>
                </a:moveTo>
                <a:cubicBezTo>
                  <a:pt x="1825752" y="1147665"/>
                  <a:pt x="1845342" y="1165078"/>
                  <a:pt x="1844798" y="1187934"/>
                </a:cubicBezTo>
                <a:cubicBezTo>
                  <a:pt x="1844254" y="1208612"/>
                  <a:pt x="1824664" y="1227115"/>
                  <a:pt x="1805073" y="1226571"/>
                </a:cubicBezTo>
                <a:cubicBezTo>
                  <a:pt x="1787115" y="1226571"/>
                  <a:pt x="1764260" y="1209701"/>
                  <a:pt x="1766981" y="1186845"/>
                </a:cubicBezTo>
                <a:cubicBezTo>
                  <a:pt x="1764804" y="1165623"/>
                  <a:pt x="1786027" y="1147665"/>
                  <a:pt x="1805617" y="1147665"/>
                </a:cubicBezTo>
                <a:close/>
                <a:moveTo>
                  <a:pt x="417425" y="1090527"/>
                </a:moveTo>
                <a:cubicBezTo>
                  <a:pt x="423955" y="1090527"/>
                  <a:pt x="433206" y="1099234"/>
                  <a:pt x="432662" y="1105764"/>
                </a:cubicBezTo>
                <a:cubicBezTo>
                  <a:pt x="432662" y="1111206"/>
                  <a:pt x="423955" y="1119912"/>
                  <a:pt x="417969" y="1120457"/>
                </a:cubicBezTo>
                <a:cubicBezTo>
                  <a:pt x="411439" y="1121001"/>
                  <a:pt x="402188" y="1111750"/>
                  <a:pt x="402732" y="1105219"/>
                </a:cubicBezTo>
                <a:cubicBezTo>
                  <a:pt x="402732" y="1099234"/>
                  <a:pt x="411439" y="1090527"/>
                  <a:pt x="417425" y="1090527"/>
                </a:cubicBezTo>
                <a:close/>
                <a:moveTo>
                  <a:pt x="580677" y="1083996"/>
                </a:moveTo>
                <a:cubicBezTo>
                  <a:pt x="592105" y="1083996"/>
                  <a:pt x="601900" y="1093791"/>
                  <a:pt x="602444" y="1105219"/>
                </a:cubicBezTo>
                <a:cubicBezTo>
                  <a:pt x="602988" y="1116647"/>
                  <a:pt x="593193" y="1126986"/>
                  <a:pt x="581221" y="1127530"/>
                </a:cubicBezTo>
                <a:cubicBezTo>
                  <a:pt x="570338" y="1127530"/>
                  <a:pt x="558910" y="1116102"/>
                  <a:pt x="558910" y="1105219"/>
                </a:cubicBezTo>
                <a:cubicBezTo>
                  <a:pt x="558910" y="1094880"/>
                  <a:pt x="570338" y="1083996"/>
                  <a:pt x="580677" y="1083996"/>
                </a:cubicBezTo>
                <a:close/>
                <a:moveTo>
                  <a:pt x="743386" y="1079099"/>
                </a:moveTo>
                <a:cubicBezTo>
                  <a:pt x="756991" y="1079099"/>
                  <a:pt x="769507" y="1088894"/>
                  <a:pt x="770595" y="1105219"/>
                </a:cubicBezTo>
                <a:cubicBezTo>
                  <a:pt x="771683" y="1116103"/>
                  <a:pt x="760800" y="1131340"/>
                  <a:pt x="745019" y="1132428"/>
                </a:cubicBezTo>
                <a:cubicBezTo>
                  <a:pt x="734135" y="1134061"/>
                  <a:pt x="717810" y="1118280"/>
                  <a:pt x="717810" y="1106308"/>
                </a:cubicBezTo>
                <a:cubicBezTo>
                  <a:pt x="717810" y="1091071"/>
                  <a:pt x="731414" y="1079099"/>
                  <a:pt x="743386" y="1079099"/>
                </a:cubicBezTo>
                <a:close/>
                <a:moveTo>
                  <a:pt x="907727" y="1076378"/>
                </a:moveTo>
                <a:cubicBezTo>
                  <a:pt x="926773" y="1076378"/>
                  <a:pt x="937112" y="1087262"/>
                  <a:pt x="937112" y="1105219"/>
                </a:cubicBezTo>
                <a:cubicBezTo>
                  <a:pt x="937112" y="1121545"/>
                  <a:pt x="928950" y="1134061"/>
                  <a:pt x="908271" y="1134061"/>
                </a:cubicBezTo>
                <a:cubicBezTo>
                  <a:pt x="888681" y="1134605"/>
                  <a:pt x="878341" y="1122633"/>
                  <a:pt x="878885" y="1105764"/>
                </a:cubicBezTo>
                <a:cubicBezTo>
                  <a:pt x="878341" y="1086173"/>
                  <a:pt x="892490" y="1076378"/>
                  <a:pt x="907727" y="1076378"/>
                </a:cubicBezTo>
                <a:close/>
                <a:moveTo>
                  <a:pt x="1071524" y="1072569"/>
                </a:moveTo>
                <a:cubicBezTo>
                  <a:pt x="1089482" y="1072569"/>
                  <a:pt x="1104174" y="1087806"/>
                  <a:pt x="1104174" y="1105220"/>
                </a:cubicBezTo>
                <a:cubicBezTo>
                  <a:pt x="1104174" y="1123722"/>
                  <a:pt x="1090026" y="1137870"/>
                  <a:pt x="1070435" y="1137870"/>
                </a:cubicBezTo>
                <a:cubicBezTo>
                  <a:pt x="1054110" y="1140047"/>
                  <a:pt x="1037241" y="1121545"/>
                  <a:pt x="1038329" y="1105764"/>
                </a:cubicBezTo>
                <a:cubicBezTo>
                  <a:pt x="1039417" y="1086173"/>
                  <a:pt x="1052478" y="1072569"/>
                  <a:pt x="1071524" y="1072569"/>
                </a:cubicBezTo>
                <a:close/>
                <a:moveTo>
                  <a:pt x="1235865" y="1068760"/>
                </a:moveTo>
                <a:cubicBezTo>
                  <a:pt x="1254912" y="1070392"/>
                  <a:pt x="1272325" y="1088894"/>
                  <a:pt x="1271237" y="1106852"/>
                </a:cubicBezTo>
                <a:cubicBezTo>
                  <a:pt x="1270149" y="1124810"/>
                  <a:pt x="1252735" y="1142223"/>
                  <a:pt x="1234777" y="1142223"/>
                </a:cubicBezTo>
                <a:cubicBezTo>
                  <a:pt x="1215187" y="1142223"/>
                  <a:pt x="1197773" y="1124265"/>
                  <a:pt x="1198861" y="1105219"/>
                </a:cubicBezTo>
                <a:cubicBezTo>
                  <a:pt x="1199406" y="1085629"/>
                  <a:pt x="1217908" y="1067127"/>
                  <a:pt x="1235865" y="1068760"/>
                </a:cubicBezTo>
                <a:close/>
                <a:moveTo>
                  <a:pt x="1396397" y="1067127"/>
                </a:moveTo>
                <a:cubicBezTo>
                  <a:pt x="1416532" y="1065494"/>
                  <a:pt x="1437755" y="1087806"/>
                  <a:pt x="1435578" y="1105219"/>
                </a:cubicBezTo>
                <a:cubicBezTo>
                  <a:pt x="1437210" y="1125898"/>
                  <a:pt x="1413267" y="1144400"/>
                  <a:pt x="1396941" y="1143856"/>
                </a:cubicBezTo>
                <a:cubicBezTo>
                  <a:pt x="1377895" y="1143856"/>
                  <a:pt x="1358305" y="1122633"/>
                  <a:pt x="1358849" y="1105763"/>
                </a:cubicBezTo>
                <a:cubicBezTo>
                  <a:pt x="1359393" y="1085629"/>
                  <a:pt x="1376807" y="1068759"/>
                  <a:pt x="1396397" y="1067127"/>
                </a:cubicBezTo>
                <a:close/>
                <a:moveTo>
                  <a:pt x="1560738" y="1066582"/>
                </a:moveTo>
                <a:cubicBezTo>
                  <a:pt x="1581961" y="1063862"/>
                  <a:pt x="1599919" y="1083452"/>
                  <a:pt x="1599919" y="1105763"/>
                </a:cubicBezTo>
                <a:cubicBezTo>
                  <a:pt x="1599919" y="1127530"/>
                  <a:pt x="1581417" y="1144400"/>
                  <a:pt x="1560738" y="1144400"/>
                </a:cubicBezTo>
                <a:cubicBezTo>
                  <a:pt x="1538971" y="1144400"/>
                  <a:pt x="1521557" y="1125898"/>
                  <a:pt x="1521013" y="1105763"/>
                </a:cubicBezTo>
                <a:cubicBezTo>
                  <a:pt x="1521013" y="1085629"/>
                  <a:pt x="1538971" y="1063862"/>
                  <a:pt x="1560738" y="1066582"/>
                </a:cubicBezTo>
                <a:close/>
                <a:moveTo>
                  <a:pt x="1723447" y="1064406"/>
                </a:moveTo>
                <a:cubicBezTo>
                  <a:pt x="1744126" y="1063862"/>
                  <a:pt x="1763716" y="1076378"/>
                  <a:pt x="1764260" y="1104675"/>
                </a:cubicBezTo>
                <a:cubicBezTo>
                  <a:pt x="1764804" y="1130796"/>
                  <a:pt x="1745758" y="1145488"/>
                  <a:pt x="1724535" y="1146032"/>
                </a:cubicBezTo>
                <a:cubicBezTo>
                  <a:pt x="1703313" y="1147121"/>
                  <a:pt x="1683722" y="1130796"/>
                  <a:pt x="1683178" y="1105764"/>
                </a:cubicBezTo>
                <a:cubicBezTo>
                  <a:pt x="1684266" y="1082364"/>
                  <a:pt x="1698415" y="1064950"/>
                  <a:pt x="1723447" y="1064406"/>
                </a:cubicBezTo>
                <a:close/>
                <a:moveTo>
                  <a:pt x="2051041" y="1063318"/>
                </a:moveTo>
                <a:lnTo>
                  <a:pt x="2051041" y="1147740"/>
                </a:lnTo>
                <a:lnTo>
                  <a:pt x="2049952" y="1148210"/>
                </a:lnTo>
                <a:cubicBezTo>
                  <a:pt x="2028730" y="1147121"/>
                  <a:pt x="2008051" y="1128619"/>
                  <a:pt x="2008051" y="1105764"/>
                </a:cubicBezTo>
                <a:cubicBezTo>
                  <a:pt x="2008595" y="1081276"/>
                  <a:pt x="2027641" y="1063862"/>
                  <a:pt x="2051041" y="1063318"/>
                </a:cubicBezTo>
                <a:close/>
                <a:moveTo>
                  <a:pt x="1887787" y="1062773"/>
                </a:moveTo>
                <a:cubicBezTo>
                  <a:pt x="1909554" y="1063862"/>
                  <a:pt x="1930233" y="1084540"/>
                  <a:pt x="1929145" y="1105763"/>
                </a:cubicBezTo>
                <a:cubicBezTo>
                  <a:pt x="1928056" y="1130251"/>
                  <a:pt x="1908466" y="1147121"/>
                  <a:pt x="1886699" y="1147665"/>
                </a:cubicBezTo>
                <a:cubicBezTo>
                  <a:pt x="1862755" y="1145488"/>
                  <a:pt x="1845886" y="1127530"/>
                  <a:pt x="1844798" y="1105219"/>
                </a:cubicBezTo>
                <a:cubicBezTo>
                  <a:pt x="1844253" y="1083996"/>
                  <a:pt x="1867109" y="1061685"/>
                  <a:pt x="1887787" y="1062773"/>
                </a:cubicBezTo>
                <a:close/>
                <a:moveTo>
                  <a:pt x="335798" y="1011621"/>
                </a:moveTo>
                <a:cubicBezTo>
                  <a:pt x="343960" y="1011621"/>
                  <a:pt x="347770" y="1014886"/>
                  <a:pt x="348314" y="1023049"/>
                </a:cubicBezTo>
                <a:cubicBezTo>
                  <a:pt x="348314" y="1031755"/>
                  <a:pt x="344505" y="1036109"/>
                  <a:pt x="336886" y="1036109"/>
                </a:cubicBezTo>
                <a:cubicBezTo>
                  <a:pt x="329268" y="1036109"/>
                  <a:pt x="324914" y="1032300"/>
                  <a:pt x="324370" y="1024681"/>
                </a:cubicBezTo>
                <a:cubicBezTo>
                  <a:pt x="323826" y="1015974"/>
                  <a:pt x="327635" y="1011621"/>
                  <a:pt x="335798" y="1011621"/>
                </a:cubicBezTo>
                <a:close/>
                <a:moveTo>
                  <a:pt x="499051" y="1002914"/>
                </a:moveTo>
                <a:cubicBezTo>
                  <a:pt x="508846" y="1002370"/>
                  <a:pt x="520818" y="1014342"/>
                  <a:pt x="520818" y="1024137"/>
                </a:cubicBezTo>
                <a:cubicBezTo>
                  <a:pt x="520818" y="1032844"/>
                  <a:pt x="508846" y="1045360"/>
                  <a:pt x="499595" y="1045360"/>
                </a:cubicBezTo>
                <a:cubicBezTo>
                  <a:pt x="490888" y="1045360"/>
                  <a:pt x="478372" y="1032844"/>
                  <a:pt x="478372" y="1024137"/>
                </a:cubicBezTo>
                <a:cubicBezTo>
                  <a:pt x="478372" y="1014886"/>
                  <a:pt x="489800" y="1002914"/>
                  <a:pt x="499051" y="1002914"/>
                </a:cubicBezTo>
                <a:close/>
                <a:moveTo>
                  <a:pt x="663392" y="997473"/>
                </a:moveTo>
                <a:cubicBezTo>
                  <a:pt x="675908" y="998561"/>
                  <a:pt x="688968" y="1011622"/>
                  <a:pt x="688424" y="1024138"/>
                </a:cubicBezTo>
                <a:cubicBezTo>
                  <a:pt x="687880" y="1039374"/>
                  <a:pt x="676452" y="1050802"/>
                  <a:pt x="661759" y="1050258"/>
                </a:cubicBezTo>
                <a:cubicBezTo>
                  <a:pt x="647066" y="1049170"/>
                  <a:pt x="637271" y="1036109"/>
                  <a:pt x="636727" y="1023593"/>
                </a:cubicBezTo>
                <a:cubicBezTo>
                  <a:pt x="637271" y="1010533"/>
                  <a:pt x="651420" y="996929"/>
                  <a:pt x="663392" y="997473"/>
                </a:cubicBezTo>
                <a:close/>
                <a:moveTo>
                  <a:pt x="826645" y="995840"/>
                </a:moveTo>
                <a:cubicBezTo>
                  <a:pt x="845147" y="995296"/>
                  <a:pt x="855486" y="1007267"/>
                  <a:pt x="854942" y="1024137"/>
                </a:cubicBezTo>
                <a:cubicBezTo>
                  <a:pt x="855486" y="1039374"/>
                  <a:pt x="845147" y="1052978"/>
                  <a:pt x="825557" y="1052978"/>
                </a:cubicBezTo>
                <a:cubicBezTo>
                  <a:pt x="808143" y="1052434"/>
                  <a:pt x="796715" y="1041006"/>
                  <a:pt x="797260" y="1023593"/>
                </a:cubicBezTo>
                <a:cubicBezTo>
                  <a:pt x="797260" y="1005635"/>
                  <a:pt x="808687" y="995840"/>
                  <a:pt x="826645" y="995840"/>
                </a:cubicBezTo>
                <a:close/>
                <a:moveTo>
                  <a:pt x="990441" y="990942"/>
                </a:moveTo>
                <a:cubicBezTo>
                  <a:pt x="1008943" y="990942"/>
                  <a:pt x="1023092" y="1006179"/>
                  <a:pt x="1022548" y="1025225"/>
                </a:cubicBezTo>
                <a:cubicBezTo>
                  <a:pt x="1022004" y="1043183"/>
                  <a:pt x="1007311" y="1056243"/>
                  <a:pt x="988809" y="1056787"/>
                </a:cubicBezTo>
                <a:cubicBezTo>
                  <a:pt x="973028" y="1057332"/>
                  <a:pt x="956702" y="1041551"/>
                  <a:pt x="956702" y="1023593"/>
                </a:cubicBezTo>
                <a:cubicBezTo>
                  <a:pt x="956158" y="1006723"/>
                  <a:pt x="973572" y="988221"/>
                  <a:pt x="990441" y="990942"/>
                </a:cubicBezTo>
                <a:close/>
                <a:moveTo>
                  <a:pt x="1150974" y="987678"/>
                </a:moveTo>
                <a:cubicBezTo>
                  <a:pt x="1170020" y="986045"/>
                  <a:pt x="1189066" y="1004547"/>
                  <a:pt x="1189610" y="1023593"/>
                </a:cubicBezTo>
                <a:cubicBezTo>
                  <a:pt x="1190154" y="1042095"/>
                  <a:pt x="1170564" y="1061685"/>
                  <a:pt x="1152062" y="1061685"/>
                </a:cubicBezTo>
                <a:cubicBezTo>
                  <a:pt x="1134104" y="1061685"/>
                  <a:pt x="1115602" y="1042639"/>
                  <a:pt x="1115058" y="1024682"/>
                </a:cubicBezTo>
                <a:cubicBezTo>
                  <a:pt x="1115058" y="1006724"/>
                  <a:pt x="1133016" y="988222"/>
                  <a:pt x="1150974" y="987678"/>
                </a:cubicBezTo>
                <a:close/>
                <a:moveTo>
                  <a:pt x="1315314" y="985501"/>
                </a:moveTo>
                <a:cubicBezTo>
                  <a:pt x="1335993" y="983868"/>
                  <a:pt x="1354495" y="1005635"/>
                  <a:pt x="1354495" y="1023593"/>
                </a:cubicBezTo>
                <a:cubicBezTo>
                  <a:pt x="1355039" y="1042639"/>
                  <a:pt x="1333816" y="1065495"/>
                  <a:pt x="1315858" y="1062230"/>
                </a:cubicBezTo>
                <a:cubicBezTo>
                  <a:pt x="1294636" y="1062230"/>
                  <a:pt x="1277222" y="1045360"/>
                  <a:pt x="1277222" y="1024137"/>
                </a:cubicBezTo>
                <a:cubicBezTo>
                  <a:pt x="1277222" y="1002914"/>
                  <a:pt x="1294091" y="986589"/>
                  <a:pt x="1315314" y="985501"/>
                </a:cubicBezTo>
                <a:close/>
                <a:moveTo>
                  <a:pt x="1479656" y="984412"/>
                </a:moveTo>
                <a:cubicBezTo>
                  <a:pt x="1503055" y="984412"/>
                  <a:pt x="1519925" y="1000737"/>
                  <a:pt x="1519380" y="1025225"/>
                </a:cubicBezTo>
                <a:cubicBezTo>
                  <a:pt x="1518836" y="1045904"/>
                  <a:pt x="1502511" y="1065494"/>
                  <a:pt x="1478567" y="1063318"/>
                </a:cubicBezTo>
                <a:cubicBezTo>
                  <a:pt x="1454624" y="1064950"/>
                  <a:pt x="1438842" y="1044816"/>
                  <a:pt x="1439387" y="1023593"/>
                </a:cubicBezTo>
                <a:cubicBezTo>
                  <a:pt x="1439931" y="1000193"/>
                  <a:pt x="1455712" y="983868"/>
                  <a:pt x="1479656" y="984412"/>
                </a:cubicBezTo>
                <a:close/>
                <a:moveTo>
                  <a:pt x="1641820" y="981691"/>
                </a:moveTo>
                <a:cubicBezTo>
                  <a:pt x="1665220" y="981691"/>
                  <a:pt x="1683178" y="999649"/>
                  <a:pt x="1684810" y="1023592"/>
                </a:cubicBezTo>
                <a:cubicBezTo>
                  <a:pt x="1683722" y="1048625"/>
                  <a:pt x="1665220" y="1066038"/>
                  <a:pt x="1642909" y="1066038"/>
                </a:cubicBezTo>
                <a:cubicBezTo>
                  <a:pt x="1618421" y="1066038"/>
                  <a:pt x="1599919" y="1047536"/>
                  <a:pt x="1599919" y="1023592"/>
                </a:cubicBezTo>
                <a:cubicBezTo>
                  <a:pt x="1599919" y="1001281"/>
                  <a:pt x="1616788" y="982235"/>
                  <a:pt x="1641820" y="981691"/>
                </a:cubicBezTo>
                <a:close/>
                <a:moveTo>
                  <a:pt x="1806161" y="980603"/>
                </a:moveTo>
                <a:cubicBezTo>
                  <a:pt x="1829561" y="980603"/>
                  <a:pt x="1848607" y="1000737"/>
                  <a:pt x="1849151" y="1023592"/>
                </a:cubicBezTo>
                <a:cubicBezTo>
                  <a:pt x="1849151" y="1046992"/>
                  <a:pt x="1827928" y="1068215"/>
                  <a:pt x="1805617" y="1067127"/>
                </a:cubicBezTo>
                <a:cubicBezTo>
                  <a:pt x="1781673" y="1068215"/>
                  <a:pt x="1762083" y="1044815"/>
                  <a:pt x="1762083" y="1023592"/>
                </a:cubicBezTo>
                <a:cubicBezTo>
                  <a:pt x="1762083" y="1002370"/>
                  <a:pt x="1781673" y="980058"/>
                  <a:pt x="1806161" y="980603"/>
                </a:cubicBezTo>
                <a:close/>
                <a:moveTo>
                  <a:pt x="1969414" y="980059"/>
                </a:moveTo>
                <a:cubicBezTo>
                  <a:pt x="1993358" y="980603"/>
                  <a:pt x="2012404" y="1001282"/>
                  <a:pt x="2012404" y="1024137"/>
                </a:cubicBezTo>
                <a:cubicBezTo>
                  <a:pt x="2012404" y="1046449"/>
                  <a:pt x="1991726" y="1069304"/>
                  <a:pt x="1968870" y="1067127"/>
                </a:cubicBezTo>
                <a:cubicBezTo>
                  <a:pt x="1946015" y="1068760"/>
                  <a:pt x="1925336" y="1044272"/>
                  <a:pt x="1924792" y="1024137"/>
                </a:cubicBezTo>
                <a:cubicBezTo>
                  <a:pt x="1924792" y="1002914"/>
                  <a:pt x="1944382" y="980059"/>
                  <a:pt x="1969414" y="980059"/>
                </a:cubicBezTo>
                <a:close/>
                <a:moveTo>
                  <a:pt x="254171" y="931083"/>
                </a:moveTo>
                <a:cubicBezTo>
                  <a:pt x="260701" y="931083"/>
                  <a:pt x="265599" y="935437"/>
                  <a:pt x="265599" y="941967"/>
                </a:cubicBezTo>
                <a:cubicBezTo>
                  <a:pt x="265599" y="948497"/>
                  <a:pt x="260701" y="952850"/>
                  <a:pt x="254171" y="952850"/>
                </a:cubicBezTo>
                <a:cubicBezTo>
                  <a:pt x="247641" y="952850"/>
                  <a:pt x="243832" y="948497"/>
                  <a:pt x="243832" y="941967"/>
                </a:cubicBezTo>
                <a:cubicBezTo>
                  <a:pt x="243832" y="935437"/>
                  <a:pt x="247641" y="931627"/>
                  <a:pt x="254171" y="931083"/>
                </a:cubicBezTo>
                <a:close/>
                <a:moveTo>
                  <a:pt x="417968" y="922377"/>
                </a:moveTo>
                <a:cubicBezTo>
                  <a:pt x="427219" y="921833"/>
                  <a:pt x="437559" y="932716"/>
                  <a:pt x="437559" y="942511"/>
                </a:cubicBezTo>
                <a:cubicBezTo>
                  <a:pt x="437559" y="951762"/>
                  <a:pt x="427219" y="961557"/>
                  <a:pt x="417968" y="961557"/>
                </a:cubicBezTo>
                <a:cubicBezTo>
                  <a:pt x="409262" y="961557"/>
                  <a:pt x="397290" y="949585"/>
                  <a:pt x="397834" y="941423"/>
                </a:cubicBezTo>
                <a:cubicBezTo>
                  <a:pt x="398378" y="933260"/>
                  <a:pt x="409806" y="922377"/>
                  <a:pt x="417968" y="922377"/>
                </a:cubicBezTo>
                <a:close/>
                <a:moveTo>
                  <a:pt x="581222" y="916934"/>
                </a:moveTo>
                <a:cubicBezTo>
                  <a:pt x="593738" y="916934"/>
                  <a:pt x="607342" y="931082"/>
                  <a:pt x="606798" y="943054"/>
                </a:cubicBezTo>
                <a:cubicBezTo>
                  <a:pt x="606254" y="955570"/>
                  <a:pt x="593738" y="967542"/>
                  <a:pt x="581222" y="967542"/>
                </a:cubicBezTo>
                <a:cubicBezTo>
                  <a:pt x="567617" y="966454"/>
                  <a:pt x="557278" y="958291"/>
                  <a:pt x="556190" y="943054"/>
                </a:cubicBezTo>
                <a:cubicBezTo>
                  <a:pt x="555101" y="929994"/>
                  <a:pt x="568161" y="916934"/>
                  <a:pt x="581222" y="916934"/>
                </a:cubicBezTo>
                <a:close/>
                <a:moveTo>
                  <a:pt x="744474" y="913669"/>
                </a:moveTo>
                <a:cubicBezTo>
                  <a:pt x="765153" y="913669"/>
                  <a:pt x="773860" y="927273"/>
                  <a:pt x="773315" y="942510"/>
                </a:cubicBezTo>
                <a:cubicBezTo>
                  <a:pt x="772771" y="959924"/>
                  <a:pt x="761344" y="971352"/>
                  <a:pt x="743930" y="970807"/>
                </a:cubicBezTo>
                <a:cubicBezTo>
                  <a:pt x="727061" y="970807"/>
                  <a:pt x="716177" y="959380"/>
                  <a:pt x="716177" y="941966"/>
                </a:cubicBezTo>
                <a:cubicBezTo>
                  <a:pt x="716177" y="923464"/>
                  <a:pt x="727605" y="914213"/>
                  <a:pt x="744474" y="913669"/>
                </a:cubicBezTo>
                <a:close/>
                <a:moveTo>
                  <a:pt x="908271" y="908772"/>
                </a:moveTo>
                <a:cubicBezTo>
                  <a:pt x="927317" y="910405"/>
                  <a:pt x="940922" y="924553"/>
                  <a:pt x="940377" y="944144"/>
                </a:cubicBezTo>
                <a:cubicBezTo>
                  <a:pt x="939833" y="962101"/>
                  <a:pt x="925141" y="975162"/>
                  <a:pt x="906094" y="975162"/>
                </a:cubicBezTo>
                <a:cubicBezTo>
                  <a:pt x="890313" y="975162"/>
                  <a:pt x="873988" y="959925"/>
                  <a:pt x="874532" y="940879"/>
                </a:cubicBezTo>
                <a:cubicBezTo>
                  <a:pt x="874532" y="925641"/>
                  <a:pt x="891402" y="907684"/>
                  <a:pt x="908271" y="908772"/>
                </a:cubicBezTo>
                <a:close/>
                <a:moveTo>
                  <a:pt x="1072068" y="906051"/>
                </a:moveTo>
                <a:cubicBezTo>
                  <a:pt x="1093291" y="907683"/>
                  <a:pt x="1105807" y="921832"/>
                  <a:pt x="1107984" y="942511"/>
                </a:cubicBezTo>
                <a:cubicBezTo>
                  <a:pt x="1107984" y="961013"/>
                  <a:pt x="1088938" y="979515"/>
                  <a:pt x="1070980" y="979515"/>
                </a:cubicBezTo>
                <a:cubicBezTo>
                  <a:pt x="1053022" y="979515"/>
                  <a:pt x="1034520" y="960469"/>
                  <a:pt x="1034520" y="942511"/>
                </a:cubicBezTo>
                <a:cubicBezTo>
                  <a:pt x="1034520" y="923465"/>
                  <a:pt x="1053566" y="904419"/>
                  <a:pt x="1072068" y="906051"/>
                </a:cubicBezTo>
                <a:close/>
                <a:moveTo>
                  <a:pt x="1235321" y="903874"/>
                </a:moveTo>
                <a:cubicBezTo>
                  <a:pt x="1257088" y="903874"/>
                  <a:pt x="1272325" y="920199"/>
                  <a:pt x="1272325" y="943054"/>
                </a:cubicBezTo>
                <a:cubicBezTo>
                  <a:pt x="1275045" y="962645"/>
                  <a:pt x="1251646" y="982779"/>
                  <a:pt x="1233688" y="981147"/>
                </a:cubicBezTo>
                <a:cubicBezTo>
                  <a:pt x="1211921" y="979514"/>
                  <a:pt x="1195052" y="963189"/>
                  <a:pt x="1195596" y="940878"/>
                </a:cubicBezTo>
                <a:cubicBezTo>
                  <a:pt x="1196140" y="919111"/>
                  <a:pt x="1212465" y="903330"/>
                  <a:pt x="1235321" y="903874"/>
                </a:cubicBezTo>
                <a:close/>
                <a:moveTo>
                  <a:pt x="1397486" y="901153"/>
                </a:moveTo>
                <a:cubicBezTo>
                  <a:pt x="1420885" y="901698"/>
                  <a:pt x="1437755" y="917479"/>
                  <a:pt x="1438299" y="942511"/>
                </a:cubicBezTo>
                <a:cubicBezTo>
                  <a:pt x="1437210" y="966999"/>
                  <a:pt x="1420341" y="983324"/>
                  <a:pt x="1396941" y="983324"/>
                </a:cubicBezTo>
                <a:cubicBezTo>
                  <a:pt x="1371909" y="983324"/>
                  <a:pt x="1355584" y="963190"/>
                  <a:pt x="1356128" y="941967"/>
                </a:cubicBezTo>
                <a:cubicBezTo>
                  <a:pt x="1356128" y="919655"/>
                  <a:pt x="1373542" y="900609"/>
                  <a:pt x="1397486" y="901153"/>
                </a:cubicBezTo>
                <a:close/>
                <a:moveTo>
                  <a:pt x="1560738" y="898977"/>
                </a:moveTo>
                <a:cubicBezTo>
                  <a:pt x="1584138" y="899521"/>
                  <a:pt x="1603728" y="917479"/>
                  <a:pt x="1603728" y="942511"/>
                </a:cubicBezTo>
                <a:cubicBezTo>
                  <a:pt x="1603728" y="966999"/>
                  <a:pt x="1581961" y="985501"/>
                  <a:pt x="1560738" y="985501"/>
                </a:cubicBezTo>
                <a:cubicBezTo>
                  <a:pt x="1537883" y="985501"/>
                  <a:pt x="1516660" y="963734"/>
                  <a:pt x="1517204" y="941423"/>
                </a:cubicBezTo>
                <a:cubicBezTo>
                  <a:pt x="1517748" y="919656"/>
                  <a:pt x="1535706" y="898977"/>
                  <a:pt x="1560738" y="898977"/>
                </a:cubicBezTo>
                <a:close/>
                <a:moveTo>
                  <a:pt x="1723990" y="897888"/>
                </a:moveTo>
                <a:cubicBezTo>
                  <a:pt x="1747934" y="897888"/>
                  <a:pt x="1769701" y="919111"/>
                  <a:pt x="1768069" y="942510"/>
                </a:cubicBezTo>
                <a:cubicBezTo>
                  <a:pt x="1770245" y="965366"/>
                  <a:pt x="1746302" y="987133"/>
                  <a:pt x="1723990" y="986589"/>
                </a:cubicBezTo>
                <a:cubicBezTo>
                  <a:pt x="1701679" y="986589"/>
                  <a:pt x="1679912" y="964278"/>
                  <a:pt x="1679912" y="941422"/>
                </a:cubicBezTo>
                <a:cubicBezTo>
                  <a:pt x="1680456" y="919655"/>
                  <a:pt x="1700047" y="897888"/>
                  <a:pt x="1723990" y="897888"/>
                </a:cubicBezTo>
                <a:close/>
                <a:moveTo>
                  <a:pt x="2050497" y="897344"/>
                </a:moveTo>
                <a:lnTo>
                  <a:pt x="2051041" y="897453"/>
                </a:lnTo>
                <a:lnTo>
                  <a:pt x="2051041" y="986917"/>
                </a:lnTo>
                <a:lnTo>
                  <a:pt x="2049952" y="987133"/>
                </a:lnTo>
                <a:cubicBezTo>
                  <a:pt x="2026553" y="987133"/>
                  <a:pt x="2004786" y="965366"/>
                  <a:pt x="2005330" y="941422"/>
                </a:cubicBezTo>
                <a:cubicBezTo>
                  <a:pt x="2005874" y="918023"/>
                  <a:pt x="2026009" y="897344"/>
                  <a:pt x="2050497" y="897344"/>
                </a:cubicBezTo>
                <a:close/>
                <a:moveTo>
                  <a:pt x="1887243" y="897344"/>
                </a:moveTo>
                <a:cubicBezTo>
                  <a:pt x="1910099" y="897344"/>
                  <a:pt x="1931866" y="916390"/>
                  <a:pt x="1931866" y="942511"/>
                </a:cubicBezTo>
                <a:cubicBezTo>
                  <a:pt x="1931866" y="965910"/>
                  <a:pt x="1910099" y="986589"/>
                  <a:pt x="1887243" y="986589"/>
                </a:cubicBezTo>
                <a:cubicBezTo>
                  <a:pt x="1864932" y="987133"/>
                  <a:pt x="1839900" y="965910"/>
                  <a:pt x="1843165" y="941422"/>
                </a:cubicBezTo>
                <a:cubicBezTo>
                  <a:pt x="1840444" y="918567"/>
                  <a:pt x="1863299" y="897344"/>
                  <a:pt x="1887243" y="897344"/>
                </a:cubicBezTo>
                <a:close/>
                <a:moveTo>
                  <a:pt x="172545" y="854354"/>
                </a:moveTo>
                <a:cubicBezTo>
                  <a:pt x="176899" y="854354"/>
                  <a:pt x="179619" y="855442"/>
                  <a:pt x="179619" y="860884"/>
                </a:cubicBezTo>
                <a:cubicBezTo>
                  <a:pt x="180164" y="864693"/>
                  <a:pt x="177987" y="866870"/>
                  <a:pt x="173634" y="866870"/>
                </a:cubicBezTo>
                <a:cubicBezTo>
                  <a:pt x="169824" y="866870"/>
                  <a:pt x="166559" y="866870"/>
                  <a:pt x="166015" y="861973"/>
                </a:cubicBezTo>
                <a:cubicBezTo>
                  <a:pt x="165471" y="857075"/>
                  <a:pt x="167103" y="854354"/>
                  <a:pt x="172545" y="854354"/>
                </a:cubicBezTo>
                <a:close/>
                <a:moveTo>
                  <a:pt x="336342" y="843471"/>
                </a:moveTo>
                <a:cubicBezTo>
                  <a:pt x="346681" y="844015"/>
                  <a:pt x="353211" y="849457"/>
                  <a:pt x="353211" y="860340"/>
                </a:cubicBezTo>
                <a:cubicBezTo>
                  <a:pt x="353211" y="872312"/>
                  <a:pt x="348858" y="876665"/>
                  <a:pt x="336886" y="877210"/>
                </a:cubicBezTo>
                <a:cubicBezTo>
                  <a:pt x="324370" y="877210"/>
                  <a:pt x="320561" y="872856"/>
                  <a:pt x="320017" y="860884"/>
                </a:cubicBezTo>
                <a:cubicBezTo>
                  <a:pt x="319473" y="851089"/>
                  <a:pt x="327635" y="842927"/>
                  <a:pt x="336342" y="843471"/>
                </a:cubicBezTo>
                <a:close/>
                <a:moveTo>
                  <a:pt x="500139" y="837485"/>
                </a:moveTo>
                <a:cubicBezTo>
                  <a:pt x="514832" y="837485"/>
                  <a:pt x="522994" y="846735"/>
                  <a:pt x="522994" y="861428"/>
                </a:cubicBezTo>
                <a:cubicBezTo>
                  <a:pt x="522994" y="876121"/>
                  <a:pt x="513743" y="884284"/>
                  <a:pt x="499595" y="884284"/>
                </a:cubicBezTo>
                <a:cubicBezTo>
                  <a:pt x="485446" y="883740"/>
                  <a:pt x="475651" y="875033"/>
                  <a:pt x="476739" y="860340"/>
                </a:cubicBezTo>
                <a:cubicBezTo>
                  <a:pt x="476195" y="842926"/>
                  <a:pt x="489256" y="836940"/>
                  <a:pt x="500139" y="837485"/>
                </a:cubicBezTo>
                <a:close/>
                <a:moveTo>
                  <a:pt x="662848" y="832587"/>
                </a:moveTo>
                <a:cubicBezTo>
                  <a:pt x="677541" y="832587"/>
                  <a:pt x="691689" y="842926"/>
                  <a:pt x="690057" y="860340"/>
                </a:cubicBezTo>
                <a:cubicBezTo>
                  <a:pt x="691689" y="876121"/>
                  <a:pt x="679718" y="888637"/>
                  <a:pt x="662848" y="888637"/>
                </a:cubicBezTo>
                <a:cubicBezTo>
                  <a:pt x="644890" y="888637"/>
                  <a:pt x="634551" y="874489"/>
                  <a:pt x="634551" y="861428"/>
                </a:cubicBezTo>
                <a:cubicBezTo>
                  <a:pt x="634551" y="842926"/>
                  <a:pt x="647611" y="832587"/>
                  <a:pt x="662848" y="832587"/>
                </a:cubicBezTo>
                <a:close/>
                <a:moveTo>
                  <a:pt x="826101" y="827146"/>
                </a:moveTo>
                <a:cubicBezTo>
                  <a:pt x="840249" y="826602"/>
                  <a:pt x="859840" y="843471"/>
                  <a:pt x="859295" y="860885"/>
                </a:cubicBezTo>
                <a:cubicBezTo>
                  <a:pt x="858751" y="875033"/>
                  <a:pt x="844603" y="894624"/>
                  <a:pt x="825556" y="892991"/>
                </a:cubicBezTo>
                <a:cubicBezTo>
                  <a:pt x="808687" y="894079"/>
                  <a:pt x="793450" y="877754"/>
                  <a:pt x="793450" y="860885"/>
                </a:cubicBezTo>
                <a:cubicBezTo>
                  <a:pt x="793994" y="842927"/>
                  <a:pt x="808143" y="828234"/>
                  <a:pt x="826101" y="827146"/>
                </a:cubicBezTo>
                <a:close/>
                <a:moveTo>
                  <a:pt x="988809" y="824424"/>
                </a:moveTo>
                <a:cubicBezTo>
                  <a:pt x="1010576" y="825512"/>
                  <a:pt x="1024180" y="839661"/>
                  <a:pt x="1025813" y="860339"/>
                </a:cubicBezTo>
                <a:cubicBezTo>
                  <a:pt x="1026901" y="878842"/>
                  <a:pt x="1008399" y="896799"/>
                  <a:pt x="989897" y="897344"/>
                </a:cubicBezTo>
                <a:cubicBezTo>
                  <a:pt x="971939" y="897344"/>
                  <a:pt x="953982" y="880474"/>
                  <a:pt x="953437" y="861972"/>
                </a:cubicBezTo>
                <a:cubicBezTo>
                  <a:pt x="951805" y="842926"/>
                  <a:pt x="969763" y="824968"/>
                  <a:pt x="988809" y="824424"/>
                </a:cubicBezTo>
                <a:close/>
                <a:moveTo>
                  <a:pt x="1153695" y="821704"/>
                </a:moveTo>
                <a:cubicBezTo>
                  <a:pt x="1175462" y="822248"/>
                  <a:pt x="1191243" y="839118"/>
                  <a:pt x="1191243" y="861429"/>
                </a:cubicBezTo>
                <a:cubicBezTo>
                  <a:pt x="1193964" y="882107"/>
                  <a:pt x="1169476" y="900610"/>
                  <a:pt x="1152606" y="899521"/>
                </a:cubicBezTo>
                <a:cubicBezTo>
                  <a:pt x="1130839" y="898433"/>
                  <a:pt x="1114514" y="882107"/>
                  <a:pt x="1114514" y="859252"/>
                </a:cubicBezTo>
                <a:cubicBezTo>
                  <a:pt x="1115058" y="837485"/>
                  <a:pt x="1131928" y="821704"/>
                  <a:pt x="1153695" y="821704"/>
                </a:cubicBezTo>
                <a:close/>
                <a:moveTo>
                  <a:pt x="1316403" y="818982"/>
                </a:moveTo>
                <a:cubicBezTo>
                  <a:pt x="1341979" y="820071"/>
                  <a:pt x="1356128" y="838573"/>
                  <a:pt x="1357216" y="860884"/>
                </a:cubicBezTo>
                <a:cubicBezTo>
                  <a:pt x="1356128" y="884828"/>
                  <a:pt x="1337626" y="901697"/>
                  <a:pt x="1315315" y="901697"/>
                </a:cubicBezTo>
                <a:cubicBezTo>
                  <a:pt x="1293003" y="901697"/>
                  <a:pt x="1273957" y="884284"/>
                  <a:pt x="1274501" y="860340"/>
                </a:cubicBezTo>
                <a:cubicBezTo>
                  <a:pt x="1275046" y="835852"/>
                  <a:pt x="1291915" y="818438"/>
                  <a:pt x="1316403" y="818982"/>
                </a:cubicBezTo>
                <a:close/>
                <a:moveTo>
                  <a:pt x="1479112" y="816806"/>
                </a:moveTo>
                <a:cubicBezTo>
                  <a:pt x="1501423" y="816806"/>
                  <a:pt x="1523190" y="835852"/>
                  <a:pt x="1522646" y="860340"/>
                </a:cubicBezTo>
                <a:cubicBezTo>
                  <a:pt x="1523735" y="885372"/>
                  <a:pt x="1499791" y="904419"/>
                  <a:pt x="1479656" y="904419"/>
                </a:cubicBezTo>
                <a:cubicBezTo>
                  <a:pt x="1457889" y="904419"/>
                  <a:pt x="1436122" y="883740"/>
                  <a:pt x="1435578" y="860884"/>
                </a:cubicBezTo>
                <a:cubicBezTo>
                  <a:pt x="1435578" y="838573"/>
                  <a:pt x="1455713" y="816806"/>
                  <a:pt x="1479112" y="816806"/>
                </a:cubicBezTo>
                <a:close/>
                <a:moveTo>
                  <a:pt x="1642909" y="815718"/>
                </a:moveTo>
                <a:cubicBezTo>
                  <a:pt x="1665764" y="816262"/>
                  <a:pt x="1686987" y="835852"/>
                  <a:pt x="1686987" y="860885"/>
                </a:cubicBezTo>
                <a:cubicBezTo>
                  <a:pt x="1686987" y="884284"/>
                  <a:pt x="1666308" y="906051"/>
                  <a:pt x="1641276" y="905507"/>
                </a:cubicBezTo>
                <a:cubicBezTo>
                  <a:pt x="1619509" y="905507"/>
                  <a:pt x="1595021" y="884284"/>
                  <a:pt x="1597742" y="860340"/>
                </a:cubicBezTo>
                <a:cubicBezTo>
                  <a:pt x="1595021" y="836941"/>
                  <a:pt x="1619509" y="815174"/>
                  <a:pt x="1642909" y="815718"/>
                </a:cubicBezTo>
                <a:close/>
                <a:moveTo>
                  <a:pt x="1806161" y="815173"/>
                </a:moveTo>
                <a:cubicBezTo>
                  <a:pt x="1832282" y="815717"/>
                  <a:pt x="1854593" y="836396"/>
                  <a:pt x="1852416" y="860884"/>
                </a:cubicBezTo>
                <a:cubicBezTo>
                  <a:pt x="1850240" y="885372"/>
                  <a:pt x="1837179" y="906050"/>
                  <a:pt x="1805617" y="906594"/>
                </a:cubicBezTo>
                <a:cubicBezTo>
                  <a:pt x="1776776" y="906594"/>
                  <a:pt x="1759362" y="885916"/>
                  <a:pt x="1759906" y="860884"/>
                </a:cubicBezTo>
                <a:cubicBezTo>
                  <a:pt x="1759906" y="834219"/>
                  <a:pt x="1776776" y="815717"/>
                  <a:pt x="1806161" y="815173"/>
                </a:cubicBezTo>
                <a:close/>
                <a:moveTo>
                  <a:pt x="1968326" y="812453"/>
                </a:moveTo>
                <a:cubicBezTo>
                  <a:pt x="1979754" y="812453"/>
                  <a:pt x="1991726" y="817351"/>
                  <a:pt x="2000977" y="826057"/>
                </a:cubicBezTo>
                <a:cubicBezTo>
                  <a:pt x="2010772" y="835308"/>
                  <a:pt x="2016214" y="847280"/>
                  <a:pt x="2015670" y="859796"/>
                </a:cubicBezTo>
                <a:cubicBezTo>
                  <a:pt x="2014581" y="884828"/>
                  <a:pt x="2000977" y="904963"/>
                  <a:pt x="1969415" y="907684"/>
                </a:cubicBezTo>
                <a:cubicBezTo>
                  <a:pt x="1942206" y="906051"/>
                  <a:pt x="1923704" y="890270"/>
                  <a:pt x="1922071" y="860885"/>
                </a:cubicBezTo>
                <a:cubicBezTo>
                  <a:pt x="1920983" y="836397"/>
                  <a:pt x="1943294" y="812453"/>
                  <a:pt x="1968326" y="812453"/>
                </a:cubicBezTo>
                <a:close/>
                <a:moveTo>
                  <a:pt x="255260" y="762932"/>
                </a:moveTo>
                <a:cubicBezTo>
                  <a:pt x="261790" y="763476"/>
                  <a:pt x="271041" y="773271"/>
                  <a:pt x="270497" y="779802"/>
                </a:cubicBezTo>
                <a:cubicBezTo>
                  <a:pt x="270497" y="786332"/>
                  <a:pt x="261246" y="795038"/>
                  <a:pt x="254172" y="795038"/>
                </a:cubicBezTo>
                <a:cubicBezTo>
                  <a:pt x="246553" y="795038"/>
                  <a:pt x="238391" y="786332"/>
                  <a:pt x="238935" y="778713"/>
                </a:cubicBezTo>
                <a:cubicBezTo>
                  <a:pt x="239479" y="771095"/>
                  <a:pt x="248186" y="762388"/>
                  <a:pt x="255260" y="762932"/>
                </a:cubicBezTo>
                <a:close/>
                <a:moveTo>
                  <a:pt x="416881" y="756402"/>
                </a:moveTo>
                <a:cubicBezTo>
                  <a:pt x="430485" y="756402"/>
                  <a:pt x="439736" y="765109"/>
                  <a:pt x="440280" y="778713"/>
                </a:cubicBezTo>
                <a:cubicBezTo>
                  <a:pt x="440280" y="791229"/>
                  <a:pt x="431573" y="801024"/>
                  <a:pt x="419057" y="801024"/>
                </a:cubicBezTo>
                <a:cubicBezTo>
                  <a:pt x="405997" y="801569"/>
                  <a:pt x="396202" y="792317"/>
                  <a:pt x="396202" y="779257"/>
                </a:cubicBezTo>
                <a:cubicBezTo>
                  <a:pt x="396202" y="766741"/>
                  <a:pt x="404909" y="756946"/>
                  <a:pt x="416881" y="756402"/>
                </a:cubicBezTo>
                <a:close/>
                <a:moveTo>
                  <a:pt x="581766" y="751505"/>
                </a:moveTo>
                <a:cubicBezTo>
                  <a:pt x="598091" y="752594"/>
                  <a:pt x="607887" y="762933"/>
                  <a:pt x="608975" y="779802"/>
                </a:cubicBezTo>
                <a:cubicBezTo>
                  <a:pt x="608975" y="792318"/>
                  <a:pt x="596459" y="808644"/>
                  <a:pt x="580678" y="806467"/>
                </a:cubicBezTo>
                <a:cubicBezTo>
                  <a:pt x="565985" y="808100"/>
                  <a:pt x="553469" y="792318"/>
                  <a:pt x="553469" y="778714"/>
                </a:cubicBezTo>
                <a:cubicBezTo>
                  <a:pt x="553469" y="764021"/>
                  <a:pt x="567618" y="750417"/>
                  <a:pt x="581766" y="751505"/>
                </a:cubicBezTo>
                <a:close/>
                <a:moveTo>
                  <a:pt x="746107" y="746607"/>
                </a:moveTo>
                <a:cubicBezTo>
                  <a:pt x="762432" y="747695"/>
                  <a:pt x="778213" y="765653"/>
                  <a:pt x="777125" y="780346"/>
                </a:cubicBezTo>
                <a:cubicBezTo>
                  <a:pt x="776581" y="795038"/>
                  <a:pt x="762432" y="811908"/>
                  <a:pt x="742842" y="811364"/>
                </a:cubicBezTo>
                <a:cubicBezTo>
                  <a:pt x="725428" y="810276"/>
                  <a:pt x="712368" y="795583"/>
                  <a:pt x="712368" y="778713"/>
                </a:cubicBezTo>
                <a:cubicBezTo>
                  <a:pt x="712368" y="760755"/>
                  <a:pt x="730870" y="745519"/>
                  <a:pt x="746107" y="746607"/>
                </a:cubicBezTo>
                <a:close/>
                <a:moveTo>
                  <a:pt x="907727" y="741710"/>
                </a:moveTo>
                <a:cubicBezTo>
                  <a:pt x="925684" y="741710"/>
                  <a:pt x="944187" y="760756"/>
                  <a:pt x="944187" y="778714"/>
                </a:cubicBezTo>
                <a:cubicBezTo>
                  <a:pt x="944187" y="796672"/>
                  <a:pt x="926229" y="815174"/>
                  <a:pt x="907727" y="815174"/>
                </a:cubicBezTo>
                <a:cubicBezTo>
                  <a:pt x="889225" y="815174"/>
                  <a:pt x="872899" y="798848"/>
                  <a:pt x="872355" y="779258"/>
                </a:cubicBezTo>
                <a:cubicBezTo>
                  <a:pt x="871811" y="759668"/>
                  <a:pt x="888136" y="742254"/>
                  <a:pt x="907727" y="741710"/>
                </a:cubicBezTo>
                <a:close/>
                <a:moveTo>
                  <a:pt x="1070979" y="740621"/>
                </a:moveTo>
                <a:cubicBezTo>
                  <a:pt x="1091114" y="737357"/>
                  <a:pt x="1110704" y="761300"/>
                  <a:pt x="1110160" y="779258"/>
                </a:cubicBezTo>
                <a:cubicBezTo>
                  <a:pt x="1110160" y="798304"/>
                  <a:pt x="1089481" y="817894"/>
                  <a:pt x="1070979" y="817894"/>
                </a:cubicBezTo>
                <a:cubicBezTo>
                  <a:pt x="1049757" y="817894"/>
                  <a:pt x="1031255" y="797216"/>
                  <a:pt x="1031799" y="778714"/>
                </a:cubicBezTo>
                <a:cubicBezTo>
                  <a:pt x="1033431" y="756947"/>
                  <a:pt x="1049212" y="740621"/>
                  <a:pt x="1070979" y="740621"/>
                </a:cubicBezTo>
                <a:close/>
                <a:moveTo>
                  <a:pt x="1233688" y="736268"/>
                </a:moveTo>
                <a:cubicBezTo>
                  <a:pt x="1254367" y="735723"/>
                  <a:pt x="1276134" y="756402"/>
                  <a:pt x="1276134" y="777625"/>
                </a:cubicBezTo>
                <a:cubicBezTo>
                  <a:pt x="1276134" y="801025"/>
                  <a:pt x="1258720" y="819526"/>
                  <a:pt x="1235320" y="820615"/>
                </a:cubicBezTo>
                <a:cubicBezTo>
                  <a:pt x="1211377" y="821159"/>
                  <a:pt x="1193419" y="802657"/>
                  <a:pt x="1192331" y="779258"/>
                </a:cubicBezTo>
                <a:cubicBezTo>
                  <a:pt x="1190698" y="758579"/>
                  <a:pt x="1213009" y="736812"/>
                  <a:pt x="1233688" y="736268"/>
                </a:cubicBezTo>
                <a:close/>
                <a:moveTo>
                  <a:pt x="1397485" y="735724"/>
                </a:moveTo>
                <a:cubicBezTo>
                  <a:pt x="1421973" y="734091"/>
                  <a:pt x="1441564" y="757491"/>
                  <a:pt x="1441019" y="779802"/>
                </a:cubicBezTo>
                <a:cubicBezTo>
                  <a:pt x="1441019" y="803746"/>
                  <a:pt x="1418708" y="823336"/>
                  <a:pt x="1396397" y="823336"/>
                </a:cubicBezTo>
                <a:cubicBezTo>
                  <a:pt x="1374630" y="823336"/>
                  <a:pt x="1352863" y="802113"/>
                  <a:pt x="1352863" y="779258"/>
                </a:cubicBezTo>
                <a:cubicBezTo>
                  <a:pt x="1353407" y="758579"/>
                  <a:pt x="1372453" y="733547"/>
                  <a:pt x="1397485" y="735724"/>
                </a:cubicBezTo>
                <a:close/>
                <a:moveTo>
                  <a:pt x="1562371" y="734636"/>
                </a:moveTo>
                <a:cubicBezTo>
                  <a:pt x="1586314" y="732459"/>
                  <a:pt x="1605905" y="754226"/>
                  <a:pt x="1605905" y="779802"/>
                </a:cubicBezTo>
                <a:cubicBezTo>
                  <a:pt x="1605361" y="805923"/>
                  <a:pt x="1585226" y="823881"/>
                  <a:pt x="1560194" y="823881"/>
                </a:cubicBezTo>
                <a:cubicBezTo>
                  <a:pt x="1535706" y="823881"/>
                  <a:pt x="1515027" y="803202"/>
                  <a:pt x="1515572" y="777626"/>
                </a:cubicBezTo>
                <a:cubicBezTo>
                  <a:pt x="1516116" y="755859"/>
                  <a:pt x="1535162" y="731371"/>
                  <a:pt x="1562371" y="734636"/>
                </a:cubicBezTo>
                <a:close/>
                <a:moveTo>
                  <a:pt x="1724535" y="730827"/>
                </a:moveTo>
                <a:cubicBezTo>
                  <a:pt x="1748478" y="731371"/>
                  <a:pt x="1772422" y="755314"/>
                  <a:pt x="1772422" y="779258"/>
                </a:cubicBezTo>
                <a:cubicBezTo>
                  <a:pt x="1771878" y="804290"/>
                  <a:pt x="1748478" y="826602"/>
                  <a:pt x="1723446" y="826602"/>
                </a:cubicBezTo>
                <a:cubicBezTo>
                  <a:pt x="1696238" y="823881"/>
                  <a:pt x="1677736" y="807011"/>
                  <a:pt x="1676647" y="778714"/>
                </a:cubicBezTo>
                <a:cubicBezTo>
                  <a:pt x="1676103" y="753138"/>
                  <a:pt x="1699503" y="730282"/>
                  <a:pt x="1724535" y="730827"/>
                </a:cubicBezTo>
                <a:close/>
                <a:moveTo>
                  <a:pt x="1886699" y="730826"/>
                </a:moveTo>
                <a:cubicBezTo>
                  <a:pt x="1914452" y="730826"/>
                  <a:pt x="1934587" y="749872"/>
                  <a:pt x="1935131" y="778713"/>
                </a:cubicBezTo>
                <a:cubicBezTo>
                  <a:pt x="1936219" y="804834"/>
                  <a:pt x="1916085" y="826601"/>
                  <a:pt x="1887244" y="827145"/>
                </a:cubicBezTo>
                <a:cubicBezTo>
                  <a:pt x="1860579" y="826601"/>
                  <a:pt x="1838812" y="805922"/>
                  <a:pt x="1838812" y="778713"/>
                </a:cubicBezTo>
                <a:cubicBezTo>
                  <a:pt x="1839356" y="750416"/>
                  <a:pt x="1860035" y="730282"/>
                  <a:pt x="1886699" y="730826"/>
                </a:cubicBezTo>
                <a:close/>
                <a:moveTo>
                  <a:pt x="2050496" y="730282"/>
                </a:moveTo>
                <a:lnTo>
                  <a:pt x="2051041" y="730396"/>
                </a:lnTo>
                <a:lnTo>
                  <a:pt x="2051041" y="826942"/>
                </a:lnTo>
                <a:lnTo>
                  <a:pt x="2049952" y="827145"/>
                </a:lnTo>
                <a:cubicBezTo>
                  <a:pt x="2023832" y="827145"/>
                  <a:pt x="2001521" y="804290"/>
                  <a:pt x="2002065" y="778169"/>
                </a:cubicBezTo>
                <a:cubicBezTo>
                  <a:pt x="2002609" y="751505"/>
                  <a:pt x="2024376" y="730282"/>
                  <a:pt x="2050496" y="730282"/>
                </a:cubicBezTo>
                <a:close/>
                <a:moveTo>
                  <a:pt x="173634" y="685660"/>
                </a:moveTo>
                <a:cubicBezTo>
                  <a:pt x="181253" y="685660"/>
                  <a:pt x="185062" y="690013"/>
                  <a:pt x="184518" y="698176"/>
                </a:cubicBezTo>
                <a:cubicBezTo>
                  <a:pt x="183973" y="705250"/>
                  <a:pt x="180164" y="709059"/>
                  <a:pt x="172546" y="709059"/>
                </a:cubicBezTo>
                <a:cubicBezTo>
                  <a:pt x="164383" y="709059"/>
                  <a:pt x="160574" y="705250"/>
                  <a:pt x="161118" y="697088"/>
                </a:cubicBezTo>
                <a:cubicBezTo>
                  <a:pt x="161662" y="688925"/>
                  <a:pt x="164927" y="685660"/>
                  <a:pt x="173634" y="685660"/>
                </a:cubicBezTo>
                <a:close/>
                <a:moveTo>
                  <a:pt x="335798" y="675320"/>
                </a:moveTo>
                <a:cubicBezTo>
                  <a:pt x="345593" y="675320"/>
                  <a:pt x="357565" y="685115"/>
                  <a:pt x="357565" y="696543"/>
                </a:cubicBezTo>
                <a:cubicBezTo>
                  <a:pt x="357565" y="707426"/>
                  <a:pt x="346682" y="718854"/>
                  <a:pt x="336342" y="718854"/>
                </a:cubicBezTo>
                <a:cubicBezTo>
                  <a:pt x="327091" y="718854"/>
                  <a:pt x="315664" y="707426"/>
                  <a:pt x="315120" y="697631"/>
                </a:cubicBezTo>
                <a:cubicBezTo>
                  <a:pt x="314575" y="687292"/>
                  <a:pt x="325459" y="675864"/>
                  <a:pt x="335798" y="675320"/>
                </a:cubicBezTo>
                <a:close/>
                <a:moveTo>
                  <a:pt x="499051" y="670423"/>
                </a:moveTo>
                <a:cubicBezTo>
                  <a:pt x="512111" y="669335"/>
                  <a:pt x="526804" y="684027"/>
                  <a:pt x="526804" y="697088"/>
                </a:cubicBezTo>
                <a:cubicBezTo>
                  <a:pt x="526804" y="711236"/>
                  <a:pt x="513744" y="724296"/>
                  <a:pt x="499595" y="724296"/>
                </a:cubicBezTo>
                <a:cubicBezTo>
                  <a:pt x="486535" y="724296"/>
                  <a:pt x="472930" y="711236"/>
                  <a:pt x="472930" y="697632"/>
                </a:cubicBezTo>
                <a:cubicBezTo>
                  <a:pt x="472386" y="684027"/>
                  <a:pt x="485446" y="670423"/>
                  <a:pt x="499051" y="670423"/>
                </a:cubicBezTo>
                <a:close/>
                <a:moveTo>
                  <a:pt x="662848" y="665525"/>
                </a:moveTo>
                <a:cubicBezTo>
                  <a:pt x="678629" y="665525"/>
                  <a:pt x="694410" y="681306"/>
                  <a:pt x="694954" y="697087"/>
                </a:cubicBezTo>
                <a:cubicBezTo>
                  <a:pt x="695499" y="712868"/>
                  <a:pt x="679173" y="729194"/>
                  <a:pt x="663392" y="729194"/>
                </a:cubicBezTo>
                <a:cubicBezTo>
                  <a:pt x="647611" y="729194"/>
                  <a:pt x="632374" y="713957"/>
                  <a:pt x="632374" y="698176"/>
                </a:cubicBezTo>
                <a:cubicBezTo>
                  <a:pt x="631286" y="681850"/>
                  <a:pt x="647067" y="665525"/>
                  <a:pt x="662848" y="665525"/>
                </a:cubicBezTo>
                <a:close/>
                <a:moveTo>
                  <a:pt x="825013" y="663349"/>
                </a:moveTo>
                <a:cubicBezTo>
                  <a:pt x="844603" y="662260"/>
                  <a:pt x="861472" y="676953"/>
                  <a:pt x="860384" y="697632"/>
                </a:cubicBezTo>
                <a:cubicBezTo>
                  <a:pt x="861472" y="716134"/>
                  <a:pt x="846780" y="731915"/>
                  <a:pt x="826101" y="731915"/>
                </a:cubicBezTo>
                <a:cubicBezTo>
                  <a:pt x="806511" y="731915"/>
                  <a:pt x="791818" y="719399"/>
                  <a:pt x="791818" y="698176"/>
                </a:cubicBezTo>
                <a:cubicBezTo>
                  <a:pt x="791818" y="676409"/>
                  <a:pt x="805967" y="663893"/>
                  <a:pt x="825013" y="663349"/>
                </a:cubicBezTo>
                <a:close/>
                <a:moveTo>
                  <a:pt x="988809" y="658995"/>
                </a:moveTo>
                <a:cubicBezTo>
                  <a:pt x="1008400" y="657362"/>
                  <a:pt x="1028534" y="679129"/>
                  <a:pt x="1027446" y="697087"/>
                </a:cubicBezTo>
                <a:cubicBezTo>
                  <a:pt x="1026902" y="718310"/>
                  <a:pt x="1010576" y="735723"/>
                  <a:pt x="989353" y="735723"/>
                </a:cubicBezTo>
                <a:cubicBezTo>
                  <a:pt x="968675" y="735723"/>
                  <a:pt x="950717" y="718310"/>
                  <a:pt x="950717" y="697631"/>
                </a:cubicBezTo>
                <a:cubicBezTo>
                  <a:pt x="950717" y="676408"/>
                  <a:pt x="968131" y="660627"/>
                  <a:pt x="988809" y="658995"/>
                </a:cubicBezTo>
                <a:close/>
                <a:moveTo>
                  <a:pt x="1152607" y="655729"/>
                </a:moveTo>
                <a:cubicBezTo>
                  <a:pt x="1173829" y="654097"/>
                  <a:pt x="1194508" y="675864"/>
                  <a:pt x="1195052" y="697087"/>
                </a:cubicBezTo>
                <a:cubicBezTo>
                  <a:pt x="1195596" y="717766"/>
                  <a:pt x="1173829" y="739533"/>
                  <a:pt x="1153151" y="739533"/>
                </a:cubicBezTo>
                <a:cubicBezTo>
                  <a:pt x="1132472" y="740077"/>
                  <a:pt x="1110705" y="718310"/>
                  <a:pt x="1110705" y="697631"/>
                </a:cubicBezTo>
                <a:cubicBezTo>
                  <a:pt x="1112882" y="674231"/>
                  <a:pt x="1127574" y="657362"/>
                  <a:pt x="1152607" y="655729"/>
                </a:cubicBezTo>
                <a:close/>
                <a:moveTo>
                  <a:pt x="1316948" y="653554"/>
                </a:moveTo>
                <a:cubicBezTo>
                  <a:pt x="1340347" y="654098"/>
                  <a:pt x="1359937" y="674777"/>
                  <a:pt x="1359937" y="697632"/>
                </a:cubicBezTo>
                <a:cubicBezTo>
                  <a:pt x="1359937" y="718855"/>
                  <a:pt x="1339803" y="743343"/>
                  <a:pt x="1315315" y="740622"/>
                </a:cubicBezTo>
                <a:cubicBezTo>
                  <a:pt x="1293004" y="742799"/>
                  <a:pt x="1271237" y="718311"/>
                  <a:pt x="1271781" y="696544"/>
                </a:cubicBezTo>
                <a:cubicBezTo>
                  <a:pt x="1271781" y="675321"/>
                  <a:pt x="1292460" y="653010"/>
                  <a:pt x="1316948" y="653554"/>
                </a:cubicBezTo>
                <a:close/>
                <a:moveTo>
                  <a:pt x="1479112" y="651921"/>
                </a:moveTo>
                <a:cubicBezTo>
                  <a:pt x="1506321" y="651377"/>
                  <a:pt x="1524823" y="669335"/>
                  <a:pt x="1524823" y="697088"/>
                </a:cubicBezTo>
                <a:cubicBezTo>
                  <a:pt x="1524823" y="722664"/>
                  <a:pt x="1506865" y="743343"/>
                  <a:pt x="1479112" y="742254"/>
                </a:cubicBezTo>
                <a:cubicBezTo>
                  <a:pt x="1450815" y="743343"/>
                  <a:pt x="1433401" y="721031"/>
                  <a:pt x="1433945" y="697088"/>
                </a:cubicBezTo>
                <a:cubicBezTo>
                  <a:pt x="1434490" y="670423"/>
                  <a:pt x="1451903" y="652465"/>
                  <a:pt x="1479112" y="651921"/>
                </a:cubicBezTo>
                <a:close/>
                <a:moveTo>
                  <a:pt x="1642909" y="649744"/>
                </a:moveTo>
                <a:cubicBezTo>
                  <a:pt x="1671750" y="650288"/>
                  <a:pt x="1690252" y="668790"/>
                  <a:pt x="1690796" y="697087"/>
                </a:cubicBezTo>
                <a:cubicBezTo>
                  <a:pt x="1691340" y="723752"/>
                  <a:pt x="1672294" y="743342"/>
                  <a:pt x="1642909" y="745519"/>
                </a:cubicBezTo>
                <a:cubicBezTo>
                  <a:pt x="1614067" y="743887"/>
                  <a:pt x="1594477" y="725384"/>
                  <a:pt x="1594477" y="697632"/>
                </a:cubicBezTo>
                <a:cubicBezTo>
                  <a:pt x="1594477" y="668790"/>
                  <a:pt x="1614611" y="649200"/>
                  <a:pt x="1642909" y="649744"/>
                </a:cubicBezTo>
                <a:close/>
                <a:moveTo>
                  <a:pt x="1805617" y="648112"/>
                </a:moveTo>
                <a:cubicBezTo>
                  <a:pt x="1829561" y="648112"/>
                  <a:pt x="1857314" y="672055"/>
                  <a:pt x="1854593" y="698176"/>
                </a:cubicBezTo>
                <a:cubicBezTo>
                  <a:pt x="1856770" y="719399"/>
                  <a:pt x="1832826" y="747151"/>
                  <a:pt x="1805073" y="746607"/>
                </a:cubicBezTo>
                <a:cubicBezTo>
                  <a:pt x="1779497" y="746063"/>
                  <a:pt x="1756097" y="721575"/>
                  <a:pt x="1756097" y="697087"/>
                </a:cubicBezTo>
                <a:cubicBezTo>
                  <a:pt x="1756097" y="670423"/>
                  <a:pt x="1782218" y="647567"/>
                  <a:pt x="1805617" y="648112"/>
                </a:cubicBezTo>
                <a:close/>
                <a:moveTo>
                  <a:pt x="1969414" y="647023"/>
                </a:moveTo>
                <a:cubicBezTo>
                  <a:pt x="1992814" y="647023"/>
                  <a:pt x="2020567" y="672055"/>
                  <a:pt x="2018934" y="698176"/>
                </a:cubicBezTo>
                <a:cubicBezTo>
                  <a:pt x="2017302" y="725384"/>
                  <a:pt x="1996623" y="746063"/>
                  <a:pt x="1968326" y="746063"/>
                </a:cubicBezTo>
                <a:cubicBezTo>
                  <a:pt x="1941661" y="748784"/>
                  <a:pt x="1919350" y="721031"/>
                  <a:pt x="1918806" y="697087"/>
                </a:cubicBezTo>
                <a:cubicBezTo>
                  <a:pt x="1918806" y="669878"/>
                  <a:pt x="1945471" y="647023"/>
                  <a:pt x="1969414" y="647023"/>
                </a:cubicBezTo>
                <a:close/>
                <a:moveTo>
                  <a:pt x="90919" y="606754"/>
                </a:moveTo>
                <a:cubicBezTo>
                  <a:pt x="94728" y="608386"/>
                  <a:pt x="99626" y="612195"/>
                  <a:pt x="99626" y="615460"/>
                </a:cubicBezTo>
                <a:cubicBezTo>
                  <a:pt x="100170" y="618181"/>
                  <a:pt x="95816" y="621990"/>
                  <a:pt x="92007" y="627976"/>
                </a:cubicBezTo>
                <a:cubicBezTo>
                  <a:pt x="87654" y="623079"/>
                  <a:pt x="84389" y="619814"/>
                  <a:pt x="82756" y="616005"/>
                </a:cubicBezTo>
                <a:cubicBezTo>
                  <a:pt x="81668" y="613284"/>
                  <a:pt x="88198" y="605665"/>
                  <a:pt x="90919" y="606754"/>
                </a:cubicBezTo>
                <a:close/>
                <a:moveTo>
                  <a:pt x="254172" y="598047"/>
                </a:moveTo>
                <a:cubicBezTo>
                  <a:pt x="265599" y="597503"/>
                  <a:pt x="273218" y="606210"/>
                  <a:pt x="272674" y="614917"/>
                </a:cubicBezTo>
                <a:cubicBezTo>
                  <a:pt x="272674" y="625800"/>
                  <a:pt x="266688" y="632874"/>
                  <a:pt x="255260" y="633419"/>
                </a:cubicBezTo>
                <a:cubicBezTo>
                  <a:pt x="244376" y="633963"/>
                  <a:pt x="237302" y="626889"/>
                  <a:pt x="236758" y="616005"/>
                </a:cubicBezTo>
                <a:cubicBezTo>
                  <a:pt x="236758" y="605122"/>
                  <a:pt x="243832" y="598047"/>
                  <a:pt x="254172" y="598047"/>
                </a:cubicBezTo>
                <a:close/>
                <a:moveTo>
                  <a:pt x="418513" y="590429"/>
                </a:moveTo>
                <a:cubicBezTo>
                  <a:pt x="431029" y="590429"/>
                  <a:pt x="442457" y="601857"/>
                  <a:pt x="443001" y="614917"/>
                </a:cubicBezTo>
                <a:cubicBezTo>
                  <a:pt x="443545" y="627977"/>
                  <a:pt x="432118" y="640493"/>
                  <a:pt x="419058" y="640493"/>
                </a:cubicBezTo>
                <a:cubicBezTo>
                  <a:pt x="404365" y="640493"/>
                  <a:pt x="394570" y="630698"/>
                  <a:pt x="392937" y="616005"/>
                </a:cubicBezTo>
                <a:cubicBezTo>
                  <a:pt x="391849" y="604033"/>
                  <a:pt x="405997" y="590429"/>
                  <a:pt x="418513" y="590429"/>
                </a:cubicBezTo>
                <a:close/>
                <a:moveTo>
                  <a:pt x="581222" y="587163"/>
                </a:moveTo>
                <a:cubicBezTo>
                  <a:pt x="600812" y="588252"/>
                  <a:pt x="610063" y="598047"/>
                  <a:pt x="610063" y="616549"/>
                </a:cubicBezTo>
                <a:cubicBezTo>
                  <a:pt x="610063" y="634507"/>
                  <a:pt x="599179" y="644846"/>
                  <a:pt x="580677" y="645390"/>
                </a:cubicBezTo>
                <a:cubicBezTo>
                  <a:pt x="565440" y="644846"/>
                  <a:pt x="551836" y="634507"/>
                  <a:pt x="551836" y="615461"/>
                </a:cubicBezTo>
                <a:cubicBezTo>
                  <a:pt x="551836" y="594782"/>
                  <a:pt x="567073" y="586075"/>
                  <a:pt x="581222" y="587163"/>
                </a:cubicBezTo>
                <a:close/>
                <a:moveTo>
                  <a:pt x="743930" y="582266"/>
                </a:moveTo>
                <a:cubicBezTo>
                  <a:pt x="761344" y="581178"/>
                  <a:pt x="779301" y="599136"/>
                  <a:pt x="779301" y="616005"/>
                </a:cubicBezTo>
                <a:cubicBezTo>
                  <a:pt x="779301" y="632874"/>
                  <a:pt x="762976" y="649744"/>
                  <a:pt x="745563" y="649744"/>
                </a:cubicBezTo>
                <a:cubicBezTo>
                  <a:pt x="728149" y="649200"/>
                  <a:pt x="710191" y="635595"/>
                  <a:pt x="711824" y="616549"/>
                </a:cubicBezTo>
                <a:cubicBezTo>
                  <a:pt x="711824" y="596415"/>
                  <a:pt x="724340" y="583355"/>
                  <a:pt x="743930" y="582266"/>
                </a:cubicBezTo>
                <a:close/>
                <a:moveTo>
                  <a:pt x="907183" y="577913"/>
                </a:moveTo>
                <a:cubicBezTo>
                  <a:pt x="927318" y="576825"/>
                  <a:pt x="947452" y="598592"/>
                  <a:pt x="945276" y="615461"/>
                </a:cubicBezTo>
                <a:cubicBezTo>
                  <a:pt x="945276" y="635596"/>
                  <a:pt x="927318" y="653554"/>
                  <a:pt x="907727" y="654098"/>
                </a:cubicBezTo>
                <a:cubicBezTo>
                  <a:pt x="890314" y="654642"/>
                  <a:pt x="869091" y="635052"/>
                  <a:pt x="869091" y="616006"/>
                </a:cubicBezTo>
                <a:cubicBezTo>
                  <a:pt x="869635" y="595871"/>
                  <a:pt x="887049" y="578457"/>
                  <a:pt x="907183" y="577913"/>
                </a:cubicBezTo>
                <a:close/>
                <a:moveTo>
                  <a:pt x="1069891" y="574648"/>
                </a:moveTo>
                <a:cubicBezTo>
                  <a:pt x="1092202" y="574648"/>
                  <a:pt x="1111793" y="589885"/>
                  <a:pt x="1111248" y="615461"/>
                </a:cubicBezTo>
                <a:cubicBezTo>
                  <a:pt x="1111793" y="639405"/>
                  <a:pt x="1093835" y="656274"/>
                  <a:pt x="1070435" y="656274"/>
                </a:cubicBezTo>
                <a:cubicBezTo>
                  <a:pt x="1045403" y="656274"/>
                  <a:pt x="1029622" y="635052"/>
                  <a:pt x="1029622" y="614917"/>
                </a:cubicBezTo>
                <a:cubicBezTo>
                  <a:pt x="1030166" y="593150"/>
                  <a:pt x="1046491" y="574648"/>
                  <a:pt x="1069891" y="574648"/>
                </a:cubicBezTo>
                <a:close/>
                <a:moveTo>
                  <a:pt x="1235321" y="572472"/>
                </a:moveTo>
                <a:cubicBezTo>
                  <a:pt x="1256543" y="572472"/>
                  <a:pt x="1279399" y="590973"/>
                  <a:pt x="1277222" y="616550"/>
                </a:cubicBezTo>
                <a:cubicBezTo>
                  <a:pt x="1278855" y="639949"/>
                  <a:pt x="1255455" y="660084"/>
                  <a:pt x="1233688" y="660084"/>
                </a:cubicBezTo>
                <a:cubicBezTo>
                  <a:pt x="1211377" y="660084"/>
                  <a:pt x="1189610" y="637773"/>
                  <a:pt x="1190154" y="614917"/>
                </a:cubicBezTo>
                <a:cubicBezTo>
                  <a:pt x="1190698" y="594783"/>
                  <a:pt x="1209200" y="571927"/>
                  <a:pt x="1235321" y="572472"/>
                </a:cubicBezTo>
                <a:close/>
                <a:moveTo>
                  <a:pt x="1397485" y="569206"/>
                </a:moveTo>
                <a:cubicBezTo>
                  <a:pt x="1423606" y="569750"/>
                  <a:pt x="1443196" y="587708"/>
                  <a:pt x="1443196" y="616005"/>
                </a:cubicBezTo>
                <a:cubicBezTo>
                  <a:pt x="1443196" y="642670"/>
                  <a:pt x="1424150" y="661716"/>
                  <a:pt x="1396941" y="661172"/>
                </a:cubicBezTo>
                <a:cubicBezTo>
                  <a:pt x="1369188" y="661172"/>
                  <a:pt x="1350686" y="638860"/>
                  <a:pt x="1351775" y="614373"/>
                </a:cubicBezTo>
                <a:cubicBezTo>
                  <a:pt x="1352319" y="587164"/>
                  <a:pt x="1371365" y="569206"/>
                  <a:pt x="1397485" y="569206"/>
                </a:cubicBezTo>
                <a:close/>
                <a:moveTo>
                  <a:pt x="1560738" y="567029"/>
                </a:moveTo>
                <a:cubicBezTo>
                  <a:pt x="1586859" y="567029"/>
                  <a:pt x="1608082" y="587708"/>
                  <a:pt x="1609714" y="615461"/>
                </a:cubicBezTo>
                <a:cubicBezTo>
                  <a:pt x="1608082" y="641581"/>
                  <a:pt x="1589580" y="663892"/>
                  <a:pt x="1561283" y="663892"/>
                </a:cubicBezTo>
                <a:cubicBezTo>
                  <a:pt x="1534074" y="663892"/>
                  <a:pt x="1512851" y="642669"/>
                  <a:pt x="1512851" y="616005"/>
                </a:cubicBezTo>
                <a:cubicBezTo>
                  <a:pt x="1512851" y="587163"/>
                  <a:pt x="1535706" y="567029"/>
                  <a:pt x="1560738" y="567029"/>
                </a:cubicBezTo>
                <a:close/>
                <a:moveTo>
                  <a:pt x="1725624" y="565397"/>
                </a:moveTo>
                <a:cubicBezTo>
                  <a:pt x="1747935" y="565941"/>
                  <a:pt x="1775144" y="590429"/>
                  <a:pt x="1774599" y="616005"/>
                </a:cubicBezTo>
                <a:cubicBezTo>
                  <a:pt x="1774055" y="638317"/>
                  <a:pt x="1751744" y="668246"/>
                  <a:pt x="1723447" y="664981"/>
                </a:cubicBezTo>
                <a:cubicBezTo>
                  <a:pt x="1700592" y="667158"/>
                  <a:pt x="1674471" y="643758"/>
                  <a:pt x="1674471" y="615461"/>
                </a:cubicBezTo>
                <a:cubicBezTo>
                  <a:pt x="1674471" y="588797"/>
                  <a:pt x="1700592" y="565397"/>
                  <a:pt x="1725624" y="565397"/>
                </a:cubicBezTo>
                <a:close/>
                <a:moveTo>
                  <a:pt x="1886699" y="564853"/>
                </a:moveTo>
                <a:cubicBezTo>
                  <a:pt x="1914996" y="564309"/>
                  <a:pt x="1938396" y="589341"/>
                  <a:pt x="1938396" y="614917"/>
                </a:cubicBezTo>
                <a:cubicBezTo>
                  <a:pt x="1938396" y="640493"/>
                  <a:pt x="1917717" y="667702"/>
                  <a:pt x="1887787" y="665525"/>
                </a:cubicBezTo>
                <a:cubicBezTo>
                  <a:pt x="1860034" y="667702"/>
                  <a:pt x="1837723" y="644302"/>
                  <a:pt x="1837179" y="615461"/>
                </a:cubicBezTo>
                <a:cubicBezTo>
                  <a:pt x="1837179" y="586620"/>
                  <a:pt x="1861667" y="565397"/>
                  <a:pt x="1886699" y="564853"/>
                </a:cubicBezTo>
                <a:close/>
                <a:moveTo>
                  <a:pt x="2050496" y="564852"/>
                </a:moveTo>
                <a:lnTo>
                  <a:pt x="2051041" y="564962"/>
                </a:lnTo>
                <a:lnTo>
                  <a:pt x="2051041" y="665899"/>
                </a:lnTo>
                <a:lnTo>
                  <a:pt x="2049952" y="666069"/>
                </a:lnTo>
                <a:cubicBezTo>
                  <a:pt x="2018934" y="667157"/>
                  <a:pt x="1999344" y="642669"/>
                  <a:pt x="1999344" y="615460"/>
                </a:cubicBezTo>
                <a:cubicBezTo>
                  <a:pt x="1999344" y="587163"/>
                  <a:pt x="2021655" y="564852"/>
                  <a:pt x="2050496" y="564852"/>
                </a:cubicBezTo>
                <a:close/>
                <a:moveTo>
                  <a:pt x="173090" y="517509"/>
                </a:moveTo>
                <a:cubicBezTo>
                  <a:pt x="181252" y="517509"/>
                  <a:pt x="189415" y="525672"/>
                  <a:pt x="189959" y="533834"/>
                </a:cubicBezTo>
                <a:cubicBezTo>
                  <a:pt x="189959" y="542541"/>
                  <a:pt x="182341" y="550160"/>
                  <a:pt x="173634" y="550160"/>
                </a:cubicBezTo>
                <a:cubicBezTo>
                  <a:pt x="165471" y="550160"/>
                  <a:pt x="157853" y="543085"/>
                  <a:pt x="157308" y="534923"/>
                </a:cubicBezTo>
                <a:cubicBezTo>
                  <a:pt x="156764" y="526216"/>
                  <a:pt x="164383" y="518053"/>
                  <a:pt x="173090" y="517509"/>
                </a:cubicBezTo>
                <a:close/>
                <a:moveTo>
                  <a:pt x="335798" y="511523"/>
                </a:moveTo>
                <a:cubicBezTo>
                  <a:pt x="349947" y="512067"/>
                  <a:pt x="357565" y="519686"/>
                  <a:pt x="358654" y="533834"/>
                </a:cubicBezTo>
                <a:cubicBezTo>
                  <a:pt x="359742" y="547439"/>
                  <a:pt x="348314" y="557778"/>
                  <a:pt x="336343" y="556689"/>
                </a:cubicBezTo>
                <a:cubicBezTo>
                  <a:pt x="324371" y="558322"/>
                  <a:pt x="312943" y="545806"/>
                  <a:pt x="312943" y="534378"/>
                </a:cubicBezTo>
                <a:cubicBezTo>
                  <a:pt x="312943" y="522951"/>
                  <a:pt x="322738" y="510979"/>
                  <a:pt x="335798" y="511523"/>
                </a:cubicBezTo>
                <a:close/>
                <a:moveTo>
                  <a:pt x="500139" y="506626"/>
                </a:moveTo>
                <a:cubicBezTo>
                  <a:pt x="517553" y="507170"/>
                  <a:pt x="527892" y="517509"/>
                  <a:pt x="527348" y="535467"/>
                </a:cubicBezTo>
                <a:cubicBezTo>
                  <a:pt x="526804" y="552880"/>
                  <a:pt x="515920" y="562131"/>
                  <a:pt x="497963" y="561587"/>
                </a:cubicBezTo>
                <a:cubicBezTo>
                  <a:pt x="481093" y="561043"/>
                  <a:pt x="472386" y="550704"/>
                  <a:pt x="471842" y="533290"/>
                </a:cubicBezTo>
                <a:cubicBezTo>
                  <a:pt x="471298" y="516965"/>
                  <a:pt x="485447" y="506081"/>
                  <a:pt x="500139" y="506626"/>
                </a:cubicBezTo>
                <a:close/>
                <a:moveTo>
                  <a:pt x="662304" y="500639"/>
                </a:moveTo>
                <a:cubicBezTo>
                  <a:pt x="677540" y="497919"/>
                  <a:pt x="696587" y="518597"/>
                  <a:pt x="696042" y="533290"/>
                </a:cubicBezTo>
                <a:cubicBezTo>
                  <a:pt x="694954" y="551792"/>
                  <a:pt x="681894" y="565396"/>
                  <a:pt x="663392" y="566485"/>
                </a:cubicBezTo>
                <a:cubicBezTo>
                  <a:pt x="643802" y="567573"/>
                  <a:pt x="629653" y="549615"/>
                  <a:pt x="630197" y="534378"/>
                </a:cubicBezTo>
                <a:cubicBezTo>
                  <a:pt x="630741" y="515876"/>
                  <a:pt x="644346" y="501184"/>
                  <a:pt x="662304" y="500639"/>
                </a:cubicBezTo>
                <a:close/>
                <a:moveTo>
                  <a:pt x="825557" y="496830"/>
                </a:moveTo>
                <a:cubicBezTo>
                  <a:pt x="846780" y="496286"/>
                  <a:pt x="862561" y="513700"/>
                  <a:pt x="863649" y="534923"/>
                </a:cubicBezTo>
                <a:cubicBezTo>
                  <a:pt x="862017" y="556690"/>
                  <a:pt x="845147" y="571927"/>
                  <a:pt x="825557" y="571383"/>
                </a:cubicBezTo>
                <a:cubicBezTo>
                  <a:pt x="805422" y="570838"/>
                  <a:pt x="788553" y="555057"/>
                  <a:pt x="788553" y="534379"/>
                </a:cubicBezTo>
                <a:cubicBezTo>
                  <a:pt x="788553" y="514244"/>
                  <a:pt x="804334" y="497375"/>
                  <a:pt x="825557" y="496830"/>
                </a:cubicBezTo>
                <a:close/>
                <a:moveTo>
                  <a:pt x="989898" y="494110"/>
                </a:moveTo>
                <a:cubicBezTo>
                  <a:pt x="1012209" y="494654"/>
                  <a:pt x="1029622" y="513156"/>
                  <a:pt x="1029078" y="534923"/>
                </a:cubicBezTo>
                <a:cubicBezTo>
                  <a:pt x="1028534" y="556146"/>
                  <a:pt x="1010576" y="574104"/>
                  <a:pt x="989353" y="574104"/>
                </a:cubicBezTo>
                <a:cubicBezTo>
                  <a:pt x="969763" y="574648"/>
                  <a:pt x="947452" y="556690"/>
                  <a:pt x="949629" y="533835"/>
                </a:cubicBezTo>
                <a:cubicBezTo>
                  <a:pt x="947996" y="512068"/>
                  <a:pt x="968675" y="494110"/>
                  <a:pt x="989898" y="494110"/>
                </a:cubicBezTo>
                <a:close/>
                <a:moveTo>
                  <a:pt x="1152062" y="490301"/>
                </a:moveTo>
                <a:cubicBezTo>
                  <a:pt x="1174917" y="490301"/>
                  <a:pt x="1196140" y="509347"/>
                  <a:pt x="1196140" y="533835"/>
                </a:cubicBezTo>
                <a:cubicBezTo>
                  <a:pt x="1197228" y="558867"/>
                  <a:pt x="1173829" y="577913"/>
                  <a:pt x="1152606" y="577369"/>
                </a:cubicBezTo>
                <a:cubicBezTo>
                  <a:pt x="1130839" y="577369"/>
                  <a:pt x="1109616" y="556690"/>
                  <a:pt x="1109072" y="534379"/>
                </a:cubicBezTo>
                <a:cubicBezTo>
                  <a:pt x="1108528" y="510980"/>
                  <a:pt x="1128662" y="490301"/>
                  <a:pt x="1152062" y="490301"/>
                </a:cubicBezTo>
                <a:close/>
                <a:moveTo>
                  <a:pt x="1316947" y="489212"/>
                </a:moveTo>
                <a:cubicBezTo>
                  <a:pt x="1343612" y="489756"/>
                  <a:pt x="1361570" y="510435"/>
                  <a:pt x="1361570" y="534923"/>
                </a:cubicBezTo>
                <a:cubicBezTo>
                  <a:pt x="1361570" y="560499"/>
                  <a:pt x="1341980" y="580090"/>
                  <a:pt x="1315859" y="580090"/>
                </a:cubicBezTo>
                <a:cubicBezTo>
                  <a:pt x="1291915" y="580090"/>
                  <a:pt x="1269060" y="560499"/>
                  <a:pt x="1270693" y="533835"/>
                </a:cubicBezTo>
                <a:cubicBezTo>
                  <a:pt x="1269604" y="508258"/>
                  <a:pt x="1291371" y="488124"/>
                  <a:pt x="1316947" y="489212"/>
                </a:cubicBezTo>
                <a:close/>
                <a:moveTo>
                  <a:pt x="1479112" y="484315"/>
                </a:moveTo>
                <a:cubicBezTo>
                  <a:pt x="1503599" y="484315"/>
                  <a:pt x="1528087" y="508259"/>
                  <a:pt x="1528087" y="533835"/>
                </a:cubicBezTo>
                <a:cubicBezTo>
                  <a:pt x="1528087" y="558867"/>
                  <a:pt x="1506865" y="582267"/>
                  <a:pt x="1479656" y="582267"/>
                </a:cubicBezTo>
                <a:cubicBezTo>
                  <a:pt x="1453535" y="582267"/>
                  <a:pt x="1431224" y="560500"/>
                  <a:pt x="1431224" y="533835"/>
                </a:cubicBezTo>
                <a:cubicBezTo>
                  <a:pt x="1430680" y="506626"/>
                  <a:pt x="1454624" y="485403"/>
                  <a:pt x="1479112" y="484315"/>
                </a:cubicBezTo>
                <a:close/>
                <a:moveTo>
                  <a:pt x="1643452" y="484314"/>
                </a:moveTo>
                <a:cubicBezTo>
                  <a:pt x="1667396" y="481049"/>
                  <a:pt x="1693517" y="509891"/>
                  <a:pt x="1692973" y="534923"/>
                </a:cubicBezTo>
                <a:cubicBezTo>
                  <a:pt x="1692428" y="558867"/>
                  <a:pt x="1669573" y="584987"/>
                  <a:pt x="1641276" y="583898"/>
                </a:cubicBezTo>
                <a:cubicBezTo>
                  <a:pt x="1616788" y="583354"/>
                  <a:pt x="1592300" y="562676"/>
                  <a:pt x="1592300" y="532202"/>
                </a:cubicBezTo>
                <a:cubicBezTo>
                  <a:pt x="1592300" y="509891"/>
                  <a:pt x="1615155" y="481049"/>
                  <a:pt x="1643452" y="484314"/>
                </a:cubicBezTo>
                <a:close/>
                <a:moveTo>
                  <a:pt x="1806162" y="481594"/>
                </a:moveTo>
                <a:cubicBezTo>
                  <a:pt x="1839901" y="484859"/>
                  <a:pt x="1858947" y="504993"/>
                  <a:pt x="1857858" y="536011"/>
                </a:cubicBezTo>
                <a:cubicBezTo>
                  <a:pt x="1855682" y="568662"/>
                  <a:pt x="1834459" y="584987"/>
                  <a:pt x="1803441" y="586075"/>
                </a:cubicBezTo>
                <a:cubicBezTo>
                  <a:pt x="1775144" y="584443"/>
                  <a:pt x="1751744" y="559955"/>
                  <a:pt x="1753377" y="533290"/>
                </a:cubicBezTo>
                <a:cubicBezTo>
                  <a:pt x="1755009" y="504993"/>
                  <a:pt x="1780041" y="479417"/>
                  <a:pt x="1806162" y="481594"/>
                </a:cubicBezTo>
                <a:close/>
                <a:moveTo>
                  <a:pt x="1968326" y="480505"/>
                </a:moveTo>
                <a:cubicBezTo>
                  <a:pt x="1998256" y="483226"/>
                  <a:pt x="2020023" y="501728"/>
                  <a:pt x="2022200" y="534379"/>
                </a:cubicBezTo>
                <a:cubicBezTo>
                  <a:pt x="2023832" y="560499"/>
                  <a:pt x="1996079" y="588252"/>
                  <a:pt x="1969415" y="588252"/>
                </a:cubicBezTo>
                <a:cubicBezTo>
                  <a:pt x="1943294" y="588796"/>
                  <a:pt x="1916085" y="561587"/>
                  <a:pt x="1915541" y="534923"/>
                </a:cubicBezTo>
                <a:cubicBezTo>
                  <a:pt x="1914453" y="508258"/>
                  <a:pt x="1941117" y="480505"/>
                  <a:pt x="1968326" y="480505"/>
                </a:cubicBezTo>
                <a:close/>
                <a:moveTo>
                  <a:pt x="91464" y="440780"/>
                </a:moveTo>
                <a:cubicBezTo>
                  <a:pt x="99082" y="440780"/>
                  <a:pt x="102347" y="443501"/>
                  <a:pt x="102891" y="451664"/>
                </a:cubicBezTo>
                <a:cubicBezTo>
                  <a:pt x="102891" y="460915"/>
                  <a:pt x="100171" y="464179"/>
                  <a:pt x="92008" y="464179"/>
                </a:cubicBezTo>
                <a:cubicBezTo>
                  <a:pt x="83301" y="464179"/>
                  <a:pt x="80036" y="461459"/>
                  <a:pt x="80036" y="452752"/>
                </a:cubicBezTo>
                <a:cubicBezTo>
                  <a:pt x="80036" y="444045"/>
                  <a:pt x="83301" y="440780"/>
                  <a:pt x="91464" y="440780"/>
                </a:cubicBezTo>
                <a:close/>
                <a:moveTo>
                  <a:pt x="254172" y="430441"/>
                </a:moveTo>
                <a:cubicBezTo>
                  <a:pt x="263967" y="430441"/>
                  <a:pt x="276483" y="440236"/>
                  <a:pt x="275939" y="452208"/>
                </a:cubicBezTo>
                <a:cubicBezTo>
                  <a:pt x="275939" y="463092"/>
                  <a:pt x="265600" y="473975"/>
                  <a:pt x="254716" y="473975"/>
                </a:cubicBezTo>
                <a:cubicBezTo>
                  <a:pt x="244377" y="473975"/>
                  <a:pt x="232949" y="463092"/>
                  <a:pt x="232405" y="452752"/>
                </a:cubicBezTo>
                <a:cubicBezTo>
                  <a:pt x="232405" y="442413"/>
                  <a:pt x="243833" y="430985"/>
                  <a:pt x="254172" y="430441"/>
                </a:cubicBezTo>
                <a:close/>
                <a:moveTo>
                  <a:pt x="417969" y="424999"/>
                </a:moveTo>
                <a:cubicBezTo>
                  <a:pt x="432118" y="424999"/>
                  <a:pt x="444634" y="438059"/>
                  <a:pt x="444634" y="452752"/>
                </a:cubicBezTo>
                <a:cubicBezTo>
                  <a:pt x="445178" y="464180"/>
                  <a:pt x="432662" y="481049"/>
                  <a:pt x="417425" y="479417"/>
                </a:cubicBezTo>
                <a:cubicBezTo>
                  <a:pt x="405453" y="481049"/>
                  <a:pt x="389672" y="465268"/>
                  <a:pt x="390760" y="452208"/>
                </a:cubicBezTo>
                <a:cubicBezTo>
                  <a:pt x="391849" y="437515"/>
                  <a:pt x="403276" y="424999"/>
                  <a:pt x="417969" y="424999"/>
                </a:cubicBezTo>
                <a:close/>
                <a:moveTo>
                  <a:pt x="580677" y="419558"/>
                </a:moveTo>
                <a:cubicBezTo>
                  <a:pt x="596458" y="419013"/>
                  <a:pt x="612783" y="434795"/>
                  <a:pt x="612783" y="452208"/>
                </a:cubicBezTo>
                <a:cubicBezTo>
                  <a:pt x="612783" y="469622"/>
                  <a:pt x="599723" y="483226"/>
                  <a:pt x="581221" y="484315"/>
                </a:cubicBezTo>
                <a:cubicBezTo>
                  <a:pt x="561087" y="482138"/>
                  <a:pt x="549659" y="470710"/>
                  <a:pt x="549115" y="452208"/>
                </a:cubicBezTo>
                <a:cubicBezTo>
                  <a:pt x="548571" y="433162"/>
                  <a:pt x="564352" y="420102"/>
                  <a:pt x="580677" y="419558"/>
                </a:cubicBezTo>
                <a:close/>
                <a:moveTo>
                  <a:pt x="743931" y="415748"/>
                </a:moveTo>
                <a:cubicBezTo>
                  <a:pt x="761888" y="414660"/>
                  <a:pt x="779846" y="432618"/>
                  <a:pt x="780390" y="452208"/>
                </a:cubicBezTo>
                <a:cubicBezTo>
                  <a:pt x="780934" y="471254"/>
                  <a:pt x="764065" y="488668"/>
                  <a:pt x="744475" y="489212"/>
                </a:cubicBezTo>
                <a:cubicBezTo>
                  <a:pt x="727061" y="489212"/>
                  <a:pt x="709103" y="472342"/>
                  <a:pt x="708559" y="453840"/>
                </a:cubicBezTo>
                <a:cubicBezTo>
                  <a:pt x="707471" y="435883"/>
                  <a:pt x="725428" y="416836"/>
                  <a:pt x="743931" y="415748"/>
                </a:cubicBezTo>
                <a:close/>
                <a:moveTo>
                  <a:pt x="908271" y="414116"/>
                </a:moveTo>
                <a:cubicBezTo>
                  <a:pt x="927861" y="411395"/>
                  <a:pt x="946907" y="431529"/>
                  <a:pt x="946363" y="453296"/>
                </a:cubicBezTo>
                <a:cubicBezTo>
                  <a:pt x="946363" y="473975"/>
                  <a:pt x="927317" y="491933"/>
                  <a:pt x="906638" y="491933"/>
                </a:cubicBezTo>
                <a:cubicBezTo>
                  <a:pt x="887048" y="491933"/>
                  <a:pt x="866913" y="473431"/>
                  <a:pt x="868546" y="452208"/>
                </a:cubicBezTo>
                <a:cubicBezTo>
                  <a:pt x="870179" y="428808"/>
                  <a:pt x="884871" y="413571"/>
                  <a:pt x="908271" y="414116"/>
                </a:cubicBezTo>
                <a:close/>
                <a:moveTo>
                  <a:pt x="1072068" y="409218"/>
                </a:moveTo>
                <a:cubicBezTo>
                  <a:pt x="1097100" y="410307"/>
                  <a:pt x="1113970" y="427720"/>
                  <a:pt x="1113970" y="452752"/>
                </a:cubicBezTo>
                <a:cubicBezTo>
                  <a:pt x="1113970" y="478329"/>
                  <a:pt x="1092203" y="495198"/>
                  <a:pt x="1070436" y="495198"/>
                </a:cubicBezTo>
                <a:cubicBezTo>
                  <a:pt x="1048124" y="494654"/>
                  <a:pt x="1027446" y="475063"/>
                  <a:pt x="1028534" y="451120"/>
                </a:cubicBezTo>
                <a:cubicBezTo>
                  <a:pt x="1029622" y="427720"/>
                  <a:pt x="1048669" y="408130"/>
                  <a:pt x="1072068" y="409218"/>
                </a:cubicBezTo>
                <a:close/>
                <a:moveTo>
                  <a:pt x="1235865" y="408130"/>
                </a:moveTo>
                <a:cubicBezTo>
                  <a:pt x="1258721" y="405953"/>
                  <a:pt x="1279400" y="427176"/>
                  <a:pt x="1279400" y="453296"/>
                </a:cubicBezTo>
                <a:cubicBezTo>
                  <a:pt x="1278855" y="478328"/>
                  <a:pt x="1258177" y="497374"/>
                  <a:pt x="1233689" y="497374"/>
                </a:cubicBezTo>
                <a:cubicBezTo>
                  <a:pt x="1209745" y="496830"/>
                  <a:pt x="1189066" y="476151"/>
                  <a:pt x="1189611" y="451664"/>
                </a:cubicBezTo>
                <a:cubicBezTo>
                  <a:pt x="1189611" y="429352"/>
                  <a:pt x="1209201" y="404864"/>
                  <a:pt x="1235865" y="408130"/>
                </a:cubicBezTo>
                <a:close/>
                <a:moveTo>
                  <a:pt x="1396941" y="403776"/>
                </a:moveTo>
                <a:cubicBezTo>
                  <a:pt x="1425238" y="403232"/>
                  <a:pt x="1445373" y="423911"/>
                  <a:pt x="1446461" y="450575"/>
                </a:cubicBezTo>
                <a:cubicBezTo>
                  <a:pt x="1447005" y="476696"/>
                  <a:pt x="1426327" y="500096"/>
                  <a:pt x="1399118" y="500640"/>
                </a:cubicBezTo>
                <a:cubicBezTo>
                  <a:pt x="1372453" y="501184"/>
                  <a:pt x="1349598" y="479961"/>
                  <a:pt x="1349598" y="453296"/>
                </a:cubicBezTo>
                <a:cubicBezTo>
                  <a:pt x="1349598" y="424999"/>
                  <a:pt x="1370277" y="404865"/>
                  <a:pt x="1396941" y="403776"/>
                </a:cubicBezTo>
                <a:close/>
                <a:moveTo>
                  <a:pt x="1560738" y="402144"/>
                </a:moveTo>
                <a:cubicBezTo>
                  <a:pt x="1588491" y="402144"/>
                  <a:pt x="1611347" y="427176"/>
                  <a:pt x="1611347" y="453297"/>
                </a:cubicBezTo>
                <a:cubicBezTo>
                  <a:pt x="1610803" y="476152"/>
                  <a:pt x="1590668" y="502817"/>
                  <a:pt x="1560194" y="502272"/>
                </a:cubicBezTo>
                <a:cubicBezTo>
                  <a:pt x="1534074" y="501728"/>
                  <a:pt x="1508498" y="479961"/>
                  <a:pt x="1511218" y="451664"/>
                </a:cubicBezTo>
                <a:cubicBezTo>
                  <a:pt x="1508498" y="425544"/>
                  <a:pt x="1534618" y="402144"/>
                  <a:pt x="1560738" y="402144"/>
                </a:cubicBezTo>
                <a:close/>
                <a:moveTo>
                  <a:pt x="1723991" y="399423"/>
                </a:moveTo>
                <a:cubicBezTo>
                  <a:pt x="1756097" y="402688"/>
                  <a:pt x="1777320" y="422278"/>
                  <a:pt x="1776776" y="452752"/>
                </a:cubicBezTo>
                <a:cubicBezTo>
                  <a:pt x="1776232" y="483226"/>
                  <a:pt x="1757730" y="501728"/>
                  <a:pt x="1725079" y="504993"/>
                </a:cubicBezTo>
                <a:cubicBezTo>
                  <a:pt x="1697870" y="507714"/>
                  <a:pt x="1670117" y="479961"/>
                  <a:pt x="1671750" y="452752"/>
                </a:cubicBezTo>
                <a:cubicBezTo>
                  <a:pt x="1673382" y="420102"/>
                  <a:pt x="1692428" y="403232"/>
                  <a:pt x="1723991" y="399423"/>
                </a:cubicBezTo>
                <a:close/>
                <a:moveTo>
                  <a:pt x="2051040" y="398335"/>
                </a:moveTo>
                <a:lnTo>
                  <a:pt x="2051041" y="398335"/>
                </a:lnTo>
                <a:lnTo>
                  <a:pt x="2051041" y="506936"/>
                </a:lnTo>
                <a:lnTo>
                  <a:pt x="2049952" y="507170"/>
                </a:lnTo>
                <a:cubicBezTo>
                  <a:pt x="2020566" y="506626"/>
                  <a:pt x="1995534" y="481593"/>
                  <a:pt x="1995534" y="452208"/>
                </a:cubicBezTo>
                <a:cubicBezTo>
                  <a:pt x="1996078" y="424455"/>
                  <a:pt x="2021655" y="397246"/>
                  <a:pt x="2051040" y="398335"/>
                </a:cubicBezTo>
                <a:close/>
                <a:moveTo>
                  <a:pt x="1888332" y="398335"/>
                </a:moveTo>
                <a:cubicBezTo>
                  <a:pt x="1915541" y="398879"/>
                  <a:pt x="1941661" y="423911"/>
                  <a:pt x="1941661" y="452208"/>
                </a:cubicBezTo>
                <a:cubicBezTo>
                  <a:pt x="1941661" y="481594"/>
                  <a:pt x="1916085" y="507170"/>
                  <a:pt x="1886699" y="506082"/>
                </a:cubicBezTo>
                <a:cubicBezTo>
                  <a:pt x="1857314" y="505538"/>
                  <a:pt x="1833914" y="481594"/>
                  <a:pt x="1833370" y="452208"/>
                </a:cubicBezTo>
                <a:cubicBezTo>
                  <a:pt x="1833370" y="423911"/>
                  <a:pt x="1860035" y="398335"/>
                  <a:pt x="1888332" y="398335"/>
                </a:cubicBezTo>
                <a:close/>
                <a:moveTo>
                  <a:pt x="12014" y="364052"/>
                </a:moveTo>
                <a:cubicBezTo>
                  <a:pt x="13102" y="365140"/>
                  <a:pt x="15279" y="367317"/>
                  <a:pt x="15823" y="370038"/>
                </a:cubicBezTo>
                <a:cubicBezTo>
                  <a:pt x="16911" y="374391"/>
                  <a:pt x="14191" y="377656"/>
                  <a:pt x="9293" y="377656"/>
                </a:cubicBezTo>
                <a:cubicBezTo>
                  <a:pt x="4940" y="377656"/>
                  <a:pt x="3307" y="374936"/>
                  <a:pt x="3307" y="371126"/>
                </a:cubicBezTo>
                <a:cubicBezTo>
                  <a:pt x="3307" y="367317"/>
                  <a:pt x="4940" y="364052"/>
                  <a:pt x="12014" y="364052"/>
                </a:cubicBezTo>
                <a:close/>
                <a:moveTo>
                  <a:pt x="172545" y="353713"/>
                </a:moveTo>
                <a:cubicBezTo>
                  <a:pt x="184517" y="353713"/>
                  <a:pt x="190503" y="359154"/>
                  <a:pt x="190503" y="370582"/>
                </a:cubicBezTo>
                <a:cubicBezTo>
                  <a:pt x="190503" y="381466"/>
                  <a:pt x="184517" y="387996"/>
                  <a:pt x="173090" y="387996"/>
                </a:cubicBezTo>
                <a:cubicBezTo>
                  <a:pt x="163839" y="388540"/>
                  <a:pt x="155676" y="381466"/>
                  <a:pt x="155676" y="371126"/>
                </a:cubicBezTo>
                <a:cubicBezTo>
                  <a:pt x="155676" y="362419"/>
                  <a:pt x="161662" y="352080"/>
                  <a:pt x="172545" y="353713"/>
                </a:cubicBezTo>
                <a:close/>
                <a:moveTo>
                  <a:pt x="336886" y="345550"/>
                </a:moveTo>
                <a:cubicBezTo>
                  <a:pt x="350490" y="346094"/>
                  <a:pt x="362462" y="358610"/>
                  <a:pt x="361374" y="371670"/>
                </a:cubicBezTo>
                <a:cubicBezTo>
                  <a:pt x="360286" y="385275"/>
                  <a:pt x="348858" y="395614"/>
                  <a:pt x="335798" y="395070"/>
                </a:cubicBezTo>
                <a:cubicBezTo>
                  <a:pt x="319472" y="394526"/>
                  <a:pt x="311854" y="381466"/>
                  <a:pt x="311854" y="370038"/>
                </a:cubicBezTo>
                <a:cubicBezTo>
                  <a:pt x="311854" y="356978"/>
                  <a:pt x="324370" y="345550"/>
                  <a:pt x="336886" y="345550"/>
                </a:cubicBezTo>
                <a:close/>
                <a:moveTo>
                  <a:pt x="499596" y="342284"/>
                </a:moveTo>
                <a:cubicBezTo>
                  <a:pt x="518642" y="341196"/>
                  <a:pt x="528437" y="354256"/>
                  <a:pt x="528437" y="370582"/>
                </a:cubicBezTo>
                <a:cubicBezTo>
                  <a:pt x="528437" y="386363"/>
                  <a:pt x="518642" y="399967"/>
                  <a:pt x="499051" y="399423"/>
                </a:cubicBezTo>
                <a:cubicBezTo>
                  <a:pt x="481094" y="399423"/>
                  <a:pt x="470210" y="387995"/>
                  <a:pt x="470210" y="370037"/>
                </a:cubicBezTo>
                <a:cubicBezTo>
                  <a:pt x="470754" y="352624"/>
                  <a:pt x="481638" y="341740"/>
                  <a:pt x="499596" y="342284"/>
                </a:cubicBezTo>
                <a:close/>
                <a:moveTo>
                  <a:pt x="663392" y="337387"/>
                </a:moveTo>
                <a:cubicBezTo>
                  <a:pt x="680262" y="337387"/>
                  <a:pt x="697675" y="354801"/>
                  <a:pt x="697131" y="371126"/>
                </a:cubicBezTo>
                <a:cubicBezTo>
                  <a:pt x="696043" y="390172"/>
                  <a:pt x="682982" y="404321"/>
                  <a:pt x="662304" y="404321"/>
                </a:cubicBezTo>
                <a:cubicBezTo>
                  <a:pt x="643258" y="405953"/>
                  <a:pt x="629109" y="389084"/>
                  <a:pt x="629109" y="371126"/>
                </a:cubicBezTo>
                <a:cubicBezTo>
                  <a:pt x="629109" y="352624"/>
                  <a:pt x="645434" y="337387"/>
                  <a:pt x="663392" y="337387"/>
                </a:cubicBezTo>
                <a:close/>
                <a:moveTo>
                  <a:pt x="825556" y="332489"/>
                </a:moveTo>
                <a:cubicBezTo>
                  <a:pt x="847323" y="333577"/>
                  <a:pt x="864193" y="349358"/>
                  <a:pt x="864737" y="370037"/>
                </a:cubicBezTo>
                <a:cubicBezTo>
                  <a:pt x="864193" y="391260"/>
                  <a:pt x="847323" y="409218"/>
                  <a:pt x="826645" y="409218"/>
                </a:cubicBezTo>
                <a:cubicBezTo>
                  <a:pt x="808687" y="412483"/>
                  <a:pt x="788008" y="387995"/>
                  <a:pt x="787464" y="371126"/>
                </a:cubicBezTo>
                <a:cubicBezTo>
                  <a:pt x="787464" y="353712"/>
                  <a:pt x="808687" y="331945"/>
                  <a:pt x="825556" y="332489"/>
                </a:cubicBezTo>
                <a:close/>
                <a:moveTo>
                  <a:pt x="989898" y="328680"/>
                </a:moveTo>
                <a:cubicBezTo>
                  <a:pt x="1013297" y="329224"/>
                  <a:pt x="1030167" y="347182"/>
                  <a:pt x="1031255" y="371126"/>
                </a:cubicBezTo>
                <a:cubicBezTo>
                  <a:pt x="1029623" y="396702"/>
                  <a:pt x="1010576" y="413027"/>
                  <a:pt x="989354" y="413027"/>
                </a:cubicBezTo>
                <a:cubicBezTo>
                  <a:pt x="964866" y="412483"/>
                  <a:pt x="946908" y="393981"/>
                  <a:pt x="947452" y="370037"/>
                </a:cubicBezTo>
                <a:cubicBezTo>
                  <a:pt x="947996" y="346094"/>
                  <a:pt x="964866" y="328680"/>
                  <a:pt x="989898" y="328680"/>
                </a:cubicBezTo>
                <a:close/>
                <a:moveTo>
                  <a:pt x="1153150" y="326504"/>
                </a:moveTo>
                <a:cubicBezTo>
                  <a:pt x="1177094" y="326504"/>
                  <a:pt x="1197228" y="347727"/>
                  <a:pt x="1197228" y="370582"/>
                </a:cubicBezTo>
                <a:cubicBezTo>
                  <a:pt x="1197228" y="392894"/>
                  <a:pt x="1176550" y="417925"/>
                  <a:pt x="1152606" y="414661"/>
                </a:cubicBezTo>
                <a:cubicBezTo>
                  <a:pt x="1130295" y="417925"/>
                  <a:pt x="1107984" y="393982"/>
                  <a:pt x="1108528" y="370038"/>
                </a:cubicBezTo>
                <a:cubicBezTo>
                  <a:pt x="1109072" y="347727"/>
                  <a:pt x="1129751" y="326504"/>
                  <a:pt x="1153150" y="326504"/>
                </a:cubicBezTo>
                <a:close/>
                <a:moveTo>
                  <a:pt x="1317492" y="323239"/>
                </a:moveTo>
                <a:cubicBezTo>
                  <a:pt x="1341979" y="322151"/>
                  <a:pt x="1367012" y="348271"/>
                  <a:pt x="1364835" y="372215"/>
                </a:cubicBezTo>
                <a:cubicBezTo>
                  <a:pt x="1361026" y="399968"/>
                  <a:pt x="1344700" y="416837"/>
                  <a:pt x="1314771" y="419014"/>
                </a:cubicBezTo>
                <a:cubicBezTo>
                  <a:pt x="1286474" y="415205"/>
                  <a:pt x="1267972" y="398879"/>
                  <a:pt x="1268516" y="370582"/>
                </a:cubicBezTo>
                <a:cubicBezTo>
                  <a:pt x="1268516" y="341197"/>
                  <a:pt x="1288650" y="324327"/>
                  <a:pt x="1317492" y="323239"/>
                </a:cubicBezTo>
                <a:close/>
                <a:moveTo>
                  <a:pt x="1479112" y="320517"/>
                </a:moveTo>
                <a:cubicBezTo>
                  <a:pt x="1503600" y="319973"/>
                  <a:pt x="1530265" y="343917"/>
                  <a:pt x="1529720" y="371670"/>
                </a:cubicBezTo>
                <a:cubicBezTo>
                  <a:pt x="1528632" y="395069"/>
                  <a:pt x="1506321" y="423366"/>
                  <a:pt x="1478568" y="420101"/>
                </a:cubicBezTo>
                <a:cubicBezTo>
                  <a:pt x="1452447" y="422822"/>
                  <a:pt x="1429592" y="397246"/>
                  <a:pt x="1429592" y="370037"/>
                </a:cubicBezTo>
                <a:cubicBezTo>
                  <a:pt x="1429592" y="342284"/>
                  <a:pt x="1455713" y="320517"/>
                  <a:pt x="1479112" y="320517"/>
                </a:cubicBezTo>
                <a:close/>
                <a:moveTo>
                  <a:pt x="1642364" y="318341"/>
                </a:moveTo>
                <a:cubicBezTo>
                  <a:pt x="1670661" y="318341"/>
                  <a:pt x="1692973" y="339020"/>
                  <a:pt x="1695694" y="370582"/>
                </a:cubicBezTo>
                <a:cubicBezTo>
                  <a:pt x="1696238" y="397791"/>
                  <a:pt x="1671206" y="423367"/>
                  <a:pt x="1643453" y="424455"/>
                </a:cubicBezTo>
                <a:cubicBezTo>
                  <a:pt x="1616788" y="425544"/>
                  <a:pt x="1589035" y="398335"/>
                  <a:pt x="1589035" y="371670"/>
                </a:cubicBezTo>
                <a:cubicBezTo>
                  <a:pt x="1589035" y="345006"/>
                  <a:pt x="1615155" y="317797"/>
                  <a:pt x="1642364" y="318341"/>
                </a:cubicBezTo>
                <a:close/>
                <a:moveTo>
                  <a:pt x="90919" y="273718"/>
                </a:moveTo>
                <a:cubicBezTo>
                  <a:pt x="96361" y="273174"/>
                  <a:pt x="106156" y="282425"/>
                  <a:pt x="106700" y="288411"/>
                </a:cubicBezTo>
                <a:cubicBezTo>
                  <a:pt x="106700" y="294941"/>
                  <a:pt x="97993" y="303648"/>
                  <a:pt x="91463" y="303648"/>
                </a:cubicBezTo>
                <a:cubicBezTo>
                  <a:pt x="84933" y="303648"/>
                  <a:pt x="76226" y="294941"/>
                  <a:pt x="76770" y="288411"/>
                </a:cubicBezTo>
                <a:cubicBezTo>
                  <a:pt x="76770" y="283513"/>
                  <a:pt x="86021" y="274262"/>
                  <a:pt x="90919" y="273718"/>
                </a:cubicBezTo>
                <a:close/>
                <a:moveTo>
                  <a:pt x="254716" y="267733"/>
                </a:moveTo>
                <a:cubicBezTo>
                  <a:pt x="267776" y="267733"/>
                  <a:pt x="276483" y="276440"/>
                  <a:pt x="276483" y="288956"/>
                </a:cubicBezTo>
                <a:cubicBezTo>
                  <a:pt x="276483" y="301472"/>
                  <a:pt x="266688" y="311811"/>
                  <a:pt x="254172" y="311811"/>
                </a:cubicBezTo>
                <a:cubicBezTo>
                  <a:pt x="243289" y="311811"/>
                  <a:pt x="232405" y="300384"/>
                  <a:pt x="232405" y="289500"/>
                </a:cubicBezTo>
                <a:cubicBezTo>
                  <a:pt x="232405" y="276984"/>
                  <a:pt x="242744" y="267733"/>
                  <a:pt x="254716" y="267733"/>
                </a:cubicBezTo>
                <a:close/>
                <a:moveTo>
                  <a:pt x="1941117" y="263202"/>
                </a:moveTo>
                <a:cubicBezTo>
                  <a:pt x="1937852" y="261570"/>
                  <a:pt x="1936219" y="263202"/>
                  <a:pt x="1936219" y="266467"/>
                </a:cubicBezTo>
                <a:cubicBezTo>
                  <a:pt x="1936763" y="268644"/>
                  <a:pt x="1937852" y="270276"/>
                  <a:pt x="1938396" y="272453"/>
                </a:cubicBezTo>
                <a:cubicBezTo>
                  <a:pt x="1944382" y="290955"/>
                  <a:pt x="1943838" y="308913"/>
                  <a:pt x="1932954" y="325782"/>
                </a:cubicBezTo>
                <a:cubicBezTo>
                  <a:pt x="1931866" y="327415"/>
                  <a:pt x="1931866" y="329047"/>
                  <a:pt x="1930777" y="331224"/>
                </a:cubicBezTo>
                <a:cubicBezTo>
                  <a:pt x="1932410" y="331224"/>
                  <a:pt x="1935131" y="331224"/>
                  <a:pt x="1936219" y="330136"/>
                </a:cubicBezTo>
                <a:cubicBezTo>
                  <a:pt x="1945470" y="323061"/>
                  <a:pt x="1955265" y="320885"/>
                  <a:pt x="1966693" y="320340"/>
                </a:cubicBezTo>
                <a:cubicBezTo>
                  <a:pt x="1978121" y="319796"/>
                  <a:pt x="1989004" y="323061"/>
                  <a:pt x="1998799" y="328503"/>
                </a:cubicBezTo>
                <a:cubicBezTo>
                  <a:pt x="2000432" y="329047"/>
                  <a:pt x="2001520" y="329592"/>
                  <a:pt x="2003153" y="330136"/>
                </a:cubicBezTo>
                <a:cubicBezTo>
                  <a:pt x="2002609" y="328503"/>
                  <a:pt x="2002609" y="326326"/>
                  <a:pt x="2001520" y="324694"/>
                </a:cubicBezTo>
                <a:cubicBezTo>
                  <a:pt x="1999344" y="319796"/>
                  <a:pt x="1995534" y="314899"/>
                  <a:pt x="1994446" y="309457"/>
                </a:cubicBezTo>
                <a:cubicBezTo>
                  <a:pt x="1992269" y="295308"/>
                  <a:pt x="1990093" y="281160"/>
                  <a:pt x="1998255" y="267555"/>
                </a:cubicBezTo>
                <a:cubicBezTo>
                  <a:pt x="2000432" y="267555"/>
                  <a:pt x="2000432" y="265923"/>
                  <a:pt x="2000976" y="263746"/>
                </a:cubicBezTo>
                <a:cubicBezTo>
                  <a:pt x="1998799" y="263746"/>
                  <a:pt x="1996623" y="262658"/>
                  <a:pt x="1995534" y="263746"/>
                </a:cubicBezTo>
                <a:cubicBezTo>
                  <a:pt x="1977577" y="272997"/>
                  <a:pt x="1959075" y="272997"/>
                  <a:pt x="1941117" y="263202"/>
                </a:cubicBezTo>
                <a:close/>
                <a:moveTo>
                  <a:pt x="417425" y="262291"/>
                </a:moveTo>
                <a:cubicBezTo>
                  <a:pt x="434839" y="262291"/>
                  <a:pt x="445178" y="272086"/>
                  <a:pt x="445178" y="288956"/>
                </a:cubicBezTo>
                <a:cubicBezTo>
                  <a:pt x="445178" y="305825"/>
                  <a:pt x="434839" y="316164"/>
                  <a:pt x="417969" y="317253"/>
                </a:cubicBezTo>
                <a:cubicBezTo>
                  <a:pt x="404909" y="317797"/>
                  <a:pt x="389672" y="306369"/>
                  <a:pt x="390216" y="290044"/>
                </a:cubicBezTo>
                <a:cubicBezTo>
                  <a:pt x="391305" y="272086"/>
                  <a:pt x="400011" y="262291"/>
                  <a:pt x="417425" y="262291"/>
                </a:cubicBezTo>
                <a:close/>
                <a:moveTo>
                  <a:pt x="580678" y="256304"/>
                </a:moveTo>
                <a:cubicBezTo>
                  <a:pt x="596459" y="255760"/>
                  <a:pt x="616049" y="273174"/>
                  <a:pt x="613872" y="288955"/>
                </a:cubicBezTo>
                <a:cubicBezTo>
                  <a:pt x="615505" y="304736"/>
                  <a:pt x="598635" y="322150"/>
                  <a:pt x="581222" y="322150"/>
                </a:cubicBezTo>
                <a:cubicBezTo>
                  <a:pt x="564352" y="322150"/>
                  <a:pt x="548571" y="308001"/>
                  <a:pt x="548027" y="289499"/>
                </a:cubicBezTo>
                <a:cubicBezTo>
                  <a:pt x="547483" y="272086"/>
                  <a:pt x="565441" y="256849"/>
                  <a:pt x="580678" y="256304"/>
                </a:cubicBezTo>
                <a:close/>
                <a:moveTo>
                  <a:pt x="743930" y="251951"/>
                </a:moveTo>
                <a:cubicBezTo>
                  <a:pt x="764609" y="251951"/>
                  <a:pt x="782566" y="268820"/>
                  <a:pt x="782022" y="289499"/>
                </a:cubicBezTo>
                <a:cubicBezTo>
                  <a:pt x="781478" y="311266"/>
                  <a:pt x="765153" y="326503"/>
                  <a:pt x="744474" y="326503"/>
                </a:cubicBezTo>
                <a:cubicBezTo>
                  <a:pt x="723795" y="326503"/>
                  <a:pt x="708014" y="311266"/>
                  <a:pt x="707470" y="289499"/>
                </a:cubicBezTo>
                <a:cubicBezTo>
                  <a:pt x="706926" y="271541"/>
                  <a:pt x="722163" y="252495"/>
                  <a:pt x="743930" y="251951"/>
                </a:cubicBezTo>
                <a:close/>
                <a:moveTo>
                  <a:pt x="907183" y="249775"/>
                </a:moveTo>
                <a:cubicBezTo>
                  <a:pt x="929494" y="249775"/>
                  <a:pt x="946908" y="263924"/>
                  <a:pt x="947452" y="289500"/>
                </a:cubicBezTo>
                <a:cubicBezTo>
                  <a:pt x="947996" y="311811"/>
                  <a:pt x="931127" y="330313"/>
                  <a:pt x="908271" y="329225"/>
                </a:cubicBezTo>
                <a:cubicBezTo>
                  <a:pt x="885960" y="330857"/>
                  <a:pt x="868002" y="312355"/>
                  <a:pt x="867458" y="290044"/>
                </a:cubicBezTo>
                <a:cubicBezTo>
                  <a:pt x="867458" y="266100"/>
                  <a:pt x="884872" y="249775"/>
                  <a:pt x="907183" y="249775"/>
                </a:cubicBezTo>
                <a:close/>
                <a:moveTo>
                  <a:pt x="1070435" y="245965"/>
                </a:moveTo>
                <a:cubicBezTo>
                  <a:pt x="1093291" y="245421"/>
                  <a:pt x="1116146" y="264467"/>
                  <a:pt x="1114513" y="290043"/>
                </a:cubicBezTo>
                <a:cubicBezTo>
                  <a:pt x="1115602" y="312899"/>
                  <a:pt x="1092202" y="334122"/>
                  <a:pt x="1069347" y="333578"/>
                </a:cubicBezTo>
                <a:cubicBezTo>
                  <a:pt x="1047036" y="333034"/>
                  <a:pt x="1026357" y="311266"/>
                  <a:pt x="1026357" y="288955"/>
                </a:cubicBezTo>
                <a:cubicBezTo>
                  <a:pt x="1026901" y="268276"/>
                  <a:pt x="1045403" y="245965"/>
                  <a:pt x="1070435" y="245965"/>
                </a:cubicBezTo>
                <a:close/>
                <a:moveTo>
                  <a:pt x="1233689" y="241613"/>
                </a:moveTo>
                <a:cubicBezTo>
                  <a:pt x="1257632" y="241068"/>
                  <a:pt x="1281032" y="263924"/>
                  <a:pt x="1282120" y="288412"/>
                </a:cubicBezTo>
                <a:cubicBezTo>
                  <a:pt x="1282665" y="312900"/>
                  <a:pt x="1260898" y="336299"/>
                  <a:pt x="1235321" y="335755"/>
                </a:cubicBezTo>
                <a:cubicBezTo>
                  <a:pt x="1206480" y="335211"/>
                  <a:pt x="1190155" y="318886"/>
                  <a:pt x="1187434" y="289500"/>
                </a:cubicBezTo>
                <a:cubicBezTo>
                  <a:pt x="1184713" y="266100"/>
                  <a:pt x="1208657" y="242701"/>
                  <a:pt x="1233689" y="241613"/>
                </a:cubicBezTo>
                <a:close/>
                <a:moveTo>
                  <a:pt x="1397485" y="238891"/>
                </a:moveTo>
                <a:cubicBezTo>
                  <a:pt x="1421973" y="237259"/>
                  <a:pt x="1448638" y="264467"/>
                  <a:pt x="1448094" y="288955"/>
                </a:cubicBezTo>
                <a:cubicBezTo>
                  <a:pt x="1447005" y="312355"/>
                  <a:pt x="1424150" y="341196"/>
                  <a:pt x="1398029" y="338475"/>
                </a:cubicBezTo>
                <a:cubicBezTo>
                  <a:pt x="1372453" y="340652"/>
                  <a:pt x="1347421" y="315620"/>
                  <a:pt x="1348509" y="289499"/>
                </a:cubicBezTo>
                <a:cubicBezTo>
                  <a:pt x="1349598" y="261202"/>
                  <a:pt x="1369732" y="240524"/>
                  <a:pt x="1397485" y="238891"/>
                </a:cubicBezTo>
                <a:close/>
                <a:moveTo>
                  <a:pt x="1559650" y="237258"/>
                </a:moveTo>
                <a:cubicBezTo>
                  <a:pt x="1590668" y="236170"/>
                  <a:pt x="1611891" y="259570"/>
                  <a:pt x="1613523" y="288955"/>
                </a:cubicBezTo>
                <a:cubicBezTo>
                  <a:pt x="1613523" y="316164"/>
                  <a:pt x="1587403" y="342829"/>
                  <a:pt x="1560738" y="342829"/>
                </a:cubicBezTo>
                <a:cubicBezTo>
                  <a:pt x="1534618" y="342829"/>
                  <a:pt x="1505776" y="315620"/>
                  <a:pt x="1507953" y="289499"/>
                </a:cubicBezTo>
                <a:cubicBezTo>
                  <a:pt x="1510130" y="261202"/>
                  <a:pt x="1526455" y="238347"/>
                  <a:pt x="1559650" y="237258"/>
                </a:cubicBezTo>
                <a:close/>
                <a:moveTo>
                  <a:pt x="9837" y="198078"/>
                </a:moveTo>
                <a:cubicBezTo>
                  <a:pt x="14190" y="198078"/>
                  <a:pt x="19632" y="202976"/>
                  <a:pt x="19632" y="207873"/>
                </a:cubicBezTo>
                <a:cubicBezTo>
                  <a:pt x="19632" y="212227"/>
                  <a:pt x="14190" y="217668"/>
                  <a:pt x="10381" y="218213"/>
                </a:cubicBezTo>
                <a:cubicBezTo>
                  <a:pt x="5483" y="218757"/>
                  <a:pt x="-503" y="212771"/>
                  <a:pt x="42" y="207873"/>
                </a:cubicBezTo>
                <a:cubicBezTo>
                  <a:pt x="42" y="202976"/>
                  <a:pt x="5483" y="198078"/>
                  <a:pt x="9837" y="198078"/>
                </a:cubicBezTo>
                <a:close/>
                <a:moveTo>
                  <a:pt x="173090" y="187739"/>
                </a:moveTo>
                <a:cubicBezTo>
                  <a:pt x="183429" y="188283"/>
                  <a:pt x="192136" y="196990"/>
                  <a:pt x="192136" y="207329"/>
                </a:cubicBezTo>
                <a:cubicBezTo>
                  <a:pt x="192136" y="217669"/>
                  <a:pt x="182341" y="228008"/>
                  <a:pt x="172546" y="227464"/>
                </a:cubicBezTo>
                <a:cubicBezTo>
                  <a:pt x="163839" y="226920"/>
                  <a:pt x="154588" y="217669"/>
                  <a:pt x="154044" y="208418"/>
                </a:cubicBezTo>
                <a:cubicBezTo>
                  <a:pt x="153500" y="198078"/>
                  <a:pt x="162751" y="187739"/>
                  <a:pt x="173090" y="187739"/>
                </a:cubicBezTo>
                <a:close/>
                <a:moveTo>
                  <a:pt x="336887" y="182297"/>
                </a:moveTo>
                <a:cubicBezTo>
                  <a:pt x="350491" y="182841"/>
                  <a:pt x="361919" y="191548"/>
                  <a:pt x="363007" y="207329"/>
                </a:cubicBezTo>
                <a:cubicBezTo>
                  <a:pt x="363551" y="219845"/>
                  <a:pt x="349947" y="233449"/>
                  <a:pt x="336887" y="233994"/>
                </a:cubicBezTo>
                <a:cubicBezTo>
                  <a:pt x="324371" y="233994"/>
                  <a:pt x="311311" y="221478"/>
                  <a:pt x="310766" y="208961"/>
                </a:cubicBezTo>
                <a:cubicBezTo>
                  <a:pt x="310222" y="195357"/>
                  <a:pt x="323282" y="181753"/>
                  <a:pt x="336887" y="182297"/>
                </a:cubicBezTo>
                <a:close/>
                <a:moveTo>
                  <a:pt x="1856225" y="180487"/>
                </a:moveTo>
                <a:cubicBezTo>
                  <a:pt x="1856225" y="182664"/>
                  <a:pt x="1855137" y="184841"/>
                  <a:pt x="1855681" y="185929"/>
                </a:cubicBezTo>
                <a:cubicBezTo>
                  <a:pt x="1863844" y="206064"/>
                  <a:pt x="1863844" y="226198"/>
                  <a:pt x="1851872" y="244700"/>
                </a:cubicBezTo>
                <a:cubicBezTo>
                  <a:pt x="1851328" y="245788"/>
                  <a:pt x="1851328" y="246877"/>
                  <a:pt x="1851328" y="247965"/>
                </a:cubicBezTo>
                <a:cubicBezTo>
                  <a:pt x="1852416" y="247965"/>
                  <a:pt x="1854049" y="247965"/>
                  <a:pt x="1854593" y="247421"/>
                </a:cubicBezTo>
                <a:cubicBezTo>
                  <a:pt x="1868197" y="237082"/>
                  <a:pt x="1883434" y="237082"/>
                  <a:pt x="1899215" y="238714"/>
                </a:cubicBezTo>
                <a:cubicBezTo>
                  <a:pt x="1904113" y="239258"/>
                  <a:pt x="1909010" y="241979"/>
                  <a:pt x="1913908" y="243067"/>
                </a:cubicBezTo>
                <a:cubicBezTo>
                  <a:pt x="1915541" y="243612"/>
                  <a:pt x="1917173" y="242523"/>
                  <a:pt x="1918806" y="242523"/>
                </a:cubicBezTo>
                <a:cubicBezTo>
                  <a:pt x="1918806" y="240891"/>
                  <a:pt x="1918806" y="239258"/>
                  <a:pt x="1918261" y="238170"/>
                </a:cubicBezTo>
                <a:cubicBezTo>
                  <a:pt x="1908466" y="220756"/>
                  <a:pt x="1910099" y="203887"/>
                  <a:pt x="1917173" y="185929"/>
                </a:cubicBezTo>
                <a:cubicBezTo>
                  <a:pt x="1917717" y="184297"/>
                  <a:pt x="1917717" y="183208"/>
                  <a:pt x="1918261" y="181576"/>
                </a:cubicBezTo>
                <a:cubicBezTo>
                  <a:pt x="1916629" y="182120"/>
                  <a:pt x="1914996" y="182120"/>
                  <a:pt x="1913908" y="182664"/>
                </a:cubicBezTo>
                <a:cubicBezTo>
                  <a:pt x="1895950" y="189738"/>
                  <a:pt x="1877992" y="190827"/>
                  <a:pt x="1860579" y="180487"/>
                </a:cubicBezTo>
                <a:cubicBezTo>
                  <a:pt x="1858946" y="181031"/>
                  <a:pt x="1857858" y="181031"/>
                  <a:pt x="1856225" y="180487"/>
                </a:cubicBezTo>
                <a:close/>
                <a:moveTo>
                  <a:pt x="499595" y="175767"/>
                </a:moveTo>
                <a:cubicBezTo>
                  <a:pt x="514832" y="175767"/>
                  <a:pt x="531702" y="193181"/>
                  <a:pt x="531158" y="207874"/>
                </a:cubicBezTo>
                <a:cubicBezTo>
                  <a:pt x="530613" y="223110"/>
                  <a:pt x="513744" y="239980"/>
                  <a:pt x="498507" y="238347"/>
                </a:cubicBezTo>
                <a:cubicBezTo>
                  <a:pt x="479461" y="236715"/>
                  <a:pt x="469666" y="224743"/>
                  <a:pt x="468033" y="207329"/>
                </a:cubicBezTo>
                <a:cubicBezTo>
                  <a:pt x="466945" y="192636"/>
                  <a:pt x="484903" y="175767"/>
                  <a:pt x="499595" y="175767"/>
                </a:cubicBezTo>
                <a:close/>
                <a:moveTo>
                  <a:pt x="662304" y="173046"/>
                </a:moveTo>
                <a:cubicBezTo>
                  <a:pt x="683527" y="171958"/>
                  <a:pt x="698220" y="189916"/>
                  <a:pt x="697676" y="207873"/>
                </a:cubicBezTo>
                <a:cubicBezTo>
                  <a:pt x="697131" y="227464"/>
                  <a:pt x="684615" y="243245"/>
                  <a:pt x="662304" y="242156"/>
                </a:cubicBezTo>
                <a:cubicBezTo>
                  <a:pt x="639993" y="241612"/>
                  <a:pt x="628565" y="229096"/>
                  <a:pt x="628021" y="207873"/>
                </a:cubicBezTo>
                <a:cubicBezTo>
                  <a:pt x="628021" y="187739"/>
                  <a:pt x="642714" y="172502"/>
                  <a:pt x="662304" y="173046"/>
                </a:cubicBezTo>
                <a:close/>
                <a:moveTo>
                  <a:pt x="826645" y="168148"/>
                </a:moveTo>
                <a:cubicBezTo>
                  <a:pt x="844602" y="168148"/>
                  <a:pt x="867458" y="187194"/>
                  <a:pt x="864737" y="207329"/>
                </a:cubicBezTo>
                <a:cubicBezTo>
                  <a:pt x="867458" y="229096"/>
                  <a:pt x="844058" y="247054"/>
                  <a:pt x="826100" y="247054"/>
                </a:cubicBezTo>
                <a:cubicBezTo>
                  <a:pt x="808687" y="247054"/>
                  <a:pt x="787464" y="228552"/>
                  <a:pt x="787464" y="207873"/>
                </a:cubicBezTo>
                <a:cubicBezTo>
                  <a:pt x="787464" y="187194"/>
                  <a:pt x="807054" y="168148"/>
                  <a:pt x="826645" y="168148"/>
                </a:cubicBezTo>
                <a:close/>
                <a:moveTo>
                  <a:pt x="987721" y="164883"/>
                </a:moveTo>
                <a:cubicBezTo>
                  <a:pt x="1012209" y="164339"/>
                  <a:pt x="1030711" y="181753"/>
                  <a:pt x="1031799" y="207329"/>
                </a:cubicBezTo>
                <a:cubicBezTo>
                  <a:pt x="1031255" y="232361"/>
                  <a:pt x="1011665" y="250319"/>
                  <a:pt x="988809" y="250319"/>
                </a:cubicBezTo>
                <a:cubicBezTo>
                  <a:pt x="965954" y="250319"/>
                  <a:pt x="946364" y="231273"/>
                  <a:pt x="945819" y="208417"/>
                </a:cubicBezTo>
                <a:cubicBezTo>
                  <a:pt x="945275" y="185018"/>
                  <a:pt x="962689" y="165428"/>
                  <a:pt x="987721" y="164883"/>
                </a:cubicBezTo>
                <a:close/>
                <a:moveTo>
                  <a:pt x="1153150" y="162707"/>
                </a:moveTo>
                <a:cubicBezTo>
                  <a:pt x="1177638" y="161619"/>
                  <a:pt x="1197772" y="180665"/>
                  <a:pt x="1197772" y="207874"/>
                </a:cubicBezTo>
                <a:cubicBezTo>
                  <a:pt x="1197772" y="235083"/>
                  <a:pt x="1176005" y="253584"/>
                  <a:pt x="1151517" y="253584"/>
                </a:cubicBezTo>
                <a:cubicBezTo>
                  <a:pt x="1128118" y="253040"/>
                  <a:pt x="1106895" y="234538"/>
                  <a:pt x="1107439" y="207329"/>
                </a:cubicBezTo>
                <a:cubicBezTo>
                  <a:pt x="1107983" y="179576"/>
                  <a:pt x="1129206" y="161075"/>
                  <a:pt x="1153150" y="162707"/>
                </a:cubicBezTo>
                <a:close/>
                <a:moveTo>
                  <a:pt x="1315315" y="158353"/>
                </a:moveTo>
                <a:cubicBezTo>
                  <a:pt x="1341435" y="156177"/>
                  <a:pt x="1365923" y="184474"/>
                  <a:pt x="1365379" y="206785"/>
                </a:cubicBezTo>
                <a:cubicBezTo>
                  <a:pt x="1365379" y="229640"/>
                  <a:pt x="1344156" y="256849"/>
                  <a:pt x="1315859" y="256305"/>
                </a:cubicBezTo>
                <a:cubicBezTo>
                  <a:pt x="1290283" y="256305"/>
                  <a:pt x="1267427" y="233994"/>
                  <a:pt x="1266883" y="207873"/>
                </a:cubicBezTo>
                <a:cubicBezTo>
                  <a:pt x="1265795" y="181209"/>
                  <a:pt x="1292460" y="157265"/>
                  <a:pt x="1315315" y="158353"/>
                </a:cubicBezTo>
                <a:close/>
                <a:moveTo>
                  <a:pt x="1478567" y="156721"/>
                </a:moveTo>
                <a:cubicBezTo>
                  <a:pt x="1510129" y="156721"/>
                  <a:pt x="1530264" y="180665"/>
                  <a:pt x="1529720" y="207329"/>
                </a:cubicBezTo>
                <a:cubicBezTo>
                  <a:pt x="1530264" y="236715"/>
                  <a:pt x="1510129" y="258482"/>
                  <a:pt x="1478567" y="258482"/>
                </a:cubicBezTo>
                <a:cubicBezTo>
                  <a:pt x="1449182" y="257938"/>
                  <a:pt x="1428503" y="238892"/>
                  <a:pt x="1427959" y="207874"/>
                </a:cubicBezTo>
                <a:cubicBezTo>
                  <a:pt x="1427415" y="179576"/>
                  <a:pt x="1447549" y="156721"/>
                  <a:pt x="1478567" y="156721"/>
                </a:cubicBezTo>
                <a:close/>
                <a:moveTo>
                  <a:pt x="1644541" y="153456"/>
                </a:moveTo>
                <a:cubicBezTo>
                  <a:pt x="1672294" y="154544"/>
                  <a:pt x="1697870" y="180665"/>
                  <a:pt x="1697326" y="209506"/>
                </a:cubicBezTo>
                <a:cubicBezTo>
                  <a:pt x="1696782" y="238347"/>
                  <a:pt x="1669573" y="263924"/>
                  <a:pt x="1641276" y="262835"/>
                </a:cubicBezTo>
                <a:cubicBezTo>
                  <a:pt x="1612979" y="261203"/>
                  <a:pt x="1587402" y="236715"/>
                  <a:pt x="1587947" y="206785"/>
                </a:cubicBezTo>
                <a:cubicBezTo>
                  <a:pt x="1587947" y="180121"/>
                  <a:pt x="1613523" y="152368"/>
                  <a:pt x="1644541" y="153456"/>
                </a:cubicBezTo>
                <a:close/>
                <a:moveTo>
                  <a:pt x="91463" y="109922"/>
                </a:moveTo>
                <a:cubicBezTo>
                  <a:pt x="97993" y="109922"/>
                  <a:pt x="107244" y="119173"/>
                  <a:pt x="107244" y="126247"/>
                </a:cubicBezTo>
                <a:cubicBezTo>
                  <a:pt x="107788" y="132777"/>
                  <a:pt x="98537" y="142028"/>
                  <a:pt x="91463" y="142028"/>
                </a:cubicBezTo>
                <a:cubicBezTo>
                  <a:pt x="83845" y="142028"/>
                  <a:pt x="75682" y="133866"/>
                  <a:pt x="75682" y="126247"/>
                </a:cubicBezTo>
                <a:cubicBezTo>
                  <a:pt x="75682" y="118629"/>
                  <a:pt x="84389" y="109922"/>
                  <a:pt x="91463" y="109922"/>
                </a:cubicBezTo>
                <a:close/>
                <a:moveTo>
                  <a:pt x="1942341" y="104915"/>
                </a:moveTo>
                <a:cubicBezTo>
                  <a:pt x="1941389" y="105799"/>
                  <a:pt x="1941389" y="107840"/>
                  <a:pt x="1942205" y="111377"/>
                </a:cubicBezTo>
                <a:cubicBezTo>
                  <a:pt x="1943294" y="118451"/>
                  <a:pt x="1944926" y="124437"/>
                  <a:pt x="1946559" y="131511"/>
                </a:cubicBezTo>
                <a:cubicBezTo>
                  <a:pt x="1944382" y="139674"/>
                  <a:pt x="1941661" y="148381"/>
                  <a:pt x="1939484" y="157088"/>
                </a:cubicBezTo>
                <a:cubicBezTo>
                  <a:pt x="1939484" y="158176"/>
                  <a:pt x="1941117" y="160353"/>
                  <a:pt x="1941117" y="160353"/>
                </a:cubicBezTo>
                <a:cubicBezTo>
                  <a:pt x="1955810" y="154367"/>
                  <a:pt x="1971046" y="150558"/>
                  <a:pt x="1986828" y="157088"/>
                </a:cubicBezTo>
                <a:cubicBezTo>
                  <a:pt x="1987372" y="157088"/>
                  <a:pt x="1987916" y="157088"/>
                  <a:pt x="1987916" y="157088"/>
                </a:cubicBezTo>
                <a:cubicBezTo>
                  <a:pt x="1994990" y="157632"/>
                  <a:pt x="1996623" y="155999"/>
                  <a:pt x="1993902" y="150013"/>
                </a:cubicBezTo>
                <a:cubicBezTo>
                  <a:pt x="1988460" y="136409"/>
                  <a:pt x="1988460" y="123349"/>
                  <a:pt x="1993902" y="109744"/>
                </a:cubicBezTo>
                <a:cubicBezTo>
                  <a:pt x="1995534" y="105935"/>
                  <a:pt x="1994446" y="103214"/>
                  <a:pt x="1989004" y="105391"/>
                </a:cubicBezTo>
                <a:cubicBezTo>
                  <a:pt x="1975400" y="109744"/>
                  <a:pt x="1961796" y="109744"/>
                  <a:pt x="1948191" y="105391"/>
                </a:cubicBezTo>
                <a:cubicBezTo>
                  <a:pt x="1945198" y="104303"/>
                  <a:pt x="1943294" y="104031"/>
                  <a:pt x="1942341" y="104915"/>
                </a:cubicBezTo>
                <a:close/>
                <a:moveTo>
                  <a:pt x="255804" y="103392"/>
                </a:moveTo>
                <a:cubicBezTo>
                  <a:pt x="269409" y="103392"/>
                  <a:pt x="277571" y="112643"/>
                  <a:pt x="277571" y="126791"/>
                </a:cubicBezTo>
                <a:cubicBezTo>
                  <a:pt x="277027" y="139852"/>
                  <a:pt x="267776" y="148558"/>
                  <a:pt x="254172" y="148014"/>
                </a:cubicBezTo>
                <a:cubicBezTo>
                  <a:pt x="241112" y="148014"/>
                  <a:pt x="231861" y="138763"/>
                  <a:pt x="232405" y="125159"/>
                </a:cubicBezTo>
                <a:cubicBezTo>
                  <a:pt x="232405" y="112099"/>
                  <a:pt x="242200" y="102848"/>
                  <a:pt x="255804" y="103392"/>
                </a:cubicBezTo>
                <a:close/>
                <a:moveTo>
                  <a:pt x="1773511" y="99405"/>
                </a:moveTo>
                <a:cubicBezTo>
                  <a:pt x="1773511" y="102126"/>
                  <a:pt x="1772966" y="104303"/>
                  <a:pt x="1773511" y="107023"/>
                </a:cubicBezTo>
                <a:cubicBezTo>
                  <a:pt x="1776232" y="114098"/>
                  <a:pt x="1778408" y="121716"/>
                  <a:pt x="1780585" y="130423"/>
                </a:cubicBezTo>
                <a:cubicBezTo>
                  <a:pt x="1778408" y="139130"/>
                  <a:pt x="1775687" y="147293"/>
                  <a:pt x="1773511" y="155999"/>
                </a:cubicBezTo>
                <a:cubicBezTo>
                  <a:pt x="1772966" y="157632"/>
                  <a:pt x="1772966" y="160897"/>
                  <a:pt x="1774055" y="161985"/>
                </a:cubicBezTo>
                <a:cubicBezTo>
                  <a:pt x="1775143" y="163074"/>
                  <a:pt x="1778408" y="163074"/>
                  <a:pt x="1780041" y="162529"/>
                </a:cubicBezTo>
                <a:cubicBezTo>
                  <a:pt x="1789836" y="155455"/>
                  <a:pt x="1800719" y="157632"/>
                  <a:pt x="1811059" y="157632"/>
                </a:cubicBezTo>
                <a:cubicBezTo>
                  <a:pt x="1817589" y="157632"/>
                  <a:pt x="1824119" y="156543"/>
                  <a:pt x="1829561" y="161985"/>
                </a:cubicBezTo>
                <a:cubicBezTo>
                  <a:pt x="1830649" y="163074"/>
                  <a:pt x="1834458" y="161985"/>
                  <a:pt x="1836635" y="161985"/>
                </a:cubicBezTo>
                <a:cubicBezTo>
                  <a:pt x="1835547" y="160353"/>
                  <a:pt x="1835002" y="158720"/>
                  <a:pt x="1833914" y="157088"/>
                </a:cubicBezTo>
                <a:cubicBezTo>
                  <a:pt x="1826840" y="139674"/>
                  <a:pt x="1826296" y="121716"/>
                  <a:pt x="1834458" y="104303"/>
                </a:cubicBezTo>
                <a:cubicBezTo>
                  <a:pt x="1835002" y="102670"/>
                  <a:pt x="1835547" y="101038"/>
                  <a:pt x="1835547" y="99405"/>
                </a:cubicBezTo>
                <a:cubicBezTo>
                  <a:pt x="1833914" y="99949"/>
                  <a:pt x="1832282" y="99949"/>
                  <a:pt x="1831193" y="101038"/>
                </a:cubicBezTo>
                <a:cubicBezTo>
                  <a:pt x="1814324" y="109200"/>
                  <a:pt x="1797454" y="109200"/>
                  <a:pt x="1780041" y="101582"/>
                </a:cubicBezTo>
                <a:cubicBezTo>
                  <a:pt x="1777864" y="100493"/>
                  <a:pt x="1775687" y="100493"/>
                  <a:pt x="1773511" y="99405"/>
                </a:cubicBezTo>
                <a:close/>
                <a:moveTo>
                  <a:pt x="417424" y="97950"/>
                </a:moveTo>
                <a:cubicBezTo>
                  <a:pt x="435382" y="97950"/>
                  <a:pt x="445721" y="108289"/>
                  <a:pt x="445721" y="126247"/>
                </a:cubicBezTo>
                <a:cubicBezTo>
                  <a:pt x="445721" y="143661"/>
                  <a:pt x="435382" y="153456"/>
                  <a:pt x="417424" y="153456"/>
                </a:cubicBezTo>
                <a:cubicBezTo>
                  <a:pt x="402187" y="155088"/>
                  <a:pt x="389127" y="141484"/>
                  <a:pt x="390215" y="125159"/>
                </a:cubicBezTo>
                <a:cubicBezTo>
                  <a:pt x="391304" y="107745"/>
                  <a:pt x="400555" y="97950"/>
                  <a:pt x="417424" y="97950"/>
                </a:cubicBezTo>
                <a:close/>
                <a:moveTo>
                  <a:pt x="580677" y="92508"/>
                </a:moveTo>
                <a:cubicBezTo>
                  <a:pt x="599724" y="92508"/>
                  <a:pt x="613328" y="106112"/>
                  <a:pt x="614960" y="125159"/>
                </a:cubicBezTo>
                <a:cubicBezTo>
                  <a:pt x="616049" y="141484"/>
                  <a:pt x="598091" y="161618"/>
                  <a:pt x="581766" y="158353"/>
                </a:cubicBezTo>
                <a:cubicBezTo>
                  <a:pt x="561631" y="158353"/>
                  <a:pt x="548571" y="145293"/>
                  <a:pt x="548571" y="125703"/>
                </a:cubicBezTo>
                <a:cubicBezTo>
                  <a:pt x="548571" y="106657"/>
                  <a:pt x="562175" y="92508"/>
                  <a:pt x="580677" y="92508"/>
                </a:cubicBezTo>
                <a:close/>
                <a:moveTo>
                  <a:pt x="745019" y="88154"/>
                </a:moveTo>
                <a:cubicBezTo>
                  <a:pt x="763521" y="87610"/>
                  <a:pt x="783111" y="107745"/>
                  <a:pt x="782567" y="126791"/>
                </a:cubicBezTo>
                <a:cubicBezTo>
                  <a:pt x="782023" y="147469"/>
                  <a:pt x="761344" y="164339"/>
                  <a:pt x="743930" y="164339"/>
                </a:cubicBezTo>
                <a:cubicBezTo>
                  <a:pt x="723796" y="163795"/>
                  <a:pt x="705838" y="144204"/>
                  <a:pt x="706382" y="125702"/>
                </a:cubicBezTo>
                <a:cubicBezTo>
                  <a:pt x="706926" y="109377"/>
                  <a:pt x="723252" y="87066"/>
                  <a:pt x="745019" y="88154"/>
                </a:cubicBezTo>
                <a:close/>
                <a:moveTo>
                  <a:pt x="1685898" y="84712"/>
                </a:moveTo>
                <a:lnTo>
                  <a:pt x="1685681" y="85147"/>
                </a:lnTo>
                <a:lnTo>
                  <a:pt x="1685354" y="85256"/>
                </a:lnTo>
                <a:cubicBezTo>
                  <a:pt x="1685354" y="85256"/>
                  <a:pt x="1685898" y="84712"/>
                  <a:pt x="1685898" y="84712"/>
                </a:cubicBezTo>
                <a:close/>
                <a:moveTo>
                  <a:pt x="907183" y="84345"/>
                </a:moveTo>
                <a:cubicBezTo>
                  <a:pt x="916978" y="84345"/>
                  <a:pt x="926773" y="87610"/>
                  <a:pt x="934935" y="95228"/>
                </a:cubicBezTo>
                <a:cubicBezTo>
                  <a:pt x="944187" y="103935"/>
                  <a:pt x="946907" y="114819"/>
                  <a:pt x="949628" y="125158"/>
                </a:cubicBezTo>
                <a:cubicBezTo>
                  <a:pt x="946907" y="150190"/>
                  <a:pt x="932759" y="166515"/>
                  <a:pt x="908271" y="167060"/>
                </a:cubicBezTo>
                <a:cubicBezTo>
                  <a:pt x="884871" y="167604"/>
                  <a:pt x="867458" y="150734"/>
                  <a:pt x="866369" y="125702"/>
                </a:cubicBezTo>
                <a:cubicBezTo>
                  <a:pt x="865825" y="103935"/>
                  <a:pt x="884871" y="83801"/>
                  <a:pt x="907183" y="84345"/>
                </a:cubicBezTo>
                <a:close/>
                <a:moveTo>
                  <a:pt x="1070979" y="82169"/>
                </a:moveTo>
                <a:cubicBezTo>
                  <a:pt x="1095467" y="79448"/>
                  <a:pt x="1115602" y="103936"/>
                  <a:pt x="1115602" y="126247"/>
                </a:cubicBezTo>
                <a:cubicBezTo>
                  <a:pt x="1115602" y="148014"/>
                  <a:pt x="1094923" y="170325"/>
                  <a:pt x="1071524" y="170325"/>
                </a:cubicBezTo>
                <a:cubicBezTo>
                  <a:pt x="1047580" y="170325"/>
                  <a:pt x="1026357" y="148558"/>
                  <a:pt x="1026357" y="125703"/>
                </a:cubicBezTo>
                <a:cubicBezTo>
                  <a:pt x="1026357" y="103936"/>
                  <a:pt x="1047036" y="79448"/>
                  <a:pt x="1070979" y="82169"/>
                </a:cubicBezTo>
                <a:close/>
                <a:moveTo>
                  <a:pt x="1684811" y="82168"/>
                </a:moveTo>
                <a:cubicBezTo>
                  <a:pt x="1684811" y="82168"/>
                  <a:pt x="1684266" y="82713"/>
                  <a:pt x="1684266" y="82713"/>
                </a:cubicBezTo>
                <a:lnTo>
                  <a:pt x="1684469" y="82365"/>
                </a:lnTo>
                <a:close/>
                <a:moveTo>
                  <a:pt x="1234777" y="78360"/>
                </a:moveTo>
                <a:cubicBezTo>
                  <a:pt x="1259809" y="76727"/>
                  <a:pt x="1284297" y="101759"/>
                  <a:pt x="1282664" y="126791"/>
                </a:cubicBezTo>
                <a:cubicBezTo>
                  <a:pt x="1280487" y="152912"/>
                  <a:pt x="1264162" y="171958"/>
                  <a:pt x="1234232" y="174135"/>
                </a:cubicBezTo>
                <a:cubicBezTo>
                  <a:pt x="1205935" y="172502"/>
                  <a:pt x="1186345" y="153456"/>
                  <a:pt x="1186889" y="126791"/>
                </a:cubicBezTo>
                <a:cubicBezTo>
                  <a:pt x="1187433" y="96318"/>
                  <a:pt x="1207024" y="79992"/>
                  <a:pt x="1234777" y="78360"/>
                </a:cubicBezTo>
                <a:close/>
                <a:moveTo>
                  <a:pt x="1398574" y="76182"/>
                </a:moveTo>
                <a:cubicBezTo>
                  <a:pt x="1424150" y="74006"/>
                  <a:pt x="1448638" y="99582"/>
                  <a:pt x="1448094" y="127335"/>
                </a:cubicBezTo>
                <a:cubicBezTo>
                  <a:pt x="1447549" y="151823"/>
                  <a:pt x="1426327" y="176311"/>
                  <a:pt x="1396941" y="175766"/>
                </a:cubicBezTo>
                <a:cubicBezTo>
                  <a:pt x="1367011" y="175222"/>
                  <a:pt x="1347421" y="151278"/>
                  <a:pt x="1347421" y="125702"/>
                </a:cubicBezTo>
                <a:cubicBezTo>
                  <a:pt x="1347421" y="99038"/>
                  <a:pt x="1369732" y="74006"/>
                  <a:pt x="1398574" y="76182"/>
                </a:cubicBezTo>
                <a:close/>
                <a:moveTo>
                  <a:pt x="1561282" y="72373"/>
                </a:moveTo>
                <a:cubicBezTo>
                  <a:pt x="1588491" y="72373"/>
                  <a:pt x="1614611" y="96861"/>
                  <a:pt x="1614611" y="126247"/>
                </a:cubicBezTo>
                <a:cubicBezTo>
                  <a:pt x="1614067" y="155632"/>
                  <a:pt x="1590667" y="180120"/>
                  <a:pt x="1560738" y="179576"/>
                </a:cubicBezTo>
                <a:cubicBezTo>
                  <a:pt x="1530808" y="179576"/>
                  <a:pt x="1507953" y="156176"/>
                  <a:pt x="1507409" y="126247"/>
                </a:cubicBezTo>
                <a:cubicBezTo>
                  <a:pt x="1506864" y="96861"/>
                  <a:pt x="1532441" y="72373"/>
                  <a:pt x="1561282" y="72373"/>
                </a:cubicBezTo>
                <a:close/>
                <a:moveTo>
                  <a:pt x="10381" y="33737"/>
                </a:moveTo>
                <a:cubicBezTo>
                  <a:pt x="15822" y="33737"/>
                  <a:pt x="20720" y="39179"/>
                  <a:pt x="20720" y="45165"/>
                </a:cubicBezTo>
                <a:cubicBezTo>
                  <a:pt x="20176" y="50606"/>
                  <a:pt x="14734" y="55504"/>
                  <a:pt x="9292" y="54960"/>
                </a:cubicBezTo>
                <a:cubicBezTo>
                  <a:pt x="4395" y="54416"/>
                  <a:pt x="41" y="49518"/>
                  <a:pt x="41" y="44621"/>
                </a:cubicBezTo>
                <a:cubicBezTo>
                  <a:pt x="-503" y="38635"/>
                  <a:pt x="4395" y="33737"/>
                  <a:pt x="10381" y="33737"/>
                </a:cubicBezTo>
                <a:close/>
                <a:moveTo>
                  <a:pt x="172546" y="23942"/>
                </a:moveTo>
                <a:cubicBezTo>
                  <a:pt x="181796" y="22854"/>
                  <a:pt x="193224" y="34826"/>
                  <a:pt x="193224" y="44621"/>
                </a:cubicBezTo>
                <a:cubicBezTo>
                  <a:pt x="193224" y="53872"/>
                  <a:pt x="182341" y="64755"/>
                  <a:pt x="173090" y="64755"/>
                </a:cubicBezTo>
                <a:cubicBezTo>
                  <a:pt x="164383" y="64755"/>
                  <a:pt x="152411" y="52784"/>
                  <a:pt x="152411" y="44621"/>
                </a:cubicBezTo>
                <a:cubicBezTo>
                  <a:pt x="152411" y="36458"/>
                  <a:pt x="164927" y="24486"/>
                  <a:pt x="172546" y="23942"/>
                </a:cubicBezTo>
                <a:close/>
                <a:moveTo>
                  <a:pt x="1861123" y="22132"/>
                </a:moveTo>
                <a:cubicBezTo>
                  <a:pt x="1861123" y="26485"/>
                  <a:pt x="1860035" y="31383"/>
                  <a:pt x="1861123" y="35737"/>
                </a:cubicBezTo>
                <a:cubicBezTo>
                  <a:pt x="1863844" y="44443"/>
                  <a:pt x="1864932" y="52606"/>
                  <a:pt x="1861123" y="61313"/>
                </a:cubicBezTo>
                <a:cubicBezTo>
                  <a:pt x="1860035" y="64034"/>
                  <a:pt x="1860035" y="67299"/>
                  <a:pt x="1858946" y="72740"/>
                </a:cubicBezTo>
                <a:cubicBezTo>
                  <a:pt x="1858402" y="76550"/>
                  <a:pt x="1861123" y="77638"/>
                  <a:pt x="1866021" y="76550"/>
                </a:cubicBezTo>
                <a:cubicBezTo>
                  <a:pt x="1868741" y="76006"/>
                  <a:pt x="1871462" y="76006"/>
                  <a:pt x="1873639" y="74917"/>
                </a:cubicBezTo>
                <a:cubicBezTo>
                  <a:pt x="1882346" y="71108"/>
                  <a:pt x="1891053" y="71108"/>
                  <a:pt x="1900304" y="74373"/>
                </a:cubicBezTo>
                <a:cubicBezTo>
                  <a:pt x="1902480" y="75461"/>
                  <a:pt x="1905201" y="76006"/>
                  <a:pt x="1907922" y="76006"/>
                </a:cubicBezTo>
                <a:cubicBezTo>
                  <a:pt x="1912276" y="76550"/>
                  <a:pt x="1914996" y="75461"/>
                  <a:pt x="1912820" y="70020"/>
                </a:cubicBezTo>
                <a:cubicBezTo>
                  <a:pt x="1907378" y="55871"/>
                  <a:pt x="1906834" y="41178"/>
                  <a:pt x="1912820" y="27030"/>
                </a:cubicBezTo>
                <a:cubicBezTo>
                  <a:pt x="1914996" y="22132"/>
                  <a:pt x="1911731" y="21588"/>
                  <a:pt x="1908466" y="22132"/>
                </a:cubicBezTo>
                <a:cubicBezTo>
                  <a:pt x="1906290" y="22676"/>
                  <a:pt x="1904657" y="24309"/>
                  <a:pt x="1902480" y="24309"/>
                </a:cubicBezTo>
                <a:cubicBezTo>
                  <a:pt x="1892685" y="24309"/>
                  <a:pt x="1882890" y="24853"/>
                  <a:pt x="1873095" y="24309"/>
                </a:cubicBezTo>
                <a:cubicBezTo>
                  <a:pt x="1868741" y="24309"/>
                  <a:pt x="1864932" y="22676"/>
                  <a:pt x="1861123" y="22132"/>
                </a:cubicBezTo>
                <a:close/>
                <a:moveTo>
                  <a:pt x="336886" y="17412"/>
                </a:moveTo>
                <a:cubicBezTo>
                  <a:pt x="347770" y="17412"/>
                  <a:pt x="363551" y="31016"/>
                  <a:pt x="363007" y="44077"/>
                </a:cubicBezTo>
                <a:cubicBezTo>
                  <a:pt x="363007" y="57681"/>
                  <a:pt x="350491" y="70741"/>
                  <a:pt x="337431" y="71285"/>
                </a:cubicBezTo>
                <a:cubicBezTo>
                  <a:pt x="324370" y="71830"/>
                  <a:pt x="310766" y="58769"/>
                  <a:pt x="310222" y="45165"/>
                </a:cubicBezTo>
                <a:cubicBezTo>
                  <a:pt x="309678" y="31016"/>
                  <a:pt x="323282" y="17956"/>
                  <a:pt x="336886" y="17412"/>
                </a:cubicBezTo>
                <a:close/>
                <a:moveTo>
                  <a:pt x="498507" y="13059"/>
                </a:moveTo>
                <a:cubicBezTo>
                  <a:pt x="514832" y="11970"/>
                  <a:pt x="531702" y="28296"/>
                  <a:pt x="531702" y="44621"/>
                </a:cubicBezTo>
                <a:cubicBezTo>
                  <a:pt x="531702" y="60402"/>
                  <a:pt x="515376" y="76183"/>
                  <a:pt x="499595" y="76727"/>
                </a:cubicBezTo>
                <a:cubicBezTo>
                  <a:pt x="483270" y="76727"/>
                  <a:pt x="467489" y="61490"/>
                  <a:pt x="467489" y="45165"/>
                </a:cubicBezTo>
                <a:cubicBezTo>
                  <a:pt x="467489" y="28840"/>
                  <a:pt x="482182" y="13059"/>
                  <a:pt x="498507" y="13059"/>
                </a:cubicBezTo>
                <a:close/>
                <a:moveTo>
                  <a:pt x="662303" y="7616"/>
                </a:moveTo>
                <a:cubicBezTo>
                  <a:pt x="680805" y="7072"/>
                  <a:pt x="698763" y="25030"/>
                  <a:pt x="698763" y="44076"/>
                </a:cubicBezTo>
                <a:cubicBezTo>
                  <a:pt x="698763" y="62578"/>
                  <a:pt x="680261" y="81624"/>
                  <a:pt x="662303" y="81080"/>
                </a:cubicBezTo>
                <a:cubicBezTo>
                  <a:pt x="644346" y="80536"/>
                  <a:pt x="626932" y="62578"/>
                  <a:pt x="626932" y="44076"/>
                </a:cubicBezTo>
                <a:cubicBezTo>
                  <a:pt x="626932" y="25574"/>
                  <a:pt x="643257" y="8160"/>
                  <a:pt x="662303" y="7616"/>
                </a:cubicBezTo>
                <a:close/>
                <a:moveTo>
                  <a:pt x="825557" y="5440"/>
                </a:moveTo>
                <a:cubicBezTo>
                  <a:pt x="847868" y="5440"/>
                  <a:pt x="865281" y="23942"/>
                  <a:pt x="865281" y="44621"/>
                </a:cubicBezTo>
                <a:cubicBezTo>
                  <a:pt x="865281" y="63667"/>
                  <a:pt x="847324" y="85978"/>
                  <a:pt x="826101" y="83257"/>
                </a:cubicBezTo>
                <a:cubicBezTo>
                  <a:pt x="805422" y="85978"/>
                  <a:pt x="786920" y="64211"/>
                  <a:pt x="786920" y="44621"/>
                </a:cubicBezTo>
                <a:cubicBezTo>
                  <a:pt x="786920" y="22854"/>
                  <a:pt x="805422" y="5440"/>
                  <a:pt x="825557" y="5440"/>
                </a:cubicBezTo>
                <a:close/>
                <a:moveTo>
                  <a:pt x="989353" y="1086"/>
                </a:moveTo>
                <a:cubicBezTo>
                  <a:pt x="1013297" y="1086"/>
                  <a:pt x="1032343" y="21220"/>
                  <a:pt x="1032343" y="43532"/>
                </a:cubicBezTo>
                <a:cubicBezTo>
                  <a:pt x="1032887" y="66931"/>
                  <a:pt x="1012753" y="88698"/>
                  <a:pt x="989897" y="87610"/>
                </a:cubicBezTo>
                <a:cubicBezTo>
                  <a:pt x="967042" y="88698"/>
                  <a:pt x="945819" y="65843"/>
                  <a:pt x="945819" y="44620"/>
                </a:cubicBezTo>
                <a:cubicBezTo>
                  <a:pt x="945819" y="23941"/>
                  <a:pt x="964321" y="1086"/>
                  <a:pt x="989353" y="1086"/>
                </a:cubicBezTo>
                <a:close/>
                <a:moveTo>
                  <a:pt x="1614056" y="0"/>
                </a:moveTo>
                <a:lnTo>
                  <a:pt x="1675529" y="0"/>
                </a:lnTo>
                <a:lnTo>
                  <a:pt x="1682905" y="4720"/>
                </a:lnTo>
                <a:lnTo>
                  <a:pt x="1933639" y="4720"/>
                </a:lnTo>
                <a:cubicBezTo>
                  <a:pt x="1966059" y="4720"/>
                  <a:pt x="1995409" y="17861"/>
                  <a:pt x="2016655" y="39107"/>
                </a:cubicBezTo>
                <a:lnTo>
                  <a:pt x="2028934" y="57318"/>
                </a:lnTo>
                <a:lnTo>
                  <a:pt x="2026008" y="71108"/>
                </a:lnTo>
                <a:cubicBezTo>
                  <a:pt x="2023832" y="74917"/>
                  <a:pt x="2026552" y="77094"/>
                  <a:pt x="2030906" y="75461"/>
                </a:cubicBezTo>
                <a:lnTo>
                  <a:pt x="2039929" y="73627"/>
                </a:lnTo>
                <a:lnTo>
                  <a:pt x="2041815" y="76424"/>
                </a:lnTo>
                <a:cubicBezTo>
                  <a:pt x="2047756" y="90470"/>
                  <a:pt x="2051041" y="105912"/>
                  <a:pt x="2051041" y="122122"/>
                </a:cubicBezTo>
                <a:lnTo>
                  <a:pt x="2051041" y="186473"/>
                </a:lnTo>
                <a:lnTo>
                  <a:pt x="2029818" y="186473"/>
                </a:lnTo>
                <a:cubicBezTo>
                  <a:pt x="2023832" y="184297"/>
                  <a:pt x="2022743" y="185929"/>
                  <a:pt x="2023287" y="192459"/>
                </a:cubicBezTo>
                <a:cubicBezTo>
                  <a:pt x="2023287" y="193548"/>
                  <a:pt x="2023287" y="195180"/>
                  <a:pt x="2023832" y="196268"/>
                </a:cubicBezTo>
                <a:cubicBezTo>
                  <a:pt x="2028185" y="210961"/>
                  <a:pt x="2026008" y="225110"/>
                  <a:pt x="2019478" y="239258"/>
                </a:cubicBezTo>
                <a:cubicBezTo>
                  <a:pt x="2018934" y="240347"/>
                  <a:pt x="2019478" y="241979"/>
                  <a:pt x="2020022" y="242523"/>
                </a:cubicBezTo>
                <a:cubicBezTo>
                  <a:pt x="2020566" y="243067"/>
                  <a:pt x="2022743" y="243612"/>
                  <a:pt x="2023287" y="243067"/>
                </a:cubicBezTo>
                <a:cubicBezTo>
                  <a:pt x="2032266" y="238986"/>
                  <a:pt x="2041245" y="237082"/>
                  <a:pt x="2050224" y="237150"/>
                </a:cubicBezTo>
                <a:lnTo>
                  <a:pt x="2051041" y="237329"/>
                </a:lnTo>
                <a:lnTo>
                  <a:pt x="2051041" y="348996"/>
                </a:lnTo>
                <a:lnTo>
                  <a:pt x="2036552" y="347754"/>
                </a:lnTo>
                <a:cubicBezTo>
                  <a:pt x="2031178" y="346733"/>
                  <a:pt x="2026009" y="344829"/>
                  <a:pt x="2021111" y="341019"/>
                </a:cubicBezTo>
                <a:cubicBezTo>
                  <a:pt x="2020022" y="339931"/>
                  <a:pt x="2018390" y="339387"/>
                  <a:pt x="2016757" y="338842"/>
                </a:cubicBezTo>
                <a:cubicBezTo>
                  <a:pt x="2016757" y="340475"/>
                  <a:pt x="2016757" y="343196"/>
                  <a:pt x="2017301" y="344284"/>
                </a:cubicBezTo>
                <a:cubicBezTo>
                  <a:pt x="2022743" y="354079"/>
                  <a:pt x="2026008" y="364419"/>
                  <a:pt x="2025464" y="376391"/>
                </a:cubicBezTo>
                <a:cubicBezTo>
                  <a:pt x="2024376" y="398702"/>
                  <a:pt x="2014580" y="413939"/>
                  <a:pt x="1994446" y="424278"/>
                </a:cubicBezTo>
                <a:cubicBezTo>
                  <a:pt x="1972135" y="435706"/>
                  <a:pt x="1950912" y="431352"/>
                  <a:pt x="1933498" y="416115"/>
                </a:cubicBezTo>
                <a:cubicBezTo>
                  <a:pt x="1917173" y="401967"/>
                  <a:pt x="1908466" y="378567"/>
                  <a:pt x="1920438" y="352447"/>
                </a:cubicBezTo>
                <a:cubicBezTo>
                  <a:pt x="1922615" y="348093"/>
                  <a:pt x="1923703" y="343196"/>
                  <a:pt x="1925336" y="338298"/>
                </a:cubicBezTo>
                <a:cubicBezTo>
                  <a:pt x="1920982" y="339931"/>
                  <a:pt x="1916085" y="341563"/>
                  <a:pt x="1911731" y="343196"/>
                </a:cubicBezTo>
                <a:cubicBezTo>
                  <a:pt x="1907378" y="344828"/>
                  <a:pt x="1903024" y="347005"/>
                  <a:pt x="1898671" y="347005"/>
                </a:cubicBezTo>
                <a:cubicBezTo>
                  <a:pt x="1882890" y="348638"/>
                  <a:pt x="1867653" y="348638"/>
                  <a:pt x="1854593" y="336666"/>
                </a:cubicBezTo>
                <a:lnTo>
                  <a:pt x="1847690" y="333480"/>
                </a:lnTo>
                <a:lnTo>
                  <a:pt x="1852961" y="344461"/>
                </a:lnTo>
                <a:cubicBezTo>
                  <a:pt x="1868742" y="372214"/>
                  <a:pt x="1855137" y="408674"/>
                  <a:pt x="1826840" y="420646"/>
                </a:cubicBezTo>
                <a:cubicBezTo>
                  <a:pt x="1803441" y="430985"/>
                  <a:pt x="1777864" y="422278"/>
                  <a:pt x="1765893" y="408130"/>
                </a:cubicBezTo>
                <a:cubicBezTo>
                  <a:pt x="1749567" y="388539"/>
                  <a:pt x="1744126" y="368405"/>
                  <a:pt x="1759362" y="342829"/>
                </a:cubicBezTo>
                <a:cubicBezTo>
                  <a:pt x="1771199" y="322422"/>
                  <a:pt x="1795584" y="313341"/>
                  <a:pt x="1815991" y="317193"/>
                </a:cubicBezTo>
                <a:cubicBezTo>
                  <a:pt x="1822793" y="318477"/>
                  <a:pt x="1829153" y="321198"/>
                  <a:pt x="1834459" y="325415"/>
                </a:cubicBezTo>
                <a:lnTo>
                  <a:pt x="1845023" y="330169"/>
                </a:lnTo>
                <a:lnTo>
                  <a:pt x="1840444" y="321429"/>
                </a:lnTo>
                <a:cubicBezTo>
                  <a:pt x="1831193" y="306736"/>
                  <a:pt x="1832282" y="290955"/>
                  <a:pt x="1834458" y="275174"/>
                </a:cubicBezTo>
                <a:cubicBezTo>
                  <a:pt x="1835002" y="269732"/>
                  <a:pt x="1838812" y="265379"/>
                  <a:pt x="1840988" y="259937"/>
                </a:cubicBezTo>
                <a:cubicBezTo>
                  <a:pt x="1841533" y="258849"/>
                  <a:pt x="1842077" y="257216"/>
                  <a:pt x="1842077" y="255584"/>
                </a:cubicBezTo>
                <a:cubicBezTo>
                  <a:pt x="1840444" y="256128"/>
                  <a:pt x="1838812" y="256672"/>
                  <a:pt x="1837723" y="257216"/>
                </a:cubicBezTo>
                <a:cubicBezTo>
                  <a:pt x="1831193" y="259937"/>
                  <a:pt x="1824663" y="263746"/>
                  <a:pt x="1817589" y="264834"/>
                </a:cubicBezTo>
                <a:cubicBezTo>
                  <a:pt x="1799631" y="268100"/>
                  <a:pt x="1782762" y="264290"/>
                  <a:pt x="1768069" y="251774"/>
                </a:cubicBezTo>
                <a:lnTo>
                  <a:pt x="1764740" y="250110"/>
                </a:lnTo>
                <a:lnTo>
                  <a:pt x="1773510" y="267189"/>
                </a:lnTo>
                <a:cubicBezTo>
                  <a:pt x="1786571" y="292765"/>
                  <a:pt x="1773510" y="323239"/>
                  <a:pt x="1750655" y="336843"/>
                </a:cubicBezTo>
                <a:cubicBezTo>
                  <a:pt x="1721270" y="354257"/>
                  <a:pt x="1685354" y="337388"/>
                  <a:pt x="1673926" y="310723"/>
                </a:cubicBezTo>
                <a:cubicBezTo>
                  <a:pt x="1664675" y="289500"/>
                  <a:pt x="1669029" y="271542"/>
                  <a:pt x="1681545" y="254673"/>
                </a:cubicBezTo>
                <a:cubicBezTo>
                  <a:pt x="1694605" y="237803"/>
                  <a:pt x="1712563" y="231817"/>
                  <a:pt x="1733786" y="235083"/>
                </a:cubicBezTo>
                <a:cubicBezTo>
                  <a:pt x="1739771" y="236171"/>
                  <a:pt x="1745757" y="239980"/>
                  <a:pt x="1751743" y="242157"/>
                </a:cubicBezTo>
                <a:lnTo>
                  <a:pt x="1762506" y="246769"/>
                </a:lnTo>
                <a:lnTo>
                  <a:pt x="1757185" y="236537"/>
                </a:lnTo>
                <a:cubicBezTo>
                  <a:pt x="1747934" y="219668"/>
                  <a:pt x="1747390" y="203343"/>
                  <a:pt x="1756097" y="185929"/>
                </a:cubicBezTo>
                <a:cubicBezTo>
                  <a:pt x="1757185" y="183752"/>
                  <a:pt x="1756641" y="180487"/>
                  <a:pt x="1757185" y="177766"/>
                </a:cubicBezTo>
                <a:cubicBezTo>
                  <a:pt x="1754464" y="177766"/>
                  <a:pt x="1751199" y="177222"/>
                  <a:pt x="1749023" y="178311"/>
                </a:cubicBezTo>
                <a:cubicBezTo>
                  <a:pt x="1722358" y="193003"/>
                  <a:pt x="1688075" y="178855"/>
                  <a:pt x="1676103" y="154911"/>
                </a:cubicBezTo>
                <a:cubicBezTo>
                  <a:pt x="1665220" y="133688"/>
                  <a:pt x="1667396" y="113554"/>
                  <a:pt x="1681001" y="94507"/>
                </a:cubicBezTo>
                <a:lnTo>
                  <a:pt x="1685681" y="85147"/>
                </a:lnTo>
                <a:lnTo>
                  <a:pt x="1693517" y="82536"/>
                </a:lnTo>
                <a:cubicBezTo>
                  <a:pt x="1710930" y="71108"/>
                  <a:pt x="1728888" y="71108"/>
                  <a:pt x="1747934" y="77638"/>
                </a:cubicBezTo>
                <a:cubicBezTo>
                  <a:pt x="1750655" y="78726"/>
                  <a:pt x="1753920" y="78726"/>
                  <a:pt x="1756641" y="79271"/>
                </a:cubicBezTo>
                <a:cubicBezTo>
                  <a:pt x="1756097" y="76550"/>
                  <a:pt x="1755553" y="74373"/>
                  <a:pt x="1754464" y="71652"/>
                </a:cubicBezTo>
                <a:cubicBezTo>
                  <a:pt x="1753920" y="70564"/>
                  <a:pt x="1753376" y="69475"/>
                  <a:pt x="1752832" y="68387"/>
                </a:cubicBezTo>
                <a:cubicBezTo>
                  <a:pt x="1747934" y="52062"/>
                  <a:pt x="1747390" y="35737"/>
                  <a:pt x="1756097" y="20500"/>
                </a:cubicBezTo>
                <a:cubicBezTo>
                  <a:pt x="1756641" y="19411"/>
                  <a:pt x="1757185" y="16690"/>
                  <a:pt x="1756641" y="16146"/>
                </a:cubicBezTo>
                <a:cubicBezTo>
                  <a:pt x="1755553" y="15058"/>
                  <a:pt x="1753376" y="14514"/>
                  <a:pt x="1751744" y="15058"/>
                </a:cubicBezTo>
                <a:cubicBezTo>
                  <a:pt x="1747934" y="16146"/>
                  <a:pt x="1744669" y="19411"/>
                  <a:pt x="1741404" y="19955"/>
                </a:cubicBezTo>
                <a:cubicBezTo>
                  <a:pt x="1724535" y="21588"/>
                  <a:pt x="1707121" y="23765"/>
                  <a:pt x="1691884" y="11249"/>
                </a:cubicBezTo>
                <a:lnTo>
                  <a:pt x="1685645" y="8369"/>
                </a:lnTo>
                <a:lnTo>
                  <a:pt x="1688620" y="14691"/>
                </a:lnTo>
                <a:cubicBezTo>
                  <a:pt x="1700048" y="32648"/>
                  <a:pt x="1700048" y="50606"/>
                  <a:pt x="1691885" y="69652"/>
                </a:cubicBezTo>
                <a:lnTo>
                  <a:pt x="1684469" y="82365"/>
                </a:lnTo>
                <a:lnTo>
                  <a:pt x="1663044" y="94684"/>
                </a:lnTo>
                <a:cubicBezTo>
                  <a:pt x="1651072" y="101759"/>
                  <a:pt x="1638556" y="100126"/>
                  <a:pt x="1626584" y="96861"/>
                </a:cubicBezTo>
                <a:cubicBezTo>
                  <a:pt x="1608082" y="91419"/>
                  <a:pt x="1595566" y="78359"/>
                  <a:pt x="1590124" y="60401"/>
                </a:cubicBezTo>
                <a:cubicBezTo>
                  <a:pt x="1586315" y="48974"/>
                  <a:pt x="1586315" y="37002"/>
                  <a:pt x="1591757" y="25030"/>
                </a:cubicBezTo>
                <a:close/>
                <a:moveTo>
                  <a:pt x="1460066" y="0"/>
                </a:moveTo>
                <a:lnTo>
                  <a:pt x="1498513" y="0"/>
                </a:lnTo>
                <a:lnTo>
                  <a:pt x="1517204" y="8092"/>
                </a:lnTo>
                <a:cubicBezTo>
                  <a:pt x="1526183" y="17411"/>
                  <a:pt x="1531352" y="30199"/>
                  <a:pt x="1531896" y="45164"/>
                </a:cubicBezTo>
                <a:cubicBezTo>
                  <a:pt x="1532985" y="71829"/>
                  <a:pt x="1505776" y="97949"/>
                  <a:pt x="1479111" y="97949"/>
                </a:cubicBezTo>
                <a:cubicBezTo>
                  <a:pt x="1451902" y="97949"/>
                  <a:pt x="1425238" y="71829"/>
                  <a:pt x="1426870" y="45164"/>
                </a:cubicBezTo>
                <a:cubicBezTo>
                  <a:pt x="1427687" y="29655"/>
                  <a:pt x="1432720" y="16867"/>
                  <a:pt x="1441631" y="7684"/>
                </a:cubicBezTo>
                <a:close/>
                <a:moveTo>
                  <a:pt x="1296749" y="0"/>
                </a:moveTo>
                <a:lnTo>
                  <a:pt x="1335755" y="0"/>
                </a:lnTo>
                <a:lnTo>
                  <a:pt x="1350278" y="10270"/>
                </a:lnTo>
                <a:cubicBezTo>
                  <a:pt x="1359937" y="19861"/>
                  <a:pt x="1366467" y="32649"/>
                  <a:pt x="1365923" y="45165"/>
                </a:cubicBezTo>
                <a:cubicBezTo>
                  <a:pt x="1364291" y="71829"/>
                  <a:pt x="1343068" y="93052"/>
                  <a:pt x="1315315" y="93052"/>
                </a:cubicBezTo>
                <a:cubicBezTo>
                  <a:pt x="1290283" y="95229"/>
                  <a:pt x="1266339" y="69109"/>
                  <a:pt x="1266339" y="44076"/>
                </a:cubicBezTo>
                <a:cubicBezTo>
                  <a:pt x="1266339" y="30472"/>
                  <a:pt x="1273141" y="18228"/>
                  <a:pt x="1282732" y="9317"/>
                </a:cubicBezTo>
                <a:close/>
                <a:moveTo>
                  <a:pt x="1148085" y="0"/>
                </a:moveTo>
                <a:lnTo>
                  <a:pt x="1161802" y="0"/>
                </a:lnTo>
                <a:lnTo>
                  <a:pt x="1169637" y="1315"/>
                </a:lnTo>
                <a:cubicBezTo>
                  <a:pt x="1186447" y="8432"/>
                  <a:pt x="1199813" y="26798"/>
                  <a:pt x="1199405" y="45164"/>
                </a:cubicBezTo>
                <a:cubicBezTo>
                  <a:pt x="1198861" y="69652"/>
                  <a:pt x="1175462" y="93596"/>
                  <a:pt x="1151518" y="91419"/>
                </a:cubicBezTo>
                <a:cubicBezTo>
                  <a:pt x="1123765" y="88154"/>
                  <a:pt x="1109072" y="72373"/>
                  <a:pt x="1105807" y="44620"/>
                </a:cubicBezTo>
                <a:cubicBezTo>
                  <a:pt x="1107440" y="30472"/>
                  <a:pt x="1111657" y="19588"/>
                  <a:pt x="1119139" y="11902"/>
                </a:cubicBezTo>
                <a:close/>
              </a:path>
            </a:pathLst>
          </a:custGeom>
          <a:solidFill>
            <a:srgbClr val="9AA8C5">
              <a:alpha val="17000"/>
            </a:srgbClr>
          </a:solidFill>
          <a:ln w="5432" cap="flat">
            <a:noFill/>
            <a:prstDash val="solid"/>
            <a:miter/>
          </a:ln>
        </p:spPr>
        <p:txBody>
          <a:bodyPr rtlCol="0" anchor="ctr"/>
          <a:lstStyle/>
          <a:p>
            <a:endParaRPr lang="en-IN"/>
          </a:p>
        </p:txBody>
      </p:sp>
    </p:spTree>
    <p:extLst>
      <p:ext uri="{BB962C8B-B14F-4D97-AF65-F5344CB8AC3E}">
        <p14:creationId xmlns:p14="http://schemas.microsoft.com/office/powerpoint/2010/main" val="217369209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1_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84779B3-6248-42F6-AEE1-9E57275DB684}"/>
              </a:ext>
            </a:extLst>
          </p:cNvPr>
          <p:cNvGraphicFramePr>
            <a:graphicFrameLocks noChangeAspect="1"/>
          </p:cNvGraphicFramePr>
          <p:nvPr>
            <p:custDataLst>
              <p:tags r:id="rId1"/>
            </p:custDataLst>
            <p:extLst>
              <p:ext uri="{D42A27DB-BD31-4B8C-83A1-F6EECF244321}">
                <p14:modId xmlns:p14="http://schemas.microsoft.com/office/powerpoint/2010/main" val="17179101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0" imgH="393" progId="TCLayout.ActiveDocument.1">
                  <p:embed/>
                </p:oleObj>
              </mc:Choice>
              <mc:Fallback>
                <p:oleObj name="think-cell Slide" r:id="rId3" imgW="400" imgH="393" progId="TCLayout.ActiveDocument.1">
                  <p:embed/>
                  <p:pic>
                    <p:nvPicPr>
                      <p:cNvPr id="3" name="Object 2" hidden="1">
                        <a:extLst>
                          <a:ext uri="{FF2B5EF4-FFF2-40B4-BE49-F238E27FC236}">
                            <a16:creationId xmlns:a16="http://schemas.microsoft.com/office/drawing/2014/main" id="{984779B3-6248-42F6-AEE1-9E57275DB68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1" name="Title 11">
            <a:extLst>
              <a:ext uri="{FF2B5EF4-FFF2-40B4-BE49-F238E27FC236}">
                <a16:creationId xmlns:a16="http://schemas.microsoft.com/office/drawing/2014/main" id="{DDA87447-1017-4301-A6CE-4D2A98BB0C96}"/>
              </a:ext>
            </a:extLst>
          </p:cNvPr>
          <p:cNvSpPr>
            <a:spLocks noGrp="1"/>
          </p:cNvSpPr>
          <p:nvPr>
            <p:ph type="title" hasCustomPrompt="1"/>
          </p:nvPr>
        </p:nvSpPr>
        <p:spPr>
          <a:xfrm>
            <a:off x="464908" y="185817"/>
            <a:ext cx="10515600" cy="608663"/>
          </a:xfrm>
          <a:prstGeom prst="rect">
            <a:avLst/>
          </a:prstGeom>
        </p:spPr>
        <p:txBody>
          <a:bodyPr vert="horz" lIns="0" tIns="0" rIns="0" bIns="0" rtlCol="0" anchor="ctr">
            <a:normAutofit/>
          </a:bodyPr>
          <a:lstStyle>
            <a:lvl1pPr>
              <a:defRPr lang="en-US" sz="2600" dirty="0">
                <a:solidFill>
                  <a:srgbClr val="334D8B"/>
                </a:solidFill>
              </a:defRPr>
            </a:lvl1pPr>
          </a:lstStyle>
          <a:p>
            <a:pPr lvl="0"/>
            <a:r>
              <a:rPr lang="en-US"/>
              <a:t>Write your Heading here</a:t>
            </a:r>
          </a:p>
        </p:txBody>
      </p:sp>
      <p:sp>
        <p:nvSpPr>
          <p:cNvPr id="10" name="Rectangle: Rounded Corners 46">
            <a:extLst>
              <a:ext uri="{FF2B5EF4-FFF2-40B4-BE49-F238E27FC236}">
                <a16:creationId xmlns:a16="http://schemas.microsoft.com/office/drawing/2014/main" id="{2BD140BB-4F6C-EC44-9B87-BE7706386271}"/>
              </a:ext>
            </a:extLst>
          </p:cNvPr>
          <p:cNvSpPr>
            <a:spLocks/>
          </p:cNvSpPr>
          <p:nvPr/>
        </p:nvSpPr>
        <p:spPr>
          <a:xfrm>
            <a:off x="396343" y="1095291"/>
            <a:ext cx="1908000" cy="1368000"/>
          </a:xfrm>
          <a:prstGeom prst="roundRect">
            <a:avLst>
              <a:gd name="adj" fmla="val 9091"/>
            </a:avLst>
          </a:prstGeom>
          <a:solidFill>
            <a:srgbClr val="33ADAD"/>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Calibri"/>
              <a:ea typeface="+mn-ea"/>
              <a:cs typeface="+mn-cs"/>
            </a:endParaRPr>
          </a:p>
        </p:txBody>
      </p:sp>
      <p:sp>
        <p:nvSpPr>
          <p:cNvPr id="13" name="Rectangle: Rounded Corners 55">
            <a:extLst>
              <a:ext uri="{FF2B5EF4-FFF2-40B4-BE49-F238E27FC236}">
                <a16:creationId xmlns:a16="http://schemas.microsoft.com/office/drawing/2014/main" id="{B09B7DA6-5D0F-554D-B7C5-DAF106A9DE33}"/>
              </a:ext>
            </a:extLst>
          </p:cNvPr>
          <p:cNvSpPr>
            <a:spLocks/>
          </p:cNvSpPr>
          <p:nvPr/>
        </p:nvSpPr>
        <p:spPr>
          <a:xfrm>
            <a:off x="5131943" y="1095291"/>
            <a:ext cx="1908000" cy="1368000"/>
          </a:xfrm>
          <a:prstGeom prst="roundRect">
            <a:avLst>
              <a:gd name="adj" fmla="val 10173"/>
            </a:avLst>
          </a:prstGeom>
          <a:solidFill>
            <a:srgbClr val="409BD0"/>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Calibri"/>
              <a:ea typeface="+mn-ea"/>
              <a:cs typeface="+mn-cs"/>
            </a:endParaRPr>
          </a:p>
        </p:txBody>
      </p:sp>
      <p:sp>
        <p:nvSpPr>
          <p:cNvPr id="16" name="Rectangle: Rounded Corners 59">
            <a:extLst>
              <a:ext uri="{FF2B5EF4-FFF2-40B4-BE49-F238E27FC236}">
                <a16:creationId xmlns:a16="http://schemas.microsoft.com/office/drawing/2014/main" id="{0960D375-A7B7-A544-9F10-F231101B6B60}"/>
              </a:ext>
            </a:extLst>
          </p:cNvPr>
          <p:cNvSpPr>
            <a:spLocks/>
          </p:cNvSpPr>
          <p:nvPr/>
        </p:nvSpPr>
        <p:spPr>
          <a:xfrm>
            <a:off x="9914044" y="1095291"/>
            <a:ext cx="1908000" cy="1368000"/>
          </a:xfrm>
          <a:prstGeom prst="roundRect">
            <a:avLst>
              <a:gd name="adj" fmla="val 9091"/>
            </a:avLst>
          </a:prstGeom>
          <a:solidFill>
            <a:srgbClr val="9AA8C5"/>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Calibri"/>
              <a:ea typeface="+mn-ea"/>
              <a:cs typeface="+mn-cs"/>
            </a:endParaRPr>
          </a:p>
        </p:txBody>
      </p:sp>
      <p:sp>
        <p:nvSpPr>
          <p:cNvPr id="19" name="Rectangle: Rounded Corners 62">
            <a:extLst>
              <a:ext uri="{FF2B5EF4-FFF2-40B4-BE49-F238E27FC236}">
                <a16:creationId xmlns:a16="http://schemas.microsoft.com/office/drawing/2014/main" id="{1EC8F944-61B3-1945-9B44-568834368877}"/>
              </a:ext>
            </a:extLst>
          </p:cNvPr>
          <p:cNvSpPr>
            <a:spLocks/>
          </p:cNvSpPr>
          <p:nvPr/>
        </p:nvSpPr>
        <p:spPr>
          <a:xfrm>
            <a:off x="7494010" y="1095291"/>
            <a:ext cx="1908000" cy="1368000"/>
          </a:xfrm>
          <a:prstGeom prst="roundRect">
            <a:avLst>
              <a:gd name="adj" fmla="val 9091"/>
            </a:avLst>
          </a:prstGeom>
          <a:solidFill>
            <a:srgbClr val="72A2CE"/>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Calibri"/>
              <a:ea typeface="+mn-ea"/>
              <a:cs typeface="+mn-cs"/>
            </a:endParaRPr>
          </a:p>
        </p:txBody>
      </p:sp>
      <p:sp>
        <p:nvSpPr>
          <p:cNvPr id="22" name="Rectangle: Rounded Corners 66">
            <a:extLst>
              <a:ext uri="{FF2B5EF4-FFF2-40B4-BE49-F238E27FC236}">
                <a16:creationId xmlns:a16="http://schemas.microsoft.com/office/drawing/2014/main" id="{C0CE8EC9-D325-EF4C-80D4-D5D738A28C4C}"/>
              </a:ext>
            </a:extLst>
          </p:cNvPr>
          <p:cNvSpPr>
            <a:spLocks/>
          </p:cNvSpPr>
          <p:nvPr/>
        </p:nvSpPr>
        <p:spPr>
          <a:xfrm>
            <a:off x="2789975" y="1095291"/>
            <a:ext cx="1908000" cy="1368000"/>
          </a:xfrm>
          <a:prstGeom prst="roundRect">
            <a:avLst>
              <a:gd name="adj" fmla="val 9091"/>
            </a:avLst>
          </a:prstGeom>
          <a:solidFill>
            <a:srgbClr val="3CA8C6"/>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Calibri"/>
              <a:ea typeface="+mn-ea"/>
              <a:cs typeface="+mn-cs"/>
            </a:endParaRPr>
          </a:p>
        </p:txBody>
      </p:sp>
      <p:sp>
        <p:nvSpPr>
          <p:cNvPr id="34" name="Text Placeholder 3">
            <a:extLst>
              <a:ext uri="{FF2B5EF4-FFF2-40B4-BE49-F238E27FC236}">
                <a16:creationId xmlns:a16="http://schemas.microsoft.com/office/drawing/2014/main" id="{C48A67FA-07DF-E44D-BB61-28E9409D3B96}"/>
              </a:ext>
            </a:extLst>
          </p:cNvPr>
          <p:cNvSpPr>
            <a:spLocks noGrp="1"/>
          </p:cNvSpPr>
          <p:nvPr>
            <p:ph type="body" sz="half" idx="19" hasCustomPrompt="1"/>
          </p:nvPr>
        </p:nvSpPr>
        <p:spPr>
          <a:xfrm>
            <a:off x="396343" y="2721810"/>
            <a:ext cx="1908000" cy="3533216"/>
          </a:xfrm>
          <a:prstGeom prst="rect">
            <a:avLst/>
          </a:prstGeom>
        </p:spPr>
        <p:txBody>
          <a:bodyPr>
            <a:normAutofit/>
          </a:bodyPr>
          <a:lstStyle>
            <a:lvl1pPr marL="0" indent="0" algn="ctr">
              <a:buNone/>
              <a:defRPr sz="14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Write your text here</a:t>
            </a:r>
          </a:p>
        </p:txBody>
      </p:sp>
      <p:sp>
        <p:nvSpPr>
          <p:cNvPr id="35" name="Text Placeholder 3">
            <a:extLst>
              <a:ext uri="{FF2B5EF4-FFF2-40B4-BE49-F238E27FC236}">
                <a16:creationId xmlns:a16="http://schemas.microsoft.com/office/drawing/2014/main" id="{23D8C962-5DD1-C14F-9165-E6B53C8E92EA}"/>
              </a:ext>
            </a:extLst>
          </p:cNvPr>
          <p:cNvSpPr>
            <a:spLocks noGrp="1"/>
          </p:cNvSpPr>
          <p:nvPr>
            <p:ph type="body" sz="half" idx="20"/>
          </p:nvPr>
        </p:nvSpPr>
        <p:spPr>
          <a:xfrm>
            <a:off x="2789975" y="2721810"/>
            <a:ext cx="1908000" cy="3533216"/>
          </a:xfrm>
          <a:prstGeom prst="rect">
            <a:avLst/>
          </a:prstGeom>
        </p:spPr>
        <p:txBody>
          <a:bodyPr>
            <a:normAutofit/>
          </a:bodyPr>
          <a:lstStyle>
            <a:lvl1pPr marL="0" indent="0" algn="ctr">
              <a:buNone/>
              <a:defRPr sz="14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36" name="Text Placeholder 3">
            <a:extLst>
              <a:ext uri="{FF2B5EF4-FFF2-40B4-BE49-F238E27FC236}">
                <a16:creationId xmlns:a16="http://schemas.microsoft.com/office/drawing/2014/main" id="{F2A75F9E-BB34-D24D-AC55-FAC1786698E4}"/>
              </a:ext>
            </a:extLst>
          </p:cNvPr>
          <p:cNvSpPr>
            <a:spLocks noGrp="1"/>
          </p:cNvSpPr>
          <p:nvPr>
            <p:ph type="body" sz="half" idx="21"/>
          </p:nvPr>
        </p:nvSpPr>
        <p:spPr>
          <a:xfrm>
            <a:off x="5131943" y="2721810"/>
            <a:ext cx="1908000" cy="3533216"/>
          </a:xfrm>
          <a:prstGeom prst="rect">
            <a:avLst/>
          </a:prstGeom>
        </p:spPr>
        <p:txBody>
          <a:bodyPr>
            <a:normAutofit/>
          </a:bodyPr>
          <a:lstStyle>
            <a:lvl1pPr marL="0" indent="0" algn="ctr">
              <a:buNone/>
              <a:defRPr sz="14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37" name="Text Placeholder 3">
            <a:extLst>
              <a:ext uri="{FF2B5EF4-FFF2-40B4-BE49-F238E27FC236}">
                <a16:creationId xmlns:a16="http://schemas.microsoft.com/office/drawing/2014/main" id="{9E0D5C9E-CD2A-A347-9D77-276FE5D446DE}"/>
              </a:ext>
            </a:extLst>
          </p:cNvPr>
          <p:cNvSpPr>
            <a:spLocks noGrp="1"/>
          </p:cNvSpPr>
          <p:nvPr>
            <p:ph type="body" sz="half" idx="22"/>
          </p:nvPr>
        </p:nvSpPr>
        <p:spPr>
          <a:xfrm>
            <a:off x="7494010" y="2721810"/>
            <a:ext cx="1908000" cy="3533216"/>
          </a:xfrm>
          <a:prstGeom prst="rect">
            <a:avLst/>
          </a:prstGeom>
        </p:spPr>
        <p:txBody>
          <a:bodyPr>
            <a:normAutofit/>
          </a:bodyPr>
          <a:lstStyle>
            <a:lvl1pPr marL="0" indent="0" algn="ctr">
              <a:buNone/>
              <a:defRPr sz="14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38" name="Text Placeholder 3">
            <a:extLst>
              <a:ext uri="{FF2B5EF4-FFF2-40B4-BE49-F238E27FC236}">
                <a16:creationId xmlns:a16="http://schemas.microsoft.com/office/drawing/2014/main" id="{E24628F2-B349-C143-A143-F827DC39D886}"/>
              </a:ext>
            </a:extLst>
          </p:cNvPr>
          <p:cNvSpPr>
            <a:spLocks noGrp="1"/>
          </p:cNvSpPr>
          <p:nvPr>
            <p:ph type="body" sz="half" idx="23"/>
          </p:nvPr>
        </p:nvSpPr>
        <p:spPr>
          <a:xfrm>
            <a:off x="9914044" y="2721810"/>
            <a:ext cx="1908000" cy="3533216"/>
          </a:xfrm>
          <a:prstGeom prst="rect">
            <a:avLst/>
          </a:prstGeom>
        </p:spPr>
        <p:txBody>
          <a:bodyPr>
            <a:normAutofit/>
          </a:bodyPr>
          <a:lstStyle>
            <a:lvl1pPr marL="0" indent="0" algn="ctr">
              <a:buNone/>
              <a:defRPr sz="14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0" name="Text Placeholder 3">
            <a:extLst>
              <a:ext uri="{FF2B5EF4-FFF2-40B4-BE49-F238E27FC236}">
                <a16:creationId xmlns:a16="http://schemas.microsoft.com/office/drawing/2014/main" id="{55C3C442-8907-3447-8886-63FB0AD76944}"/>
              </a:ext>
            </a:extLst>
          </p:cNvPr>
          <p:cNvSpPr>
            <a:spLocks noGrp="1"/>
          </p:cNvSpPr>
          <p:nvPr>
            <p:ph type="body" sz="half" idx="27" hasCustomPrompt="1"/>
          </p:nvPr>
        </p:nvSpPr>
        <p:spPr>
          <a:xfrm>
            <a:off x="5131943" y="1456216"/>
            <a:ext cx="1908000" cy="802172"/>
          </a:xfrm>
          <a:prstGeom prst="rect">
            <a:avLst/>
          </a:prstGeom>
        </p:spPr>
        <p:txBody>
          <a:bodyPr anchor="b">
            <a:normAutofit/>
          </a:bodyPr>
          <a:lstStyle>
            <a:lvl1pPr marL="0" indent="0" algn="ctr">
              <a:buNone/>
              <a:defRPr sz="1600" b="1">
                <a:solidFill>
                  <a:schemeClr val="bg1">
                    <a:lumMod val="95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Heading</a:t>
            </a:r>
          </a:p>
        </p:txBody>
      </p:sp>
      <p:sp>
        <p:nvSpPr>
          <p:cNvPr id="51" name="Text Placeholder 3">
            <a:extLst>
              <a:ext uri="{FF2B5EF4-FFF2-40B4-BE49-F238E27FC236}">
                <a16:creationId xmlns:a16="http://schemas.microsoft.com/office/drawing/2014/main" id="{F25038C4-289F-2348-BBB1-BEF05AEA2E29}"/>
              </a:ext>
            </a:extLst>
          </p:cNvPr>
          <p:cNvSpPr>
            <a:spLocks noGrp="1"/>
          </p:cNvSpPr>
          <p:nvPr>
            <p:ph type="body" sz="half" idx="28" hasCustomPrompt="1"/>
          </p:nvPr>
        </p:nvSpPr>
        <p:spPr>
          <a:xfrm>
            <a:off x="7494010" y="1456216"/>
            <a:ext cx="1908000" cy="802172"/>
          </a:xfrm>
          <a:prstGeom prst="rect">
            <a:avLst/>
          </a:prstGeom>
        </p:spPr>
        <p:txBody>
          <a:bodyPr anchor="b">
            <a:normAutofit/>
          </a:bodyPr>
          <a:lstStyle>
            <a:lvl1pPr marL="0" indent="0" algn="ctr">
              <a:buNone/>
              <a:defRPr sz="1600" b="1">
                <a:solidFill>
                  <a:schemeClr val="bg1">
                    <a:lumMod val="95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Heading</a:t>
            </a:r>
          </a:p>
        </p:txBody>
      </p:sp>
      <p:sp>
        <p:nvSpPr>
          <p:cNvPr id="52" name="Text Placeholder 3">
            <a:extLst>
              <a:ext uri="{FF2B5EF4-FFF2-40B4-BE49-F238E27FC236}">
                <a16:creationId xmlns:a16="http://schemas.microsoft.com/office/drawing/2014/main" id="{D6A54516-55F3-084A-9883-DD7CD4247995}"/>
              </a:ext>
            </a:extLst>
          </p:cNvPr>
          <p:cNvSpPr>
            <a:spLocks noGrp="1"/>
          </p:cNvSpPr>
          <p:nvPr>
            <p:ph type="body" sz="half" idx="29" hasCustomPrompt="1"/>
          </p:nvPr>
        </p:nvSpPr>
        <p:spPr>
          <a:xfrm>
            <a:off x="9914044" y="1456216"/>
            <a:ext cx="1908000" cy="802172"/>
          </a:xfrm>
          <a:prstGeom prst="rect">
            <a:avLst/>
          </a:prstGeom>
        </p:spPr>
        <p:txBody>
          <a:bodyPr anchor="b">
            <a:normAutofit/>
          </a:bodyPr>
          <a:lstStyle>
            <a:lvl1pPr marL="0" indent="0" algn="ctr">
              <a:buNone/>
              <a:defRPr sz="1600" b="1">
                <a:solidFill>
                  <a:schemeClr val="bg1">
                    <a:lumMod val="95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Heading</a:t>
            </a:r>
          </a:p>
        </p:txBody>
      </p:sp>
      <p:sp>
        <p:nvSpPr>
          <p:cNvPr id="23" name="Text Placeholder 2">
            <a:extLst>
              <a:ext uri="{FF2B5EF4-FFF2-40B4-BE49-F238E27FC236}">
                <a16:creationId xmlns:a16="http://schemas.microsoft.com/office/drawing/2014/main" id="{B0CD8C96-B01C-B048-A186-943BAEC872E9}"/>
              </a:ext>
            </a:extLst>
          </p:cNvPr>
          <p:cNvSpPr>
            <a:spLocks noGrp="1"/>
          </p:cNvSpPr>
          <p:nvPr>
            <p:ph type="body" idx="1" hasCustomPrompt="1"/>
          </p:nvPr>
        </p:nvSpPr>
        <p:spPr>
          <a:xfrm>
            <a:off x="404492" y="1445346"/>
            <a:ext cx="1899851" cy="823912"/>
          </a:xfrm>
          <a:prstGeom prst="rect">
            <a:avLst/>
          </a:prstGeom>
        </p:spPr>
        <p:txBody>
          <a:bodyPr anchor="b"/>
          <a:lstStyle>
            <a:lvl1pPr marL="0" indent="0" algn="ctr">
              <a:buNone/>
              <a:defRPr sz="1800" b="1">
                <a:solidFill>
                  <a:schemeClr val="bg1">
                    <a:lumMod val="95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Heading</a:t>
            </a:r>
          </a:p>
        </p:txBody>
      </p:sp>
      <p:sp>
        <p:nvSpPr>
          <p:cNvPr id="24" name="Text Placeholder 2">
            <a:extLst>
              <a:ext uri="{FF2B5EF4-FFF2-40B4-BE49-F238E27FC236}">
                <a16:creationId xmlns:a16="http://schemas.microsoft.com/office/drawing/2014/main" id="{162DA618-478C-574A-82C7-7E669C7A2304}"/>
              </a:ext>
            </a:extLst>
          </p:cNvPr>
          <p:cNvSpPr>
            <a:spLocks noGrp="1"/>
          </p:cNvSpPr>
          <p:nvPr>
            <p:ph type="body" idx="30" hasCustomPrompt="1"/>
          </p:nvPr>
        </p:nvSpPr>
        <p:spPr>
          <a:xfrm>
            <a:off x="2798124" y="1434476"/>
            <a:ext cx="1899851" cy="823912"/>
          </a:xfrm>
          <a:prstGeom prst="rect">
            <a:avLst/>
          </a:prstGeom>
        </p:spPr>
        <p:txBody>
          <a:bodyPr anchor="b"/>
          <a:lstStyle>
            <a:lvl1pPr marL="0" indent="0" algn="ctr">
              <a:buNone/>
              <a:defRPr sz="1800" b="1">
                <a:solidFill>
                  <a:schemeClr val="bg1">
                    <a:lumMod val="95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Heading</a:t>
            </a:r>
          </a:p>
        </p:txBody>
      </p:sp>
      <p:sp>
        <p:nvSpPr>
          <p:cNvPr id="27" name="Slide Number Placeholder 5">
            <a:extLst>
              <a:ext uri="{FF2B5EF4-FFF2-40B4-BE49-F238E27FC236}">
                <a16:creationId xmlns:a16="http://schemas.microsoft.com/office/drawing/2014/main" id="{AC2D1D98-2599-4709-8E04-1A2DFCC7DE8D}"/>
              </a:ext>
            </a:extLst>
          </p:cNvPr>
          <p:cNvSpPr txBox="1">
            <a:spLocks/>
          </p:cNvSpPr>
          <p:nvPr userDrawn="1"/>
        </p:nvSpPr>
        <p:spPr>
          <a:xfrm>
            <a:off x="11373135" y="6506785"/>
            <a:ext cx="609600" cy="261610"/>
          </a:xfrm>
          <a:prstGeom prst="rect">
            <a:avLst/>
          </a:prstGeom>
          <a:noFill/>
        </p:spPr>
        <p:txBody>
          <a:bodyPr>
            <a:spAutoFit/>
          </a:bodyPr>
          <a:lstStyle>
            <a:defPPr>
              <a:defRPr lang="en-US"/>
            </a:defPPr>
            <a:lvl1pPr marL="0" algn="ctr" defTabSz="914400" rtl="0" eaLnBrk="1" latinLnBrk="0" hangingPunct="1">
              <a:defRPr lang="en-US" sz="1800" kern="1200" smtClean="0">
                <a:solidFill>
                  <a:schemeClr val="bg1"/>
                </a:solidFill>
                <a:latin typeface="Tahoma" pitchFamily="34" charset="0"/>
                <a:ea typeface="Tahoma" pitchFamily="34" charset="0"/>
                <a:cs typeface="Tahoma"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fld id="{3413C1ED-5599-4BB6-878F-244F2E6B8E4A}" type="slidenum">
              <a:rPr lang="en-IN" sz="1100">
                <a:solidFill>
                  <a:prstClr val="black">
                    <a:lumMod val="50000"/>
                    <a:lumOff val="50000"/>
                  </a:prstClr>
                </a:solidFill>
              </a:rPr>
              <a:pPr fontAlgn="auto">
                <a:spcBef>
                  <a:spcPts val="0"/>
                </a:spcBef>
                <a:spcAft>
                  <a:spcPts val="0"/>
                </a:spcAft>
                <a:defRPr/>
              </a:pPr>
              <a:t>‹#›</a:t>
            </a:fld>
            <a:endParaRPr lang="en-IN" sz="1100">
              <a:solidFill>
                <a:prstClr val="black">
                  <a:lumMod val="50000"/>
                  <a:lumOff val="50000"/>
                </a:prstClr>
              </a:solidFill>
            </a:endParaRPr>
          </a:p>
        </p:txBody>
      </p:sp>
      <p:pic>
        <p:nvPicPr>
          <p:cNvPr id="28" name="Picture 27">
            <a:extLst>
              <a:ext uri="{FF2B5EF4-FFF2-40B4-BE49-F238E27FC236}">
                <a16:creationId xmlns:a16="http://schemas.microsoft.com/office/drawing/2014/main" id="{2CA0ECC2-433A-4FDA-9F76-FD895E382728}"/>
              </a:ext>
            </a:extLst>
          </p:cNvPr>
          <p:cNvPicPr>
            <a:picLocks noChangeAspect="1"/>
          </p:cNvPicPr>
          <p:nvPr userDrawn="1"/>
        </p:nvPicPr>
        <p:blipFill>
          <a:blip r:embed="rId5"/>
          <a:stretch>
            <a:fillRect/>
          </a:stretch>
        </p:blipFill>
        <p:spPr>
          <a:xfrm>
            <a:off x="464908" y="6506785"/>
            <a:ext cx="1148260" cy="138938"/>
          </a:xfrm>
          <a:prstGeom prst="rect">
            <a:avLst/>
          </a:prstGeom>
        </p:spPr>
      </p:pic>
      <p:sp>
        <p:nvSpPr>
          <p:cNvPr id="29" name="Freeform: Shape 14">
            <a:extLst>
              <a:ext uri="{FF2B5EF4-FFF2-40B4-BE49-F238E27FC236}">
                <a16:creationId xmlns:a16="http://schemas.microsoft.com/office/drawing/2014/main" id="{57FDC735-18F2-4DEA-9CD1-D9776BF05B30}"/>
              </a:ext>
            </a:extLst>
          </p:cNvPr>
          <p:cNvSpPr/>
          <p:nvPr userDrawn="1"/>
        </p:nvSpPr>
        <p:spPr>
          <a:xfrm rot="5400000" flipH="1">
            <a:off x="10650813" y="-6388"/>
            <a:ext cx="1528833" cy="1553542"/>
          </a:xfrm>
          <a:custGeom>
            <a:avLst/>
            <a:gdLst>
              <a:gd name="connsiteX0" fmla="*/ 2051041 w 2051041"/>
              <a:gd name="connsiteY0" fmla="*/ 2080382 h 2084191"/>
              <a:gd name="connsiteX1" fmla="*/ 2051041 w 2051041"/>
              <a:gd name="connsiteY1" fmla="*/ 2083967 h 2084191"/>
              <a:gd name="connsiteX2" fmla="*/ 2047231 w 2051041"/>
              <a:gd name="connsiteY2" fmla="*/ 2084191 h 2084191"/>
              <a:gd name="connsiteX3" fmla="*/ 2045599 w 2051041"/>
              <a:gd name="connsiteY3" fmla="*/ 2081470 h 2084191"/>
              <a:gd name="connsiteX4" fmla="*/ 1478568 w 2051041"/>
              <a:gd name="connsiteY4" fmla="*/ 1997668 h 2084191"/>
              <a:gd name="connsiteX5" fmla="*/ 1484554 w 2051041"/>
              <a:gd name="connsiteY5" fmla="*/ 2004743 h 2084191"/>
              <a:gd name="connsiteX6" fmla="*/ 1478568 w 2051041"/>
              <a:gd name="connsiteY6" fmla="*/ 2009096 h 2084191"/>
              <a:gd name="connsiteX7" fmla="*/ 1473126 w 2051041"/>
              <a:gd name="connsiteY7" fmla="*/ 2003654 h 2084191"/>
              <a:gd name="connsiteX8" fmla="*/ 1478568 w 2051041"/>
              <a:gd name="connsiteY8" fmla="*/ 1997668 h 2084191"/>
              <a:gd name="connsiteX9" fmla="*/ 1641820 w 2051041"/>
              <a:gd name="connsiteY9" fmla="*/ 1993859 h 2084191"/>
              <a:gd name="connsiteX10" fmla="*/ 1652160 w 2051041"/>
              <a:gd name="connsiteY10" fmla="*/ 2003654 h 2084191"/>
              <a:gd name="connsiteX11" fmla="*/ 1641820 w 2051041"/>
              <a:gd name="connsiteY11" fmla="*/ 2013449 h 2084191"/>
              <a:gd name="connsiteX12" fmla="*/ 1632025 w 2051041"/>
              <a:gd name="connsiteY12" fmla="*/ 2003654 h 2084191"/>
              <a:gd name="connsiteX13" fmla="*/ 1641820 w 2051041"/>
              <a:gd name="connsiteY13" fmla="*/ 1993859 h 2084191"/>
              <a:gd name="connsiteX14" fmla="*/ 1969414 w 2051041"/>
              <a:gd name="connsiteY14" fmla="*/ 1992226 h 2084191"/>
              <a:gd name="connsiteX15" fmla="*/ 1979753 w 2051041"/>
              <a:gd name="connsiteY15" fmla="*/ 2003654 h 2084191"/>
              <a:gd name="connsiteX16" fmla="*/ 1968325 w 2051041"/>
              <a:gd name="connsiteY16" fmla="*/ 2014537 h 2084191"/>
              <a:gd name="connsiteX17" fmla="*/ 1957986 w 2051041"/>
              <a:gd name="connsiteY17" fmla="*/ 2003110 h 2084191"/>
              <a:gd name="connsiteX18" fmla="*/ 1969414 w 2051041"/>
              <a:gd name="connsiteY18" fmla="*/ 1992226 h 2084191"/>
              <a:gd name="connsiteX19" fmla="*/ 1805073 w 2051041"/>
              <a:gd name="connsiteY19" fmla="*/ 1992226 h 2084191"/>
              <a:gd name="connsiteX20" fmla="*/ 1815956 w 2051041"/>
              <a:gd name="connsiteY20" fmla="*/ 2002565 h 2084191"/>
              <a:gd name="connsiteX21" fmla="*/ 1805073 w 2051041"/>
              <a:gd name="connsiteY21" fmla="*/ 2014537 h 2084191"/>
              <a:gd name="connsiteX22" fmla="*/ 1794189 w 2051041"/>
              <a:gd name="connsiteY22" fmla="*/ 2004198 h 2084191"/>
              <a:gd name="connsiteX23" fmla="*/ 1805073 w 2051041"/>
              <a:gd name="connsiteY23" fmla="*/ 1992226 h 2084191"/>
              <a:gd name="connsiteX24" fmla="*/ 1234233 w 2051041"/>
              <a:gd name="connsiteY24" fmla="*/ 1916042 h 2084191"/>
              <a:gd name="connsiteX25" fmla="*/ 1240219 w 2051041"/>
              <a:gd name="connsiteY25" fmla="*/ 1923660 h 2084191"/>
              <a:gd name="connsiteX26" fmla="*/ 1236953 w 2051041"/>
              <a:gd name="connsiteY26" fmla="*/ 1926381 h 2084191"/>
              <a:gd name="connsiteX27" fmla="*/ 1229335 w 2051041"/>
              <a:gd name="connsiteY27" fmla="*/ 1918762 h 2084191"/>
              <a:gd name="connsiteX28" fmla="*/ 1234233 w 2051041"/>
              <a:gd name="connsiteY28" fmla="*/ 1916042 h 2084191"/>
              <a:gd name="connsiteX29" fmla="*/ 1397486 w 2051041"/>
              <a:gd name="connsiteY29" fmla="*/ 1911144 h 2084191"/>
              <a:gd name="connsiteX30" fmla="*/ 1408369 w 2051041"/>
              <a:gd name="connsiteY30" fmla="*/ 1921483 h 2084191"/>
              <a:gd name="connsiteX31" fmla="*/ 1399118 w 2051041"/>
              <a:gd name="connsiteY31" fmla="*/ 1931823 h 2084191"/>
              <a:gd name="connsiteX32" fmla="*/ 1387146 w 2051041"/>
              <a:gd name="connsiteY32" fmla="*/ 1922028 h 2084191"/>
              <a:gd name="connsiteX33" fmla="*/ 1397486 w 2051041"/>
              <a:gd name="connsiteY33" fmla="*/ 1911144 h 2084191"/>
              <a:gd name="connsiteX34" fmla="*/ 1560194 w 2051041"/>
              <a:gd name="connsiteY34" fmla="*/ 1906790 h 2084191"/>
              <a:gd name="connsiteX35" fmla="*/ 1574342 w 2051041"/>
              <a:gd name="connsiteY35" fmla="*/ 1921482 h 2084191"/>
              <a:gd name="connsiteX36" fmla="*/ 1560738 w 2051041"/>
              <a:gd name="connsiteY36" fmla="*/ 1935631 h 2084191"/>
              <a:gd name="connsiteX37" fmla="*/ 1547134 w 2051041"/>
              <a:gd name="connsiteY37" fmla="*/ 1922027 h 2084191"/>
              <a:gd name="connsiteX38" fmla="*/ 1560194 w 2051041"/>
              <a:gd name="connsiteY38" fmla="*/ 1906790 h 2084191"/>
              <a:gd name="connsiteX39" fmla="*/ 2049952 w 2051041"/>
              <a:gd name="connsiteY39" fmla="*/ 1905702 h 2084191"/>
              <a:gd name="connsiteX40" fmla="*/ 2051041 w 2051041"/>
              <a:gd name="connsiteY40" fmla="*/ 1906027 h 2084191"/>
              <a:gd name="connsiteX41" fmla="*/ 2051041 w 2051041"/>
              <a:gd name="connsiteY41" fmla="*/ 1938133 h 2084191"/>
              <a:gd name="connsiteX42" fmla="*/ 2050496 w 2051041"/>
              <a:gd name="connsiteY42" fmla="*/ 1938353 h 2084191"/>
              <a:gd name="connsiteX43" fmla="*/ 2034171 w 2051041"/>
              <a:gd name="connsiteY43" fmla="*/ 1922572 h 2084191"/>
              <a:gd name="connsiteX44" fmla="*/ 2049952 w 2051041"/>
              <a:gd name="connsiteY44" fmla="*/ 1905702 h 2084191"/>
              <a:gd name="connsiteX45" fmla="*/ 1723447 w 2051041"/>
              <a:gd name="connsiteY45" fmla="*/ 1905702 h 2084191"/>
              <a:gd name="connsiteX46" fmla="*/ 1739772 w 2051041"/>
              <a:gd name="connsiteY46" fmla="*/ 1920939 h 2084191"/>
              <a:gd name="connsiteX47" fmla="*/ 1724535 w 2051041"/>
              <a:gd name="connsiteY47" fmla="*/ 1937264 h 2084191"/>
              <a:gd name="connsiteX48" fmla="*/ 1708210 w 2051041"/>
              <a:gd name="connsiteY48" fmla="*/ 1922027 h 2084191"/>
              <a:gd name="connsiteX49" fmla="*/ 1723447 w 2051041"/>
              <a:gd name="connsiteY49" fmla="*/ 1905702 h 2084191"/>
              <a:gd name="connsiteX50" fmla="*/ 1887787 w 2051041"/>
              <a:gd name="connsiteY50" fmla="*/ 1905158 h 2084191"/>
              <a:gd name="connsiteX51" fmla="*/ 1904113 w 2051041"/>
              <a:gd name="connsiteY51" fmla="*/ 1922028 h 2084191"/>
              <a:gd name="connsiteX52" fmla="*/ 1886699 w 2051041"/>
              <a:gd name="connsiteY52" fmla="*/ 1937809 h 2084191"/>
              <a:gd name="connsiteX53" fmla="*/ 1870918 w 2051041"/>
              <a:gd name="connsiteY53" fmla="*/ 1921483 h 2084191"/>
              <a:gd name="connsiteX54" fmla="*/ 1887787 w 2051041"/>
              <a:gd name="connsiteY54" fmla="*/ 1905158 h 2084191"/>
              <a:gd name="connsiteX55" fmla="*/ 1152606 w 2051041"/>
              <a:gd name="connsiteY55" fmla="*/ 1831693 h 2084191"/>
              <a:gd name="connsiteX56" fmla="*/ 1161313 w 2051041"/>
              <a:gd name="connsiteY56" fmla="*/ 1839312 h 2084191"/>
              <a:gd name="connsiteX57" fmla="*/ 1153694 w 2051041"/>
              <a:gd name="connsiteY57" fmla="*/ 1852916 h 2084191"/>
              <a:gd name="connsiteX58" fmla="*/ 1144988 w 2051041"/>
              <a:gd name="connsiteY58" fmla="*/ 1841489 h 2084191"/>
              <a:gd name="connsiteX59" fmla="*/ 1152606 w 2051041"/>
              <a:gd name="connsiteY59" fmla="*/ 1831693 h 2084191"/>
              <a:gd name="connsiteX60" fmla="*/ 1315315 w 2051041"/>
              <a:gd name="connsiteY60" fmla="*/ 1825708 h 2084191"/>
              <a:gd name="connsiteX61" fmla="*/ 1330552 w 2051041"/>
              <a:gd name="connsiteY61" fmla="*/ 1840401 h 2084191"/>
              <a:gd name="connsiteX62" fmla="*/ 1316404 w 2051041"/>
              <a:gd name="connsiteY62" fmla="*/ 1854549 h 2084191"/>
              <a:gd name="connsiteX63" fmla="*/ 1301711 w 2051041"/>
              <a:gd name="connsiteY63" fmla="*/ 1840945 h 2084191"/>
              <a:gd name="connsiteX64" fmla="*/ 1315315 w 2051041"/>
              <a:gd name="connsiteY64" fmla="*/ 1825708 h 2084191"/>
              <a:gd name="connsiteX65" fmla="*/ 1479656 w 2051041"/>
              <a:gd name="connsiteY65" fmla="*/ 1822987 h 2084191"/>
              <a:gd name="connsiteX66" fmla="*/ 1495981 w 2051041"/>
              <a:gd name="connsiteY66" fmla="*/ 1840401 h 2084191"/>
              <a:gd name="connsiteX67" fmla="*/ 1478567 w 2051041"/>
              <a:gd name="connsiteY67" fmla="*/ 1856182 h 2084191"/>
              <a:gd name="connsiteX68" fmla="*/ 1462242 w 2051041"/>
              <a:gd name="connsiteY68" fmla="*/ 1839312 h 2084191"/>
              <a:gd name="connsiteX69" fmla="*/ 1479656 w 2051041"/>
              <a:gd name="connsiteY69" fmla="*/ 1822987 h 2084191"/>
              <a:gd name="connsiteX70" fmla="*/ 1642365 w 2051041"/>
              <a:gd name="connsiteY70" fmla="*/ 1821355 h 2084191"/>
              <a:gd name="connsiteX71" fmla="*/ 1660867 w 2051041"/>
              <a:gd name="connsiteY71" fmla="*/ 1840401 h 2084191"/>
              <a:gd name="connsiteX72" fmla="*/ 1642365 w 2051041"/>
              <a:gd name="connsiteY72" fmla="*/ 1857270 h 2084191"/>
              <a:gd name="connsiteX73" fmla="*/ 1624407 w 2051041"/>
              <a:gd name="connsiteY73" fmla="*/ 1839857 h 2084191"/>
              <a:gd name="connsiteX74" fmla="*/ 1642365 w 2051041"/>
              <a:gd name="connsiteY74" fmla="*/ 1821355 h 2084191"/>
              <a:gd name="connsiteX75" fmla="*/ 1806162 w 2051041"/>
              <a:gd name="connsiteY75" fmla="*/ 1819723 h 2084191"/>
              <a:gd name="connsiteX76" fmla="*/ 1826840 w 2051041"/>
              <a:gd name="connsiteY76" fmla="*/ 1840945 h 2084191"/>
              <a:gd name="connsiteX77" fmla="*/ 1804529 w 2051041"/>
              <a:gd name="connsiteY77" fmla="*/ 1861080 h 2084191"/>
              <a:gd name="connsiteX78" fmla="*/ 1784395 w 2051041"/>
              <a:gd name="connsiteY78" fmla="*/ 1839313 h 2084191"/>
              <a:gd name="connsiteX79" fmla="*/ 1806162 w 2051041"/>
              <a:gd name="connsiteY79" fmla="*/ 1819723 h 2084191"/>
              <a:gd name="connsiteX80" fmla="*/ 1968870 w 2051041"/>
              <a:gd name="connsiteY80" fmla="*/ 1819178 h 2084191"/>
              <a:gd name="connsiteX81" fmla="*/ 1990093 w 2051041"/>
              <a:gd name="connsiteY81" fmla="*/ 1840401 h 2084191"/>
              <a:gd name="connsiteX82" fmla="*/ 1968870 w 2051041"/>
              <a:gd name="connsiteY82" fmla="*/ 1861624 h 2084191"/>
              <a:gd name="connsiteX83" fmla="*/ 1947647 w 2051041"/>
              <a:gd name="connsiteY83" fmla="*/ 1840401 h 2084191"/>
              <a:gd name="connsiteX84" fmla="*/ 1968870 w 2051041"/>
              <a:gd name="connsiteY84" fmla="*/ 1819178 h 2084191"/>
              <a:gd name="connsiteX85" fmla="*/ 1070436 w 2051041"/>
              <a:gd name="connsiteY85" fmla="*/ 1747347 h 2084191"/>
              <a:gd name="connsiteX86" fmla="*/ 1081863 w 2051041"/>
              <a:gd name="connsiteY86" fmla="*/ 1758231 h 2084191"/>
              <a:gd name="connsiteX87" fmla="*/ 1070980 w 2051041"/>
              <a:gd name="connsiteY87" fmla="*/ 1769658 h 2084191"/>
              <a:gd name="connsiteX88" fmla="*/ 1059552 w 2051041"/>
              <a:gd name="connsiteY88" fmla="*/ 1758775 h 2084191"/>
              <a:gd name="connsiteX89" fmla="*/ 1070436 w 2051041"/>
              <a:gd name="connsiteY89" fmla="*/ 1747347 h 2084191"/>
              <a:gd name="connsiteX90" fmla="*/ 1233688 w 2051041"/>
              <a:gd name="connsiteY90" fmla="*/ 1742449 h 2084191"/>
              <a:gd name="connsiteX91" fmla="*/ 1250558 w 2051041"/>
              <a:gd name="connsiteY91" fmla="*/ 1758774 h 2084191"/>
              <a:gd name="connsiteX92" fmla="*/ 1233688 w 2051041"/>
              <a:gd name="connsiteY92" fmla="*/ 1775099 h 2084191"/>
              <a:gd name="connsiteX93" fmla="*/ 1217907 w 2051041"/>
              <a:gd name="connsiteY93" fmla="*/ 1759318 h 2084191"/>
              <a:gd name="connsiteX94" fmla="*/ 1233688 w 2051041"/>
              <a:gd name="connsiteY94" fmla="*/ 1742449 h 2084191"/>
              <a:gd name="connsiteX95" fmla="*/ 1399662 w 2051041"/>
              <a:gd name="connsiteY95" fmla="*/ 1739728 h 2084191"/>
              <a:gd name="connsiteX96" fmla="*/ 1417076 w 2051041"/>
              <a:gd name="connsiteY96" fmla="*/ 1760407 h 2084191"/>
              <a:gd name="connsiteX97" fmla="*/ 1396941 w 2051041"/>
              <a:gd name="connsiteY97" fmla="*/ 1779453 h 2084191"/>
              <a:gd name="connsiteX98" fmla="*/ 1377895 w 2051041"/>
              <a:gd name="connsiteY98" fmla="*/ 1757686 h 2084191"/>
              <a:gd name="connsiteX99" fmla="*/ 1399662 w 2051041"/>
              <a:gd name="connsiteY99" fmla="*/ 1739728 h 2084191"/>
              <a:gd name="connsiteX100" fmla="*/ 1723991 w 2051041"/>
              <a:gd name="connsiteY100" fmla="*/ 1735919 h 2084191"/>
              <a:gd name="connsiteX101" fmla="*/ 1746847 w 2051041"/>
              <a:gd name="connsiteY101" fmla="*/ 1758774 h 2084191"/>
              <a:gd name="connsiteX102" fmla="*/ 1723991 w 2051041"/>
              <a:gd name="connsiteY102" fmla="*/ 1781086 h 2084191"/>
              <a:gd name="connsiteX103" fmla="*/ 1701680 w 2051041"/>
              <a:gd name="connsiteY103" fmla="*/ 1758774 h 2084191"/>
              <a:gd name="connsiteX104" fmla="*/ 1723991 w 2051041"/>
              <a:gd name="connsiteY104" fmla="*/ 1735919 h 2084191"/>
              <a:gd name="connsiteX105" fmla="*/ 1560194 w 2051041"/>
              <a:gd name="connsiteY105" fmla="*/ 1735919 h 2084191"/>
              <a:gd name="connsiteX106" fmla="*/ 1582505 w 2051041"/>
              <a:gd name="connsiteY106" fmla="*/ 1758230 h 2084191"/>
              <a:gd name="connsiteX107" fmla="*/ 1560738 w 2051041"/>
              <a:gd name="connsiteY107" fmla="*/ 1779997 h 2084191"/>
              <a:gd name="connsiteX108" fmla="*/ 1538427 w 2051041"/>
              <a:gd name="connsiteY108" fmla="*/ 1758230 h 2084191"/>
              <a:gd name="connsiteX109" fmla="*/ 1560194 w 2051041"/>
              <a:gd name="connsiteY109" fmla="*/ 1735919 h 2084191"/>
              <a:gd name="connsiteX110" fmla="*/ 2051041 w 2051041"/>
              <a:gd name="connsiteY110" fmla="*/ 1734831 h 2084191"/>
              <a:gd name="connsiteX111" fmla="*/ 2051041 w 2051041"/>
              <a:gd name="connsiteY111" fmla="*/ 1781438 h 2084191"/>
              <a:gd name="connsiteX112" fmla="*/ 2050496 w 2051041"/>
              <a:gd name="connsiteY112" fmla="*/ 1781630 h 2084191"/>
              <a:gd name="connsiteX113" fmla="*/ 2027097 w 2051041"/>
              <a:gd name="connsiteY113" fmla="*/ 1758775 h 2084191"/>
              <a:gd name="connsiteX114" fmla="*/ 2051041 w 2051041"/>
              <a:gd name="connsiteY114" fmla="*/ 1734831 h 2084191"/>
              <a:gd name="connsiteX115" fmla="*/ 1887788 w 2051041"/>
              <a:gd name="connsiteY115" fmla="*/ 1734831 h 2084191"/>
              <a:gd name="connsiteX116" fmla="*/ 1910099 w 2051041"/>
              <a:gd name="connsiteY116" fmla="*/ 1758775 h 2084191"/>
              <a:gd name="connsiteX117" fmla="*/ 1886699 w 2051041"/>
              <a:gd name="connsiteY117" fmla="*/ 1781086 h 2084191"/>
              <a:gd name="connsiteX118" fmla="*/ 1863844 w 2051041"/>
              <a:gd name="connsiteY118" fmla="*/ 1757687 h 2084191"/>
              <a:gd name="connsiteX119" fmla="*/ 1887788 w 2051041"/>
              <a:gd name="connsiteY119" fmla="*/ 1734831 h 2084191"/>
              <a:gd name="connsiteX120" fmla="*/ 826100 w 2051041"/>
              <a:gd name="connsiteY120" fmla="*/ 1671706 h 2084191"/>
              <a:gd name="connsiteX121" fmla="*/ 832086 w 2051041"/>
              <a:gd name="connsiteY121" fmla="*/ 1677692 h 2084191"/>
              <a:gd name="connsiteX122" fmla="*/ 825556 w 2051041"/>
              <a:gd name="connsiteY122" fmla="*/ 1683134 h 2084191"/>
              <a:gd name="connsiteX123" fmla="*/ 820658 w 2051041"/>
              <a:gd name="connsiteY123" fmla="*/ 1676603 h 2084191"/>
              <a:gd name="connsiteX124" fmla="*/ 826100 w 2051041"/>
              <a:gd name="connsiteY124" fmla="*/ 1671706 h 2084191"/>
              <a:gd name="connsiteX125" fmla="*/ 989354 w 2051041"/>
              <a:gd name="connsiteY125" fmla="*/ 1661912 h 2084191"/>
              <a:gd name="connsiteX126" fmla="*/ 1004046 w 2051041"/>
              <a:gd name="connsiteY126" fmla="*/ 1676604 h 2084191"/>
              <a:gd name="connsiteX127" fmla="*/ 989354 w 2051041"/>
              <a:gd name="connsiteY127" fmla="*/ 1690209 h 2084191"/>
              <a:gd name="connsiteX128" fmla="*/ 975205 w 2051041"/>
              <a:gd name="connsiteY128" fmla="*/ 1677693 h 2084191"/>
              <a:gd name="connsiteX129" fmla="*/ 989354 w 2051041"/>
              <a:gd name="connsiteY129" fmla="*/ 1661912 h 2084191"/>
              <a:gd name="connsiteX130" fmla="*/ 1153151 w 2051041"/>
              <a:gd name="connsiteY130" fmla="*/ 1659734 h 2084191"/>
              <a:gd name="connsiteX131" fmla="*/ 1170564 w 2051041"/>
              <a:gd name="connsiteY131" fmla="*/ 1677692 h 2084191"/>
              <a:gd name="connsiteX132" fmla="*/ 1152062 w 2051041"/>
              <a:gd name="connsiteY132" fmla="*/ 1694562 h 2084191"/>
              <a:gd name="connsiteX133" fmla="*/ 1135737 w 2051041"/>
              <a:gd name="connsiteY133" fmla="*/ 1677148 h 2084191"/>
              <a:gd name="connsiteX134" fmla="*/ 1153151 w 2051041"/>
              <a:gd name="connsiteY134" fmla="*/ 1659734 h 2084191"/>
              <a:gd name="connsiteX135" fmla="*/ 1315315 w 2051041"/>
              <a:gd name="connsiteY135" fmla="*/ 1655381 h 2084191"/>
              <a:gd name="connsiteX136" fmla="*/ 1337082 w 2051041"/>
              <a:gd name="connsiteY136" fmla="*/ 1676603 h 2084191"/>
              <a:gd name="connsiteX137" fmla="*/ 1315315 w 2051041"/>
              <a:gd name="connsiteY137" fmla="*/ 1698915 h 2084191"/>
              <a:gd name="connsiteX138" fmla="*/ 1294092 w 2051041"/>
              <a:gd name="connsiteY138" fmla="*/ 1677148 h 2084191"/>
              <a:gd name="connsiteX139" fmla="*/ 1315315 w 2051041"/>
              <a:gd name="connsiteY139" fmla="*/ 1655381 h 2084191"/>
              <a:gd name="connsiteX140" fmla="*/ 1479111 w 2051041"/>
              <a:gd name="connsiteY140" fmla="*/ 1654293 h 2084191"/>
              <a:gd name="connsiteX141" fmla="*/ 1501967 w 2051041"/>
              <a:gd name="connsiteY141" fmla="*/ 1677692 h 2084191"/>
              <a:gd name="connsiteX142" fmla="*/ 1479111 w 2051041"/>
              <a:gd name="connsiteY142" fmla="*/ 1700548 h 2084191"/>
              <a:gd name="connsiteX143" fmla="*/ 1455712 w 2051041"/>
              <a:gd name="connsiteY143" fmla="*/ 1676604 h 2084191"/>
              <a:gd name="connsiteX144" fmla="*/ 1479111 w 2051041"/>
              <a:gd name="connsiteY144" fmla="*/ 1654293 h 2084191"/>
              <a:gd name="connsiteX145" fmla="*/ 1643452 w 2051041"/>
              <a:gd name="connsiteY145" fmla="*/ 1650483 h 2084191"/>
              <a:gd name="connsiteX146" fmla="*/ 1668484 w 2051041"/>
              <a:gd name="connsiteY146" fmla="*/ 1676603 h 2084191"/>
              <a:gd name="connsiteX147" fmla="*/ 1643452 w 2051041"/>
              <a:gd name="connsiteY147" fmla="*/ 1703268 h 2084191"/>
              <a:gd name="connsiteX148" fmla="*/ 1617332 w 2051041"/>
              <a:gd name="connsiteY148" fmla="*/ 1677692 h 2084191"/>
              <a:gd name="connsiteX149" fmla="*/ 1643452 w 2051041"/>
              <a:gd name="connsiteY149" fmla="*/ 1650483 h 2084191"/>
              <a:gd name="connsiteX150" fmla="*/ 1968326 w 2051041"/>
              <a:gd name="connsiteY150" fmla="*/ 1649940 h 2084191"/>
              <a:gd name="connsiteX151" fmla="*/ 1995535 w 2051041"/>
              <a:gd name="connsiteY151" fmla="*/ 1676604 h 2084191"/>
              <a:gd name="connsiteX152" fmla="*/ 1968870 w 2051041"/>
              <a:gd name="connsiteY152" fmla="*/ 1704357 h 2084191"/>
              <a:gd name="connsiteX153" fmla="*/ 1941661 w 2051041"/>
              <a:gd name="connsiteY153" fmla="*/ 1677148 h 2084191"/>
              <a:gd name="connsiteX154" fmla="*/ 1968326 w 2051041"/>
              <a:gd name="connsiteY154" fmla="*/ 1649940 h 2084191"/>
              <a:gd name="connsiteX155" fmla="*/ 1805617 w 2051041"/>
              <a:gd name="connsiteY155" fmla="*/ 1649939 h 2084191"/>
              <a:gd name="connsiteX156" fmla="*/ 1832826 w 2051041"/>
              <a:gd name="connsiteY156" fmla="*/ 1677148 h 2084191"/>
              <a:gd name="connsiteX157" fmla="*/ 1805073 w 2051041"/>
              <a:gd name="connsiteY157" fmla="*/ 1704357 h 2084191"/>
              <a:gd name="connsiteX158" fmla="*/ 1778409 w 2051041"/>
              <a:gd name="connsiteY158" fmla="*/ 1677148 h 2084191"/>
              <a:gd name="connsiteX159" fmla="*/ 1805617 w 2051041"/>
              <a:gd name="connsiteY159" fmla="*/ 1649939 h 2084191"/>
              <a:gd name="connsiteX160" fmla="*/ 744474 w 2051041"/>
              <a:gd name="connsiteY160" fmla="*/ 1588992 h 2084191"/>
              <a:gd name="connsiteX161" fmla="*/ 751004 w 2051041"/>
              <a:gd name="connsiteY161" fmla="*/ 1594978 h 2084191"/>
              <a:gd name="connsiteX162" fmla="*/ 745562 w 2051041"/>
              <a:gd name="connsiteY162" fmla="*/ 1602052 h 2084191"/>
              <a:gd name="connsiteX163" fmla="*/ 738488 w 2051041"/>
              <a:gd name="connsiteY163" fmla="*/ 1594978 h 2084191"/>
              <a:gd name="connsiteX164" fmla="*/ 744474 w 2051041"/>
              <a:gd name="connsiteY164" fmla="*/ 1588992 h 2084191"/>
              <a:gd name="connsiteX165" fmla="*/ 907183 w 2051041"/>
              <a:gd name="connsiteY165" fmla="*/ 1579741 h 2084191"/>
              <a:gd name="connsiteX166" fmla="*/ 923508 w 2051041"/>
              <a:gd name="connsiteY166" fmla="*/ 1594978 h 2084191"/>
              <a:gd name="connsiteX167" fmla="*/ 908815 w 2051041"/>
              <a:gd name="connsiteY167" fmla="*/ 1610759 h 2084191"/>
              <a:gd name="connsiteX168" fmla="*/ 892490 w 2051041"/>
              <a:gd name="connsiteY168" fmla="*/ 1595522 h 2084191"/>
              <a:gd name="connsiteX169" fmla="*/ 907183 w 2051041"/>
              <a:gd name="connsiteY169" fmla="*/ 1579741 h 2084191"/>
              <a:gd name="connsiteX170" fmla="*/ 1071524 w 2051041"/>
              <a:gd name="connsiteY170" fmla="*/ 1574843 h 2084191"/>
              <a:gd name="connsiteX171" fmla="*/ 1091114 w 2051041"/>
              <a:gd name="connsiteY171" fmla="*/ 1595522 h 2084191"/>
              <a:gd name="connsiteX172" fmla="*/ 1070980 w 2051041"/>
              <a:gd name="connsiteY172" fmla="*/ 1615656 h 2084191"/>
              <a:gd name="connsiteX173" fmla="*/ 1050301 w 2051041"/>
              <a:gd name="connsiteY173" fmla="*/ 1595522 h 2084191"/>
              <a:gd name="connsiteX174" fmla="*/ 1071524 w 2051041"/>
              <a:gd name="connsiteY174" fmla="*/ 1574843 h 2084191"/>
              <a:gd name="connsiteX175" fmla="*/ 1233688 w 2051041"/>
              <a:gd name="connsiteY175" fmla="*/ 1573210 h 2084191"/>
              <a:gd name="connsiteX176" fmla="*/ 1256544 w 2051041"/>
              <a:gd name="connsiteY176" fmla="*/ 1595522 h 2084191"/>
              <a:gd name="connsiteX177" fmla="*/ 1233688 w 2051041"/>
              <a:gd name="connsiteY177" fmla="*/ 1618377 h 2084191"/>
              <a:gd name="connsiteX178" fmla="*/ 1211377 w 2051041"/>
              <a:gd name="connsiteY178" fmla="*/ 1596610 h 2084191"/>
              <a:gd name="connsiteX179" fmla="*/ 1233688 w 2051041"/>
              <a:gd name="connsiteY179" fmla="*/ 1573210 h 2084191"/>
              <a:gd name="connsiteX180" fmla="*/ 1398030 w 2051041"/>
              <a:gd name="connsiteY180" fmla="*/ 1569402 h 2084191"/>
              <a:gd name="connsiteX181" fmla="*/ 1423062 w 2051041"/>
              <a:gd name="connsiteY181" fmla="*/ 1595522 h 2084191"/>
              <a:gd name="connsiteX182" fmla="*/ 1397485 w 2051041"/>
              <a:gd name="connsiteY182" fmla="*/ 1621099 h 2084191"/>
              <a:gd name="connsiteX183" fmla="*/ 1371365 w 2051041"/>
              <a:gd name="connsiteY183" fmla="*/ 1595522 h 2084191"/>
              <a:gd name="connsiteX184" fmla="*/ 1398030 w 2051041"/>
              <a:gd name="connsiteY184" fmla="*/ 1569402 h 2084191"/>
              <a:gd name="connsiteX185" fmla="*/ 1560194 w 2051041"/>
              <a:gd name="connsiteY185" fmla="*/ 1568313 h 2084191"/>
              <a:gd name="connsiteX186" fmla="*/ 1587947 w 2051041"/>
              <a:gd name="connsiteY186" fmla="*/ 1594433 h 2084191"/>
              <a:gd name="connsiteX187" fmla="*/ 1560194 w 2051041"/>
              <a:gd name="connsiteY187" fmla="*/ 1622730 h 2084191"/>
              <a:gd name="connsiteX188" fmla="*/ 1532985 w 2051041"/>
              <a:gd name="connsiteY188" fmla="*/ 1594977 h 2084191"/>
              <a:gd name="connsiteX189" fmla="*/ 1560194 w 2051041"/>
              <a:gd name="connsiteY189" fmla="*/ 1568313 h 2084191"/>
              <a:gd name="connsiteX190" fmla="*/ 1887244 w 2051041"/>
              <a:gd name="connsiteY190" fmla="*/ 1567225 h 2084191"/>
              <a:gd name="connsiteX191" fmla="*/ 1915541 w 2051041"/>
              <a:gd name="connsiteY191" fmla="*/ 1594978 h 2084191"/>
              <a:gd name="connsiteX192" fmla="*/ 1886699 w 2051041"/>
              <a:gd name="connsiteY192" fmla="*/ 1623819 h 2084191"/>
              <a:gd name="connsiteX193" fmla="*/ 1858947 w 2051041"/>
              <a:gd name="connsiteY193" fmla="*/ 1594978 h 2084191"/>
              <a:gd name="connsiteX194" fmla="*/ 1887244 w 2051041"/>
              <a:gd name="connsiteY194" fmla="*/ 1567225 h 2084191"/>
              <a:gd name="connsiteX195" fmla="*/ 1724535 w 2051041"/>
              <a:gd name="connsiteY195" fmla="*/ 1567225 h 2084191"/>
              <a:gd name="connsiteX196" fmla="*/ 1752288 w 2051041"/>
              <a:gd name="connsiteY196" fmla="*/ 1594978 h 2084191"/>
              <a:gd name="connsiteX197" fmla="*/ 1724535 w 2051041"/>
              <a:gd name="connsiteY197" fmla="*/ 1623275 h 2084191"/>
              <a:gd name="connsiteX198" fmla="*/ 1696238 w 2051041"/>
              <a:gd name="connsiteY198" fmla="*/ 1594978 h 2084191"/>
              <a:gd name="connsiteX199" fmla="*/ 1724535 w 2051041"/>
              <a:gd name="connsiteY199" fmla="*/ 1567225 h 2084191"/>
              <a:gd name="connsiteX200" fmla="*/ 2050496 w 2051041"/>
              <a:gd name="connsiteY200" fmla="*/ 1566680 h 2084191"/>
              <a:gd name="connsiteX201" fmla="*/ 2051041 w 2051041"/>
              <a:gd name="connsiteY201" fmla="*/ 1566888 h 2084191"/>
              <a:gd name="connsiteX202" fmla="*/ 2051041 w 2051041"/>
              <a:gd name="connsiteY202" fmla="*/ 1623794 h 2084191"/>
              <a:gd name="connsiteX203" fmla="*/ 2049408 w 2051041"/>
              <a:gd name="connsiteY203" fmla="*/ 1624363 h 2084191"/>
              <a:gd name="connsiteX204" fmla="*/ 2021655 w 2051041"/>
              <a:gd name="connsiteY204" fmla="*/ 1594977 h 2084191"/>
              <a:gd name="connsiteX205" fmla="*/ 2050496 w 2051041"/>
              <a:gd name="connsiteY205" fmla="*/ 1566680 h 2084191"/>
              <a:gd name="connsiteX206" fmla="*/ 663392 w 2051041"/>
              <a:gd name="connsiteY206" fmla="*/ 1505188 h 2084191"/>
              <a:gd name="connsiteX207" fmla="*/ 674819 w 2051041"/>
              <a:gd name="connsiteY207" fmla="*/ 1513895 h 2084191"/>
              <a:gd name="connsiteX208" fmla="*/ 662848 w 2051041"/>
              <a:gd name="connsiteY208" fmla="*/ 1522058 h 2084191"/>
              <a:gd name="connsiteX209" fmla="*/ 654685 w 2051041"/>
              <a:gd name="connsiteY209" fmla="*/ 1513351 h 2084191"/>
              <a:gd name="connsiteX210" fmla="*/ 663392 w 2051041"/>
              <a:gd name="connsiteY210" fmla="*/ 1505188 h 2084191"/>
              <a:gd name="connsiteX211" fmla="*/ 826101 w 2051041"/>
              <a:gd name="connsiteY211" fmla="*/ 1497570 h 2084191"/>
              <a:gd name="connsiteX212" fmla="*/ 842970 w 2051041"/>
              <a:gd name="connsiteY212" fmla="*/ 1513351 h 2084191"/>
              <a:gd name="connsiteX213" fmla="*/ 826645 w 2051041"/>
              <a:gd name="connsiteY213" fmla="*/ 1529676 h 2084191"/>
              <a:gd name="connsiteX214" fmla="*/ 810319 w 2051041"/>
              <a:gd name="connsiteY214" fmla="*/ 1514983 h 2084191"/>
              <a:gd name="connsiteX215" fmla="*/ 826101 w 2051041"/>
              <a:gd name="connsiteY215" fmla="*/ 1497570 h 2084191"/>
              <a:gd name="connsiteX216" fmla="*/ 988265 w 2051041"/>
              <a:gd name="connsiteY216" fmla="*/ 1492128 h 2084191"/>
              <a:gd name="connsiteX217" fmla="*/ 1010577 w 2051041"/>
              <a:gd name="connsiteY217" fmla="*/ 1513351 h 2084191"/>
              <a:gd name="connsiteX218" fmla="*/ 989354 w 2051041"/>
              <a:gd name="connsiteY218" fmla="*/ 1534574 h 2084191"/>
              <a:gd name="connsiteX219" fmla="*/ 968131 w 2051041"/>
              <a:gd name="connsiteY219" fmla="*/ 1513895 h 2084191"/>
              <a:gd name="connsiteX220" fmla="*/ 988265 w 2051041"/>
              <a:gd name="connsiteY220" fmla="*/ 1492128 h 2084191"/>
              <a:gd name="connsiteX221" fmla="*/ 1152606 w 2051041"/>
              <a:gd name="connsiteY221" fmla="*/ 1490496 h 2084191"/>
              <a:gd name="connsiteX222" fmla="*/ 1176006 w 2051041"/>
              <a:gd name="connsiteY222" fmla="*/ 1513351 h 2084191"/>
              <a:gd name="connsiteX223" fmla="*/ 1152606 w 2051041"/>
              <a:gd name="connsiteY223" fmla="*/ 1537839 h 2084191"/>
              <a:gd name="connsiteX224" fmla="*/ 1129207 w 2051041"/>
              <a:gd name="connsiteY224" fmla="*/ 1514984 h 2084191"/>
              <a:gd name="connsiteX225" fmla="*/ 1152606 w 2051041"/>
              <a:gd name="connsiteY225" fmla="*/ 1490496 h 2084191"/>
              <a:gd name="connsiteX226" fmla="*/ 1316403 w 2051041"/>
              <a:gd name="connsiteY226" fmla="*/ 1487231 h 2084191"/>
              <a:gd name="connsiteX227" fmla="*/ 1342523 w 2051041"/>
              <a:gd name="connsiteY227" fmla="*/ 1513896 h 2084191"/>
              <a:gd name="connsiteX228" fmla="*/ 1315314 w 2051041"/>
              <a:gd name="connsiteY228" fmla="*/ 1540560 h 2084191"/>
              <a:gd name="connsiteX229" fmla="*/ 1288650 w 2051041"/>
              <a:gd name="connsiteY229" fmla="*/ 1513896 h 2084191"/>
              <a:gd name="connsiteX230" fmla="*/ 1316403 w 2051041"/>
              <a:gd name="connsiteY230" fmla="*/ 1487231 h 2084191"/>
              <a:gd name="connsiteX231" fmla="*/ 1479656 w 2051041"/>
              <a:gd name="connsiteY231" fmla="*/ 1485054 h 2084191"/>
              <a:gd name="connsiteX232" fmla="*/ 1507409 w 2051041"/>
              <a:gd name="connsiteY232" fmla="*/ 1513895 h 2084191"/>
              <a:gd name="connsiteX233" fmla="*/ 1479112 w 2051041"/>
              <a:gd name="connsiteY233" fmla="*/ 1541648 h 2084191"/>
              <a:gd name="connsiteX234" fmla="*/ 1451359 w 2051041"/>
              <a:gd name="connsiteY234" fmla="*/ 1513351 h 2084191"/>
              <a:gd name="connsiteX235" fmla="*/ 1479656 w 2051041"/>
              <a:gd name="connsiteY235" fmla="*/ 1485054 h 2084191"/>
              <a:gd name="connsiteX236" fmla="*/ 1641820 w 2051041"/>
              <a:gd name="connsiteY236" fmla="*/ 1482334 h 2084191"/>
              <a:gd name="connsiteX237" fmla="*/ 1673382 w 2051041"/>
              <a:gd name="connsiteY237" fmla="*/ 1512807 h 2084191"/>
              <a:gd name="connsiteX238" fmla="*/ 1642909 w 2051041"/>
              <a:gd name="connsiteY238" fmla="*/ 1544370 h 2084191"/>
              <a:gd name="connsiteX239" fmla="*/ 1612435 w 2051041"/>
              <a:gd name="connsiteY239" fmla="*/ 1513351 h 2084191"/>
              <a:gd name="connsiteX240" fmla="*/ 1641820 w 2051041"/>
              <a:gd name="connsiteY240" fmla="*/ 1482334 h 2084191"/>
              <a:gd name="connsiteX241" fmla="*/ 1804529 w 2051041"/>
              <a:gd name="connsiteY241" fmla="*/ 1481788 h 2084191"/>
              <a:gd name="connsiteX242" fmla="*/ 1837180 w 2051041"/>
              <a:gd name="connsiteY242" fmla="*/ 1513351 h 2084191"/>
              <a:gd name="connsiteX243" fmla="*/ 1805617 w 2051041"/>
              <a:gd name="connsiteY243" fmla="*/ 1545457 h 2084191"/>
              <a:gd name="connsiteX244" fmla="*/ 1773511 w 2051041"/>
              <a:gd name="connsiteY244" fmla="*/ 1514983 h 2084191"/>
              <a:gd name="connsiteX245" fmla="*/ 1804529 w 2051041"/>
              <a:gd name="connsiteY245" fmla="*/ 1481788 h 2084191"/>
              <a:gd name="connsiteX246" fmla="*/ 1968870 w 2051041"/>
              <a:gd name="connsiteY246" fmla="*/ 1480700 h 2084191"/>
              <a:gd name="connsiteX247" fmla="*/ 2000977 w 2051041"/>
              <a:gd name="connsiteY247" fmla="*/ 1513351 h 2084191"/>
              <a:gd name="connsiteX248" fmla="*/ 1968870 w 2051041"/>
              <a:gd name="connsiteY248" fmla="*/ 1545457 h 2084191"/>
              <a:gd name="connsiteX249" fmla="*/ 1936764 w 2051041"/>
              <a:gd name="connsiteY249" fmla="*/ 1513351 h 2084191"/>
              <a:gd name="connsiteX250" fmla="*/ 1968870 w 2051041"/>
              <a:gd name="connsiteY250" fmla="*/ 1480700 h 2084191"/>
              <a:gd name="connsiteX251" fmla="*/ 581221 w 2051041"/>
              <a:gd name="connsiteY251" fmla="*/ 1423562 h 2084191"/>
              <a:gd name="connsiteX252" fmla="*/ 588840 w 2051041"/>
              <a:gd name="connsiteY252" fmla="*/ 1431725 h 2084191"/>
              <a:gd name="connsiteX253" fmla="*/ 581765 w 2051041"/>
              <a:gd name="connsiteY253" fmla="*/ 1443153 h 2084191"/>
              <a:gd name="connsiteX254" fmla="*/ 573059 w 2051041"/>
              <a:gd name="connsiteY254" fmla="*/ 1432813 h 2084191"/>
              <a:gd name="connsiteX255" fmla="*/ 581221 w 2051041"/>
              <a:gd name="connsiteY255" fmla="*/ 1423562 h 2084191"/>
              <a:gd name="connsiteX256" fmla="*/ 745562 w 2051041"/>
              <a:gd name="connsiteY256" fmla="*/ 1414855 h 2084191"/>
              <a:gd name="connsiteX257" fmla="*/ 761344 w 2051041"/>
              <a:gd name="connsiteY257" fmla="*/ 1432269 h 2084191"/>
              <a:gd name="connsiteX258" fmla="*/ 745018 w 2051041"/>
              <a:gd name="connsiteY258" fmla="*/ 1448050 h 2084191"/>
              <a:gd name="connsiteX259" fmla="*/ 728693 w 2051041"/>
              <a:gd name="connsiteY259" fmla="*/ 1431725 h 2084191"/>
              <a:gd name="connsiteX260" fmla="*/ 745562 w 2051041"/>
              <a:gd name="connsiteY260" fmla="*/ 1414855 h 2084191"/>
              <a:gd name="connsiteX261" fmla="*/ 908815 w 2051041"/>
              <a:gd name="connsiteY261" fmla="*/ 1409958 h 2084191"/>
              <a:gd name="connsiteX262" fmla="*/ 930038 w 2051041"/>
              <a:gd name="connsiteY262" fmla="*/ 1431725 h 2084191"/>
              <a:gd name="connsiteX263" fmla="*/ 907183 w 2051041"/>
              <a:gd name="connsiteY263" fmla="*/ 1453492 h 2084191"/>
              <a:gd name="connsiteX264" fmla="*/ 885960 w 2051041"/>
              <a:gd name="connsiteY264" fmla="*/ 1431725 h 2084191"/>
              <a:gd name="connsiteX265" fmla="*/ 908815 w 2051041"/>
              <a:gd name="connsiteY265" fmla="*/ 1409958 h 2084191"/>
              <a:gd name="connsiteX266" fmla="*/ 1070436 w 2051041"/>
              <a:gd name="connsiteY266" fmla="*/ 1406693 h 2084191"/>
              <a:gd name="connsiteX267" fmla="*/ 1096012 w 2051041"/>
              <a:gd name="connsiteY267" fmla="*/ 1432269 h 2084191"/>
              <a:gd name="connsiteX268" fmla="*/ 1070436 w 2051041"/>
              <a:gd name="connsiteY268" fmla="*/ 1457846 h 2084191"/>
              <a:gd name="connsiteX269" fmla="*/ 1045404 w 2051041"/>
              <a:gd name="connsiteY269" fmla="*/ 1431181 h 2084191"/>
              <a:gd name="connsiteX270" fmla="*/ 1070436 w 2051041"/>
              <a:gd name="connsiteY270" fmla="*/ 1406693 h 2084191"/>
              <a:gd name="connsiteX271" fmla="*/ 1235865 w 2051041"/>
              <a:gd name="connsiteY271" fmla="*/ 1404516 h 2084191"/>
              <a:gd name="connsiteX272" fmla="*/ 1261986 w 2051041"/>
              <a:gd name="connsiteY272" fmla="*/ 1433358 h 2084191"/>
              <a:gd name="connsiteX273" fmla="*/ 1233689 w 2051041"/>
              <a:gd name="connsiteY273" fmla="*/ 1459478 h 2084191"/>
              <a:gd name="connsiteX274" fmla="*/ 1206480 w 2051041"/>
              <a:gd name="connsiteY274" fmla="*/ 1432269 h 2084191"/>
              <a:gd name="connsiteX275" fmla="*/ 1235865 w 2051041"/>
              <a:gd name="connsiteY275" fmla="*/ 1404516 h 2084191"/>
              <a:gd name="connsiteX276" fmla="*/ 1397485 w 2051041"/>
              <a:gd name="connsiteY276" fmla="*/ 1400162 h 2084191"/>
              <a:gd name="connsiteX277" fmla="*/ 1427959 w 2051041"/>
              <a:gd name="connsiteY277" fmla="*/ 1431724 h 2084191"/>
              <a:gd name="connsiteX278" fmla="*/ 1398029 w 2051041"/>
              <a:gd name="connsiteY278" fmla="*/ 1463287 h 2084191"/>
              <a:gd name="connsiteX279" fmla="*/ 1366467 w 2051041"/>
              <a:gd name="connsiteY279" fmla="*/ 1432813 h 2084191"/>
              <a:gd name="connsiteX280" fmla="*/ 1397485 w 2051041"/>
              <a:gd name="connsiteY280" fmla="*/ 1400162 h 2084191"/>
              <a:gd name="connsiteX281" fmla="*/ 1561282 w 2051041"/>
              <a:gd name="connsiteY281" fmla="*/ 1399618 h 2084191"/>
              <a:gd name="connsiteX282" fmla="*/ 1593388 w 2051041"/>
              <a:gd name="connsiteY282" fmla="*/ 1432269 h 2084191"/>
              <a:gd name="connsiteX283" fmla="*/ 1560738 w 2051041"/>
              <a:gd name="connsiteY283" fmla="*/ 1464375 h 2084191"/>
              <a:gd name="connsiteX284" fmla="*/ 1528631 w 2051041"/>
              <a:gd name="connsiteY284" fmla="*/ 1432813 h 2084191"/>
              <a:gd name="connsiteX285" fmla="*/ 1561282 w 2051041"/>
              <a:gd name="connsiteY285" fmla="*/ 1399618 h 2084191"/>
              <a:gd name="connsiteX286" fmla="*/ 1723446 w 2051041"/>
              <a:gd name="connsiteY286" fmla="*/ 1399074 h 2084191"/>
              <a:gd name="connsiteX287" fmla="*/ 1757185 w 2051041"/>
              <a:gd name="connsiteY287" fmla="*/ 1432269 h 2084191"/>
              <a:gd name="connsiteX288" fmla="*/ 1723991 w 2051041"/>
              <a:gd name="connsiteY288" fmla="*/ 1465464 h 2084191"/>
              <a:gd name="connsiteX289" fmla="*/ 1691340 w 2051041"/>
              <a:gd name="connsiteY289" fmla="*/ 1433357 h 2084191"/>
              <a:gd name="connsiteX290" fmla="*/ 1723446 w 2051041"/>
              <a:gd name="connsiteY290" fmla="*/ 1399074 h 2084191"/>
              <a:gd name="connsiteX291" fmla="*/ 1886700 w 2051041"/>
              <a:gd name="connsiteY291" fmla="*/ 1398530 h 2084191"/>
              <a:gd name="connsiteX292" fmla="*/ 1920439 w 2051041"/>
              <a:gd name="connsiteY292" fmla="*/ 1432269 h 2084191"/>
              <a:gd name="connsiteX293" fmla="*/ 1887788 w 2051041"/>
              <a:gd name="connsiteY293" fmla="*/ 1464920 h 2084191"/>
              <a:gd name="connsiteX294" fmla="*/ 1854049 w 2051041"/>
              <a:gd name="connsiteY294" fmla="*/ 1433358 h 2084191"/>
              <a:gd name="connsiteX295" fmla="*/ 1886700 w 2051041"/>
              <a:gd name="connsiteY295" fmla="*/ 1398530 h 2084191"/>
              <a:gd name="connsiteX296" fmla="*/ 2051041 w 2051041"/>
              <a:gd name="connsiteY296" fmla="*/ 1398217 h 2084191"/>
              <a:gd name="connsiteX297" fmla="*/ 2051041 w 2051041"/>
              <a:gd name="connsiteY297" fmla="*/ 1464535 h 2084191"/>
              <a:gd name="connsiteX298" fmla="*/ 2049953 w 2051041"/>
              <a:gd name="connsiteY298" fmla="*/ 1464920 h 2084191"/>
              <a:gd name="connsiteX299" fmla="*/ 2017302 w 2051041"/>
              <a:gd name="connsiteY299" fmla="*/ 1431725 h 2084191"/>
              <a:gd name="connsiteX300" fmla="*/ 2027709 w 2051041"/>
              <a:gd name="connsiteY300" fmla="*/ 1408121 h 2084191"/>
              <a:gd name="connsiteX301" fmla="*/ 500139 w 2051041"/>
              <a:gd name="connsiteY301" fmla="*/ 1341936 h 2084191"/>
              <a:gd name="connsiteX302" fmla="*/ 511023 w 2051041"/>
              <a:gd name="connsiteY302" fmla="*/ 1350643 h 2084191"/>
              <a:gd name="connsiteX303" fmla="*/ 499595 w 2051041"/>
              <a:gd name="connsiteY303" fmla="*/ 1358261 h 2084191"/>
              <a:gd name="connsiteX304" fmla="*/ 491432 w 2051041"/>
              <a:gd name="connsiteY304" fmla="*/ 1349010 h 2084191"/>
              <a:gd name="connsiteX305" fmla="*/ 500139 w 2051041"/>
              <a:gd name="connsiteY305" fmla="*/ 1341936 h 2084191"/>
              <a:gd name="connsiteX306" fmla="*/ 662848 w 2051041"/>
              <a:gd name="connsiteY306" fmla="*/ 1333773 h 2084191"/>
              <a:gd name="connsiteX307" fmla="*/ 679173 w 2051041"/>
              <a:gd name="connsiteY307" fmla="*/ 1350643 h 2084191"/>
              <a:gd name="connsiteX308" fmla="*/ 662848 w 2051041"/>
              <a:gd name="connsiteY308" fmla="*/ 1366424 h 2084191"/>
              <a:gd name="connsiteX309" fmla="*/ 647067 w 2051041"/>
              <a:gd name="connsiteY309" fmla="*/ 1350098 h 2084191"/>
              <a:gd name="connsiteX310" fmla="*/ 662848 w 2051041"/>
              <a:gd name="connsiteY310" fmla="*/ 1333773 h 2084191"/>
              <a:gd name="connsiteX311" fmla="*/ 826645 w 2051041"/>
              <a:gd name="connsiteY311" fmla="*/ 1328331 h 2084191"/>
              <a:gd name="connsiteX312" fmla="*/ 847868 w 2051041"/>
              <a:gd name="connsiteY312" fmla="*/ 1350642 h 2084191"/>
              <a:gd name="connsiteX313" fmla="*/ 825556 w 2051041"/>
              <a:gd name="connsiteY313" fmla="*/ 1372409 h 2084191"/>
              <a:gd name="connsiteX314" fmla="*/ 804334 w 2051041"/>
              <a:gd name="connsiteY314" fmla="*/ 1349554 h 2084191"/>
              <a:gd name="connsiteX315" fmla="*/ 826645 w 2051041"/>
              <a:gd name="connsiteY315" fmla="*/ 1328331 h 2084191"/>
              <a:gd name="connsiteX316" fmla="*/ 989353 w 2051041"/>
              <a:gd name="connsiteY316" fmla="*/ 1323978 h 2084191"/>
              <a:gd name="connsiteX317" fmla="*/ 1015473 w 2051041"/>
              <a:gd name="connsiteY317" fmla="*/ 1350098 h 2084191"/>
              <a:gd name="connsiteX318" fmla="*/ 989353 w 2051041"/>
              <a:gd name="connsiteY318" fmla="*/ 1376763 h 2084191"/>
              <a:gd name="connsiteX319" fmla="*/ 963777 w 2051041"/>
              <a:gd name="connsiteY319" fmla="*/ 1350642 h 2084191"/>
              <a:gd name="connsiteX320" fmla="*/ 989353 w 2051041"/>
              <a:gd name="connsiteY320" fmla="*/ 1323978 h 2084191"/>
              <a:gd name="connsiteX321" fmla="*/ 1152606 w 2051041"/>
              <a:gd name="connsiteY321" fmla="*/ 1322889 h 2084191"/>
              <a:gd name="connsiteX322" fmla="*/ 1181447 w 2051041"/>
              <a:gd name="connsiteY322" fmla="*/ 1350098 h 2084191"/>
              <a:gd name="connsiteX323" fmla="*/ 1152606 w 2051041"/>
              <a:gd name="connsiteY323" fmla="*/ 1379483 h 2084191"/>
              <a:gd name="connsiteX324" fmla="*/ 1124853 w 2051041"/>
              <a:gd name="connsiteY324" fmla="*/ 1350642 h 2084191"/>
              <a:gd name="connsiteX325" fmla="*/ 1152606 w 2051041"/>
              <a:gd name="connsiteY325" fmla="*/ 1322889 h 2084191"/>
              <a:gd name="connsiteX326" fmla="*/ 1315315 w 2051041"/>
              <a:gd name="connsiteY326" fmla="*/ 1318536 h 2084191"/>
              <a:gd name="connsiteX327" fmla="*/ 1347966 w 2051041"/>
              <a:gd name="connsiteY327" fmla="*/ 1350098 h 2084191"/>
              <a:gd name="connsiteX328" fmla="*/ 1315315 w 2051041"/>
              <a:gd name="connsiteY328" fmla="*/ 1381661 h 2084191"/>
              <a:gd name="connsiteX329" fmla="*/ 1284297 w 2051041"/>
              <a:gd name="connsiteY329" fmla="*/ 1350098 h 2084191"/>
              <a:gd name="connsiteX330" fmla="*/ 1315315 w 2051041"/>
              <a:gd name="connsiteY330" fmla="*/ 1318536 h 2084191"/>
              <a:gd name="connsiteX331" fmla="*/ 1480744 w 2051041"/>
              <a:gd name="connsiteY331" fmla="*/ 1317448 h 2084191"/>
              <a:gd name="connsiteX332" fmla="*/ 1512306 w 2051041"/>
              <a:gd name="connsiteY332" fmla="*/ 1351731 h 2084191"/>
              <a:gd name="connsiteX333" fmla="*/ 1477479 w 2051041"/>
              <a:gd name="connsiteY333" fmla="*/ 1383293 h 2084191"/>
              <a:gd name="connsiteX334" fmla="*/ 1446461 w 2051041"/>
              <a:gd name="connsiteY334" fmla="*/ 1349554 h 2084191"/>
              <a:gd name="connsiteX335" fmla="*/ 1480744 w 2051041"/>
              <a:gd name="connsiteY335" fmla="*/ 1317448 h 2084191"/>
              <a:gd name="connsiteX336" fmla="*/ 1642908 w 2051041"/>
              <a:gd name="connsiteY336" fmla="*/ 1315815 h 2084191"/>
              <a:gd name="connsiteX337" fmla="*/ 1676647 w 2051041"/>
              <a:gd name="connsiteY337" fmla="*/ 1351731 h 2084191"/>
              <a:gd name="connsiteX338" fmla="*/ 1640732 w 2051041"/>
              <a:gd name="connsiteY338" fmla="*/ 1383837 h 2084191"/>
              <a:gd name="connsiteX339" fmla="*/ 1608081 w 2051041"/>
              <a:gd name="connsiteY339" fmla="*/ 1349554 h 2084191"/>
              <a:gd name="connsiteX340" fmla="*/ 1642908 w 2051041"/>
              <a:gd name="connsiteY340" fmla="*/ 1315815 h 2084191"/>
              <a:gd name="connsiteX341" fmla="*/ 1968870 w 2051041"/>
              <a:gd name="connsiteY341" fmla="*/ 1314183 h 2084191"/>
              <a:gd name="connsiteX342" fmla="*/ 2005329 w 2051041"/>
              <a:gd name="connsiteY342" fmla="*/ 1351187 h 2084191"/>
              <a:gd name="connsiteX343" fmla="*/ 1967781 w 2051041"/>
              <a:gd name="connsiteY343" fmla="*/ 1388191 h 2084191"/>
              <a:gd name="connsiteX344" fmla="*/ 1931866 w 2051041"/>
              <a:gd name="connsiteY344" fmla="*/ 1350098 h 2084191"/>
              <a:gd name="connsiteX345" fmla="*/ 1968870 w 2051041"/>
              <a:gd name="connsiteY345" fmla="*/ 1314183 h 2084191"/>
              <a:gd name="connsiteX346" fmla="*/ 1806161 w 2051041"/>
              <a:gd name="connsiteY346" fmla="*/ 1313639 h 2084191"/>
              <a:gd name="connsiteX347" fmla="*/ 1841533 w 2051041"/>
              <a:gd name="connsiteY347" fmla="*/ 1351187 h 2084191"/>
              <a:gd name="connsiteX348" fmla="*/ 1830105 w 2051041"/>
              <a:gd name="connsiteY348" fmla="*/ 1376763 h 2084191"/>
              <a:gd name="connsiteX349" fmla="*/ 1803984 w 2051041"/>
              <a:gd name="connsiteY349" fmla="*/ 1387102 h 2084191"/>
              <a:gd name="connsiteX350" fmla="*/ 1768613 w 2051041"/>
              <a:gd name="connsiteY350" fmla="*/ 1350098 h 2084191"/>
              <a:gd name="connsiteX351" fmla="*/ 1806161 w 2051041"/>
              <a:gd name="connsiteY351" fmla="*/ 1313639 h 2084191"/>
              <a:gd name="connsiteX352" fmla="*/ 419057 w 2051041"/>
              <a:gd name="connsiteY352" fmla="*/ 1262486 h 2084191"/>
              <a:gd name="connsiteX353" fmla="*/ 424499 w 2051041"/>
              <a:gd name="connsiteY353" fmla="*/ 1269016 h 2084191"/>
              <a:gd name="connsiteX354" fmla="*/ 417969 w 2051041"/>
              <a:gd name="connsiteY354" fmla="*/ 1278811 h 2084191"/>
              <a:gd name="connsiteX355" fmla="*/ 411983 w 2051041"/>
              <a:gd name="connsiteY355" fmla="*/ 1269016 h 2084191"/>
              <a:gd name="connsiteX356" fmla="*/ 419057 w 2051041"/>
              <a:gd name="connsiteY356" fmla="*/ 1262486 h 2084191"/>
              <a:gd name="connsiteX357" fmla="*/ 581221 w 2051041"/>
              <a:gd name="connsiteY357" fmla="*/ 1252147 h 2084191"/>
              <a:gd name="connsiteX358" fmla="*/ 597547 w 2051041"/>
              <a:gd name="connsiteY358" fmla="*/ 1269017 h 2084191"/>
              <a:gd name="connsiteX359" fmla="*/ 580133 w 2051041"/>
              <a:gd name="connsiteY359" fmla="*/ 1284254 h 2084191"/>
              <a:gd name="connsiteX360" fmla="*/ 564896 w 2051041"/>
              <a:gd name="connsiteY360" fmla="*/ 1268472 h 2084191"/>
              <a:gd name="connsiteX361" fmla="*/ 581221 w 2051041"/>
              <a:gd name="connsiteY361" fmla="*/ 1252147 h 2084191"/>
              <a:gd name="connsiteX362" fmla="*/ 745018 w 2051041"/>
              <a:gd name="connsiteY362" fmla="*/ 1246705 h 2084191"/>
              <a:gd name="connsiteX363" fmla="*/ 766241 w 2051041"/>
              <a:gd name="connsiteY363" fmla="*/ 1269560 h 2084191"/>
              <a:gd name="connsiteX364" fmla="*/ 744474 w 2051041"/>
              <a:gd name="connsiteY364" fmla="*/ 1290783 h 2084191"/>
              <a:gd name="connsiteX365" fmla="*/ 722707 w 2051041"/>
              <a:gd name="connsiteY365" fmla="*/ 1267928 h 2084191"/>
              <a:gd name="connsiteX366" fmla="*/ 745018 w 2051041"/>
              <a:gd name="connsiteY366" fmla="*/ 1246705 h 2084191"/>
              <a:gd name="connsiteX367" fmla="*/ 907727 w 2051041"/>
              <a:gd name="connsiteY367" fmla="*/ 1241807 h 2084191"/>
              <a:gd name="connsiteX368" fmla="*/ 933847 w 2051041"/>
              <a:gd name="connsiteY368" fmla="*/ 1269016 h 2084191"/>
              <a:gd name="connsiteX369" fmla="*/ 907183 w 2051041"/>
              <a:gd name="connsiteY369" fmla="*/ 1295136 h 2084191"/>
              <a:gd name="connsiteX370" fmla="*/ 880518 w 2051041"/>
              <a:gd name="connsiteY370" fmla="*/ 1267927 h 2084191"/>
              <a:gd name="connsiteX371" fmla="*/ 907727 w 2051041"/>
              <a:gd name="connsiteY371" fmla="*/ 1241807 h 2084191"/>
              <a:gd name="connsiteX372" fmla="*/ 1070979 w 2051041"/>
              <a:gd name="connsiteY372" fmla="*/ 1240719 h 2084191"/>
              <a:gd name="connsiteX373" fmla="*/ 1099821 w 2051041"/>
              <a:gd name="connsiteY373" fmla="*/ 1268472 h 2084191"/>
              <a:gd name="connsiteX374" fmla="*/ 1070435 w 2051041"/>
              <a:gd name="connsiteY374" fmla="*/ 1297858 h 2084191"/>
              <a:gd name="connsiteX375" fmla="*/ 1042138 w 2051041"/>
              <a:gd name="connsiteY375" fmla="*/ 1269560 h 2084191"/>
              <a:gd name="connsiteX376" fmla="*/ 1070979 w 2051041"/>
              <a:gd name="connsiteY376" fmla="*/ 1240719 h 2084191"/>
              <a:gd name="connsiteX377" fmla="*/ 1234233 w 2051041"/>
              <a:gd name="connsiteY377" fmla="*/ 1235821 h 2084191"/>
              <a:gd name="connsiteX378" fmla="*/ 1266883 w 2051041"/>
              <a:gd name="connsiteY378" fmla="*/ 1269016 h 2084191"/>
              <a:gd name="connsiteX379" fmla="*/ 1234233 w 2051041"/>
              <a:gd name="connsiteY379" fmla="*/ 1300578 h 2084191"/>
              <a:gd name="connsiteX380" fmla="*/ 1201582 w 2051041"/>
              <a:gd name="connsiteY380" fmla="*/ 1267383 h 2084191"/>
              <a:gd name="connsiteX381" fmla="*/ 1234233 w 2051041"/>
              <a:gd name="connsiteY381" fmla="*/ 1235821 h 2084191"/>
              <a:gd name="connsiteX382" fmla="*/ 1396397 w 2051041"/>
              <a:gd name="connsiteY382" fmla="*/ 1234733 h 2084191"/>
              <a:gd name="connsiteX383" fmla="*/ 1431224 w 2051041"/>
              <a:gd name="connsiteY383" fmla="*/ 1268472 h 2084191"/>
              <a:gd name="connsiteX384" fmla="*/ 1396941 w 2051041"/>
              <a:gd name="connsiteY384" fmla="*/ 1302755 h 2084191"/>
              <a:gd name="connsiteX385" fmla="*/ 1363746 w 2051041"/>
              <a:gd name="connsiteY385" fmla="*/ 1269016 h 2084191"/>
              <a:gd name="connsiteX386" fmla="*/ 1396397 w 2051041"/>
              <a:gd name="connsiteY386" fmla="*/ 1234733 h 2084191"/>
              <a:gd name="connsiteX387" fmla="*/ 1559649 w 2051041"/>
              <a:gd name="connsiteY387" fmla="*/ 1232557 h 2084191"/>
              <a:gd name="connsiteX388" fmla="*/ 1597742 w 2051041"/>
              <a:gd name="connsiteY388" fmla="*/ 1268472 h 2084191"/>
              <a:gd name="connsiteX389" fmla="*/ 1561826 w 2051041"/>
              <a:gd name="connsiteY389" fmla="*/ 1305476 h 2084191"/>
              <a:gd name="connsiteX390" fmla="*/ 1523734 w 2051041"/>
              <a:gd name="connsiteY390" fmla="*/ 1269561 h 2084191"/>
              <a:gd name="connsiteX391" fmla="*/ 1559649 w 2051041"/>
              <a:gd name="connsiteY391" fmla="*/ 1232557 h 2084191"/>
              <a:gd name="connsiteX392" fmla="*/ 1723990 w 2051041"/>
              <a:gd name="connsiteY392" fmla="*/ 1231468 h 2084191"/>
              <a:gd name="connsiteX393" fmla="*/ 1762083 w 2051041"/>
              <a:gd name="connsiteY393" fmla="*/ 1268472 h 2084191"/>
              <a:gd name="connsiteX394" fmla="*/ 1724535 w 2051041"/>
              <a:gd name="connsiteY394" fmla="*/ 1307109 h 2084191"/>
              <a:gd name="connsiteX395" fmla="*/ 1686442 w 2051041"/>
              <a:gd name="connsiteY395" fmla="*/ 1270105 h 2084191"/>
              <a:gd name="connsiteX396" fmla="*/ 1723990 w 2051041"/>
              <a:gd name="connsiteY396" fmla="*/ 1231468 h 2084191"/>
              <a:gd name="connsiteX397" fmla="*/ 1888332 w 2051041"/>
              <a:gd name="connsiteY397" fmla="*/ 1230924 h 2084191"/>
              <a:gd name="connsiteX398" fmla="*/ 1925336 w 2051041"/>
              <a:gd name="connsiteY398" fmla="*/ 1269561 h 2084191"/>
              <a:gd name="connsiteX399" fmla="*/ 1887243 w 2051041"/>
              <a:gd name="connsiteY399" fmla="*/ 1307653 h 2084191"/>
              <a:gd name="connsiteX400" fmla="*/ 1849151 w 2051041"/>
              <a:gd name="connsiteY400" fmla="*/ 1267928 h 2084191"/>
              <a:gd name="connsiteX401" fmla="*/ 1888332 w 2051041"/>
              <a:gd name="connsiteY401" fmla="*/ 1230924 h 2084191"/>
              <a:gd name="connsiteX402" fmla="*/ 2049952 w 2051041"/>
              <a:gd name="connsiteY402" fmla="*/ 1230380 h 2084191"/>
              <a:gd name="connsiteX403" fmla="*/ 2051041 w 2051041"/>
              <a:gd name="connsiteY403" fmla="*/ 1230805 h 2084191"/>
              <a:gd name="connsiteX404" fmla="*/ 2051041 w 2051041"/>
              <a:gd name="connsiteY404" fmla="*/ 1307109 h 2084191"/>
              <a:gd name="connsiteX405" fmla="*/ 2012404 w 2051041"/>
              <a:gd name="connsiteY405" fmla="*/ 1268472 h 2084191"/>
              <a:gd name="connsiteX406" fmla="*/ 2049952 w 2051041"/>
              <a:gd name="connsiteY406" fmla="*/ 1230380 h 2084191"/>
              <a:gd name="connsiteX407" fmla="*/ 337431 w 2051041"/>
              <a:gd name="connsiteY407" fmla="*/ 1181404 h 2084191"/>
              <a:gd name="connsiteX408" fmla="*/ 345050 w 2051041"/>
              <a:gd name="connsiteY408" fmla="*/ 1187934 h 2084191"/>
              <a:gd name="connsiteX409" fmla="*/ 336343 w 2051041"/>
              <a:gd name="connsiteY409" fmla="*/ 1192288 h 2084191"/>
              <a:gd name="connsiteX410" fmla="*/ 330901 w 2051041"/>
              <a:gd name="connsiteY410" fmla="*/ 1185758 h 2084191"/>
              <a:gd name="connsiteX411" fmla="*/ 337431 w 2051041"/>
              <a:gd name="connsiteY411" fmla="*/ 1181404 h 2084191"/>
              <a:gd name="connsiteX412" fmla="*/ 499051 w 2051041"/>
              <a:gd name="connsiteY412" fmla="*/ 1171065 h 2084191"/>
              <a:gd name="connsiteX413" fmla="*/ 516465 w 2051041"/>
              <a:gd name="connsiteY413" fmla="*/ 1187390 h 2084191"/>
              <a:gd name="connsiteX414" fmla="*/ 500140 w 2051041"/>
              <a:gd name="connsiteY414" fmla="*/ 1202627 h 2084191"/>
              <a:gd name="connsiteX415" fmla="*/ 483814 w 2051041"/>
              <a:gd name="connsiteY415" fmla="*/ 1187390 h 2084191"/>
              <a:gd name="connsiteX416" fmla="*/ 499051 w 2051041"/>
              <a:gd name="connsiteY416" fmla="*/ 1171065 h 2084191"/>
              <a:gd name="connsiteX417" fmla="*/ 662848 w 2051041"/>
              <a:gd name="connsiteY417" fmla="*/ 1165623 h 2084191"/>
              <a:gd name="connsiteX418" fmla="*/ 684615 w 2051041"/>
              <a:gd name="connsiteY418" fmla="*/ 1187390 h 2084191"/>
              <a:gd name="connsiteX419" fmla="*/ 662848 w 2051041"/>
              <a:gd name="connsiteY419" fmla="*/ 1209157 h 2084191"/>
              <a:gd name="connsiteX420" fmla="*/ 641081 w 2051041"/>
              <a:gd name="connsiteY420" fmla="*/ 1186846 h 2084191"/>
              <a:gd name="connsiteX421" fmla="*/ 662848 w 2051041"/>
              <a:gd name="connsiteY421" fmla="*/ 1165623 h 2084191"/>
              <a:gd name="connsiteX422" fmla="*/ 825556 w 2051041"/>
              <a:gd name="connsiteY422" fmla="*/ 1160725 h 2084191"/>
              <a:gd name="connsiteX423" fmla="*/ 852765 w 2051041"/>
              <a:gd name="connsiteY423" fmla="*/ 1186846 h 2084191"/>
              <a:gd name="connsiteX424" fmla="*/ 826645 w 2051041"/>
              <a:gd name="connsiteY424" fmla="*/ 1213511 h 2084191"/>
              <a:gd name="connsiteX425" fmla="*/ 798892 w 2051041"/>
              <a:gd name="connsiteY425" fmla="*/ 1188479 h 2084191"/>
              <a:gd name="connsiteX426" fmla="*/ 825556 w 2051041"/>
              <a:gd name="connsiteY426" fmla="*/ 1160725 h 2084191"/>
              <a:gd name="connsiteX427" fmla="*/ 989353 w 2051041"/>
              <a:gd name="connsiteY427" fmla="*/ 1158004 h 2084191"/>
              <a:gd name="connsiteX428" fmla="*/ 1018195 w 2051041"/>
              <a:gd name="connsiteY428" fmla="*/ 1187934 h 2084191"/>
              <a:gd name="connsiteX429" fmla="*/ 988809 w 2051041"/>
              <a:gd name="connsiteY429" fmla="*/ 1216775 h 2084191"/>
              <a:gd name="connsiteX430" fmla="*/ 959968 w 2051041"/>
              <a:gd name="connsiteY430" fmla="*/ 1187934 h 2084191"/>
              <a:gd name="connsiteX431" fmla="*/ 989353 w 2051041"/>
              <a:gd name="connsiteY431" fmla="*/ 1158004 h 2084191"/>
              <a:gd name="connsiteX432" fmla="*/ 1152062 w 2051041"/>
              <a:gd name="connsiteY432" fmla="*/ 1153651 h 2084191"/>
              <a:gd name="connsiteX433" fmla="*/ 1185801 w 2051041"/>
              <a:gd name="connsiteY433" fmla="*/ 1186301 h 2084191"/>
              <a:gd name="connsiteX434" fmla="*/ 1153150 w 2051041"/>
              <a:gd name="connsiteY434" fmla="*/ 1219496 h 2084191"/>
              <a:gd name="connsiteX435" fmla="*/ 1119956 w 2051041"/>
              <a:gd name="connsiteY435" fmla="*/ 1187390 h 2084191"/>
              <a:gd name="connsiteX436" fmla="*/ 1152062 w 2051041"/>
              <a:gd name="connsiteY436" fmla="*/ 1153651 h 2084191"/>
              <a:gd name="connsiteX437" fmla="*/ 1315315 w 2051041"/>
              <a:gd name="connsiteY437" fmla="*/ 1152018 h 2084191"/>
              <a:gd name="connsiteX438" fmla="*/ 1351230 w 2051041"/>
              <a:gd name="connsiteY438" fmla="*/ 1186845 h 2084191"/>
              <a:gd name="connsiteX439" fmla="*/ 1315859 w 2051041"/>
              <a:gd name="connsiteY439" fmla="*/ 1221673 h 2084191"/>
              <a:gd name="connsiteX440" fmla="*/ 1281576 w 2051041"/>
              <a:gd name="connsiteY440" fmla="*/ 1187390 h 2084191"/>
              <a:gd name="connsiteX441" fmla="*/ 1315315 w 2051041"/>
              <a:gd name="connsiteY441" fmla="*/ 1152018 h 2084191"/>
              <a:gd name="connsiteX442" fmla="*/ 1479656 w 2051041"/>
              <a:gd name="connsiteY442" fmla="*/ 1149298 h 2084191"/>
              <a:gd name="connsiteX443" fmla="*/ 1516660 w 2051041"/>
              <a:gd name="connsiteY443" fmla="*/ 1188479 h 2084191"/>
              <a:gd name="connsiteX444" fmla="*/ 1478023 w 2051041"/>
              <a:gd name="connsiteY444" fmla="*/ 1224394 h 2084191"/>
              <a:gd name="connsiteX445" fmla="*/ 1441563 w 2051041"/>
              <a:gd name="connsiteY445" fmla="*/ 1185758 h 2084191"/>
              <a:gd name="connsiteX446" fmla="*/ 1479656 w 2051041"/>
              <a:gd name="connsiteY446" fmla="*/ 1149298 h 2084191"/>
              <a:gd name="connsiteX447" fmla="*/ 1642365 w 2051041"/>
              <a:gd name="connsiteY447" fmla="*/ 1148209 h 2084191"/>
              <a:gd name="connsiteX448" fmla="*/ 1681001 w 2051041"/>
              <a:gd name="connsiteY448" fmla="*/ 1187390 h 2084191"/>
              <a:gd name="connsiteX449" fmla="*/ 1641821 w 2051041"/>
              <a:gd name="connsiteY449" fmla="*/ 1226026 h 2084191"/>
              <a:gd name="connsiteX450" fmla="*/ 1603728 w 2051041"/>
              <a:gd name="connsiteY450" fmla="*/ 1186846 h 2084191"/>
              <a:gd name="connsiteX451" fmla="*/ 1642365 w 2051041"/>
              <a:gd name="connsiteY451" fmla="*/ 1148209 h 2084191"/>
              <a:gd name="connsiteX452" fmla="*/ 1969414 w 2051041"/>
              <a:gd name="connsiteY452" fmla="*/ 1147665 h 2084191"/>
              <a:gd name="connsiteX453" fmla="*/ 2009139 w 2051041"/>
              <a:gd name="connsiteY453" fmla="*/ 1187934 h 2084191"/>
              <a:gd name="connsiteX454" fmla="*/ 1968870 w 2051041"/>
              <a:gd name="connsiteY454" fmla="*/ 1227114 h 2084191"/>
              <a:gd name="connsiteX455" fmla="*/ 1929145 w 2051041"/>
              <a:gd name="connsiteY455" fmla="*/ 1186301 h 2084191"/>
              <a:gd name="connsiteX456" fmla="*/ 1969414 w 2051041"/>
              <a:gd name="connsiteY456" fmla="*/ 1147665 h 2084191"/>
              <a:gd name="connsiteX457" fmla="*/ 1805617 w 2051041"/>
              <a:gd name="connsiteY457" fmla="*/ 1147665 h 2084191"/>
              <a:gd name="connsiteX458" fmla="*/ 1844798 w 2051041"/>
              <a:gd name="connsiteY458" fmla="*/ 1187934 h 2084191"/>
              <a:gd name="connsiteX459" fmla="*/ 1805073 w 2051041"/>
              <a:gd name="connsiteY459" fmla="*/ 1226571 h 2084191"/>
              <a:gd name="connsiteX460" fmla="*/ 1766981 w 2051041"/>
              <a:gd name="connsiteY460" fmla="*/ 1186845 h 2084191"/>
              <a:gd name="connsiteX461" fmla="*/ 1805617 w 2051041"/>
              <a:gd name="connsiteY461" fmla="*/ 1147665 h 2084191"/>
              <a:gd name="connsiteX462" fmla="*/ 417425 w 2051041"/>
              <a:gd name="connsiteY462" fmla="*/ 1090527 h 2084191"/>
              <a:gd name="connsiteX463" fmla="*/ 432662 w 2051041"/>
              <a:gd name="connsiteY463" fmla="*/ 1105764 h 2084191"/>
              <a:gd name="connsiteX464" fmla="*/ 417969 w 2051041"/>
              <a:gd name="connsiteY464" fmla="*/ 1120457 h 2084191"/>
              <a:gd name="connsiteX465" fmla="*/ 402732 w 2051041"/>
              <a:gd name="connsiteY465" fmla="*/ 1105219 h 2084191"/>
              <a:gd name="connsiteX466" fmla="*/ 417425 w 2051041"/>
              <a:gd name="connsiteY466" fmla="*/ 1090527 h 2084191"/>
              <a:gd name="connsiteX467" fmla="*/ 580677 w 2051041"/>
              <a:gd name="connsiteY467" fmla="*/ 1083996 h 2084191"/>
              <a:gd name="connsiteX468" fmla="*/ 602444 w 2051041"/>
              <a:gd name="connsiteY468" fmla="*/ 1105219 h 2084191"/>
              <a:gd name="connsiteX469" fmla="*/ 581221 w 2051041"/>
              <a:gd name="connsiteY469" fmla="*/ 1127530 h 2084191"/>
              <a:gd name="connsiteX470" fmla="*/ 558910 w 2051041"/>
              <a:gd name="connsiteY470" fmla="*/ 1105219 h 2084191"/>
              <a:gd name="connsiteX471" fmla="*/ 580677 w 2051041"/>
              <a:gd name="connsiteY471" fmla="*/ 1083996 h 2084191"/>
              <a:gd name="connsiteX472" fmla="*/ 743386 w 2051041"/>
              <a:gd name="connsiteY472" fmla="*/ 1079099 h 2084191"/>
              <a:gd name="connsiteX473" fmla="*/ 770595 w 2051041"/>
              <a:gd name="connsiteY473" fmla="*/ 1105219 h 2084191"/>
              <a:gd name="connsiteX474" fmla="*/ 745019 w 2051041"/>
              <a:gd name="connsiteY474" fmla="*/ 1132428 h 2084191"/>
              <a:gd name="connsiteX475" fmla="*/ 717810 w 2051041"/>
              <a:gd name="connsiteY475" fmla="*/ 1106308 h 2084191"/>
              <a:gd name="connsiteX476" fmla="*/ 743386 w 2051041"/>
              <a:gd name="connsiteY476" fmla="*/ 1079099 h 2084191"/>
              <a:gd name="connsiteX477" fmla="*/ 907727 w 2051041"/>
              <a:gd name="connsiteY477" fmla="*/ 1076378 h 2084191"/>
              <a:gd name="connsiteX478" fmla="*/ 937112 w 2051041"/>
              <a:gd name="connsiteY478" fmla="*/ 1105219 h 2084191"/>
              <a:gd name="connsiteX479" fmla="*/ 908271 w 2051041"/>
              <a:gd name="connsiteY479" fmla="*/ 1134061 h 2084191"/>
              <a:gd name="connsiteX480" fmla="*/ 878885 w 2051041"/>
              <a:gd name="connsiteY480" fmla="*/ 1105764 h 2084191"/>
              <a:gd name="connsiteX481" fmla="*/ 907727 w 2051041"/>
              <a:gd name="connsiteY481" fmla="*/ 1076378 h 2084191"/>
              <a:gd name="connsiteX482" fmla="*/ 1071524 w 2051041"/>
              <a:gd name="connsiteY482" fmla="*/ 1072569 h 2084191"/>
              <a:gd name="connsiteX483" fmla="*/ 1104174 w 2051041"/>
              <a:gd name="connsiteY483" fmla="*/ 1105220 h 2084191"/>
              <a:gd name="connsiteX484" fmla="*/ 1070435 w 2051041"/>
              <a:gd name="connsiteY484" fmla="*/ 1137870 h 2084191"/>
              <a:gd name="connsiteX485" fmla="*/ 1038329 w 2051041"/>
              <a:gd name="connsiteY485" fmla="*/ 1105764 h 2084191"/>
              <a:gd name="connsiteX486" fmla="*/ 1071524 w 2051041"/>
              <a:gd name="connsiteY486" fmla="*/ 1072569 h 2084191"/>
              <a:gd name="connsiteX487" fmla="*/ 1235865 w 2051041"/>
              <a:gd name="connsiteY487" fmla="*/ 1068760 h 2084191"/>
              <a:gd name="connsiteX488" fmla="*/ 1271237 w 2051041"/>
              <a:gd name="connsiteY488" fmla="*/ 1106852 h 2084191"/>
              <a:gd name="connsiteX489" fmla="*/ 1234777 w 2051041"/>
              <a:gd name="connsiteY489" fmla="*/ 1142223 h 2084191"/>
              <a:gd name="connsiteX490" fmla="*/ 1198861 w 2051041"/>
              <a:gd name="connsiteY490" fmla="*/ 1105219 h 2084191"/>
              <a:gd name="connsiteX491" fmla="*/ 1235865 w 2051041"/>
              <a:gd name="connsiteY491" fmla="*/ 1068760 h 2084191"/>
              <a:gd name="connsiteX492" fmla="*/ 1396397 w 2051041"/>
              <a:gd name="connsiteY492" fmla="*/ 1067127 h 2084191"/>
              <a:gd name="connsiteX493" fmla="*/ 1435578 w 2051041"/>
              <a:gd name="connsiteY493" fmla="*/ 1105219 h 2084191"/>
              <a:gd name="connsiteX494" fmla="*/ 1396941 w 2051041"/>
              <a:gd name="connsiteY494" fmla="*/ 1143856 h 2084191"/>
              <a:gd name="connsiteX495" fmla="*/ 1358849 w 2051041"/>
              <a:gd name="connsiteY495" fmla="*/ 1105763 h 2084191"/>
              <a:gd name="connsiteX496" fmla="*/ 1396397 w 2051041"/>
              <a:gd name="connsiteY496" fmla="*/ 1067127 h 2084191"/>
              <a:gd name="connsiteX497" fmla="*/ 1560738 w 2051041"/>
              <a:gd name="connsiteY497" fmla="*/ 1066582 h 2084191"/>
              <a:gd name="connsiteX498" fmla="*/ 1599919 w 2051041"/>
              <a:gd name="connsiteY498" fmla="*/ 1105763 h 2084191"/>
              <a:gd name="connsiteX499" fmla="*/ 1560738 w 2051041"/>
              <a:gd name="connsiteY499" fmla="*/ 1144400 h 2084191"/>
              <a:gd name="connsiteX500" fmla="*/ 1521013 w 2051041"/>
              <a:gd name="connsiteY500" fmla="*/ 1105763 h 2084191"/>
              <a:gd name="connsiteX501" fmla="*/ 1560738 w 2051041"/>
              <a:gd name="connsiteY501" fmla="*/ 1066582 h 2084191"/>
              <a:gd name="connsiteX502" fmla="*/ 1723447 w 2051041"/>
              <a:gd name="connsiteY502" fmla="*/ 1064406 h 2084191"/>
              <a:gd name="connsiteX503" fmla="*/ 1764260 w 2051041"/>
              <a:gd name="connsiteY503" fmla="*/ 1104675 h 2084191"/>
              <a:gd name="connsiteX504" fmla="*/ 1724535 w 2051041"/>
              <a:gd name="connsiteY504" fmla="*/ 1146032 h 2084191"/>
              <a:gd name="connsiteX505" fmla="*/ 1683178 w 2051041"/>
              <a:gd name="connsiteY505" fmla="*/ 1105764 h 2084191"/>
              <a:gd name="connsiteX506" fmla="*/ 1723447 w 2051041"/>
              <a:gd name="connsiteY506" fmla="*/ 1064406 h 2084191"/>
              <a:gd name="connsiteX507" fmla="*/ 2051041 w 2051041"/>
              <a:gd name="connsiteY507" fmla="*/ 1063318 h 2084191"/>
              <a:gd name="connsiteX508" fmla="*/ 2051041 w 2051041"/>
              <a:gd name="connsiteY508" fmla="*/ 1147740 h 2084191"/>
              <a:gd name="connsiteX509" fmla="*/ 2049952 w 2051041"/>
              <a:gd name="connsiteY509" fmla="*/ 1148210 h 2084191"/>
              <a:gd name="connsiteX510" fmla="*/ 2008051 w 2051041"/>
              <a:gd name="connsiteY510" fmla="*/ 1105764 h 2084191"/>
              <a:gd name="connsiteX511" fmla="*/ 2051041 w 2051041"/>
              <a:gd name="connsiteY511" fmla="*/ 1063318 h 2084191"/>
              <a:gd name="connsiteX512" fmla="*/ 1887787 w 2051041"/>
              <a:gd name="connsiteY512" fmla="*/ 1062773 h 2084191"/>
              <a:gd name="connsiteX513" fmla="*/ 1929145 w 2051041"/>
              <a:gd name="connsiteY513" fmla="*/ 1105763 h 2084191"/>
              <a:gd name="connsiteX514" fmla="*/ 1886699 w 2051041"/>
              <a:gd name="connsiteY514" fmla="*/ 1147665 h 2084191"/>
              <a:gd name="connsiteX515" fmla="*/ 1844798 w 2051041"/>
              <a:gd name="connsiteY515" fmla="*/ 1105219 h 2084191"/>
              <a:gd name="connsiteX516" fmla="*/ 1887787 w 2051041"/>
              <a:gd name="connsiteY516" fmla="*/ 1062773 h 2084191"/>
              <a:gd name="connsiteX517" fmla="*/ 335798 w 2051041"/>
              <a:gd name="connsiteY517" fmla="*/ 1011621 h 2084191"/>
              <a:gd name="connsiteX518" fmla="*/ 348314 w 2051041"/>
              <a:gd name="connsiteY518" fmla="*/ 1023049 h 2084191"/>
              <a:gd name="connsiteX519" fmla="*/ 336886 w 2051041"/>
              <a:gd name="connsiteY519" fmla="*/ 1036109 h 2084191"/>
              <a:gd name="connsiteX520" fmla="*/ 324370 w 2051041"/>
              <a:gd name="connsiteY520" fmla="*/ 1024681 h 2084191"/>
              <a:gd name="connsiteX521" fmla="*/ 335798 w 2051041"/>
              <a:gd name="connsiteY521" fmla="*/ 1011621 h 2084191"/>
              <a:gd name="connsiteX522" fmla="*/ 499051 w 2051041"/>
              <a:gd name="connsiteY522" fmla="*/ 1002914 h 2084191"/>
              <a:gd name="connsiteX523" fmla="*/ 520818 w 2051041"/>
              <a:gd name="connsiteY523" fmla="*/ 1024137 h 2084191"/>
              <a:gd name="connsiteX524" fmla="*/ 499595 w 2051041"/>
              <a:gd name="connsiteY524" fmla="*/ 1045360 h 2084191"/>
              <a:gd name="connsiteX525" fmla="*/ 478372 w 2051041"/>
              <a:gd name="connsiteY525" fmla="*/ 1024137 h 2084191"/>
              <a:gd name="connsiteX526" fmla="*/ 499051 w 2051041"/>
              <a:gd name="connsiteY526" fmla="*/ 1002914 h 2084191"/>
              <a:gd name="connsiteX527" fmla="*/ 663392 w 2051041"/>
              <a:gd name="connsiteY527" fmla="*/ 997473 h 2084191"/>
              <a:gd name="connsiteX528" fmla="*/ 688424 w 2051041"/>
              <a:gd name="connsiteY528" fmla="*/ 1024138 h 2084191"/>
              <a:gd name="connsiteX529" fmla="*/ 661759 w 2051041"/>
              <a:gd name="connsiteY529" fmla="*/ 1050258 h 2084191"/>
              <a:gd name="connsiteX530" fmla="*/ 636727 w 2051041"/>
              <a:gd name="connsiteY530" fmla="*/ 1023593 h 2084191"/>
              <a:gd name="connsiteX531" fmla="*/ 663392 w 2051041"/>
              <a:gd name="connsiteY531" fmla="*/ 997473 h 2084191"/>
              <a:gd name="connsiteX532" fmla="*/ 826645 w 2051041"/>
              <a:gd name="connsiteY532" fmla="*/ 995840 h 2084191"/>
              <a:gd name="connsiteX533" fmla="*/ 854942 w 2051041"/>
              <a:gd name="connsiteY533" fmla="*/ 1024137 h 2084191"/>
              <a:gd name="connsiteX534" fmla="*/ 825557 w 2051041"/>
              <a:gd name="connsiteY534" fmla="*/ 1052978 h 2084191"/>
              <a:gd name="connsiteX535" fmla="*/ 797260 w 2051041"/>
              <a:gd name="connsiteY535" fmla="*/ 1023593 h 2084191"/>
              <a:gd name="connsiteX536" fmla="*/ 826645 w 2051041"/>
              <a:gd name="connsiteY536" fmla="*/ 995840 h 2084191"/>
              <a:gd name="connsiteX537" fmla="*/ 990441 w 2051041"/>
              <a:gd name="connsiteY537" fmla="*/ 990942 h 2084191"/>
              <a:gd name="connsiteX538" fmla="*/ 1022548 w 2051041"/>
              <a:gd name="connsiteY538" fmla="*/ 1025225 h 2084191"/>
              <a:gd name="connsiteX539" fmla="*/ 988809 w 2051041"/>
              <a:gd name="connsiteY539" fmla="*/ 1056787 h 2084191"/>
              <a:gd name="connsiteX540" fmla="*/ 956702 w 2051041"/>
              <a:gd name="connsiteY540" fmla="*/ 1023593 h 2084191"/>
              <a:gd name="connsiteX541" fmla="*/ 990441 w 2051041"/>
              <a:gd name="connsiteY541" fmla="*/ 990942 h 2084191"/>
              <a:gd name="connsiteX542" fmla="*/ 1150974 w 2051041"/>
              <a:gd name="connsiteY542" fmla="*/ 987678 h 2084191"/>
              <a:gd name="connsiteX543" fmla="*/ 1189610 w 2051041"/>
              <a:gd name="connsiteY543" fmla="*/ 1023593 h 2084191"/>
              <a:gd name="connsiteX544" fmla="*/ 1152062 w 2051041"/>
              <a:gd name="connsiteY544" fmla="*/ 1061685 h 2084191"/>
              <a:gd name="connsiteX545" fmla="*/ 1115058 w 2051041"/>
              <a:gd name="connsiteY545" fmla="*/ 1024682 h 2084191"/>
              <a:gd name="connsiteX546" fmla="*/ 1150974 w 2051041"/>
              <a:gd name="connsiteY546" fmla="*/ 987678 h 2084191"/>
              <a:gd name="connsiteX547" fmla="*/ 1315314 w 2051041"/>
              <a:gd name="connsiteY547" fmla="*/ 985501 h 2084191"/>
              <a:gd name="connsiteX548" fmla="*/ 1354495 w 2051041"/>
              <a:gd name="connsiteY548" fmla="*/ 1023593 h 2084191"/>
              <a:gd name="connsiteX549" fmla="*/ 1315858 w 2051041"/>
              <a:gd name="connsiteY549" fmla="*/ 1062230 h 2084191"/>
              <a:gd name="connsiteX550" fmla="*/ 1277222 w 2051041"/>
              <a:gd name="connsiteY550" fmla="*/ 1024137 h 2084191"/>
              <a:gd name="connsiteX551" fmla="*/ 1315314 w 2051041"/>
              <a:gd name="connsiteY551" fmla="*/ 985501 h 2084191"/>
              <a:gd name="connsiteX552" fmla="*/ 1479656 w 2051041"/>
              <a:gd name="connsiteY552" fmla="*/ 984412 h 2084191"/>
              <a:gd name="connsiteX553" fmla="*/ 1519380 w 2051041"/>
              <a:gd name="connsiteY553" fmla="*/ 1025225 h 2084191"/>
              <a:gd name="connsiteX554" fmla="*/ 1478567 w 2051041"/>
              <a:gd name="connsiteY554" fmla="*/ 1063318 h 2084191"/>
              <a:gd name="connsiteX555" fmla="*/ 1439387 w 2051041"/>
              <a:gd name="connsiteY555" fmla="*/ 1023593 h 2084191"/>
              <a:gd name="connsiteX556" fmla="*/ 1479656 w 2051041"/>
              <a:gd name="connsiteY556" fmla="*/ 984412 h 2084191"/>
              <a:gd name="connsiteX557" fmla="*/ 1641820 w 2051041"/>
              <a:gd name="connsiteY557" fmla="*/ 981691 h 2084191"/>
              <a:gd name="connsiteX558" fmla="*/ 1684810 w 2051041"/>
              <a:gd name="connsiteY558" fmla="*/ 1023592 h 2084191"/>
              <a:gd name="connsiteX559" fmla="*/ 1642909 w 2051041"/>
              <a:gd name="connsiteY559" fmla="*/ 1066038 h 2084191"/>
              <a:gd name="connsiteX560" fmla="*/ 1599919 w 2051041"/>
              <a:gd name="connsiteY560" fmla="*/ 1023592 h 2084191"/>
              <a:gd name="connsiteX561" fmla="*/ 1641820 w 2051041"/>
              <a:gd name="connsiteY561" fmla="*/ 981691 h 2084191"/>
              <a:gd name="connsiteX562" fmla="*/ 1806161 w 2051041"/>
              <a:gd name="connsiteY562" fmla="*/ 980603 h 2084191"/>
              <a:gd name="connsiteX563" fmla="*/ 1849151 w 2051041"/>
              <a:gd name="connsiteY563" fmla="*/ 1023592 h 2084191"/>
              <a:gd name="connsiteX564" fmla="*/ 1805617 w 2051041"/>
              <a:gd name="connsiteY564" fmla="*/ 1067127 h 2084191"/>
              <a:gd name="connsiteX565" fmla="*/ 1762083 w 2051041"/>
              <a:gd name="connsiteY565" fmla="*/ 1023592 h 2084191"/>
              <a:gd name="connsiteX566" fmla="*/ 1806161 w 2051041"/>
              <a:gd name="connsiteY566" fmla="*/ 980603 h 2084191"/>
              <a:gd name="connsiteX567" fmla="*/ 1969414 w 2051041"/>
              <a:gd name="connsiteY567" fmla="*/ 980059 h 2084191"/>
              <a:gd name="connsiteX568" fmla="*/ 2012404 w 2051041"/>
              <a:gd name="connsiteY568" fmla="*/ 1024137 h 2084191"/>
              <a:gd name="connsiteX569" fmla="*/ 1968870 w 2051041"/>
              <a:gd name="connsiteY569" fmla="*/ 1067127 h 2084191"/>
              <a:gd name="connsiteX570" fmla="*/ 1924792 w 2051041"/>
              <a:gd name="connsiteY570" fmla="*/ 1024137 h 2084191"/>
              <a:gd name="connsiteX571" fmla="*/ 1969414 w 2051041"/>
              <a:gd name="connsiteY571" fmla="*/ 980059 h 2084191"/>
              <a:gd name="connsiteX572" fmla="*/ 254171 w 2051041"/>
              <a:gd name="connsiteY572" fmla="*/ 931083 h 2084191"/>
              <a:gd name="connsiteX573" fmla="*/ 265599 w 2051041"/>
              <a:gd name="connsiteY573" fmla="*/ 941967 h 2084191"/>
              <a:gd name="connsiteX574" fmla="*/ 254171 w 2051041"/>
              <a:gd name="connsiteY574" fmla="*/ 952850 h 2084191"/>
              <a:gd name="connsiteX575" fmla="*/ 243832 w 2051041"/>
              <a:gd name="connsiteY575" fmla="*/ 941967 h 2084191"/>
              <a:gd name="connsiteX576" fmla="*/ 254171 w 2051041"/>
              <a:gd name="connsiteY576" fmla="*/ 931083 h 2084191"/>
              <a:gd name="connsiteX577" fmla="*/ 417968 w 2051041"/>
              <a:gd name="connsiteY577" fmla="*/ 922377 h 2084191"/>
              <a:gd name="connsiteX578" fmla="*/ 437559 w 2051041"/>
              <a:gd name="connsiteY578" fmla="*/ 942511 h 2084191"/>
              <a:gd name="connsiteX579" fmla="*/ 417968 w 2051041"/>
              <a:gd name="connsiteY579" fmla="*/ 961557 h 2084191"/>
              <a:gd name="connsiteX580" fmla="*/ 397834 w 2051041"/>
              <a:gd name="connsiteY580" fmla="*/ 941423 h 2084191"/>
              <a:gd name="connsiteX581" fmla="*/ 417968 w 2051041"/>
              <a:gd name="connsiteY581" fmla="*/ 922377 h 2084191"/>
              <a:gd name="connsiteX582" fmla="*/ 581222 w 2051041"/>
              <a:gd name="connsiteY582" fmla="*/ 916934 h 2084191"/>
              <a:gd name="connsiteX583" fmla="*/ 606798 w 2051041"/>
              <a:gd name="connsiteY583" fmla="*/ 943054 h 2084191"/>
              <a:gd name="connsiteX584" fmla="*/ 581222 w 2051041"/>
              <a:gd name="connsiteY584" fmla="*/ 967542 h 2084191"/>
              <a:gd name="connsiteX585" fmla="*/ 556190 w 2051041"/>
              <a:gd name="connsiteY585" fmla="*/ 943054 h 2084191"/>
              <a:gd name="connsiteX586" fmla="*/ 581222 w 2051041"/>
              <a:gd name="connsiteY586" fmla="*/ 916934 h 2084191"/>
              <a:gd name="connsiteX587" fmla="*/ 744474 w 2051041"/>
              <a:gd name="connsiteY587" fmla="*/ 913669 h 2084191"/>
              <a:gd name="connsiteX588" fmla="*/ 773315 w 2051041"/>
              <a:gd name="connsiteY588" fmla="*/ 942510 h 2084191"/>
              <a:gd name="connsiteX589" fmla="*/ 743930 w 2051041"/>
              <a:gd name="connsiteY589" fmla="*/ 970807 h 2084191"/>
              <a:gd name="connsiteX590" fmla="*/ 716177 w 2051041"/>
              <a:gd name="connsiteY590" fmla="*/ 941966 h 2084191"/>
              <a:gd name="connsiteX591" fmla="*/ 744474 w 2051041"/>
              <a:gd name="connsiteY591" fmla="*/ 913669 h 2084191"/>
              <a:gd name="connsiteX592" fmla="*/ 908271 w 2051041"/>
              <a:gd name="connsiteY592" fmla="*/ 908772 h 2084191"/>
              <a:gd name="connsiteX593" fmla="*/ 940377 w 2051041"/>
              <a:gd name="connsiteY593" fmla="*/ 944144 h 2084191"/>
              <a:gd name="connsiteX594" fmla="*/ 906094 w 2051041"/>
              <a:gd name="connsiteY594" fmla="*/ 975162 h 2084191"/>
              <a:gd name="connsiteX595" fmla="*/ 874532 w 2051041"/>
              <a:gd name="connsiteY595" fmla="*/ 940879 h 2084191"/>
              <a:gd name="connsiteX596" fmla="*/ 908271 w 2051041"/>
              <a:gd name="connsiteY596" fmla="*/ 908772 h 2084191"/>
              <a:gd name="connsiteX597" fmla="*/ 1072068 w 2051041"/>
              <a:gd name="connsiteY597" fmla="*/ 906051 h 2084191"/>
              <a:gd name="connsiteX598" fmla="*/ 1107984 w 2051041"/>
              <a:gd name="connsiteY598" fmla="*/ 942511 h 2084191"/>
              <a:gd name="connsiteX599" fmla="*/ 1070980 w 2051041"/>
              <a:gd name="connsiteY599" fmla="*/ 979515 h 2084191"/>
              <a:gd name="connsiteX600" fmla="*/ 1034520 w 2051041"/>
              <a:gd name="connsiteY600" fmla="*/ 942511 h 2084191"/>
              <a:gd name="connsiteX601" fmla="*/ 1072068 w 2051041"/>
              <a:gd name="connsiteY601" fmla="*/ 906051 h 2084191"/>
              <a:gd name="connsiteX602" fmla="*/ 1235321 w 2051041"/>
              <a:gd name="connsiteY602" fmla="*/ 903874 h 2084191"/>
              <a:gd name="connsiteX603" fmla="*/ 1272325 w 2051041"/>
              <a:gd name="connsiteY603" fmla="*/ 943054 h 2084191"/>
              <a:gd name="connsiteX604" fmla="*/ 1233688 w 2051041"/>
              <a:gd name="connsiteY604" fmla="*/ 981147 h 2084191"/>
              <a:gd name="connsiteX605" fmla="*/ 1195596 w 2051041"/>
              <a:gd name="connsiteY605" fmla="*/ 940878 h 2084191"/>
              <a:gd name="connsiteX606" fmla="*/ 1235321 w 2051041"/>
              <a:gd name="connsiteY606" fmla="*/ 903874 h 2084191"/>
              <a:gd name="connsiteX607" fmla="*/ 1397486 w 2051041"/>
              <a:gd name="connsiteY607" fmla="*/ 901153 h 2084191"/>
              <a:gd name="connsiteX608" fmla="*/ 1438299 w 2051041"/>
              <a:gd name="connsiteY608" fmla="*/ 942511 h 2084191"/>
              <a:gd name="connsiteX609" fmla="*/ 1396941 w 2051041"/>
              <a:gd name="connsiteY609" fmla="*/ 983324 h 2084191"/>
              <a:gd name="connsiteX610" fmla="*/ 1356128 w 2051041"/>
              <a:gd name="connsiteY610" fmla="*/ 941967 h 2084191"/>
              <a:gd name="connsiteX611" fmla="*/ 1397486 w 2051041"/>
              <a:gd name="connsiteY611" fmla="*/ 901153 h 2084191"/>
              <a:gd name="connsiteX612" fmla="*/ 1560738 w 2051041"/>
              <a:gd name="connsiteY612" fmla="*/ 898977 h 2084191"/>
              <a:gd name="connsiteX613" fmla="*/ 1603728 w 2051041"/>
              <a:gd name="connsiteY613" fmla="*/ 942511 h 2084191"/>
              <a:gd name="connsiteX614" fmla="*/ 1560738 w 2051041"/>
              <a:gd name="connsiteY614" fmla="*/ 985501 h 2084191"/>
              <a:gd name="connsiteX615" fmla="*/ 1517204 w 2051041"/>
              <a:gd name="connsiteY615" fmla="*/ 941423 h 2084191"/>
              <a:gd name="connsiteX616" fmla="*/ 1560738 w 2051041"/>
              <a:gd name="connsiteY616" fmla="*/ 898977 h 2084191"/>
              <a:gd name="connsiteX617" fmla="*/ 1723990 w 2051041"/>
              <a:gd name="connsiteY617" fmla="*/ 897888 h 2084191"/>
              <a:gd name="connsiteX618" fmla="*/ 1768069 w 2051041"/>
              <a:gd name="connsiteY618" fmla="*/ 942510 h 2084191"/>
              <a:gd name="connsiteX619" fmla="*/ 1723990 w 2051041"/>
              <a:gd name="connsiteY619" fmla="*/ 986589 h 2084191"/>
              <a:gd name="connsiteX620" fmla="*/ 1679912 w 2051041"/>
              <a:gd name="connsiteY620" fmla="*/ 941422 h 2084191"/>
              <a:gd name="connsiteX621" fmla="*/ 1723990 w 2051041"/>
              <a:gd name="connsiteY621" fmla="*/ 897888 h 2084191"/>
              <a:gd name="connsiteX622" fmla="*/ 2050497 w 2051041"/>
              <a:gd name="connsiteY622" fmla="*/ 897344 h 2084191"/>
              <a:gd name="connsiteX623" fmla="*/ 2051041 w 2051041"/>
              <a:gd name="connsiteY623" fmla="*/ 897453 h 2084191"/>
              <a:gd name="connsiteX624" fmla="*/ 2051041 w 2051041"/>
              <a:gd name="connsiteY624" fmla="*/ 986917 h 2084191"/>
              <a:gd name="connsiteX625" fmla="*/ 2049952 w 2051041"/>
              <a:gd name="connsiteY625" fmla="*/ 987133 h 2084191"/>
              <a:gd name="connsiteX626" fmla="*/ 2005330 w 2051041"/>
              <a:gd name="connsiteY626" fmla="*/ 941422 h 2084191"/>
              <a:gd name="connsiteX627" fmla="*/ 2050497 w 2051041"/>
              <a:gd name="connsiteY627" fmla="*/ 897344 h 2084191"/>
              <a:gd name="connsiteX628" fmla="*/ 1887243 w 2051041"/>
              <a:gd name="connsiteY628" fmla="*/ 897344 h 2084191"/>
              <a:gd name="connsiteX629" fmla="*/ 1931866 w 2051041"/>
              <a:gd name="connsiteY629" fmla="*/ 942511 h 2084191"/>
              <a:gd name="connsiteX630" fmla="*/ 1887243 w 2051041"/>
              <a:gd name="connsiteY630" fmla="*/ 986589 h 2084191"/>
              <a:gd name="connsiteX631" fmla="*/ 1843165 w 2051041"/>
              <a:gd name="connsiteY631" fmla="*/ 941422 h 2084191"/>
              <a:gd name="connsiteX632" fmla="*/ 1887243 w 2051041"/>
              <a:gd name="connsiteY632" fmla="*/ 897344 h 2084191"/>
              <a:gd name="connsiteX633" fmla="*/ 172545 w 2051041"/>
              <a:gd name="connsiteY633" fmla="*/ 854354 h 2084191"/>
              <a:gd name="connsiteX634" fmla="*/ 179619 w 2051041"/>
              <a:gd name="connsiteY634" fmla="*/ 860884 h 2084191"/>
              <a:gd name="connsiteX635" fmla="*/ 173634 w 2051041"/>
              <a:gd name="connsiteY635" fmla="*/ 866870 h 2084191"/>
              <a:gd name="connsiteX636" fmla="*/ 166015 w 2051041"/>
              <a:gd name="connsiteY636" fmla="*/ 861973 h 2084191"/>
              <a:gd name="connsiteX637" fmla="*/ 172545 w 2051041"/>
              <a:gd name="connsiteY637" fmla="*/ 854354 h 2084191"/>
              <a:gd name="connsiteX638" fmla="*/ 336342 w 2051041"/>
              <a:gd name="connsiteY638" fmla="*/ 843471 h 2084191"/>
              <a:gd name="connsiteX639" fmla="*/ 353211 w 2051041"/>
              <a:gd name="connsiteY639" fmla="*/ 860340 h 2084191"/>
              <a:gd name="connsiteX640" fmla="*/ 336886 w 2051041"/>
              <a:gd name="connsiteY640" fmla="*/ 877210 h 2084191"/>
              <a:gd name="connsiteX641" fmla="*/ 320017 w 2051041"/>
              <a:gd name="connsiteY641" fmla="*/ 860884 h 2084191"/>
              <a:gd name="connsiteX642" fmla="*/ 336342 w 2051041"/>
              <a:gd name="connsiteY642" fmla="*/ 843471 h 2084191"/>
              <a:gd name="connsiteX643" fmla="*/ 500139 w 2051041"/>
              <a:gd name="connsiteY643" fmla="*/ 837485 h 2084191"/>
              <a:gd name="connsiteX644" fmla="*/ 522994 w 2051041"/>
              <a:gd name="connsiteY644" fmla="*/ 861428 h 2084191"/>
              <a:gd name="connsiteX645" fmla="*/ 499595 w 2051041"/>
              <a:gd name="connsiteY645" fmla="*/ 884284 h 2084191"/>
              <a:gd name="connsiteX646" fmla="*/ 476739 w 2051041"/>
              <a:gd name="connsiteY646" fmla="*/ 860340 h 2084191"/>
              <a:gd name="connsiteX647" fmla="*/ 500139 w 2051041"/>
              <a:gd name="connsiteY647" fmla="*/ 837485 h 2084191"/>
              <a:gd name="connsiteX648" fmla="*/ 662848 w 2051041"/>
              <a:gd name="connsiteY648" fmla="*/ 832587 h 2084191"/>
              <a:gd name="connsiteX649" fmla="*/ 690057 w 2051041"/>
              <a:gd name="connsiteY649" fmla="*/ 860340 h 2084191"/>
              <a:gd name="connsiteX650" fmla="*/ 662848 w 2051041"/>
              <a:gd name="connsiteY650" fmla="*/ 888637 h 2084191"/>
              <a:gd name="connsiteX651" fmla="*/ 634551 w 2051041"/>
              <a:gd name="connsiteY651" fmla="*/ 861428 h 2084191"/>
              <a:gd name="connsiteX652" fmla="*/ 662848 w 2051041"/>
              <a:gd name="connsiteY652" fmla="*/ 832587 h 2084191"/>
              <a:gd name="connsiteX653" fmla="*/ 826101 w 2051041"/>
              <a:gd name="connsiteY653" fmla="*/ 827146 h 2084191"/>
              <a:gd name="connsiteX654" fmla="*/ 859295 w 2051041"/>
              <a:gd name="connsiteY654" fmla="*/ 860885 h 2084191"/>
              <a:gd name="connsiteX655" fmla="*/ 825556 w 2051041"/>
              <a:gd name="connsiteY655" fmla="*/ 892991 h 2084191"/>
              <a:gd name="connsiteX656" fmla="*/ 793450 w 2051041"/>
              <a:gd name="connsiteY656" fmla="*/ 860885 h 2084191"/>
              <a:gd name="connsiteX657" fmla="*/ 826101 w 2051041"/>
              <a:gd name="connsiteY657" fmla="*/ 827146 h 2084191"/>
              <a:gd name="connsiteX658" fmla="*/ 988809 w 2051041"/>
              <a:gd name="connsiteY658" fmla="*/ 824424 h 2084191"/>
              <a:gd name="connsiteX659" fmla="*/ 1025813 w 2051041"/>
              <a:gd name="connsiteY659" fmla="*/ 860339 h 2084191"/>
              <a:gd name="connsiteX660" fmla="*/ 989897 w 2051041"/>
              <a:gd name="connsiteY660" fmla="*/ 897344 h 2084191"/>
              <a:gd name="connsiteX661" fmla="*/ 953437 w 2051041"/>
              <a:gd name="connsiteY661" fmla="*/ 861972 h 2084191"/>
              <a:gd name="connsiteX662" fmla="*/ 988809 w 2051041"/>
              <a:gd name="connsiteY662" fmla="*/ 824424 h 2084191"/>
              <a:gd name="connsiteX663" fmla="*/ 1153695 w 2051041"/>
              <a:gd name="connsiteY663" fmla="*/ 821704 h 2084191"/>
              <a:gd name="connsiteX664" fmla="*/ 1191243 w 2051041"/>
              <a:gd name="connsiteY664" fmla="*/ 861429 h 2084191"/>
              <a:gd name="connsiteX665" fmla="*/ 1152606 w 2051041"/>
              <a:gd name="connsiteY665" fmla="*/ 899521 h 2084191"/>
              <a:gd name="connsiteX666" fmla="*/ 1114514 w 2051041"/>
              <a:gd name="connsiteY666" fmla="*/ 859252 h 2084191"/>
              <a:gd name="connsiteX667" fmla="*/ 1153695 w 2051041"/>
              <a:gd name="connsiteY667" fmla="*/ 821704 h 2084191"/>
              <a:gd name="connsiteX668" fmla="*/ 1316403 w 2051041"/>
              <a:gd name="connsiteY668" fmla="*/ 818982 h 2084191"/>
              <a:gd name="connsiteX669" fmla="*/ 1357216 w 2051041"/>
              <a:gd name="connsiteY669" fmla="*/ 860884 h 2084191"/>
              <a:gd name="connsiteX670" fmla="*/ 1315315 w 2051041"/>
              <a:gd name="connsiteY670" fmla="*/ 901697 h 2084191"/>
              <a:gd name="connsiteX671" fmla="*/ 1274501 w 2051041"/>
              <a:gd name="connsiteY671" fmla="*/ 860340 h 2084191"/>
              <a:gd name="connsiteX672" fmla="*/ 1316403 w 2051041"/>
              <a:gd name="connsiteY672" fmla="*/ 818982 h 2084191"/>
              <a:gd name="connsiteX673" fmla="*/ 1479112 w 2051041"/>
              <a:gd name="connsiteY673" fmla="*/ 816806 h 2084191"/>
              <a:gd name="connsiteX674" fmla="*/ 1522646 w 2051041"/>
              <a:gd name="connsiteY674" fmla="*/ 860340 h 2084191"/>
              <a:gd name="connsiteX675" fmla="*/ 1479656 w 2051041"/>
              <a:gd name="connsiteY675" fmla="*/ 904419 h 2084191"/>
              <a:gd name="connsiteX676" fmla="*/ 1435578 w 2051041"/>
              <a:gd name="connsiteY676" fmla="*/ 860884 h 2084191"/>
              <a:gd name="connsiteX677" fmla="*/ 1479112 w 2051041"/>
              <a:gd name="connsiteY677" fmla="*/ 816806 h 2084191"/>
              <a:gd name="connsiteX678" fmla="*/ 1642909 w 2051041"/>
              <a:gd name="connsiteY678" fmla="*/ 815718 h 2084191"/>
              <a:gd name="connsiteX679" fmla="*/ 1686987 w 2051041"/>
              <a:gd name="connsiteY679" fmla="*/ 860885 h 2084191"/>
              <a:gd name="connsiteX680" fmla="*/ 1641276 w 2051041"/>
              <a:gd name="connsiteY680" fmla="*/ 905507 h 2084191"/>
              <a:gd name="connsiteX681" fmla="*/ 1597742 w 2051041"/>
              <a:gd name="connsiteY681" fmla="*/ 860340 h 2084191"/>
              <a:gd name="connsiteX682" fmla="*/ 1642909 w 2051041"/>
              <a:gd name="connsiteY682" fmla="*/ 815718 h 2084191"/>
              <a:gd name="connsiteX683" fmla="*/ 1806161 w 2051041"/>
              <a:gd name="connsiteY683" fmla="*/ 815173 h 2084191"/>
              <a:gd name="connsiteX684" fmla="*/ 1852416 w 2051041"/>
              <a:gd name="connsiteY684" fmla="*/ 860884 h 2084191"/>
              <a:gd name="connsiteX685" fmla="*/ 1805617 w 2051041"/>
              <a:gd name="connsiteY685" fmla="*/ 906594 h 2084191"/>
              <a:gd name="connsiteX686" fmla="*/ 1759906 w 2051041"/>
              <a:gd name="connsiteY686" fmla="*/ 860884 h 2084191"/>
              <a:gd name="connsiteX687" fmla="*/ 1806161 w 2051041"/>
              <a:gd name="connsiteY687" fmla="*/ 815173 h 2084191"/>
              <a:gd name="connsiteX688" fmla="*/ 1968326 w 2051041"/>
              <a:gd name="connsiteY688" fmla="*/ 812453 h 2084191"/>
              <a:gd name="connsiteX689" fmla="*/ 2000977 w 2051041"/>
              <a:gd name="connsiteY689" fmla="*/ 826057 h 2084191"/>
              <a:gd name="connsiteX690" fmla="*/ 2015670 w 2051041"/>
              <a:gd name="connsiteY690" fmla="*/ 859796 h 2084191"/>
              <a:gd name="connsiteX691" fmla="*/ 1969415 w 2051041"/>
              <a:gd name="connsiteY691" fmla="*/ 907684 h 2084191"/>
              <a:gd name="connsiteX692" fmla="*/ 1922071 w 2051041"/>
              <a:gd name="connsiteY692" fmla="*/ 860885 h 2084191"/>
              <a:gd name="connsiteX693" fmla="*/ 1968326 w 2051041"/>
              <a:gd name="connsiteY693" fmla="*/ 812453 h 2084191"/>
              <a:gd name="connsiteX694" fmla="*/ 255260 w 2051041"/>
              <a:gd name="connsiteY694" fmla="*/ 762932 h 2084191"/>
              <a:gd name="connsiteX695" fmla="*/ 270497 w 2051041"/>
              <a:gd name="connsiteY695" fmla="*/ 779802 h 2084191"/>
              <a:gd name="connsiteX696" fmla="*/ 254172 w 2051041"/>
              <a:gd name="connsiteY696" fmla="*/ 795038 h 2084191"/>
              <a:gd name="connsiteX697" fmla="*/ 238935 w 2051041"/>
              <a:gd name="connsiteY697" fmla="*/ 778713 h 2084191"/>
              <a:gd name="connsiteX698" fmla="*/ 255260 w 2051041"/>
              <a:gd name="connsiteY698" fmla="*/ 762932 h 2084191"/>
              <a:gd name="connsiteX699" fmla="*/ 416881 w 2051041"/>
              <a:gd name="connsiteY699" fmla="*/ 756402 h 2084191"/>
              <a:gd name="connsiteX700" fmla="*/ 440280 w 2051041"/>
              <a:gd name="connsiteY700" fmla="*/ 778713 h 2084191"/>
              <a:gd name="connsiteX701" fmla="*/ 419057 w 2051041"/>
              <a:gd name="connsiteY701" fmla="*/ 801024 h 2084191"/>
              <a:gd name="connsiteX702" fmla="*/ 396202 w 2051041"/>
              <a:gd name="connsiteY702" fmla="*/ 779257 h 2084191"/>
              <a:gd name="connsiteX703" fmla="*/ 416881 w 2051041"/>
              <a:gd name="connsiteY703" fmla="*/ 756402 h 2084191"/>
              <a:gd name="connsiteX704" fmla="*/ 581766 w 2051041"/>
              <a:gd name="connsiteY704" fmla="*/ 751505 h 2084191"/>
              <a:gd name="connsiteX705" fmla="*/ 608975 w 2051041"/>
              <a:gd name="connsiteY705" fmla="*/ 779802 h 2084191"/>
              <a:gd name="connsiteX706" fmla="*/ 580678 w 2051041"/>
              <a:gd name="connsiteY706" fmla="*/ 806467 h 2084191"/>
              <a:gd name="connsiteX707" fmla="*/ 553469 w 2051041"/>
              <a:gd name="connsiteY707" fmla="*/ 778714 h 2084191"/>
              <a:gd name="connsiteX708" fmla="*/ 581766 w 2051041"/>
              <a:gd name="connsiteY708" fmla="*/ 751505 h 2084191"/>
              <a:gd name="connsiteX709" fmla="*/ 746107 w 2051041"/>
              <a:gd name="connsiteY709" fmla="*/ 746607 h 2084191"/>
              <a:gd name="connsiteX710" fmla="*/ 777125 w 2051041"/>
              <a:gd name="connsiteY710" fmla="*/ 780346 h 2084191"/>
              <a:gd name="connsiteX711" fmla="*/ 742842 w 2051041"/>
              <a:gd name="connsiteY711" fmla="*/ 811364 h 2084191"/>
              <a:gd name="connsiteX712" fmla="*/ 712368 w 2051041"/>
              <a:gd name="connsiteY712" fmla="*/ 778713 h 2084191"/>
              <a:gd name="connsiteX713" fmla="*/ 746107 w 2051041"/>
              <a:gd name="connsiteY713" fmla="*/ 746607 h 2084191"/>
              <a:gd name="connsiteX714" fmla="*/ 907727 w 2051041"/>
              <a:gd name="connsiteY714" fmla="*/ 741710 h 2084191"/>
              <a:gd name="connsiteX715" fmla="*/ 944187 w 2051041"/>
              <a:gd name="connsiteY715" fmla="*/ 778714 h 2084191"/>
              <a:gd name="connsiteX716" fmla="*/ 907727 w 2051041"/>
              <a:gd name="connsiteY716" fmla="*/ 815174 h 2084191"/>
              <a:gd name="connsiteX717" fmla="*/ 872355 w 2051041"/>
              <a:gd name="connsiteY717" fmla="*/ 779258 h 2084191"/>
              <a:gd name="connsiteX718" fmla="*/ 907727 w 2051041"/>
              <a:gd name="connsiteY718" fmla="*/ 741710 h 2084191"/>
              <a:gd name="connsiteX719" fmla="*/ 1070979 w 2051041"/>
              <a:gd name="connsiteY719" fmla="*/ 740621 h 2084191"/>
              <a:gd name="connsiteX720" fmla="*/ 1110160 w 2051041"/>
              <a:gd name="connsiteY720" fmla="*/ 779258 h 2084191"/>
              <a:gd name="connsiteX721" fmla="*/ 1070979 w 2051041"/>
              <a:gd name="connsiteY721" fmla="*/ 817894 h 2084191"/>
              <a:gd name="connsiteX722" fmla="*/ 1031799 w 2051041"/>
              <a:gd name="connsiteY722" fmla="*/ 778714 h 2084191"/>
              <a:gd name="connsiteX723" fmla="*/ 1070979 w 2051041"/>
              <a:gd name="connsiteY723" fmla="*/ 740621 h 2084191"/>
              <a:gd name="connsiteX724" fmla="*/ 1233688 w 2051041"/>
              <a:gd name="connsiteY724" fmla="*/ 736268 h 2084191"/>
              <a:gd name="connsiteX725" fmla="*/ 1276134 w 2051041"/>
              <a:gd name="connsiteY725" fmla="*/ 777625 h 2084191"/>
              <a:gd name="connsiteX726" fmla="*/ 1235320 w 2051041"/>
              <a:gd name="connsiteY726" fmla="*/ 820615 h 2084191"/>
              <a:gd name="connsiteX727" fmla="*/ 1192331 w 2051041"/>
              <a:gd name="connsiteY727" fmla="*/ 779258 h 2084191"/>
              <a:gd name="connsiteX728" fmla="*/ 1233688 w 2051041"/>
              <a:gd name="connsiteY728" fmla="*/ 736268 h 2084191"/>
              <a:gd name="connsiteX729" fmla="*/ 1397485 w 2051041"/>
              <a:gd name="connsiteY729" fmla="*/ 735724 h 2084191"/>
              <a:gd name="connsiteX730" fmla="*/ 1441019 w 2051041"/>
              <a:gd name="connsiteY730" fmla="*/ 779802 h 2084191"/>
              <a:gd name="connsiteX731" fmla="*/ 1396397 w 2051041"/>
              <a:gd name="connsiteY731" fmla="*/ 823336 h 2084191"/>
              <a:gd name="connsiteX732" fmla="*/ 1352863 w 2051041"/>
              <a:gd name="connsiteY732" fmla="*/ 779258 h 2084191"/>
              <a:gd name="connsiteX733" fmla="*/ 1397485 w 2051041"/>
              <a:gd name="connsiteY733" fmla="*/ 735724 h 2084191"/>
              <a:gd name="connsiteX734" fmla="*/ 1562371 w 2051041"/>
              <a:gd name="connsiteY734" fmla="*/ 734636 h 2084191"/>
              <a:gd name="connsiteX735" fmla="*/ 1605905 w 2051041"/>
              <a:gd name="connsiteY735" fmla="*/ 779802 h 2084191"/>
              <a:gd name="connsiteX736" fmla="*/ 1560194 w 2051041"/>
              <a:gd name="connsiteY736" fmla="*/ 823881 h 2084191"/>
              <a:gd name="connsiteX737" fmla="*/ 1515572 w 2051041"/>
              <a:gd name="connsiteY737" fmla="*/ 777626 h 2084191"/>
              <a:gd name="connsiteX738" fmla="*/ 1562371 w 2051041"/>
              <a:gd name="connsiteY738" fmla="*/ 734636 h 2084191"/>
              <a:gd name="connsiteX739" fmla="*/ 1724535 w 2051041"/>
              <a:gd name="connsiteY739" fmla="*/ 730827 h 2084191"/>
              <a:gd name="connsiteX740" fmla="*/ 1772422 w 2051041"/>
              <a:gd name="connsiteY740" fmla="*/ 779258 h 2084191"/>
              <a:gd name="connsiteX741" fmla="*/ 1723446 w 2051041"/>
              <a:gd name="connsiteY741" fmla="*/ 826602 h 2084191"/>
              <a:gd name="connsiteX742" fmla="*/ 1676647 w 2051041"/>
              <a:gd name="connsiteY742" fmla="*/ 778714 h 2084191"/>
              <a:gd name="connsiteX743" fmla="*/ 1724535 w 2051041"/>
              <a:gd name="connsiteY743" fmla="*/ 730827 h 2084191"/>
              <a:gd name="connsiteX744" fmla="*/ 1886699 w 2051041"/>
              <a:gd name="connsiteY744" fmla="*/ 730826 h 2084191"/>
              <a:gd name="connsiteX745" fmla="*/ 1935131 w 2051041"/>
              <a:gd name="connsiteY745" fmla="*/ 778713 h 2084191"/>
              <a:gd name="connsiteX746" fmla="*/ 1887244 w 2051041"/>
              <a:gd name="connsiteY746" fmla="*/ 827145 h 2084191"/>
              <a:gd name="connsiteX747" fmla="*/ 1838812 w 2051041"/>
              <a:gd name="connsiteY747" fmla="*/ 778713 h 2084191"/>
              <a:gd name="connsiteX748" fmla="*/ 1886699 w 2051041"/>
              <a:gd name="connsiteY748" fmla="*/ 730826 h 2084191"/>
              <a:gd name="connsiteX749" fmla="*/ 2050496 w 2051041"/>
              <a:gd name="connsiteY749" fmla="*/ 730282 h 2084191"/>
              <a:gd name="connsiteX750" fmla="*/ 2051041 w 2051041"/>
              <a:gd name="connsiteY750" fmla="*/ 730396 h 2084191"/>
              <a:gd name="connsiteX751" fmla="*/ 2051041 w 2051041"/>
              <a:gd name="connsiteY751" fmla="*/ 826942 h 2084191"/>
              <a:gd name="connsiteX752" fmla="*/ 2049952 w 2051041"/>
              <a:gd name="connsiteY752" fmla="*/ 827145 h 2084191"/>
              <a:gd name="connsiteX753" fmla="*/ 2002065 w 2051041"/>
              <a:gd name="connsiteY753" fmla="*/ 778169 h 2084191"/>
              <a:gd name="connsiteX754" fmla="*/ 2050496 w 2051041"/>
              <a:gd name="connsiteY754" fmla="*/ 730282 h 2084191"/>
              <a:gd name="connsiteX755" fmla="*/ 173634 w 2051041"/>
              <a:gd name="connsiteY755" fmla="*/ 685660 h 2084191"/>
              <a:gd name="connsiteX756" fmla="*/ 184518 w 2051041"/>
              <a:gd name="connsiteY756" fmla="*/ 698176 h 2084191"/>
              <a:gd name="connsiteX757" fmla="*/ 172546 w 2051041"/>
              <a:gd name="connsiteY757" fmla="*/ 709059 h 2084191"/>
              <a:gd name="connsiteX758" fmla="*/ 161118 w 2051041"/>
              <a:gd name="connsiteY758" fmla="*/ 697088 h 2084191"/>
              <a:gd name="connsiteX759" fmla="*/ 173634 w 2051041"/>
              <a:gd name="connsiteY759" fmla="*/ 685660 h 2084191"/>
              <a:gd name="connsiteX760" fmla="*/ 335798 w 2051041"/>
              <a:gd name="connsiteY760" fmla="*/ 675320 h 2084191"/>
              <a:gd name="connsiteX761" fmla="*/ 357565 w 2051041"/>
              <a:gd name="connsiteY761" fmla="*/ 696543 h 2084191"/>
              <a:gd name="connsiteX762" fmla="*/ 336342 w 2051041"/>
              <a:gd name="connsiteY762" fmla="*/ 718854 h 2084191"/>
              <a:gd name="connsiteX763" fmla="*/ 315120 w 2051041"/>
              <a:gd name="connsiteY763" fmla="*/ 697631 h 2084191"/>
              <a:gd name="connsiteX764" fmla="*/ 335798 w 2051041"/>
              <a:gd name="connsiteY764" fmla="*/ 675320 h 2084191"/>
              <a:gd name="connsiteX765" fmla="*/ 499051 w 2051041"/>
              <a:gd name="connsiteY765" fmla="*/ 670423 h 2084191"/>
              <a:gd name="connsiteX766" fmla="*/ 526804 w 2051041"/>
              <a:gd name="connsiteY766" fmla="*/ 697088 h 2084191"/>
              <a:gd name="connsiteX767" fmla="*/ 499595 w 2051041"/>
              <a:gd name="connsiteY767" fmla="*/ 724296 h 2084191"/>
              <a:gd name="connsiteX768" fmla="*/ 472930 w 2051041"/>
              <a:gd name="connsiteY768" fmla="*/ 697632 h 2084191"/>
              <a:gd name="connsiteX769" fmla="*/ 499051 w 2051041"/>
              <a:gd name="connsiteY769" fmla="*/ 670423 h 2084191"/>
              <a:gd name="connsiteX770" fmla="*/ 662848 w 2051041"/>
              <a:gd name="connsiteY770" fmla="*/ 665525 h 2084191"/>
              <a:gd name="connsiteX771" fmla="*/ 694954 w 2051041"/>
              <a:gd name="connsiteY771" fmla="*/ 697087 h 2084191"/>
              <a:gd name="connsiteX772" fmla="*/ 663392 w 2051041"/>
              <a:gd name="connsiteY772" fmla="*/ 729194 h 2084191"/>
              <a:gd name="connsiteX773" fmla="*/ 632374 w 2051041"/>
              <a:gd name="connsiteY773" fmla="*/ 698176 h 2084191"/>
              <a:gd name="connsiteX774" fmla="*/ 662848 w 2051041"/>
              <a:gd name="connsiteY774" fmla="*/ 665525 h 2084191"/>
              <a:gd name="connsiteX775" fmla="*/ 825013 w 2051041"/>
              <a:gd name="connsiteY775" fmla="*/ 663349 h 2084191"/>
              <a:gd name="connsiteX776" fmla="*/ 860384 w 2051041"/>
              <a:gd name="connsiteY776" fmla="*/ 697632 h 2084191"/>
              <a:gd name="connsiteX777" fmla="*/ 826101 w 2051041"/>
              <a:gd name="connsiteY777" fmla="*/ 731915 h 2084191"/>
              <a:gd name="connsiteX778" fmla="*/ 791818 w 2051041"/>
              <a:gd name="connsiteY778" fmla="*/ 698176 h 2084191"/>
              <a:gd name="connsiteX779" fmla="*/ 825013 w 2051041"/>
              <a:gd name="connsiteY779" fmla="*/ 663349 h 2084191"/>
              <a:gd name="connsiteX780" fmla="*/ 988809 w 2051041"/>
              <a:gd name="connsiteY780" fmla="*/ 658995 h 2084191"/>
              <a:gd name="connsiteX781" fmla="*/ 1027446 w 2051041"/>
              <a:gd name="connsiteY781" fmla="*/ 697087 h 2084191"/>
              <a:gd name="connsiteX782" fmla="*/ 989353 w 2051041"/>
              <a:gd name="connsiteY782" fmla="*/ 735723 h 2084191"/>
              <a:gd name="connsiteX783" fmla="*/ 950717 w 2051041"/>
              <a:gd name="connsiteY783" fmla="*/ 697631 h 2084191"/>
              <a:gd name="connsiteX784" fmla="*/ 988809 w 2051041"/>
              <a:gd name="connsiteY784" fmla="*/ 658995 h 2084191"/>
              <a:gd name="connsiteX785" fmla="*/ 1152607 w 2051041"/>
              <a:gd name="connsiteY785" fmla="*/ 655729 h 2084191"/>
              <a:gd name="connsiteX786" fmla="*/ 1195052 w 2051041"/>
              <a:gd name="connsiteY786" fmla="*/ 697087 h 2084191"/>
              <a:gd name="connsiteX787" fmla="*/ 1153151 w 2051041"/>
              <a:gd name="connsiteY787" fmla="*/ 739533 h 2084191"/>
              <a:gd name="connsiteX788" fmla="*/ 1110705 w 2051041"/>
              <a:gd name="connsiteY788" fmla="*/ 697631 h 2084191"/>
              <a:gd name="connsiteX789" fmla="*/ 1152607 w 2051041"/>
              <a:gd name="connsiteY789" fmla="*/ 655729 h 2084191"/>
              <a:gd name="connsiteX790" fmla="*/ 1316948 w 2051041"/>
              <a:gd name="connsiteY790" fmla="*/ 653554 h 2084191"/>
              <a:gd name="connsiteX791" fmla="*/ 1359937 w 2051041"/>
              <a:gd name="connsiteY791" fmla="*/ 697632 h 2084191"/>
              <a:gd name="connsiteX792" fmla="*/ 1315315 w 2051041"/>
              <a:gd name="connsiteY792" fmla="*/ 740622 h 2084191"/>
              <a:gd name="connsiteX793" fmla="*/ 1271781 w 2051041"/>
              <a:gd name="connsiteY793" fmla="*/ 696544 h 2084191"/>
              <a:gd name="connsiteX794" fmla="*/ 1316948 w 2051041"/>
              <a:gd name="connsiteY794" fmla="*/ 653554 h 2084191"/>
              <a:gd name="connsiteX795" fmla="*/ 1479112 w 2051041"/>
              <a:gd name="connsiteY795" fmla="*/ 651921 h 2084191"/>
              <a:gd name="connsiteX796" fmla="*/ 1524823 w 2051041"/>
              <a:gd name="connsiteY796" fmla="*/ 697088 h 2084191"/>
              <a:gd name="connsiteX797" fmla="*/ 1479112 w 2051041"/>
              <a:gd name="connsiteY797" fmla="*/ 742254 h 2084191"/>
              <a:gd name="connsiteX798" fmla="*/ 1433945 w 2051041"/>
              <a:gd name="connsiteY798" fmla="*/ 697088 h 2084191"/>
              <a:gd name="connsiteX799" fmla="*/ 1479112 w 2051041"/>
              <a:gd name="connsiteY799" fmla="*/ 651921 h 2084191"/>
              <a:gd name="connsiteX800" fmla="*/ 1642909 w 2051041"/>
              <a:gd name="connsiteY800" fmla="*/ 649744 h 2084191"/>
              <a:gd name="connsiteX801" fmla="*/ 1690796 w 2051041"/>
              <a:gd name="connsiteY801" fmla="*/ 697087 h 2084191"/>
              <a:gd name="connsiteX802" fmla="*/ 1642909 w 2051041"/>
              <a:gd name="connsiteY802" fmla="*/ 745519 h 2084191"/>
              <a:gd name="connsiteX803" fmla="*/ 1594477 w 2051041"/>
              <a:gd name="connsiteY803" fmla="*/ 697632 h 2084191"/>
              <a:gd name="connsiteX804" fmla="*/ 1642909 w 2051041"/>
              <a:gd name="connsiteY804" fmla="*/ 649744 h 2084191"/>
              <a:gd name="connsiteX805" fmla="*/ 1805617 w 2051041"/>
              <a:gd name="connsiteY805" fmla="*/ 648112 h 2084191"/>
              <a:gd name="connsiteX806" fmla="*/ 1854593 w 2051041"/>
              <a:gd name="connsiteY806" fmla="*/ 698176 h 2084191"/>
              <a:gd name="connsiteX807" fmla="*/ 1805073 w 2051041"/>
              <a:gd name="connsiteY807" fmla="*/ 746607 h 2084191"/>
              <a:gd name="connsiteX808" fmla="*/ 1756097 w 2051041"/>
              <a:gd name="connsiteY808" fmla="*/ 697087 h 2084191"/>
              <a:gd name="connsiteX809" fmla="*/ 1805617 w 2051041"/>
              <a:gd name="connsiteY809" fmla="*/ 648112 h 2084191"/>
              <a:gd name="connsiteX810" fmla="*/ 1969414 w 2051041"/>
              <a:gd name="connsiteY810" fmla="*/ 647023 h 2084191"/>
              <a:gd name="connsiteX811" fmla="*/ 2018934 w 2051041"/>
              <a:gd name="connsiteY811" fmla="*/ 698176 h 2084191"/>
              <a:gd name="connsiteX812" fmla="*/ 1968326 w 2051041"/>
              <a:gd name="connsiteY812" fmla="*/ 746063 h 2084191"/>
              <a:gd name="connsiteX813" fmla="*/ 1918806 w 2051041"/>
              <a:gd name="connsiteY813" fmla="*/ 697087 h 2084191"/>
              <a:gd name="connsiteX814" fmla="*/ 1969414 w 2051041"/>
              <a:gd name="connsiteY814" fmla="*/ 647023 h 2084191"/>
              <a:gd name="connsiteX815" fmla="*/ 90919 w 2051041"/>
              <a:gd name="connsiteY815" fmla="*/ 606754 h 2084191"/>
              <a:gd name="connsiteX816" fmla="*/ 99626 w 2051041"/>
              <a:gd name="connsiteY816" fmla="*/ 615460 h 2084191"/>
              <a:gd name="connsiteX817" fmla="*/ 92007 w 2051041"/>
              <a:gd name="connsiteY817" fmla="*/ 627976 h 2084191"/>
              <a:gd name="connsiteX818" fmla="*/ 82756 w 2051041"/>
              <a:gd name="connsiteY818" fmla="*/ 616005 h 2084191"/>
              <a:gd name="connsiteX819" fmla="*/ 90919 w 2051041"/>
              <a:gd name="connsiteY819" fmla="*/ 606754 h 2084191"/>
              <a:gd name="connsiteX820" fmla="*/ 254172 w 2051041"/>
              <a:gd name="connsiteY820" fmla="*/ 598047 h 2084191"/>
              <a:gd name="connsiteX821" fmla="*/ 272674 w 2051041"/>
              <a:gd name="connsiteY821" fmla="*/ 614917 h 2084191"/>
              <a:gd name="connsiteX822" fmla="*/ 255260 w 2051041"/>
              <a:gd name="connsiteY822" fmla="*/ 633419 h 2084191"/>
              <a:gd name="connsiteX823" fmla="*/ 236758 w 2051041"/>
              <a:gd name="connsiteY823" fmla="*/ 616005 h 2084191"/>
              <a:gd name="connsiteX824" fmla="*/ 254172 w 2051041"/>
              <a:gd name="connsiteY824" fmla="*/ 598047 h 2084191"/>
              <a:gd name="connsiteX825" fmla="*/ 418513 w 2051041"/>
              <a:gd name="connsiteY825" fmla="*/ 590429 h 2084191"/>
              <a:gd name="connsiteX826" fmla="*/ 443001 w 2051041"/>
              <a:gd name="connsiteY826" fmla="*/ 614917 h 2084191"/>
              <a:gd name="connsiteX827" fmla="*/ 419058 w 2051041"/>
              <a:gd name="connsiteY827" fmla="*/ 640493 h 2084191"/>
              <a:gd name="connsiteX828" fmla="*/ 392937 w 2051041"/>
              <a:gd name="connsiteY828" fmla="*/ 616005 h 2084191"/>
              <a:gd name="connsiteX829" fmla="*/ 418513 w 2051041"/>
              <a:gd name="connsiteY829" fmla="*/ 590429 h 2084191"/>
              <a:gd name="connsiteX830" fmla="*/ 581222 w 2051041"/>
              <a:gd name="connsiteY830" fmla="*/ 587163 h 2084191"/>
              <a:gd name="connsiteX831" fmla="*/ 610063 w 2051041"/>
              <a:gd name="connsiteY831" fmla="*/ 616549 h 2084191"/>
              <a:gd name="connsiteX832" fmla="*/ 580677 w 2051041"/>
              <a:gd name="connsiteY832" fmla="*/ 645390 h 2084191"/>
              <a:gd name="connsiteX833" fmla="*/ 551836 w 2051041"/>
              <a:gd name="connsiteY833" fmla="*/ 615461 h 2084191"/>
              <a:gd name="connsiteX834" fmla="*/ 581222 w 2051041"/>
              <a:gd name="connsiteY834" fmla="*/ 587163 h 2084191"/>
              <a:gd name="connsiteX835" fmla="*/ 743930 w 2051041"/>
              <a:gd name="connsiteY835" fmla="*/ 582266 h 2084191"/>
              <a:gd name="connsiteX836" fmla="*/ 779301 w 2051041"/>
              <a:gd name="connsiteY836" fmla="*/ 616005 h 2084191"/>
              <a:gd name="connsiteX837" fmla="*/ 745563 w 2051041"/>
              <a:gd name="connsiteY837" fmla="*/ 649744 h 2084191"/>
              <a:gd name="connsiteX838" fmla="*/ 711824 w 2051041"/>
              <a:gd name="connsiteY838" fmla="*/ 616549 h 2084191"/>
              <a:gd name="connsiteX839" fmla="*/ 743930 w 2051041"/>
              <a:gd name="connsiteY839" fmla="*/ 582266 h 2084191"/>
              <a:gd name="connsiteX840" fmla="*/ 907183 w 2051041"/>
              <a:gd name="connsiteY840" fmla="*/ 577913 h 2084191"/>
              <a:gd name="connsiteX841" fmla="*/ 945276 w 2051041"/>
              <a:gd name="connsiteY841" fmla="*/ 615461 h 2084191"/>
              <a:gd name="connsiteX842" fmla="*/ 907727 w 2051041"/>
              <a:gd name="connsiteY842" fmla="*/ 654098 h 2084191"/>
              <a:gd name="connsiteX843" fmla="*/ 869091 w 2051041"/>
              <a:gd name="connsiteY843" fmla="*/ 616006 h 2084191"/>
              <a:gd name="connsiteX844" fmla="*/ 907183 w 2051041"/>
              <a:gd name="connsiteY844" fmla="*/ 577913 h 2084191"/>
              <a:gd name="connsiteX845" fmla="*/ 1069891 w 2051041"/>
              <a:gd name="connsiteY845" fmla="*/ 574648 h 2084191"/>
              <a:gd name="connsiteX846" fmla="*/ 1111248 w 2051041"/>
              <a:gd name="connsiteY846" fmla="*/ 615461 h 2084191"/>
              <a:gd name="connsiteX847" fmla="*/ 1070435 w 2051041"/>
              <a:gd name="connsiteY847" fmla="*/ 656274 h 2084191"/>
              <a:gd name="connsiteX848" fmla="*/ 1029622 w 2051041"/>
              <a:gd name="connsiteY848" fmla="*/ 614917 h 2084191"/>
              <a:gd name="connsiteX849" fmla="*/ 1069891 w 2051041"/>
              <a:gd name="connsiteY849" fmla="*/ 574648 h 2084191"/>
              <a:gd name="connsiteX850" fmla="*/ 1235321 w 2051041"/>
              <a:gd name="connsiteY850" fmla="*/ 572472 h 2084191"/>
              <a:gd name="connsiteX851" fmla="*/ 1277222 w 2051041"/>
              <a:gd name="connsiteY851" fmla="*/ 616550 h 2084191"/>
              <a:gd name="connsiteX852" fmla="*/ 1233688 w 2051041"/>
              <a:gd name="connsiteY852" fmla="*/ 660084 h 2084191"/>
              <a:gd name="connsiteX853" fmla="*/ 1190154 w 2051041"/>
              <a:gd name="connsiteY853" fmla="*/ 614917 h 2084191"/>
              <a:gd name="connsiteX854" fmla="*/ 1235321 w 2051041"/>
              <a:gd name="connsiteY854" fmla="*/ 572472 h 2084191"/>
              <a:gd name="connsiteX855" fmla="*/ 1397485 w 2051041"/>
              <a:gd name="connsiteY855" fmla="*/ 569206 h 2084191"/>
              <a:gd name="connsiteX856" fmla="*/ 1443196 w 2051041"/>
              <a:gd name="connsiteY856" fmla="*/ 616005 h 2084191"/>
              <a:gd name="connsiteX857" fmla="*/ 1396941 w 2051041"/>
              <a:gd name="connsiteY857" fmla="*/ 661172 h 2084191"/>
              <a:gd name="connsiteX858" fmla="*/ 1351775 w 2051041"/>
              <a:gd name="connsiteY858" fmla="*/ 614373 h 2084191"/>
              <a:gd name="connsiteX859" fmla="*/ 1397485 w 2051041"/>
              <a:gd name="connsiteY859" fmla="*/ 569206 h 2084191"/>
              <a:gd name="connsiteX860" fmla="*/ 1560738 w 2051041"/>
              <a:gd name="connsiteY860" fmla="*/ 567029 h 2084191"/>
              <a:gd name="connsiteX861" fmla="*/ 1609714 w 2051041"/>
              <a:gd name="connsiteY861" fmla="*/ 615461 h 2084191"/>
              <a:gd name="connsiteX862" fmla="*/ 1561283 w 2051041"/>
              <a:gd name="connsiteY862" fmla="*/ 663892 h 2084191"/>
              <a:gd name="connsiteX863" fmla="*/ 1512851 w 2051041"/>
              <a:gd name="connsiteY863" fmla="*/ 616005 h 2084191"/>
              <a:gd name="connsiteX864" fmla="*/ 1560738 w 2051041"/>
              <a:gd name="connsiteY864" fmla="*/ 567029 h 2084191"/>
              <a:gd name="connsiteX865" fmla="*/ 1725624 w 2051041"/>
              <a:gd name="connsiteY865" fmla="*/ 565397 h 2084191"/>
              <a:gd name="connsiteX866" fmla="*/ 1774599 w 2051041"/>
              <a:gd name="connsiteY866" fmla="*/ 616005 h 2084191"/>
              <a:gd name="connsiteX867" fmla="*/ 1723447 w 2051041"/>
              <a:gd name="connsiteY867" fmla="*/ 664981 h 2084191"/>
              <a:gd name="connsiteX868" fmla="*/ 1674471 w 2051041"/>
              <a:gd name="connsiteY868" fmla="*/ 615461 h 2084191"/>
              <a:gd name="connsiteX869" fmla="*/ 1725624 w 2051041"/>
              <a:gd name="connsiteY869" fmla="*/ 565397 h 2084191"/>
              <a:gd name="connsiteX870" fmla="*/ 1886699 w 2051041"/>
              <a:gd name="connsiteY870" fmla="*/ 564853 h 2084191"/>
              <a:gd name="connsiteX871" fmla="*/ 1938396 w 2051041"/>
              <a:gd name="connsiteY871" fmla="*/ 614917 h 2084191"/>
              <a:gd name="connsiteX872" fmla="*/ 1887787 w 2051041"/>
              <a:gd name="connsiteY872" fmla="*/ 665525 h 2084191"/>
              <a:gd name="connsiteX873" fmla="*/ 1837179 w 2051041"/>
              <a:gd name="connsiteY873" fmla="*/ 615461 h 2084191"/>
              <a:gd name="connsiteX874" fmla="*/ 1886699 w 2051041"/>
              <a:gd name="connsiteY874" fmla="*/ 564853 h 2084191"/>
              <a:gd name="connsiteX875" fmla="*/ 2050496 w 2051041"/>
              <a:gd name="connsiteY875" fmla="*/ 564852 h 2084191"/>
              <a:gd name="connsiteX876" fmla="*/ 2051041 w 2051041"/>
              <a:gd name="connsiteY876" fmla="*/ 564962 h 2084191"/>
              <a:gd name="connsiteX877" fmla="*/ 2051041 w 2051041"/>
              <a:gd name="connsiteY877" fmla="*/ 665899 h 2084191"/>
              <a:gd name="connsiteX878" fmla="*/ 2049952 w 2051041"/>
              <a:gd name="connsiteY878" fmla="*/ 666069 h 2084191"/>
              <a:gd name="connsiteX879" fmla="*/ 1999344 w 2051041"/>
              <a:gd name="connsiteY879" fmla="*/ 615460 h 2084191"/>
              <a:gd name="connsiteX880" fmla="*/ 2050496 w 2051041"/>
              <a:gd name="connsiteY880" fmla="*/ 564852 h 2084191"/>
              <a:gd name="connsiteX881" fmla="*/ 173090 w 2051041"/>
              <a:gd name="connsiteY881" fmla="*/ 517509 h 2084191"/>
              <a:gd name="connsiteX882" fmla="*/ 189959 w 2051041"/>
              <a:gd name="connsiteY882" fmla="*/ 533834 h 2084191"/>
              <a:gd name="connsiteX883" fmla="*/ 173634 w 2051041"/>
              <a:gd name="connsiteY883" fmla="*/ 550160 h 2084191"/>
              <a:gd name="connsiteX884" fmla="*/ 157308 w 2051041"/>
              <a:gd name="connsiteY884" fmla="*/ 534923 h 2084191"/>
              <a:gd name="connsiteX885" fmla="*/ 173090 w 2051041"/>
              <a:gd name="connsiteY885" fmla="*/ 517509 h 2084191"/>
              <a:gd name="connsiteX886" fmla="*/ 335798 w 2051041"/>
              <a:gd name="connsiteY886" fmla="*/ 511523 h 2084191"/>
              <a:gd name="connsiteX887" fmla="*/ 358654 w 2051041"/>
              <a:gd name="connsiteY887" fmla="*/ 533834 h 2084191"/>
              <a:gd name="connsiteX888" fmla="*/ 336343 w 2051041"/>
              <a:gd name="connsiteY888" fmla="*/ 556689 h 2084191"/>
              <a:gd name="connsiteX889" fmla="*/ 312943 w 2051041"/>
              <a:gd name="connsiteY889" fmla="*/ 534378 h 2084191"/>
              <a:gd name="connsiteX890" fmla="*/ 335798 w 2051041"/>
              <a:gd name="connsiteY890" fmla="*/ 511523 h 2084191"/>
              <a:gd name="connsiteX891" fmla="*/ 500139 w 2051041"/>
              <a:gd name="connsiteY891" fmla="*/ 506626 h 2084191"/>
              <a:gd name="connsiteX892" fmla="*/ 527348 w 2051041"/>
              <a:gd name="connsiteY892" fmla="*/ 535467 h 2084191"/>
              <a:gd name="connsiteX893" fmla="*/ 497963 w 2051041"/>
              <a:gd name="connsiteY893" fmla="*/ 561587 h 2084191"/>
              <a:gd name="connsiteX894" fmla="*/ 471842 w 2051041"/>
              <a:gd name="connsiteY894" fmla="*/ 533290 h 2084191"/>
              <a:gd name="connsiteX895" fmla="*/ 500139 w 2051041"/>
              <a:gd name="connsiteY895" fmla="*/ 506626 h 2084191"/>
              <a:gd name="connsiteX896" fmla="*/ 662304 w 2051041"/>
              <a:gd name="connsiteY896" fmla="*/ 500639 h 2084191"/>
              <a:gd name="connsiteX897" fmla="*/ 696042 w 2051041"/>
              <a:gd name="connsiteY897" fmla="*/ 533290 h 2084191"/>
              <a:gd name="connsiteX898" fmla="*/ 663392 w 2051041"/>
              <a:gd name="connsiteY898" fmla="*/ 566485 h 2084191"/>
              <a:gd name="connsiteX899" fmla="*/ 630197 w 2051041"/>
              <a:gd name="connsiteY899" fmla="*/ 534378 h 2084191"/>
              <a:gd name="connsiteX900" fmla="*/ 662304 w 2051041"/>
              <a:gd name="connsiteY900" fmla="*/ 500639 h 2084191"/>
              <a:gd name="connsiteX901" fmla="*/ 825557 w 2051041"/>
              <a:gd name="connsiteY901" fmla="*/ 496830 h 2084191"/>
              <a:gd name="connsiteX902" fmla="*/ 863649 w 2051041"/>
              <a:gd name="connsiteY902" fmla="*/ 534923 h 2084191"/>
              <a:gd name="connsiteX903" fmla="*/ 825557 w 2051041"/>
              <a:gd name="connsiteY903" fmla="*/ 571383 h 2084191"/>
              <a:gd name="connsiteX904" fmla="*/ 788553 w 2051041"/>
              <a:gd name="connsiteY904" fmla="*/ 534379 h 2084191"/>
              <a:gd name="connsiteX905" fmla="*/ 825557 w 2051041"/>
              <a:gd name="connsiteY905" fmla="*/ 496830 h 2084191"/>
              <a:gd name="connsiteX906" fmla="*/ 989898 w 2051041"/>
              <a:gd name="connsiteY906" fmla="*/ 494110 h 2084191"/>
              <a:gd name="connsiteX907" fmla="*/ 1029078 w 2051041"/>
              <a:gd name="connsiteY907" fmla="*/ 534923 h 2084191"/>
              <a:gd name="connsiteX908" fmla="*/ 989353 w 2051041"/>
              <a:gd name="connsiteY908" fmla="*/ 574104 h 2084191"/>
              <a:gd name="connsiteX909" fmla="*/ 949629 w 2051041"/>
              <a:gd name="connsiteY909" fmla="*/ 533835 h 2084191"/>
              <a:gd name="connsiteX910" fmla="*/ 989898 w 2051041"/>
              <a:gd name="connsiteY910" fmla="*/ 494110 h 2084191"/>
              <a:gd name="connsiteX911" fmla="*/ 1152062 w 2051041"/>
              <a:gd name="connsiteY911" fmla="*/ 490301 h 2084191"/>
              <a:gd name="connsiteX912" fmla="*/ 1196140 w 2051041"/>
              <a:gd name="connsiteY912" fmla="*/ 533835 h 2084191"/>
              <a:gd name="connsiteX913" fmla="*/ 1152606 w 2051041"/>
              <a:gd name="connsiteY913" fmla="*/ 577369 h 2084191"/>
              <a:gd name="connsiteX914" fmla="*/ 1109072 w 2051041"/>
              <a:gd name="connsiteY914" fmla="*/ 534379 h 2084191"/>
              <a:gd name="connsiteX915" fmla="*/ 1152062 w 2051041"/>
              <a:gd name="connsiteY915" fmla="*/ 490301 h 2084191"/>
              <a:gd name="connsiteX916" fmla="*/ 1316947 w 2051041"/>
              <a:gd name="connsiteY916" fmla="*/ 489212 h 2084191"/>
              <a:gd name="connsiteX917" fmla="*/ 1361570 w 2051041"/>
              <a:gd name="connsiteY917" fmla="*/ 534923 h 2084191"/>
              <a:gd name="connsiteX918" fmla="*/ 1315859 w 2051041"/>
              <a:gd name="connsiteY918" fmla="*/ 580090 h 2084191"/>
              <a:gd name="connsiteX919" fmla="*/ 1270693 w 2051041"/>
              <a:gd name="connsiteY919" fmla="*/ 533835 h 2084191"/>
              <a:gd name="connsiteX920" fmla="*/ 1316947 w 2051041"/>
              <a:gd name="connsiteY920" fmla="*/ 489212 h 2084191"/>
              <a:gd name="connsiteX921" fmla="*/ 1479112 w 2051041"/>
              <a:gd name="connsiteY921" fmla="*/ 484315 h 2084191"/>
              <a:gd name="connsiteX922" fmla="*/ 1528087 w 2051041"/>
              <a:gd name="connsiteY922" fmla="*/ 533835 h 2084191"/>
              <a:gd name="connsiteX923" fmla="*/ 1479656 w 2051041"/>
              <a:gd name="connsiteY923" fmla="*/ 582267 h 2084191"/>
              <a:gd name="connsiteX924" fmla="*/ 1431224 w 2051041"/>
              <a:gd name="connsiteY924" fmla="*/ 533835 h 2084191"/>
              <a:gd name="connsiteX925" fmla="*/ 1479112 w 2051041"/>
              <a:gd name="connsiteY925" fmla="*/ 484315 h 2084191"/>
              <a:gd name="connsiteX926" fmla="*/ 1643452 w 2051041"/>
              <a:gd name="connsiteY926" fmla="*/ 484314 h 2084191"/>
              <a:gd name="connsiteX927" fmla="*/ 1692973 w 2051041"/>
              <a:gd name="connsiteY927" fmla="*/ 534923 h 2084191"/>
              <a:gd name="connsiteX928" fmla="*/ 1641276 w 2051041"/>
              <a:gd name="connsiteY928" fmla="*/ 583898 h 2084191"/>
              <a:gd name="connsiteX929" fmla="*/ 1592300 w 2051041"/>
              <a:gd name="connsiteY929" fmla="*/ 532202 h 2084191"/>
              <a:gd name="connsiteX930" fmla="*/ 1643452 w 2051041"/>
              <a:gd name="connsiteY930" fmla="*/ 484314 h 2084191"/>
              <a:gd name="connsiteX931" fmla="*/ 1806162 w 2051041"/>
              <a:gd name="connsiteY931" fmla="*/ 481594 h 2084191"/>
              <a:gd name="connsiteX932" fmla="*/ 1857858 w 2051041"/>
              <a:gd name="connsiteY932" fmla="*/ 536011 h 2084191"/>
              <a:gd name="connsiteX933" fmla="*/ 1803441 w 2051041"/>
              <a:gd name="connsiteY933" fmla="*/ 586075 h 2084191"/>
              <a:gd name="connsiteX934" fmla="*/ 1753377 w 2051041"/>
              <a:gd name="connsiteY934" fmla="*/ 533290 h 2084191"/>
              <a:gd name="connsiteX935" fmla="*/ 1806162 w 2051041"/>
              <a:gd name="connsiteY935" fmla="*/ 481594 h 2084191"/>
              <a:gd name="connsiteX936" fmla="*/ 1968326 w 2051041"/>
              <a:gd name="connsiteY936" fmla="*/ 480505 h 2084191"/>
              <a:gd name="connsiteX937" fmla="*/ 2022200 w 2051041"/>
              <a:gd name="connsiteY937" fmla="*/ 534379 h 2084191"/>
              <a:gd name="connsiteX938" fmla="*/ 1969415 w 2051041"/>
              <a:gd name="connsiteY938" fmla="*/ 588252 h 2084191"/>
              <a:gd name="connsiteX939" fmla="*/ 1915541 w 2051041"/>
              <a:gd name="connsiteY939" fmla="*/ 534923 h 2084191"/>
              <a:gd name="connsiteX940" fmla="*/ 1968326 w 2051041"/>
              <a:gd name="connsiteY940" fmla="*/ 480505 h 2084191"/>
              <a:gd name="connsiteX941" fmla="*/ 91464 w 2051041"/>
              <a:gd name="connsiteY941" fmla="*/ 440780 h 2084191"/>
              <a:gd name="connsiteX942" fmla="*/ 102891 w 2051041"/>
              <a:gd name="connsiteY942" fmla="*/ 451664 h 2084191"/>
              <a:gd name="connsiteX943" fmla="*/ 92008 w 2051041"/>
              <a:gd name="connsiteY943" fmla="*/ 464179 h 2084191"/>
              <a:gd name="connsiteX944" fmla="*/ 80036 w 2051041"/>
              <a:gd name="connsiteY944" fmla="*/ 452752 h 2084191"/>
              <a:gd name="connsiteX945" fmla="*/ 91464 w 2051041"/>
              <a:gd name="connsiteY945" fmla="*/ 440780 h 2084191"/>
              <a:gd name="connsiteX946" fmla="*/ 254172 w 2051041"/>
              <a:gd name="connsiteY946" fmla="*/ 430441 h 2084191"/>
              <a:gd name="connsiteX947" fmla="*/ 275939 w 2051041"/>
              <a:gd name="connsiteY947" fmla="*/ 452208 h 2084191"/>
              <a:gd name="connsiteX948" fmla="*/ 254716 w 2051041"/>
              <a:gd name="connsiteY948" fmla="*/ 473975 h 2084191"/>
              <a:gd name="connsiteX949" fmla="*/ 232405 w 2051041"/>
              <a:gd name="connsiteY949" fmla="*/ 452752 h 2084191"/>
              <a:gd name="connsiteX950" fmla="*/ 254172 w 2051041"/>
              <a:gd name="connsiteY950" fmla="*/ 430441 h 2084191"/>
              <a:gd name="connsiteX951" fmla="*/ 417969 w 2051041"/>
              <a:gd name="connsiteY951" fmla="*/ 424999 h 2084191"/>
              <a:gd name="connsiteX952" fmla="*/ 444634 w 2051041"/>
              <a:gd name="connsiteY952" fmla="*/ 452752 h 2084191"/>
              <a:gd name="connsiteX953" fmla="*/ 417425 w 2051041"/>
              <a:gd name="connsiteY953" fmla="*/ 479417 h 2084191"/>
              <a:gd name="connsiteX954" fmla="*/ 390760 w 2051041"/>
              <a:gd name="connsiteY954" fmla="*/ 452208 h 2084191"/>
              <a:gd name="connsiteX955" fmla="*/ 417969 w 2051041"/>
              <a:gd name="connsiteY955" fmla="*/ 424999 h 2084191"/>
              <a:gd name="connsiteX956" fmla="*/ 580677 w 2051041"/>
              <a:gd name="connsiteY956" fmla="*/ 419558 h 2084191"/>
              <a:gd name="connsiteX957" fmla="*/ 612783 w 2051041"/>
              <a:gd name="connsiteY957" fmla="*/ 452208 h 2084191"/>
              <a:gd name="connsiteX958" fmla="*/ 581221 w 2051041"/>
              <a:gd name="connsiteY958" fmla="*/ 484315 h 2084191"/>
              <a:gd name="connsiteX959" fmla="*/ 549115 w 2051041"/>
              <a:gd name="connsiteY959" fmla="*/ 452208 h 2084191"/>
              <a:gd name="connsiteX960" fmla="*/ 580677 w 2051041"/>
              <a:gd name="connsiteY960" fmla="*/ 419558 h 2084191"/>
              <a:gd name="connsiteX961" fmla="*/ 743931 w 2051041"/>
              <a:gd name="connsiteY961" fmla="*/ 415748 h 2084191"/>
              <a:gd name="connsiteX962" fmla="*/ 780390 w 2051041"/>
              <a:gd name="connsiteY962" fmla="*/ 452208 h 2084191"/>
              <a:gd name="connsiteX963" fmla="*/ 744475 w 2051041"/>
              <a:gd name="connsiteY963" fmla="*/ 489212 h 2084191"/>
              <a:gd name="connsiteX964" fmla="*/ 708559 w 2051041"/>
              <a:gd name="connsiteY964" fmla="*/ 453840 h 2084191"/>
              <a:gd name="connsiteX965" fmla="*/ 743931 w 2051041"/>
              <a:gd name="connsiteY965" fmla="*/ 415748 h 2084191"/>
              <a:gd name="connsiteX966" fmla="*/ 908271 w 2051041"/>
              <a:gd name="connsiteY966" fmla="*/ 414116 h 2084191"/>
              <a:gd name="connsiteX967" fmla="*/ 946363 w 2051041"/>
              <a:gd name="connsiteY967" fmla="*/ 453296 h 2084191"/>
              <a:gd name="connsiteX968" fmla="*/ 906638 w 2051041"/>
              <a:gd name="connsiteY968" fmla="*/ 491933 h 2084191"/>
              <a:gd name="connsiteX969" fmla="*/ 868546 w 2051041"/>
              <a:gd name="connsiteY969" fmla="*/ 452208 h 2084191"/>
              <a:gd name="connsiteX970" fmla="*/ 908271 w 2051041"/>
              <a:gd name="connsiteY970" fmla="*/ 414116 h 2084191"/>
              <a:gd name="connsiteX971" fmla="*/ 1072068 w 2051041"/>
              <a:gd name="connsiteY971" fmla="*/ 409218 h 2084191"/>
              <a:gd name="connsiteX972" fmla="*/ 1113970 w 2051041"/>
              <a:gd name="connsiteY972" fmla="*/ 452752 h 2084191"/>
              <a:gd name="connsiteX973" fmla="*/ 1070436 w 2051041"/>
              <a:gd name="connsiteY973" fmla="*/ 495198 h 2084191"/>
              <a:gd name="connsiteX974" fmla="*/ 1028534 w 2051041"/>
              <a:gd name="connsiteY974" fmla="*/ 451120 h 2084191"/>
              <a:gd name="connsiteX975" fmla="*/ 1072068 w 2051041"/>
              <a:gd name="connsiteY975" fmla="*/ 409218 h 2084191"/>
              <a:gd name="connsiteX976" fmla="*/ 1235865 w 2051041"/>
              <a:gd name="connsiteY976" fmla="*/ 408130 h 2084191"/>
              <a:gd name="connsiteX977" fmla="*/ 1279400 w 2051041"/>
              <a:gd name="connsiteY977" fmla="*/ 453296 h 2084191"/>
              <a:gd name="connsiteX978" fmla="*/ 1233689 w 2051041"/>
              <a:gd name="connsiteY978" fmla="*/ 497374 h 2084191"/>
              <a:gd name="connsiteX979" fmla="*/ 1189611 w 2051041"/>
              <a:gd name="connsiteY979" fmla="*/ 451664 h 2084191"/>
              <a:gd name="connsiteX980" fmla="*/ 1235865 w 2051041"/>
              <a:gd name="connsiteY980" fmla="*/ 408130 h 2084191"/>
              <a:gd name="connsiteX981" fmla="*/ 1396941 w 2051041"/>
              <a:gd name="connsiteY981" fmla="*/ 403776 h 2084191"/>
              <a:gd name="connsiteX982" fmla="*/ 1446461 w 2051041"/>
              <a:gd name="connsiteY982" fmla="*/ 450575 h 2084191"/>
              <a:gd name="connsiteX983" fmla="*/ 1399118 w 2051041"/>
              <a:gd name="connsiteY983" fmla="*/ 500640 h 2084191"/>
              <a:gd name="connsiteX984" fmla="*/ 1349598 w 2051041"/>
              <a:gd name="connsiteY984" fmla="*/ 453296 h 2084191"/>
              <a:gd name="connsiteX985" fmla="*/ 1396941 w 2051041"/>
              <a:gd name="connsiteY985" fmla="*/ 403776 h 2084191"/>
              <a:gd name="connsiteX986" fmla="*/ 1560738 w 2051041"/>
              <a:gd name="connsiteY986" fmla="*/ 402144 h 2084191"/>
              <a:gd name="connsiteX987" fmla="*/ 1611347 w 2051041"/>
              <a:gd name="connsiteY987" fmla="*/ 453297 h 2084191"/>
              <a:gd name="connsiteX988" fmla="*/ 1560194 w 2051041"/>
              <a:gd name="connsiteY988" fmla="*/ 502272 h 2084191"/>
              <a:gd name="connsiteX989" fmla="*/ 1511218 w 2051041"/>
              <a:gd name="connsiteY989" fmla="*/ 451664 h 2084191"/>
              <a:gd name="connsiteX990" fmla="*/ 1560738 w 2051041"/>
              <a:gd name="connsiteY990" fmla="*/ 402144 h 2084191"/>
              <a:gd name="connsiteX991" fmla="*/ 1723991 w 2051041"/>
              <a:gd name="connsiteY991" fmla="*/ 399423 h 2084191"/>
              <a:gd name="connsiteX992" fmla="*/ 1776776 w 2051041"/>
              <a:gd name="connsiteY992" fmla="*/ 452752 h 2084191"/>
              <a:gd name="connsiteX993" fmla="*/ 1725079 w 2051041"/>
              <a:gd name="connsiteY993" fmla="*/ 504993 h 2084191"/>
              <a:gd name="connsiteX994" fmla="*/ 1671750 w 2051041"/>
              <a:gd name="connsiteY994" fmla="*/ 452752 h 2084191"/>
              <a:gd name="connsiteX995" fmla="*/ 1723991 w 2051041"/>
              <a:gd name="connsiteY995" fmla="*/ 399423 h 2084191"/>
              <a:gd name="connsiteX996" fmla="*/ 2051040 w 2051041"/>
              <a:gd name="connsiteY996" fmla="*/ 398335 h 2084191"/>
              <a:gd name="connsiteX997" fmla="*/ 2051041 w 2051041"/>
              <a:gd name="connsiteY997" fmla="*/ 398335 h 2084191"/>
              <a:gd name="connsiteX998" fmla="*/ 2051041 w 2051041"/>
              <a:gd name="connsiteY998" fmla="*/ 506936 h 2084191"/>
              <a:gd name="connsiteX999" fmla="*/ 2049952 w 2051041"/>
              <a:gd name="connsiteY999" fmla="*/ 507170 h 2084191"/>
              <a:gd name="connsiteX1000" fmla="*/ 1995534 w 2051041"/>
              <a:gd name="connsiteY1000" fmla="*/ 452208 h 2084191"/>
              <a:gd name="connsiteX1001" fmla="*/ 2051040 w 2051041"/>
              <a:gd name="connsiteY1001" fmla="*/ 398335 h 2084191"/>
              <a:gd name="connsiteX1002" fmla="*/ 1888332 w 2051041"/>
              <a:gd name="connsiteY1002" fmla="*/ 398335 h 2084191"/>
              <a:gd name="connsiteX1003" fmla="*/ 1941661 w 2051041"/>
              <a:gd name="connsiteY1003" fmla="*/ 452208 h 2084191"/>
              <a:gd name="connsiteX1004" fmla="*/ 1886699 w 2051041"/>
              <a:gd name="connsiteY1004" fmla="*/ 506082 h 2084191"/>
              <a:gd name="connsiteX1005" fmla="*/ 1833370 w 2051041"/>
              <a:gd name="connsiteY1005" fmla="*/ 452208 h 2084191"/>
              <a:gd name="connsiteX1006" fmla="*/ 1888332 w 2051041"/>
              <a:gd name="connsiteY1006" fmla="*/ 398335 h 2084191"/>
              <a:gd name="connsiteX1007" fmla="*/ 12014 w 2051041"/>
              <a:gd name="connsiteY1007" fmla="*/ 364052 h 2084191"/>
              <a:gd name="connsiteX1008" fmla="*/ 15823 w 2051041"/>
              <a:gd name="connsiteY1008" fmla="*/ 370038 h 2084191"/>
              <a:gd name="connsiteX1009" fmla="*/ 9293 w 2051041"/>
              <a:gd name="connsiteY1009" fmla="*/ 377656 h 2084191"/>
              <a:gd name="connsiteX1010" fmla="*/ 3307 w 2051041"/>
              <a:gd name="connsiteY1010" fmla="*/ 371126 h 2084191"/>
              <a:gd name="connsiteX1011" fmla="*/ 12014 w 2051041"/>
              <a:gd name="connsiteY1011" fmla="*/ 364052 h 2084191"/>
              <a:gd name="connsiteX1012" fmla="*/ 172545 w 2051041"/>
              <a:gd name="connsiteY1012" fmla="*/ 353713 h 2084191"/>
              <a:gd name="connsiteX1013" fmla="*/ 190503 w 2051041"/>
              <a:gd name="connsiteY1013" fmla="*/ 370582 h 2084191"/>
              <a:gd name="connsiteX1014" fmla="*/ 173090 w 2051041"/>
              <a:gd name="connsiteY1014" fmla="*/ 387996 h 2084191"/>
              <a:gd name="connsiteX1015" fmla="*/ 155676 w 2051041"/>
              <a:gd name="connsiteY1015" fmla="*/ 371126 h 2084191"/>
              <a:gd name="connsiteX1016" fmla="*/ 172545 w 2051041"/>
              <a:gd name="connsiteY1016" fmla="*/ 353713 h 2084191"/>
              <a:gd name="connsiteX1017" fmla="*/ 336886 w 2051041"/>
              <a:gd name="connsiteY1017" fmla="*/ 345550 h 2084191"/>
              <a:gd name="connsiteX1018" fmla="*/ 361374 w 2051041"/>
              <a:gd name="connsiteY1018" fmla="*/ 371670 h 2084191"/>
              <a:gd name="connsiteX1019" fmla="*/ 335798 w 2051041"/>
              <a:gd name="connsiteY1019" fmla="*/ 395070 h 2084191"/>
              <a:gd name="connsiteX1020" fmla="*/ 311854 w 2051041"/>
              <a:gd name="connsiteY1020" fmla="*/ 370038 h 2084191"/>
              <a:gd name="connsiteX1021" fmla="*/ 336886 w 2051041"/>
              <a:gd name="connsiteY1021" fmla="*/ 345550 h 2084191"/>
              <a:gd name="connsiteX1022" fmla="*/ 499596 w 2051041"/>
              <a:gd name="connsiteY1022" fmla="*/ 342284 h 2084191"/>
              <a:gd name="connsiteX1023" fmla="*/ 528437 w 2051041"/>
              <a:gd name="connsiteY1023" fmla="*/ 370582 h 2084191"/>
              <a:gd name="connsiteX1024" fmla="*/ 499051 w 2051041"/>
              <a:gd name="connsiteY1024" fmla="*/ 399423 h 2084191"/>
              <a:gd name="connsiteX1025" fmla="*/ 470210 w 2051041"/>
              <a:gd name="connsiteY1025" fmla="*/ 370037 h 2084191"/>
              <a:gd name="connsiteX1026" fmla="*/ 499596 w 2051041"/>
              <a:gd name="connsiteY1026" fmla="*/ 342284 h 2084191"/>
              <a:gd name="connsiteX1027" fmla="*/ 663392 w 2051041"/>
              <a:gd name="connsiteY1027" fmla="*/ 337387 h 2084191"/>
              <a:gd name="connsiteX1028" fmla="*/ 697131 w 2051041"/>
              <a:gd name="connsiteY1028" fmla="*/ 371126 h 2084191"/>
              <a:gd name="connsiteX1029" fmla="*/ 662304 w 2051041"/>
              <a:gd name="connsiteY1029" fmla="*/ 404321 h 2084191"/>
              <a:gd name="connsiteX1030" fmla="*/ 629109 w 2051041"/>
              <a:gd name="connsiteY1030" fmla="*/ 371126 h 2084191"/>
              <a:gd name="connsiteX1031" fmla="*/ 663392 w 2051041"/>
              <a:gd name="connsiteY1031" fmla="*/ 337387 h 2084191"/>
              <a:gd name="connsiteX1032" fmla="*/ 825556 w 2051041"/>
              <a:gd name="connsiteY1032" fmla="*/ 332489 h 2084191"/>
              <a:gd name="connsiteX1033" fmla="*/ 864737 w 2051041"/>
              <a:gd name="connsiteY1033" fmla="*/ 370037 h 2084191"/>
              <a:gd name="connsiteX1034" fmla="*/ 826645 w 2051041"/>
              <a:gd name="connsiteY1034" fmla="*/ 409218 h 2084191"/>
              <a:gd name="connsiteX1035" fmla="*/ 787464 w 2051041"/>
              <a:gd name="connsiteY1035" fmla="*/ 371126 h 2084191"/>
              <a:gd name="connsiteX1036" fmla="*/ 825556 w 2051041"/>
              <a:gd name="connsiteY1036" fmla="*/ 332489 h 2084191"/>
              <a:gd name="connsiteX1037" fmla="*/ 989898 w 2051041"/>
              <a:gd name="connsiteY1037" fmla="*/ 328680 h 2084191"/>
              <a:gd name="connsiteX1038" fmla="*/ 1031255 w 2051041"/>
              <a:gd name="connsiteY1038" fmla="*/ 371126 h 2084191"/>
              <a:gd name="connsiteX1039" fmla="*/ 989354 w 2051041"/>
              <a:gd name="connsiteY1039" fmla="*/ 413027 h 2084191"/>
              <a:gd name="connsiteX1040" fmla="*/ 947452 w 2051041"/>
              <a:gd name="connsiteY1040" fmla="*/ 370037 h 2084191"/>
              <a:gd name="connsiteX1041" fmla="*/ 989898 w 2051041"/>
              <a:gd name="connsiteY1041" fmla="*/ 328680 h 2084191"/>
              <a:gd name="connsiteX1042" fmla="*/ 1153150 w 2051041"/>
              <a:gd name="connsiteY1042" fmla="*/ 326504 h 2084191"/>
              <a:gd name="connsiteX1043" fmla="*/ 1197228 w 2051041"/>
              <a:gd name="connsiteY1043" fmla="*/ 370582 h 2084191"/>
              <a:gd name="connsiteX1044" fmla="*/ 1152606 w 2051041"/>
              <a:gd name="connsiteY1044" fmla="*/ 414661 h 2084191"/>
              <a:gd name="connsiteX1045" fmla="*/ 1108528 w 2051041"/>
              <a:gd name="connsiteY1045" fmla="*/ 370038 h 2084191"/>
              <a:gd name="connsiteX1046" fmla="*/ 1153150 w 2051041"/>
              <a:gd name="connsiteY1046" fmla="*/ 326504 h 2084191"/>
              <a:gd name="connsiteX1047" fmla="*/ 1317492 w 2051041"/>
              <a:gd name="connsiteY1047" fmla="*/ 323239 h 2084191"/>
              <a:gd name="connsiteX1048" fmla="*/ 1364835 w 2051041"/>
              <a:gd name="connsiteY1048" fmla="*/ 372215 h 2084191"/>
              <a:gd name="connsiteX1049" fmla="*/ 1314771 w 2051041"/>
              <a:gd name="connsiteY1049" fmla="*/ 419014 h 2084191"/>
              <a:gd name="connsiteX1050" fmla="*/ 1268516 w 2051041"/>
              <a:gd name="connsiteY1050" fmla="*/ 370582 h 2084191"/>
              <a:gd name="connsiteX1051" fmla="*/ 1317492 w 2051041"/>
              <a:gd name="connsiteY1051" fmla="*/ 323239 h 2084191"/>
              <a:gd name="connsiteX1052" fmla="*/ 1479112 w 2051041"/>
              <a:gd name="connsiteY1052" fmla="*/ 320517 h 2084191"/>
              <a:gd name="connsiteX1053" fmla="*/ 1529720 w 2051041"/>
              <a:gd name="connsiteY1053" fmla="*/ 371670 h 2084191"/>
              <a:gd name="connsiteX1054" fmla="*/ 1478568 w 2051041"/>
              <a:gd name="connsiteY1054" fmla="*/ 420101 h 2084191"/>
              <a:gd name="connsiteX1055" fmla="*/ 1429592 w 2051041"/>
              <a:gd name="connsiteY1055" fmla="*/ 370037 h 2084191"/>
              <a:gd name="connsiteX1056" fmla="*/ 1479112 w 2051041"/>
              <a:gd name="connsiteY1056" fmla="*/ 320517 h 2084191"/>
              <a:gd name="connsiteX1057" fmla="*/ 1642364 w 2051041"/>
              <a:gd name="connsiteY1057" fmla="*/ 318341 h 2084191"/>
              <a:gd name="connsiteX1058" fmla="*/ 1695694 w 2051041"/>
              <a:gd name="connsiteY1058" fmla="*/ 370582 h 2084191"/>
              <a:gd name="connsiteX1059" fmla="*/ 1643453 w 2051041"/>
              <a:gd name="connsiteY1059" fmla="*/ 424455 h 2084191"/>
              <a:gd name="connsiteX1060" fmla="*/ 1589035 w 2051041"/>
              <a:gd name="connsiteY1060" fmla="*/ 371670 h 2084191"/>
              <a:gd name="connsiteX1061" fmla="*/ 1642364 w 2051041"/>
              <a:gd name="connsiteY1061" fmla="*/ 318341 h 2084191"/>
              <a:gd name="connsiteX1062" fmla="*/ 90919 w 2051041"/>
              <a:gd name="connsiteY1062" fmla="*/ 273718 h 2084191"/>
              <a:gd name="connsiteX1063" fmla="*/ 106700 w 2051041"/>
              <a:gd name="connsiteY1063" fmla="*/ 288411 h 2084191"/>
              <a:gd name="connsiteX1064" fmla="*/ 91463 w 2051041"/>
              <a:gd name="connsiteY1064" fmla="*/ 303648 h 2084191"/>
              <a:gd name="connsiteX1065" fmla="*/ 76770 w 2051041"/>
              <a:gd name="connsiteY1065" fmla="*/ 288411 h 2084191"/>
              <a:gd name="connsiteX1066" fmla="*/ 90919 w 2051041"/>
              <a:gd name="connsiteY1066" fmla="*/ 273718 h 2084191"/>
              <a:gd name="connsiteX1067" fmla="*/ 254716 w 2051041"/>
              <a:gd name="connsiteY1067" fmla="*/ 267733 h 2084191"/>
              <a:gd name="connsiteX1068" fmla="*/ 276483 w 2051041"/>
              <a:gd name="connsiteY1068" fmla="*/ 288956 h 2084191"/>
              <a:gd name="connsiteX1069" fmla="*/ 254172 w 2051041"/>
              <a:gd name="connsiteY1069" fmla="*/ 311811 h 2084191"/>
              <a:gd name="connsiteX1070" fmla="*/ 232405 w 2051041"/>
              <a:gd name="connsiteY1070" fmla="*/ 289500 h 2084191"/>
              <a:gd name="connsiteX1071" fmla="*/ 254716 w 2051041"/>
              <a:gd name="connsiteY1071" fmla="*/ 267733 h 2084191"/>
              <a:gd name="connsiteX1072" fmla="*/ 1941117 w 2051041"/>
              <a:gd name="connsiteY1072" fmla="*/ 263202 h 2084191"/>
              <a:gd name="connsiteX1073" fmla="*/ 1936219 w 2051041"/>
              <a:gd name="connsiteY1073" fmla="*/ 266467 h 2084191"/>
              <a:gd name="connsiteX1074" fmla="*/ 1938396 w 2051041"/>
              <a:gd name="connsiteY1074" fmla="*/ 272453 h 2084191"/>
              <a:gd name="connsiteX1075" fmla="*/ 1932954 w 2051041"/>
              <a:gd name="connsiteY1075" fmla="*/ 325782 h 2084191"/>
              <a:gd name="connsiteX1076" fmla="*/ 1930777 w 2051041"/>
              <a:gd name="connsiteY1076" fmla="*/ 331224 h 2084191"/>
              <a:gd name="connsiteX1077" fmla="*/ 1936219 w 2051041"/>
              <a:gd name="connsiteY1077" fmla="*/ 330136 h 2084191"/>
              <a:gd name="connsiteX1078" fmla="*/ 1966693 w 2051041"/>
              <a:gd name="connsiteY1078" fmla="*/ 320340 h 2084191"/>
              <a:gd name="connsiteX1079" fmla="*/ 1998799 w 2051041"/>
              <a:gd name="connsiteY1079" fmla="*/ 328503 h 2084191"/>
              <a:gd name="connsiteX1080" fmla="*/ 2003153 w 2051041"/>
              <a:gd name="connsiteY1080" fmla="*/ 330136 h 2084191"/>
              <a:gd name="connsiteX1081" fmla="*/ 2001520 w 2051041"/>
              <a:gd name="connsiteY1081" fmla="*/ 324694 h 2084191"/>
              <a:gd name="connsiteX1082" fmla="*/ 1994446 w 2051041"/>
              <a:gd name="connsiteY1082" fmla="*/ 309457 h 2084191"/>
              <a:gd name="connsiteX1083" fmla="*/ 1998255 w 2051041"/>
              <a:gd name="connsiteY1083" fmla="*/ 267555 h 2084191"/>
              <a:gd name="connsiteX1084" fmla="*/ 2000976 w 2051041"/>
              <a:gd name="connsiteY1084" fmla="*/ 263746 h 2084191"/>
              <a:gd name="connsiteX1085" fmla="*/ 1995534 w 2051041"/>
              <a:gd name="connsiteY1085" fmla="*/ 263746 h 2084191"/>
              <a:gd name="connsiteX1086" fmla="*/ 1941117 w 2051041"/>
              <a:gd name="connsiteY1086" fmla="*/ 263202 h 2084191"/>
              <a:gd name="connsiteX1087" fmla="*/ 417425 w 2051041"/>
              <a:gd name="connsiteY1087" fmla="*/ 262291 h 2084191"/>
              <a:gd name="connsiteX1088" fmla="*/ 445178 w 2051041"/>
              <a:gd name="connsiteY1088" fmla="*/ 288956 h 2084191"/>
              <a:gd name="connsiteX1089" fmla="*/ 417969 w 2051041"/>
              <a:gd name="connsiteY1089" fmla="*/ 317253 h 2084191"/>
              <a:gd name="connsiteX1090" fmla="*/ 390216 w 2051041"/>
              <a:gd name="connsiteY1090" fmla="*/ 290044 h 2084191"/>
              <a:gd name="connsiteX1091" fmla="*/ 417425 w 2051041"/>
              <a:gd name="connsiteY1091" fmla="*/ 262291 h 2084191"/>
              <a:gd name="connsiteX1092" fmla="*/ 580678 w 2051041"/>
              <a:gd name="connsiteY1092" fmla="*/ 256304 h 2084191"/>
              <a:gd name="connsiteX1093" fmla="*/ 613872 w 2051041"/>
              <a:gd name="connsiteY1093" fmla="*/ 288955 h 2084191"/>
              <a:gd name="connsiteX1094" fmla="*/ 581222 w 2051041"/>
              <a:gd name="connsiteY1094" fmla="*/ 322150 h 2084191"/>
              <a:gd name="connsiteX1095" fmla="*/ 548027 w 2051041"/>
              <a:gd name="connsiteY1095" fmla="*/ 289499 h 2084191"/>
              <a:gd name="connsiteX1096" fmla="*/ 580678 w 2051041"/>
              <a:gd name="connsiteY1096" fmla="*/ 256304 h 2084191"/>
              <a:gd name="connsiteX1097" fmla="*/ 743930 w 2051041"/>
              <a:gd name="connsiteY1097" fmla="*/ 251951 h 2084191"/>
              <a:gd name="connsiteX1098" fmla="*/ 782022 w 2051041"/>
              <a:gd name="connsiteY1098" fmla="*/ 289499 h 2084191"/>
              <a:gd name="connsiteX1099" fmla="*/ 744474 w 2051041"/>
              <a:gd name="connsiteY1099" fmla="*/ 326503 h 2084191"/>
              <a:gd name="connsiteX1100" fmla="*/ 707470 w 2051041"/>
              <a:gd name="connsiteY1100" fmla="*/ 289499 h 2084191"/>
              <a:gd name="connsiteX1101" fmla="*/ 743930 w 2051041"/>
              <a:gd name="connsiteY1101" fmla="*/ 251951 h 2084191"/>
              <a:gd name="connsiteX1102" fmla="*/ 907183 w 2051041"/>
              <a:gd name="connsiteY1102" fmla="*/ 249775 h 2084191"/>
              <a:gd name="connsiteX1103" fmla="*/ 947452 w 2051041"/>
              <a:gd name="connsiteY1103" fmla="*/ 289500 h 2084191"/>
              <a:gd name="connsiteX1104" fmla="*/ 908271 w 2051041"/>
              <a:gd name="connsiteY1104" fmla="*/ 329225 h 2084191"/>
              <a:gd name="connsiteX1105" fmla="*/ 867458 w 2051041"/>
              <a:gd name="connsiteY1105" fmla="*/ 290044 h 2084191"/>
              <a:gd name="connsiteX1106" fmla="*/ 907183 w 2051041"/>
              <a:gd name="connsiteY1106" fmla="*/ 249775 h 2084191"/>
              <a:gd name="connsiteX1107" fmla="*/ 1070435 w 2051041"/>
              <a:gd name="connsiteY1107" fmla="*/ 245965 h 2084191"/>
              <a:gd name="connsiteX1108" fmla="*/ 1114513 w 2051041"/>
              <a:gd name="connsiteY1108" fmla="*/ 290043 h 2084191"/>
              <a:gd name="connsiteX1109" fmla="*/ 1069347 w 2051041"/>
              <a:gd name="connsiteY1109" fmla="*/ 333578 h 2084191"/>
              <a:gd name="connsiteX1110" fmla="*/ 1026357 w 2051041"/>
              <a:gd name="connsiteY1110" fmla="*/ 288955 h 2084191"/>
              <a:gd name="connsiteX1111" fmla="*/ 1070435 w 2051041"/>
              <a:gd name="connsiteY1111" fmla="*/ 245965 h 2084191"/>
              <a:gd name="connsiteX1112" fmla="*/ 1233689 w 2051041"/>
              <a:gd name="connsiteY1112" fmla="*/ 241613 h 2084191"/>
              <a:gd name="connsiteX1113" fmla="*/ 1282120 w 2051041"/>
              <a:gd name="connsiteY1113" fmla="*/ 288412 h 2084191"/>
              <a:gd name="connsiteX1114" fmla="*/ 1235321 w 2051041"/>
              <a:gd name="connsiteY1114" fmla="*/ 335755 h 2084191"/>
              <a:gd name="connsiteX1115" fmla="*/ 1187434 w 2051041"/>
              <a:gd name="connsiteY1115" fmla="*/ 289500 h 2084191"/>
              <a:gd name="connsiteX1116" fmla="*/ 1233689 w 2051041"/>
              <a:gd name="connsiteY1116" fmla="*/ 241613 h 2084191"/>
              <a:gd name="connsiteX1117" fmla="*/ 1397485 w 2051041"/>
              <a:gd name="connsiteY1117" fmla="*/ 238891 h 2084191"/>
              <a:gd name="connsiteX1118" fmla="*/ 1448094 w 2051041"/>
              <a:gd name="connsiteY1118" fmla="*/ 288955 h 2084191"/>
              <a:gd name="connsiteX1119" fmla="*/ 1398029 w 2051041"/>
              <a:gd name="connsiteY1119" fmla="*/ 338475 h 2084191"/>
              <a:gd name="connsiteX1120" fmla="*/ 1348509 w 2051041"/>
              <a:gd name="connsiteY1120" fmla="*/ 289499 h 2084191"/>
              <a:gd name="connsiteX1121" fmla="*/ 1397485 w 2051041"/>
              <a:gd name="connsiteY1121" fmla="*/ 238891 h 2084191"/>
              <a:gd name="connsiteX1122" fmla="*/ 1559650 w 2051041"/>
              <a:gd name="connsiteY1122" fmla="*/ 237258 h 2084191"/>
              <a:gd name="connsiteX1123" fmla="*/ 1613523 w 2051041"/>
              <a:gd name="connsiteY1123" fmla="*/ 288955 h 2084191"/>
              <a:gd name="connsiteX1124" fmla="*/ 1560738 w 2051041"/>
              <a:gd name="connsiteY1124" fmla="*/ 342829 h 2084191"/>
              <a:gd name="connsiteX1125" fmla="*/ 1507953 w 2051041"/>
              <a:gd name="connsiteY1125" fmla="*/ 289499 h 2084191"/>
              <a:gd name="connsiteX1126" fmla="*/ 1559650 w 2051041"/>
              <a:gd name="connsiteY1126" fmla="*/ 237258 h 2084191"/>
              <a:gd name="connsiteX1127" fmla="*/ 9837 w 2051041"/>
              <a:gd name="connsiteY1127" fmla="*/ 198078 h 2084191"/>
              <a:gd name="connsiteX1128" fmla="*/ 19632 w 2051041"/>
              <a:gd name="connsiteY1128" fmla="*/ 207873 h 2084191"/>
              <a:gd name="connsiteX1129" fmla="*/ 10381 w 2051041"/>
              <a:gd name="connsiteY1129" fmla="*/ 218213 h 2084191"/>
              <a:gd name="connsiteX1130" fmla="*/ 42 w 2051041"/>
              <a:gd name="connsiteY1130" fmla="*/ 207873 h 2084191"/>
              <a:gd name="connsiteX1131" fmla="*/ 9837 w 2051041"/>
              <a:gd name="connsiteY1131" fmla="*/ 198078 h 2084191"/>
              <a:gd name="connsiteX1132" fmla="*/ 173090 w 2051041"/>
              <a:gd name="connsiteY1132" fmla="*/ 187739 h 2084191"/>
              <a:gd name="connsiteX1133" fmla="*/ 192136 w 2051041"/>
              <a:gd name="connsiteY1133" fmla="*/ 207329 h 2084191"/>
              <a:gd name="connsiteX1134" fmla="*/ 172546 w 2051041"/>
              <a:gd name="connsiteY1134" fmla="*/ 227464 h 2084191"/>
              <a:gd name="connsiteX1135" fmla="*/ 154044 w 2051041"/>
              <a:gd name="connsiteY1135" fmla="*/ 208418 h 2084191"/>
              <a:gd name="connsiteX1136" fmla="*/ 173090 w 2051041"/>
              <a:gd name="connsiteY1136" fmla="*/ 187739 h 2084191"/>
              <a:gd name="connsiteX1137" fmla="*/ 336887 w 2051041"/>
              <a:gd name="connsiteY1137" fmla="*/ 182297 h 2084191"/>
              <a:gd name="connsiteX1138" fmla="*/ 363007 w 2051041"/>
              <a:gd name="connsiteY1138" fmla="*/ 207329 h 2084191"/>
              <a:gd name="connsiteX1139" fmla="*/ 336887 w 2051041"/>
              <a:gd name="connsiteY1139" fmla="*/ 233994 h 2084191"/>
              <a:gd name="connsiteX1140" fmla="*/ 310766 w 2051041"/>
              <a:gd name="connsiteY1140" fmla="*/ 208961 h 2084191"/>
              <a:gd name="connsiteX1141" fmla="*/ 336887 w 2051041"/>
              <a:gd name="connsiteY1141" fmla="*/ 182297 h 2084191"/>
              <a:gd name="connsiteX1142" fmla="*/ 1856225 w 2051041"/>
              <a:gd name="connsiteY1142" fmla="*/ 180487 h 2084191"/>
              <a:gd name="connsiteX1143" fmla="*/ 1855681 w 2051041"/>
              <a:gd name="connsiteY1143" fmla="*/ 185929 h 2084191"/>
              <a:gd name="connsiteX1144" fmla="*/ 1851872 w 2051041"/>
              <a:gd name="connsiteY1144" fmla="*/ 244700 h 2084191"/>
              <a:gd name="connsiteX1145" fmla="*/ 1851328 w 2051041"/>
              <a:gd name="connsiteY1145" fmla="*/ 247965 h 2084191"/>
              <a:gd name="connsiteX1146" fmla="*/ 1854593 w 2051041"/>
              <a:gd name="connsiteY1146" fmla="*/ 247421 h 2084191"/>
              <a:gd name="connsiteX1147" fmla="*/ 1899215 w 2051041"/>
              <a:gd name="connsiteY1147" fmla="*/ 238714 h 2084191"/>
              <a:gd name="connsiteX1148" fmla="*/ 1913908 w 2051041"/>
              <a:gd name="connsiteY1148" fmla="*/ 243067 h 2084191"/>
              <a:gd name="connsiteX1149" fmla="*/ 1918806 w 2051041"/>
              <a:gd name="connsiteY1149" fmla="*/ 242523 h 2084191"/>
              <a:gd name="connsiteX1150" fmla="*/ 1918261 w 2051041"/>
              <a:gd name="connsiteY1150" fmla="*/ 238170 h 2084191"/>
              <a:gd name="connsiteX1151" fmla="*/ 1917173 w 2051041"/>
              <a:gd name="connsiteY1151" fmla="*/ 185929 h 2084191"/>
              <a:gd name="connsiteX1152" fmla="*/ 1918261 w 2051041"/>
              <a:gd name="connsiteY1152" fmla="*/ 181576 h 2084191"/>
              <a:gd name="connsiteX1153" fmla="*/ 1913908 w 2051041"/>
              <a:gd name="connsiteY1153" fmla="*/ 182664 h 2084191"/>
              <a:gd name="connsiteX1154" fmla="*/ 1860579 w 2051041"/>
              <a:gd name="connsiteY1154" fmla="*/ 180487 h 2084191"/>
              <a:gd name="connsiteX1155" fmla="*/ 1856225 w 2051041"/>
              <a:gd name="connsiteY1155" fmla="*/ 180487 h 2084191"/>
              <a:gd name="connsiteX1156" fmla="*/ 499595 w 2051041"/>
              <a:gd name="connsiteY1156" fmla="*/ 175767 h 2084191"/>
              <a:gd name="connsiteX1157" fmla="*/ 531158 w 2051041"/>
              <a:gd name="connsiteY1157" fmla="*/ 207874 h 2084191"/>
              <a:gd name="connsiteX1158" fmla="*/ 498507 w 2051041"/>
              <a:gd name="connsiteY1158" fmla="*/ 238347 h 2084191"/>
              <a:gd name="connsiteX1159" fmla="*/ 468033 w 2051041"/>
              <a:gd name="connsiteY1159" fmla="*/ 207329 h 2084191"/>
              <a:gd name="connsiteX1160" fmla="*/ 499595 w 2051041"/>
              <a:gd name="connsiteY1160" fmla="*/ 175767 h 2084191"/>
              <a:gd name="connsiteX1161" fmla="*/ 662304 w 2051041"/>
              <a:gd name="connsiteY1161" fmla="*/ 173046 h 2084191"/>
              <a:gd name="connsiteX1162" fmla="*/ 697676 w 2051041"/>
              <a:gd name="connsiteY1162" fmla="*/ 207873 h 2084191"/>
              <a:gd name="connsiteX1163" fmla="*/ 662304 w 2051041"/>
              <a:gd name="connsiteY1163" fmla="*/ 242156 h 2084191"/>
              <a:gd name="connsiteX1164" fmla="*/ 628021 w 2051041"/>
              <a:gd name="connsiteY1164" fmla="*/ 207873 h 2084191"/>
              <a:gd name="connsiteX1165" fmla="*/ 662304 w 2051041"/>
              <a:gd name="connsiteY1165" fmla="*/ 173046 h 2084191"/>
              <a:gd name="connsiteX1166" fmla="*/ 826645 w 2051041"/>
              <a:gd name="connsiteY1166" fmla="*/ 168148 h 2084191"/>
              <a:gd name="connsiteX1167" fmla="*/ 864737 w 2051041"/>
              <a:gd name="connsiteY1167" fmla="*/ 207329 h 2084191"/>
              <a:gd name="connsiteX1168" fmla="*/ 826100 w 2051041"/>
              <a:gd name="connsiteY1168" fmla="*/ 247054 h 2084191"/>
              <a:gd name="connsiteX1169" fmla="*/ 787464 w 2051041"/>
              <a:gd name="connsiteY1169" fmla="*/ 207873 h 2084191"/>
              <a:gd name="connsiteX1170" fmla="*/ 826645 w 2051041"/>
              <a:gd name="connsiteY1170" fmla="*/ 168148 h 2084191"/>
              <a:gd name="connsiteX1171" fmla="*/ 987721 w 2051041"/>
              <a:gd name="connsiteY1171" fmla="*/ 164883 h 2084191"/>
              <a:gd name="connsiteX1172" fmla="*/ 1031799 w 2051041"/>
              <a:gd name="connsiteY1172" fmla="*/ 207329 h 2084191"/>
              <a:gd name="connsiteX1173" fmla="*/ 988809 w 2051041"/>
              <a:gd name="connsiteY1173" fmla="*/ 250319 h 2084191"/>
              <a:gd name="connsiteX1174" fmla="*/ 945819 w 2051041"/>
              <a:gd name="connsiteY1174" fmla="*/ 208417 h 2084191"/>
              <a:gd name="connsiteX1175" fmla="*/ 987721 w 2051041"/>
              <a:gd name="connsiteY1175" fmla="*/ 164883 h 2084191"/>
              <a:gd name="connsiteX1176" fmla="*/ 1153150 w 2051041"/>
              <a:gd name="connsiteY1176" fmla="*/ 162707 h 2084191"/>
              <a:gd name="connsiteX1177" fmla="*/ 1197772 w 2051041"/>
              <a:gd name="connsiteY1177" fmla="*/ 207874 h 2084191"/>
              <a:gd name="connsiteX1178" fmla="*/ 1151517 w 2051041"/>
              <a:gd name="connsiteY1178" fmla="*/ 253584 h 2084191"/>
              <a:gd name="connsiteX1179" fmla="*/ 1107439 w 2051041"/>
              <a:gd name="connsiteY1179" fmla="*/ 207329 h 2084191"/>
              <a:gd name="connsiteX1180" fmla="*/ 1153150 w 2051041"/>
              <a:gd name="connsiteY1180" fmla="*/ 162707 h 2084191"/>
              <a:gd name="connsiteX1181" fmla="*/ 1315315 w 2051041"/>
              <a:gd name="connsiteY1181" fmla="*/ 158353 h 2084191"/>
              <a:gd name="connsiteX1182" fmla="*/ 1365379 w 2051041"/>
              <a:gd name="connsiteY1182" fmla="*/ 206785 h 2084191"/>
              <a:gd name="connsiteX1183" fmla="*/ 1315859 w 2051041"/>
              <a:gd name="connsiteY1183" fmla="*/ 256305 h 2084191"/>
              <a:gd name="connsiteX1184" fmla="*/ 1266883 w 2051041"/>
              <a:gd name="connsiteY1184" fmla="*/ 207873 h 2084191"/>
              <a:gd name="connsiteX1185" fmla="*/ 1315315 w 2051041"/>
              <a:gd name="connsiteY1185" fmla="*/ 158353 h 2084191"/>
              <a:gd name="connsiteX1186" fmla="*/ 1478567 w 2051041"/>
              <a:gd name="connsiteY1186" fmla="*/ 156721 h 2084191"/>
              <a:gd name="connsiteX1187" fmla="*/ 1529720 w 2051041"/>
              <a:gd name="connsiteY1187" fmla="*/ 207329 h 2084191"/>
              <a:gd name="connsiteX1188" fmla="*/ 1478567 w 2051041"/>
              <a:gd name="connsiteY1188" fmla="*/ 258482 h 2084191"/>
              <a:gd name="connsiteX1189" fmla="*/ 1427959 w 2051041"/>
              <a:gd name="connsiteY1189" fmla="*/ 207874 h 2084191"/>
              <a:gd name="connsiteX1190" fmla="*/ 1478567 w 2051041"/>
              <a:gd name="connsiteY1190" fmla="*/ 156721 h 2084191"/>
              <a:gd name="connsiteX1191" fmla="*/ 1644541 w 2051041"/>
              <a:gd name="connsiteY1191" fmla="*/ 153456 h 2084191"/>
              <a:gd name="connsiteX1192" fmla="*/ 1697326 w 2051041"/>
              <a:gd name="connsiteY1192" fmla="*/ 209506 h 2084191"/>
              <a:gd name="connsiteX1193" fmla="*/ 1641276 w 2051041"/>
              <a:gd name="connsiteY1193" fmla="*/ 262835 h 2084191"/>
              <a:gd name="connsiteX1194" fmla="*/ 1587947 w 2051041"/>
              <a:gd name="connsiteY1194" fmla="*/ 206785 h 2084191"/>
              <a:gd name="connsiteX1195" fmla="*/ 1644541 w 2051041"/>
              <a:gd name="connsiteY1195" fmla="*/ 153456 h 2084191"/>
              <a:gd name="connsiteX1196" fmla="*/ 91463 w 2051041"/>
              <a:gd name="connsiteY1196" fmla="*/ 109922 h 2084191"/>
              <a:gd name="connsiteX1197" fmla="*/ 107244 w 2051041"/>
              <a:gd name="connsiteY1197" fmla="*/ 126247 h 2084191"/>
              <a:gd name="connsiteX1198" fmla="*/ 91463 w 2051041"/>
              <a:gd name="connsiteY1198" fmla="*/ 142028 h 2084191"/>
              <a:gd name="connsiteX1199" fmla="*/ 75682 w 2051041"/>
              <a:gd name="connsiteY1199" fmla="*/ 126247 h 2084191"/>
              <a:gd name="connsiteX1200" fmla="*/ 91463 w 2051041"/>
              <a:gd name="connsiteY1200" fmla="*/ 109922 h 2084191"/>
              <a:gd name="connsiteX1201" fmla="*/ 1942341 w 2051041"/>
              <a:gd name="connsiteY1201" fmla="*/ 104915 h 2084191"/>
              <a:gd name="connsiteX1202" fmla="*/ 1942205 w 2051041"/>
              <a:gd name="connsiteY1202" fmla="*/ 111377 h 2084191"/>
              <a:gd name="connsiteX1203" fmla="*/ 1946559 w 2051041"/>
              <a:gd name="connsiteY1203" fmla="*/ 131511 h 2084191"/>
              <a:gd name="connsiteX1204" fmla="*/ 1939484 w 2051041"/>
              <a:gd name="connsiteY1204" fmla="*/ 157088 h 2084191"/>
              <a:gd name="connsiteX1205" fmla="*/ 1941117 w 2051041"/>
              <a:gd name="connsiteY1205" fmla="*/ 160353 h 2084191"/>
              <a:gd name="connsiteX1206" fmla="*/ 1986828 w 2051041"/>
              <a:gd name="connsiteY1206" fmla="*/ 157088 h 2084191"/>
              <a:gd name="connsiteX1207" fmla="*/ 1987916 w 2051041"/>
              <a:gd name="connsiteY1207" fmla="*/ 157088 h 2084191"/>
              <a:gd name="connsiteX1208" fmla="*/ 1993902 w 2051041"/>
              <a:gd name="connsiteY1208" fmla="*/ 150013 h 2084191"/>
              <a:gd name="connsiteX1209" fmla="*/ 1993902 w 2051041"/>
              <a:gd name="connsiteY1209" fmla="*/ 109744 h 2084191"/>
              <a:gd name="connsiteX1210" fmla="*/ 1989004 w 2051041"/>
              <a:gd name="connsiteY1210" fmla="*/ 105391 h 2084191"/>
              <a:gd name="connsiteX1211" fmla="*/ 1948191 w 2051041"/>
              <a:gd name="connsiteY1211" fmla="*/ 105391 h 2084191"/>
              <a:gd name="connsiteX1212" fmla="*/ 1942341 w 2051041"/>
              <a:gd name="connsiteY1212" fmla="*/ 104915 h 2084191"/>
              <a:gd name="connsiteX1213" fmla="*/ 255804 w 2051041"/>
              <a:gd name="connsiteY1213" fmla="*/ 103392 h 2084191"/>
              <a:gd name="connsiteX1214" fmla="*/ 277571 w 2051041"/>
              <a:gd name="connsiteY1214" fmla="*/ 126791 h 2084191"/>
              <a:gd name="connsiteX1215" fmla="*/ 254172 w 2051041"/>
              <a:gd name="connsiteY1215" fmla="*/ 148014 h 2084191"/>
              <a:gd name="connsiteX1216" fmla="*/ 232405 w 2051041"/>
              <a:gd name="connsiteY1216" fmla="*/ 125159 h 2084191"/>
              <a:gd name="connsiteX1217" fmla="*/ 255804 w 2051041"/>
              <a:gd name="connsiteY1217" fmla="*/ 103392 h 2084191"/>
              <a:gd name="connsiteX1218" fmla="*/ 1773511 w 2051041"/>
              <a:gd name="connsiteY1218" fmla="*/ 99405 h 2084191"/>
              <a:gd name="connsiteX1219" fmla="*/ 1773511 w 2051041"/>
              <a:gd name="connsiteY1219" fmla="*/ 107023 h 2084191"/>
              <a:gd name="connsiteX1220" fmla="*/ 1780585 w 2051041"/>
              <a:gd name="connsiteY1220" fmla="*/ 130423 h 2084191"/>
              <a:gd name="connsiteX1221" fmla="*/ 1773511 w 2051041"/>
              <a:gd name="connsiteY1221" fmla="*/ 155999 h 2084191"/>
              <a:gd name="connsiteX1222" fmla="*/ 1774055 w 2051041"/>
              <a:gd name="connsiteY1222" fmla="*/ 161985 h 2084191"/>
              <a:gd name="connsiteX1223" fmla="*/ 1780041 w 2051041"/>
              <a:gd name="connsiteY1223" fmla="*/ 162529 h 2084191"/>
              <a:gd name="connsiteX1224" fmla="*/ 1811059 w 2051041"/>
              <a:gd name="connsiteY1224" fmla="*/ 157632 h 2084191"/>
              <a:gd name="connsiteX1225" fmla="*/ 1829561 w 2051041"/>
              <a:gd name="connsiteY1225" fmla="*/ 161985 h 2084191"/>
              <a:gd name="connsiteX1226" fmla="*/ 1836635 w 2051041"/>
              <a:gd name="connsiteY1226" fmla="*/ 161985 h 2084191"/>
              <a:gd name="connsiteX1227" fmla="*/ 1833914 w 2051041"/>
              <a:gd name="connsiteY1227" fmla="*/ 157088 h 2084191"/>
              <a:gd name="connsiteX1228" fmla="*/ 1834458 w 2051041"/>
              <a:gd name="connsiteY1228" fmla="*/ 104303 h 2084191"/>
              <a:gd name="connsiteX1229" fmla="*/ 1835547 w 2051041"/>
              <a:gd name="connsiteY1229" fmla="*/ 99405 h 2084191"/>
              <a:gd name="connsiteX1230" fmla="*/ 1831193 w 2051041"/>
              <a:gd name="connsiteY1230" fmla="*/ 101038 h 2084191"/>
              <a:gd name="connsiteX1231" fmla="*/ 1780041 w 2051041"/>
              <a:gd name="connsiteY1231" fmla="*/ 101582 h 2084191"/>
              <a:gd name="connsiteX1232" fmla="*/ 1773511 w 2051041"/>
              <a:gd name="connsiteY1232" fmla="*/ 99405 h 2084191"/>
              <a:gd name="connsiteX1233" fmla="*/ 417424 w 2051041"/>
              <a:gd name="connsiteY1233" fmla="*/ 97950 h 2084191"/>
              <a:gd name="connsiteX1234" fmla="*/ 445721 w 2051041"/>
              <a:gd name="connsiteY1234" fmla="*/ 126247 h 2084191"/>
              <a:gd name="connsiteX1235" fmla="*/ 417424 w 2051041"/>
              <a:gd name="connsiteY1235" fmla="*/ 153456 h 2084191"/>
              <a:gd name="connsiteX1236" fmla="*/ 390215 w 2051041"/>
              <a:gd name="connsiteY1236" fmla="*/ 125159 h 2084191"/>
              <a:gd name="connsiteX1237" fmla="*/ 417424 w 2051041"/>
              <a:gd name="connsiteY1237" fmla="*/ 97950 h 2084191"/>
              <a:gd name="connsiteX1238" fmla="*/ 580677 w 2051041"/>
              <a:gd name="connsiteY1238" fmla="*/ 92508 h 2084191"/>
              <a:gd name="connsiteX1239" fmla="*/ 614960 w 2051041"/>
              <a:gd name="connsiteY1239" fmla="*/ 125159 h 2084191"/>
              <a:gd name="connsiteX1240" fmla="*/ 581766 w 2051041"/>
              <a:gd name="connsiteY1240" fmla="*/ 158353 h 2084191"/>
              <a:gd name="connsiteX1241" fmla="*/ 548571 w 2051041"/>
              <a:gd name="connsiteY1241" fmla="*/ 125703 h 2084191"/>
              <a:gd name="connsiteX1242" fmla="*/ 580677 w 2051041"/>
              <a:gd name="connsiteY1242" fmla="*/ 92508 h 2084191"/>
              <a:gd name="connsiteX1243" fmla="*/ 745019 w 2051041"/>
              <a:gd name="connsiteY1243" fmla="*/ 88154 h 2084191"/>
              <a:gd name="connsiteX1244" fmla="*/ 782567 w 2051041"/>
              <a:gd name="connsiteY1244" fmla="*/ 126791 h 2084191"/>
              <a:gd name="connsiteX1245" fmla="*/ 743930 w 2051041"/>
              <a:gd name="connsiteY1245" fmla="*/ 164339 h 2084191"/>
              <a:gd name="connsiteX1246" fmla="*/ 706382 w 2051041"/>
              <a:gd name="connsiteY1246" fmla="*/ 125702 h 2084191"/>
              <a:gd name="connsiteX1247" fmla="*/ 745019 w 2051041"/>
              <a:gd name="connsiteY1247" fmla="*/ 88154 h 2084191"/>
              <a:gd name="connsiteX1248" fmla="*/ 1685898 w 2051041"/>
              <a:gd name="connsiteY1248" fmla="*/ 84712 h 2084191"/>
              <a:gd name="connsiteX1249" fmla="*/ 1685681 w 2051041"/>
              <a:gd name="connsiteY1249" fmla="*/ 85147 h 2084191"/>
              <a:gd name="connsiteX1250" fmla="*/ 1685354 w 2051041"/>
              <a:gd name="connsiteY1250" fmla="*/ 85256 h 2084191"/>
              <a:gd name="connsiteX1251" fmla="*/ 1685898 w 2051041"/>
              <a:gd name="connsiteY1251" fmla="*/ 84712 h 2084191"/>
              <a:gd name="connsiteX1252" fmla="*/ 907183 w 2051041"/>
              <a:gd name="connsiteY1252" fmla="*/ 84345 h 2084191"/>
              <a:gd name="connsiteX1253" fmla="*/ 934935 w 2051041"/>
              <a:gd name="connsiteY1253" fmla="*/ 95228 h 2084191"/>
              <a:gd name="connsiteX1254" fmla="*/ 949628 w 2051041"/>
              <a:gd name="connsiteY1254" fmla="*/ 125158 h 2084191"/>
              <a:gd name="connsiteX1255" fmla="*/ 908271 w 2051041"/>
              <a:gd name="connsiteY1255" fmla="*/ 167060 h 2084191"/>
              <a:gd name="connsiteX1256" fmla="*/ 866369 w 2051041"/>
              <a:gd name="connsiteY1256" fmla="*/ 125702 h 2084191"/>
              <a:gd name="connsiteX1257" fmla="*/ 907183 w 2051041"/>
              <a:gd name="connsiteY1257" fmla="*/ 84345 h 2084191"/>
              <a:gd name="connsiteX1258" fmla="*/ 1070979 w 2051041"/>
              <a:gd name="connsiteY1258" fmla="*/ 82169 h 2084191"/>
              <a:gd name="connsiteX1259" fmla="*/ 1115602 w 2051041"/>
              <a:gd name="connsiteY1259" fmla="*/ 126247 h 2084191"/>
              <a:gd name="connsiteX1260" fmla="*/ 1071524 w 2051041"/>
              <a:gd name="connsiteY1260" fmla="*/ 170325 h 2084191"/>
              <a:gd name="connsiteX1261" fmla="*/ 1026357 w 2051041"/>
              <a:gd name="connsiteY1261" fmla="*/ 125703 h 2084191"/>
              <a:gd name="connsiteX1262" fmla="*/ 1070979 w 2051041"/>
              <a:gd name="connsiteY1262" fmla="*/ 82169 h 2084191"/>
              <a:gd name="connsiteX1263" fmla="*/ 1684811 w 2051041"/>
              <a:gd name="connsiteY1263" fmla="*/ 82168 h 2084191"/>
              <a:gd name="connsiteX1264" fmla="*/ 1684266 w 2051041"/>
              <a:gd name="connsiteY1264" fmla="*/ 82713 h 2084191"/>
              <a:gd name="connsiteX1265" fmla="*/ 1684469 w 2051041"/>
              <a:gd name="connsiteY1265" fmla="*/ 82365 h 2084191"/>
              <a:gd name="connsiteX1266" fmla="*/ 1234777 w 2051041"/>
              <a:gd name="connsiteY1266" fmla="*/ 78360 h 2084191"/>
              <a:gd name="connsiteX1267" fmla="*/ 1282664 w 2051041"/>
              <a:gd name="connsiteY1267" fmla="*/ 126791 h 2084191"/>
              <a:gd name="connsiteX1268" fmla="*/ 1234232 w 2051041"/>
              <a:gd name="connsiteY1268" fmla="*/ 174135 h 2084191"/>
              <a:gd name="connsiteX1269" fmla="*/ 1186889 w 2051041"/>
              <a:gd name="connsiteY1269" fmla="*/ 126791 h 2084191"/>
              <a:gd name="connsiteX1270" fmla="*/ 1234777 w 2051041"/>
              <a:gd name="connsiteY1270" fmla="*/ 78360 h 2084191"/>
              <a:gd name="connsiteX1271" fmla="*/ 1398574 w 2051041"/>
              <a:gd name="connsiteY1271" fmla="*/ 76182 h 2084191"/>
              <a:gd name="connsiteX1272" fmla="*/ 1448094 w 2051041"/>
              <a:gd name="connsiteY1272" fmla="*/ 127335 h 2084191"/>
              <a:gd name="connsiteX1273" fmla="*/ 1396941 w 2051041"/>
              <a:gd name="connsiteY1273" fmla="*/ 175766 h 2084191"/>
              <a:gd name="connsiteX1274" fmla="*/ 1347421 w 2051041"/>
              <a:gd name="connsiteY1274" fmla="*/ 125702 h 2084191"/>
              <a:gd name="connsiteX1275" fmla="*/ 1398574 w 2051041"/>
              <a:gd name="connsiteY1275" fmla="*/ 76182 h 2084191"/>
              <a:gd name="connsiteX1276" fmla="*/ 1561282 w 2051041"/>
              <a:gd name="connsiteY1276" fmla="*/ 72373 h 2084191"/>
              <a:gd name="connsiteX1277" fmla="*/ 1614611 w 2051041"/>
              <a:gd name="connsiteY1277" fmla="*/ 126247 h 2084191"/>
              <a:gd name="connsiteX1278" fmla="*/ 1560738 w 2051041"/>
              <a:gd name="connsiteY1278" fmla="*/ 179576 h 2084191"/>
              <a:gd name="connsiteX1279" fmla="*/ 1507409 w 2051041"/>
              <a:gd name="connsiteY1279" fmla="*/ 126247 h 2084191"/>
              <a:gd name="connsiteX1280" fmla="*/ 1561282 w 2051041"/>
              <a:gd name="connsiteY1280" fmla="*/ 72373 h 2084191"/>
              <a:gd name="connsiteX1281" fmla="*/ 10381 w 2051041"/>
              <a:gd name="connsiteY1281" fmla="*/ 33737 h 2084191"/>
              <a:gd name="connsiteX1282" fmla="*/ 20720 w 2051041"/>
              <a:gd name="connsiteY1282" fmla="*/ 45165 h 2084191"/>
              <a:gd name="connsiteX1283" fmla="*/ 9292 w 2051041"/>
              <a:gd name="connsiteY1283" fmla="*/ 54960 h 2084191"/>
              <a:gd name="connsiteX1284" fmla="*/ 41 w 2051041"/>
              <a:gd name="connsiteY1284" fmla="*/ 44621 h 2084191"/>
              <a:gd name="connsiteX1285" fmla="*/ 10381 w 2051041"/>
              <a:gd name="connsiteY1285" fmla="*/ 33737 h 2084191"/>
              <a:gd name="connsiteX1286" fmla="*/ 172546 w 2051041"/>
              <a:gd name="connsiteY1286" fmla="*/ 23942 h 2084191"/>
              <a:gd name="connsiteX1287" fmla="*/ 193224 w 2051041"/>
              <a:gd name="connsiteY1287" fmla="*/ 44621 h 2084191"/>
              <a:gd name="connsiteX1288" fmla="*/ 173090 w 2051041"/>
              <a:gd name="connsiteY1288" fmla="*/ 64755 h 2084191"/>
              <a:gd name="connsiteX1289" fmla="*/ 152411 w 2051041"/>
              <a:gd name="connsiteY1289" fmla="*/ 44621 h 2084191"/>
              <a:gd name="connsiteX1290" fmla="*/ 172546 w 2051041"/>
              <a:gd name="connsiteY1290" fmla="*/ 23942 h 2084191"/>
              <a:gd name="connsiteX1291" fmla="*/ 1861123 w 2051041"/>
              <a:gd name="connsiteY1291" fmla="*/ 22132 h 2084191"/>
              <a:gd name="connsiteX1292" fmla="*/ 1861123 w 2051041"/>
              <a:gd name="connsiteY1292" fmla="*/ 35737 h 2084191"/>
              <a:gd name="connsiteX1293" fmla="*/ 1861123 w 2051041"/>
              <a:gd name="connsiteY1293" fmla="*/ 61313 h 2084191"/>
              <a:gd name="connsiteX1294" fmla="*/ 1858946 w 2051041"/>
              <a:gd name="connsiteY1294" fmla="*/ 72740 h 2084191"/>
              <a:gd name="connsiteX1295" fmla="*/ 1866021 w 2051041"/>
              <a:gd name="connsiteY1295" fmla="*/ 76550 h 2084191"/>
              <a:gd name="connsiteX1296" fmla="*/ 1873639 w 2051041"/>
              <a:gd name="connsiteY1296" fmla="*/ 74917 h 2084191"/>
              <a:gd name="connsiteX1297" fmla="*/ 1900304 w 2051041"/>
              <a:gd name="connsiteY1297" fmla="*/ 74373 h 2084191"/>
              <a:gd name="connsiteX1298" fmla="*/ 1907922 w 2051041"/>
              <a:gd name="connsiteY1298" fmla="*/ 76006 h 2084191"/>
              <a:gd name="connsiteX1299" fmla="*/ 1912820 w 2051041"/>
              <a:gd name="connsiteY1299" fmla="*/ 70020 h 2084191"/>
              <a:gd name="connsiteX1300" fmla="*/ 1912820 w 2051041"/>
              <a:gd name="connsiteY1300" fmla="*/ 27030 h 2084191"/>
              <a:gd name="connsiteX1301" fmla="*/ 1908466 w 2051041"/>
              <a:gd name="connsiteY1301" fmla="*/ 22132 h 2084191"/>
              <a:gd name="connsiteX1302" fmla="*/ 1902480 w 2051041"/>
              <a:gd name="connsiteY1302" fmla="*/ 24309 h 2084191"/>
              <a:gd name="connsiteX1303" fmla="*/ 1873095 w 2051041"/>
              <a:gd name="connsiteY1303" fmla="*/ 24309 h 2084191"/>
              <a:gd name="connsiteX1304" fmla="*/ 1861123 w 2051041"/>
              <a:gd name="connsiteY1304" fmla="*/ 22132 h 2084191"/>
              <a:gd name="connsiteX1305" fmla="*/ 336886 w 2051041"/>
              <a:gd name="connsiteY1305" fmla="*/ 17412 h 2084191"/>
              <a:gd name="connsiteX1306" fmla="*/ 363007 w 2051041"/>
              <a:gd name="connsiteY1306" fmla="*/ 44077 h 2084191"/>
              <a:gd name="connsiteX1307" fmla="*/ 337431 w 2051041"/>
              <a:gd name="connsiteY1307" fmla="*/ 71285 h 2084191"/>
              <a:gd name="connsiteX1308" fmla="*/ 310222 w 2051041"/>
              <a:gd name="connsiteY1308" fmla="*/ 45165 h 2084191"/>
              <a:gd name="connsiteX1309" fmla="*/ 336886 w 2051041"/>
              <a:gd name="connsiteY1309" fmla="*/ 17412 h 2084191"/>
              <a:gd name="connsiteX1310" fmla="*/ 498507 w 2051041"/>
              <a:gd name="connsiteY1310" fmla="*/ 13059 h 2084191"/>
              <a:gd name="connsiteX1311" fmla="*/ 531702 w 2051041"/>
              <a:gd name="connsiteY1311" fmla="*/ 44621 h 2084191"/>
              <a:gd name="connsiteX1312" fmla="*/ 499595 w 2051041"/>
              <a:gd name="connsiteY1312" fmla="*/ 76727 h 2084191"/>
              <a:gd name="connsiteX1313" fmla="*/ 467489 w 2051041"/>
              <a:gd name="connsiteY1313" fmla="*/ 45165 h 2084191"/>
              <a:gd name="connsiteX1314" fmla="*/ 498507 w 2051041"/>
              <a:gd name="connsiteY1314" fmla="*/ 13059 h 2084191"/>
              <a:gd name="connsiteX1315" fmla="*/ 662303 w 2051041"/>
              <a:gd name="connsiteY1315" fmla="*/ 7616 h 2084191"/>
              <a:gd name="connsiteX1316" fmla="*/ 698763 w 2051041"/>
              <a:gd name="connsiteY1316" fmla="*/ 44076 h 2084191"/>
              <a:gd name="connsiteX1317" fmla="*/ 662303 w 2051041"/>
              <a:gd name="connsiteY1317" fmla="*/ 81080 h 2084191"/>
              <a:gd name="connsiteX1318" fmla="*/ 626932 w 2051041"/>
              <a:gd name="connsiteY1318" fmla="*/ 44076 h 2084191"/>
              <a:gd name="connsiteX1319" fmla="*/ 662303 w 2051041"/>
              <a:gd name="connsiteY1319" fmla="*/ 7616 h 2084191"/>
              <a:gd name="connsiteX1320" fmla="*/ 825557 w 2051041"/>
              <a:gd name="connsiteY1320" fmla="*/ 5440 h 2084191"/>
              <a:gd name="connsiteX1321" fmla="*/ 865281 w 2051041"/>
              <a:gd name="connsiteY1321" fmla="*/ 44621 h 2084191"/>
              <a:gd name="connsiteX1322" fmla="*/ 826101 w 2051041"/>
              <a:gd name="connsiteY1322" fmla="*/ 83257 h 2084191"/>
              <a:gd name="connsiteX1323" fmla="*/ 786920 w 2051041"/>
              <a:gd name="connsiteY1323" fmla="*/ 44621 h 2084191"/>
              <a:gd name="connsiteX1324" fmla="*/ 825557 w 2051041"/>
              <a:gd name="connsiteY1324" fmla="*/ 5440 h 2084191"/>
              <a:gd name="connsiteX1325" fmla="*/ 989353 w 2051041"/>
              <a:gd name="connsiteY1325" fmla="*/ 1086 h 2084191"/>
              <a:gd name="connsiteX1326" fmla="*/ 1032343 w 2051041"/>
              <a:gd name="connsiteY1326" fmla="*/ 43532 h 2084191"/>
              <a:gd name="connsiteX1327" fmla="*/ 989897 w 2051041"/>
              <a:gd name="connsiteY1327" fmla="*/ 87610 h 2084191"/>
              <a:gd name="connsiteX1328" fmla="*/ 945819 w 2051041"/>
              <a:gd name="connsiteY1328" fmla="*/ 44620 h 2084191"/>
              <a:gd name="connsiteX1329" fmla="*/ 989353 w 2051041"/>
              <a:gd name="connsiteY1329" fmla="*/ 1086 h 2084191"/>
              <a:gd name="connsiteX1330" fmla="*/ 1614056 w 2051041"/>
              <a:gd name="connsiteY1330" fmla="*/ 0 h 2084191"/>
              <a:gd name="connsiteX1331" fmla="*/ 1675529 w 2051041"/>
              <a:gd name="connsiteY1331" fmla="*/ 0 h 2084191"/>
              <a:gd name="connsiteX1332" fmla="*/ 1682905 w 2051041"/>
              <a:gd name="connsiteY1332" fmla="*/ 4720 h 2084191"/>
              <a:gd name="connsiteX1333" fmla="*/ 1933639 w 2051041"/>
              <a:gd name="connsiteY1333" fmla="*/ 4720 h 2084191"/>
              <a:gd name="connsiteX1334" fmla="*/ 2016655 w 2051041"/>
              <a:gd name="connsiteY1334" fmla="*/ 39107 h 2084191"/>
              <a:gd name="connsiteX1335" fmla="*/ 2028934 w 2051041"/>
              <a:gd name="connsiteY1335" fmla="*/ 57318 h 2084191"/>
              <a:gd name="connsiteX1336" fmla="*/ 2026008 w 2051041"/>
              <a:gd name="connsiteY1336" fmla="*/ 71108 h 2084191"/>
              <a:gd name="connsiteX1337" fmla="*/ 2030906 w 2051041"/>
              <a:gd name="connsiteY1337" fmla="*/ 75461 h 2084191"/>
              <a:gd name="connsiteX1338" fmla="*/ 2039929 w 2051041"/>
              <a:gd name="connsiteY1338" fmla="*/ 73627 h 2084191"/>
              <a:gd name="connsiteX1339" fmla="*/ 2041815 w 2051041"/>
              <a:gd name="connsiteY1339" fmla="*/ 76424 h 2084191"/>
              <a:gd name="connsiteX1340" fmla="*/ 2051041 w 2051041"/>
              <a:gd name="connsiteY1340" fmla="*/ 122122 h 2084191"/>
              <a:gd name="connsiteX1341" fmla="*/ 2051041 w 2051041"/>
              <a:gd name="connsiteY1341" fmla="*/ 186473 h 2084191"/>
              <a:gd name="connsiteX1342" fmla="*/ 2029818 w 2051041"/>
              <a:gd name="connsiteY1342" fmla="*/ 186473 h 2084191"/>
              <a:gd name="connsiteX1343" fmla="*/ 2023287 w 2051041"/>
              <a:gd name="connsiteY1343" fmla="*/ 192459 h 2084191"/>
              <a:gd name="connsiteX1344" fmla="*/ 2023832 w 2051041"/>
              <a:gd name="connsiteY1344" fmla="*/ 196268 h 2084191"/>
              <a:gd name="connsiteX1345" fmla="*/ 2019478 w 2051041"/>
              <a:gd name="connsiteY1345" fmla="*/ 239258 h 2084191"/>
              <a:gd name="connsiteX1346" fmla="*/ 2020022 w 2051041"/>
              <a:gd name="connsiteY1346" fmla="*/ 242523 h 2084191"/>
              <a:gd name="connsiteX1347" fmla="*/ 2023287 w 2051041"/>
              <a:gd name="connsiteY1347" fmla="*/ 243067 h 2084191"/>
              <a:gd name="connsiteX1348" fmla="*/ 2050224 w 2051041"/>
              <a:gd name="connsiteY1348" fmla="*/ 237150 h 2084191"/>
              <a:gd name="connsiteX1349" fmla="*/ 2051041 w 2051041"/>
              <a:gd name="connsiteY1349" fmla="*/ 237329 h 2084191"/>
              <a:gd name="connsiteX1350" fmla="*/ 2051041 w 2051041"/>
              <a:gd name="connsiteY1350" fmla="*/ 348996 h 2084191"/>
              <a:gd name="connsiteX1351" fmla="*/ 2036552 w 2051041"/>
              <a:gd name="connsiteY1351" fmla="*/ 347754 h 2084191"/>
              <a:gd name="connsiteX1352" fmla="*/ 2021111 w 2051041"/>
              <a:gd name="connsiteY1352" fmla="*/ 341019 h 2084191"/>
              <a:gd name="connsiteX1353" fmla="*/ 2016757 w 2051041"/>
              <a:gd name="connsiteY1353" fmla="*/ 338842 h 2084191"/>
              <a:gd name="connsiteX1354" fmla="*/ 2017301 w 2051041"/>
              <a:gd name="connsiteY1354" fmla="*/ 344284 h 2084191"/>
              <a:gd name="connsiteX1355" fmla="*/ 2025464 w 2051041"/>
              <a:gd name="connsiteY1355" fmla="*/ 376391 h 2084191"/>
              <a:gd name="connsiteX1356" fmla="*/ 1994446 w 2051041"/>
              <a:gd name="connsiteY1356" fmla="*/ 424278 h 2084191"/>
              <a:gd name="connsiteX1357" fmla="*/ 1933498 w 2051041"/>
              <a:gd name="connsiteY1357" fmla="*/ 416115 h 2084191"/>
              <a:gd name="connsiteX1358" fmla="*/ 1920438 w 2051041"/>
              <a:gd name="connsiteY1358" fmla="*/ 352447 h 2084191"/>
              <a:gd name="connsiteX1359" fmla="*/ 1925336 w 2051041"/>
              <a:gd name="connsiteY1359" fmla="*/ 338298 h 2084191"/>
              <a:gd name="connsiteX1360" fmla="*/ 1911731 w 2051041"/>
              <a:gd name="connsiteY1360" fmla="*/ 343196 h 2084191"/>
              <a:gd name="connsiteX1361" fmla="*/ 1898671 w 2051041"/>
              <a:gd name="connsiteY1361" fmla="*/ 347005 h 2084191"/>
              <a:gd name="connsiteX1362" fmla="*/ 1854593 w 2051041"/>
              <a:gd name="connsiteY1362" fmla="*/ 336666 h 2084191"/>
              <a:gd name="connsiteX1363" fmla="*/ 1847690 w 2051041"/>
              <a:gd name="connsiteY1363" fmla="*/ 333480 h 2084191"/>
              <a:gd name="connsiteX1364" fmla="*/ 1852961 w 2051041"/>
              <a:gd name="connsiteY1364" fmla="*/ 344461 h 2084191"/>
              <a:gd name="connsiteX1365" fmla="*/ 1826840 w 2051041"/>
              <a:gd name="connsiteY1365" fmla="*/ 420646 h 2084191"/>
              <a:gd name="connsiteX1366" fmla="*/ 1765893 w 2051041"/>
              <a:gd name="connsiteY1366" fmla="*/ 408130 h 2084191"/>
              <a:gd name="connsiteX1367" fmla="*/ 1759362 w 2051041"/>
              <a:gd name="connsiteY1367" fmla="*/ 342829 h 2084191"/>
              <a:gd name="connsiteX1368" fmla="*/ 1815991 w 2051041"/>
              <a:gd name="connsiteY1368" fmla="*/ 317193 h 2084191"/>
              <a:gd name="connsiteX1369" fmla="*/ 1834459 w 2051041"/>
              <a:gd name="connsiteY1369" fmla="*/ 325415 h 2084191"/>
              <a:gd name="connsiteX1370" fmla="*/ 1845023 w 2051041"/>
              <a:gd name="connsiteY1370" fmla="*/ 330169 h 2084191"/>
              <a:gd name="connsiteX1371" fmla="*/ 1840444 w 2051041"/>
              <a:gd name="connsiteY1371" fmla="*/ 321429 h 2084191"/>
              <a:gd name="connsiteX1372" fmla="*/ 1834458 w 2051041"/>
              <a:gd name="connsiteY1372" fmla="*/ 275174 h 2084191"/>
              <a:gd name="connsiteX1373" fmla="*/ 1840988 w 2051041"/>
              <a:gd name="connsiteY1373" fmla="*/ 259937 h 2084191"/>
              <a:gd name="connsiteX1374" fmla="*/ 1842077 w 2051041"/>
              <a:gd name="connsiteY1374" fmla="*/ 255584 h 2084191"/>
              <a:gd name="connsiteX1375" fmla="*/ 1837723 w 2051041"/>
              <a:gd name="connsiteY1375" fmla="*/ 257216 h 2084191"/>
              <a:gd name="connsiteX1376" fmla="*/ 1817589 w 2051041"/>
              <a:gd name="connsiteY1376" fmla="*/ 264834 h 2084191"/>
              <a:gd name="connsiteX1377" fmla="*/ 1768069 w 2051041"/>
              <a:gd name="connsiteY1377" fmla="*/ 251774 h 2084191"/>
              <a:gd name="connsiteX1378" fmla="*/ 1764740 w 2051041"/>
              <a:gd name="connsiteY1378" fmla="*/ 250110 h 2084191"/>
              <a:gd name="connsiteX1379" fmla="*/ 1773510 w 2051041"/>
              <a:gd name="connsiteY1379" fmla="*/ 267189 h 2084191"/>
              <a:gd name="connsiteX1380" fmla="*/ 1750655 w 2051041"/>
              <a:gd name="connsiteY1380" fmla="*/ 336843 h 2084191"/>
              <a:gd name="connsiteX1381" fmla="*/ 1673926 w 2051041"/>
              <a:gd name="connsiteY1381" fmla="*/ 310723 h 2084191"/>
              <a:gd name="connsiteX1382" fmla="*/ 1681545 w 2051041"/>
              <a:gd name="connsiteY1382" fmla="*/ 254673 h 2084191"/>
              <a:gd name="connsiteX1383" fmla="*/ 1733786 w 2051041"/>
              <a:gd name="connsiteY1383" fmla="*/ 235083 h 2084191"/>
              <a:gd name="connsiteX1384" fmla="*/ 1751743 w 2051041"/>
              <a:gd name="connsiteY1384" fmla="*/ 242157 h 2084191"/>
              <a:gd name="connsiteX1385" fmla="*/ 1762506 w 2051041"/>
              <a:gd name="connsiteY1385" fmla="*/ 246769 h 2084191"/>
              <a:gd name="connsiteX1386" fmla="*/ 1757185 w 2051041"/>
              <a:gd name="connsiteY1386" fmla="*/ 236537 h 2084191"/>
              <a:gd name="connsiteX1387" fmla="*/ 1756097 w 2051041"/>
              <a:gd name="connsiteY1387" fmla="*/ 185929 h 2084191"/>
              <a:gd name="connsiteX1388" fmla="*/ 1757185 w 2051041"/>
              <a:gd name="connsiteY1388" fmla="*/ 177766 h 2084191"/>
              <a:gd name="connsiteX1389" fmla="*/ 1749023 w 2051041"/>
              <a:gd name="connsiteY1389" fmla="*/ 178311 h 2084191"/>
              <a:gd name="connsiteX1390" fmla="*/ 1676103 w 2051041"/>
              <a:gd name="connsiteY1390" fmla="*/ 154911 h 2084191"/>
              <a:gd name="connsiteX1391" fmla="*/ 1681001 w 2051041"/>
              <a:gd name="connsiteY1391" fmla="*/ 94507 h 2084191"/>
              <a:gd name="connsiteX1392" fmla="*/ 1685681 w 2051041"/>
              <a:gd name="connsiteY1392" fmla="*/ 85147 h 2084191"/>
              <a:gd name="connsiteX1393" fmla="*/ 1693517 w 2051041"/>
              <a:gd name="connsiteY1393" fmla="*/ 82536 h 2084191"/>
              <a:gd name="connsiteX1394" fmla="*/ 1747934 w 2051041"/>
              <a:gd name="connsiteY1394" fmla="*/ 77638 h 2084191"/>
              <a:gd name="connsiteX1395" fmla="*/ 1756641 w 2051041"/>
              <a:gd name="connsiteY1395" fmla="*/ 79271 h 2084191"/>
              <a:gd name="connsiteX1396" fmla="*/ 1754464 w 2051041"/>
              <a:gd name="connsiteY1396" fmla="*/ 71652 h 2084191"/>
              <a:gd name="connsiteX1397" fmla="*/ 1752832 w 2051041"/>
              <a:gd name="connsiteY1397" fmla="*/ 68387 h 2084191"/>
              <a:gd name="connsiteX1398" fmla="*/ 1756097 w 2051041"/>
              <a:gd name="connsiteY1398" fmla="*/ 20500 h 2084191"/>
              <a:gd name="connsiteX1399" fmla="*/ 1756641 w 2051041"/>
              <a:gd name="connsiteY1399" fmla="*/ 16146 h 2084191"/>
              <a:gd name="connsiteX1400" fmla="*/ 1751744 w 2051041"/>
              <a:gd name="connsiteY1400" fmla="*/ 15058 h 2084191"/>
              <a:gd name="connsiteX1401" fmla="*/ 1741404 w 2051041"/>
              <a:gd name="connsiteY1401" fmla="*/ 19955 h 2084191"/>
              <a:gd name="connsiteX1402" fmla="*/ 1691884 w 2051041"/>
              <a:gd name="connsiteY1402" fmla="*/ 11249 h 2084191"/>
              <a:gd name="connsiteX1403" fmla="*/ 1685645 w 2051041"/>
              <a:gd name="connsiteY1403" fmla="*/ 8369 h 2084191"/>
              <a:gd name="connsiteX1404" fmla="*/ 1688620 w 2051041"/>
              <a:gd name="connsiteY1404" fmla="*/ 14691 h 2084191"/>
              <a:gd name="connsiteX1405" fmla="*/ 1691885 w 2051041"/>
              <a:gd name="connsiteY1405" fmla="*/ 69652 h 2084191"/>
              <a:gd name="connsiteX1406" fmla="*/ 1684469 w 2051041"/>
              <a:gd name="connsiteY1406" fmla="*/ 82365 h 2084191"/>
              <a:gd name="connsiteX1407" fmla="*/ 1663044 w 2051041"/>
              <a:gd name="connsiteY1407" fmla="*/ 94684 h 2084191"/>
              <a:gd name="connsiteX1408" fmla="*/ 1626584 w 2051041"/>
              <a:gd name="connsiteY1408" fmla="*/ 96861 h 2084191"/>
              <a:gd name="connsiteX1409" fmla="*/ 1590124 w 2051041"/>
              <a:gd name="connsiteY1409" fmla="*/ 60401 h 2084191"/>
              <a:gd name="connsiteX1410" fmla="*/ 1591757 w 2051041"/>
              <a:gd name="connsiteY1410" fmla="*/ 25030 h 2084191"/>
              <a:gd name="connsiteX1411" fmla="*/ 1460066 w 2051041"/>
              <a:gd name="connsiteY1411" fmla="*/ 0 h 2084191"/>
              <a:gd name="connsiteX1412" fmla="*/ 1498513 w 2051041"/>
              <a:gd name="connsiteY1412" fmla="*/ 0 h 2084191"/>
              <a:gd name="connsiteX1413" fmla="*/ 1517204 w 2051041"/>
              <a:gd name="connsiteY1413" fmla="*/ 8092 h 2084191"/>
              <a:gd name="connsiteX1414" fmla="*/ 1531896 w 2051041"/>
              <a:gd name="connsiteY1414" fmla="*/ 45164 h 2084191"/>
              <a:gd name="connsiteX1415" fmla="*/ 1479111 w 2051041"/>
              <a:gd name="connsiteY1415" fmla="*/ 97949 h 2084191"/>
              <a:gd name="connsiteX1416" fmla="*/ 1426870 w 2051041"/>
              <a:gd name="connsiteY1416" fmla="*/ 45164 h 2084191"/>
              <a:gd name="connsiteX1417" fmla="*/ 1441631 w 2051041"/>
              <a:gd name="connsiteY1417" fmla="*/ 7684 h 2084191"/>
              <a:gd name="connsiteX1418" fmla="*/ 1296749 w 2051041"/>
              <a:gd name="connsiteY1418" fmla="*/ 0 h 2084191"/>
              <a:gd name="connsiteX1419" fmla="*/ 1335755 w 2051041"/>
              <a:gd name="connsiteY1419" fmla="*/ 0 h 2084191"/>
              <a:gd name="connsiteX1420" fmla="*/ 1350278 w 2051041"/>
              <a:gd name="connsiteY1420" fmla="*/ 10270 h 2084191"/>
              <a:gd name="connsiteX1421" fmla="*/ 1365923 w 2051041"/>
              <a:gd name="connsiteY1421" fmla="*/ 45165 h 2084191"/>
              <a:gd name="connsiteX1422" fmla="*/ 1315315 w 2051041"/>
              <a:gd name="connsiteY1422" fmla="*/ 93052 h 2084191"/>
              <a:gd name="connsiteX1423" fmla="*/ 1266339 w 2051041"/>
              <a:gd name="connsiteY1423" fmla="*/ 44076 h 2084191"/>
              <a:gd name="connsiteX1424" fmla="*/ 1282732 w 2051041"/>
              <a:gd name="connsiteY1424" fmla="*/ 9317 h 2084191"/>
              <a:gd name="connsiteX1425" fmla="*/ 1148085 w 2051041"/>
              <a:gd name="connsiteY1425" fmla="*/ 0 h 2084191"/>
              <a:gd name="connsiteX1426" fmla="*/ 1161802 w 2051041"/>
              <a:gd name="connsiteY1426" fmla="*/ 0 h 2084191"/>
              <a:gd name="connsiteX1427" fmla="*/ 1169637 w 2051041"/>
              <a:gd name="connsiteY1427" fmla="*/ 1315 h 2084191"/>
              <a:gd name="connsiteX1428" fmla="*/ 1199405 w 2051041"/>
              <a:gd name="connsiteY1428" fmla="*/ 45164 h 2084191"/>
              <a:gd name="connsiteX1429" fmla="*/ 1151518 w 2051041"/>
              <a:gd name="connsiteY1429" fmla="*/ 91419 h 2084191"/>
              <a:gd name="connsiteX1430" fmla="*/ 1105807 w 2051041"/>
              <a:gd name="connsiteY1430" fmla="*/ 44620 h 2084191"/>
              <a:gd name="connsiteX1431" fmla="*/ 1119139 w 2051041"/>
              <a:gd name="connsiteY1431" fmla="*/ 11902 h 20841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Lst>
            <a:rect l="l" t="t" r="r" b="b"/>
            <a:pathLst>
              <a:path w="2051041" h="2084191">
                <a:moveTo>
                  <a:pt x="2051041" y="2080382"/>
                </a:moveTo>
                <a:lnTo>
                  <a:pt x="2051041" y="2083967"/>
                </a:lnTo>
                <a:lnTo>
                  <a:pt x="2047231" y="2084191"/>
                </a:lnTo>
                <a:cubicBezTo>
                  <a:pt x="2046687" y="2084191"/>
                  <a:pt x="2046143" y="2082559"/>
                  <a:pt x="2045599" y="2081470"/>
                </a:cubicBezTo>
                <a:close/>
                <a:moveTo>
                  <a:pt x="1478568" y="1997668"/>
                </a:moveTo>
                <a:cubicBezTo>
                  <a:pt x="1484010" y="1997668"/>
                  <a:pt x="1485642" y="2000933"/>
                  <a:pt x="1484554" y="2004743"/>
                </a:cubicBezTo>
                <a:cubicBezTo>
                  <a:pt x="1484010" y="2006919"/>
                  <a:pt x="1480745" y="2008551"/>
                  <a:pt x="1478568" y="2009096"/>
                </a:cubicBezTo>
                <a:cubicBezTo>
                  <a:pt x="1474759" y="2009640"/>
                  <a:pt x="1473126" y="2007463"/>
                  <a:pt x="1473126" y="2003654"/>
                </a:cubicBezTo>
                <a:cubicBezTo>
                  <a:pt x="1473126" y="1998756"/>
                  <a:pt x="1475303" y="1997124"/>
                  <a:pt x="1478568" y="1997668"/>
                </a:cubicBezTo>
                <a:close/>
                <a:moveTo>
                  <a:pt x="1641820" y="1993859"/>
                </a:moveTo>
                <a:cubicBezTo>
                  <a:pt x="1646718" y="1993314"/>
                  <a:pt x="1652160" y="1999300"/>
                  <a:pt x="1652160" y="2003654"/>
                </a:cubicBezTo>
                <a:cubicBezTo>
                  <a:pt x="1652160" y="2008551"/>
                  <a:pt x="1646718" y="2013449"/>
                  <a:pt x="1641820" y="2013449"/>
                </a:cubicBezTo>
                <a:cubicBezTo>
                  <a:pt x="1636923" y="2013449"/>
                  <a:pt x="1632025" y="2008007"/>
                  <a:pt x="1632025" y="2003654"/>
                </a:cubicBezTo>
                <a:cubicBezTo>
                  <a:pt x="1632025" y="1999300"/>
                  <a:pt x="1638011" y="1993859"/>
                  <a:pt x="1641820" y="1993859"/>
                </a:cubicBezTo>
                <a:close/>
                <a:moveTo>
                  <a:pt x="1969414" y="1992226"/>
                </a:moveTo>
                <a:cubicBezTo>
                  <a:pt x="1976488" y="1992226"/>
                  <a:pt x="1979753" y="1996035"/>
                  <a:pt x="1979753" y="2003654"/>
                </a:cubicBezTo>
                <a:cubicBezTo>
                  <a:pt x="1979753" y="2011272"/>
                  <a:pt x="1975944" y="2014537"/>
                  <a:pt x="1968325" y="2014537"/>
                </a:cubicBezTo>
                <a:cubicBezTo>
                  <a:pt x="1960707" y="2014537"/>
                  <a:pt x="1957442" y="2010728"/>
                  <a:pt x="1957986" y="2003110"/>
                </a:cubicBezTo>
                <a:cubicBezTo>
                  <a:pt x="1957986" y="1994947"/>
                  <a:pt x="1961251" y="1992226"/>
                  <a:pt x="1969414" y="1992226"/>
                </a:cubicBezTo>
                <a:close/>
                <a:moveTo>
                  <a:pt x="1805073" y="1992226"/>
                </a:moveTo>
                <a:cubicBezTo>
                  <a:pt x="1811058" y="1992226"/>
                  <a:pt x="1815956" y="1996035"/>
                  <a:pt x="1815956" y="2002565"/>
                </a:cubicBezTo>
                <a:cubicBezTo>
                  <a:pt x="1816500" y="2009096"/>
                  <a:pt x="1812147" y="2014537"/>
                  <a:pt x="1805073" y="2014537"/>
                </a:cubicBezTo>
                <a:cubicBezTo>
                  <a:pt x="1799087" y="2014537"/>
                  <a:pt x="1794189" y="2010184"/>
                  <a:pt x="1794189" y="2004198"/>
                </a:cubicBezTo>
                <a:cubicBezTo>
                  <a:pt x="1794189" y="1997668"/>
                  <a:pt x="1799087" y="1992770"/>
                  <a:pt x="1805073" y="1992226"/>
                </a:cubicBezTo>
                <a:close/>
                <a:moveTo>
                  <a:pt x="1234233" y="1916042"/>
                </a:moveTo>
                <a:cubicBezTo>
                  <a:pt x="1238586" y="1915497"/>
                  <a:pt x="1240763" y="1917674"/>
                  <a:pt x="1240219" y="1923660"/>
                </a:cubicBezTo>
                <a:cubicBezTo>
                  <a:pt x="1239674" y="1924204"/>
                  <a:pt x="1237498" y="1926381"/>
                  <a:pt x="1236953" y="1926381"/>
                </a:cubicBezTo>
                <a:cubicBezTo>
                  <a:pt x="1234233" y="1924204"/>
                  <a:pt x="1231512" y="1921483"/>
                  <a:pt x="1229335" y="1918762"/>
                </a:cubicBezTo>
                <a:cubicBezTo>
                  <a:pt x="1230968" y="1917674"/>
                  <a:pt x="1232600" y="1916586"/>
                  <a:pt x="1234233" y="1916042"/>
                </a:cubicBezTo>
                <a:close/>
                <a:moveTo>
                  <a:pt x="1397486" y="1911144"/>
                </a:moveTo>
                <a:cubicBezTo>
                  <a:pt x="1402927" y="1911144"/>
                  <a:pt x="1408369" y="1916041"/>
                  <a:pt x="1408369" y="1921483"/>
                </a:cubicBezTo>
                <a:cubicBezTo>
                  <a:pt x="1408369" y="1926925"/>
                  <a:pt x="1404016" y="1931279"/>
                  <a:pt x="1399118" y="1931823"/>
                </a:cubicBezTo>
                <a:cubicBezTo>
                  <a:pt x="1392588" y="1932367"/>
                  <a:pt x="1387146" y="1928013"/>
                  <a:pt x="1387146" y="1922028"/>
                </a:cubicBezTo>
                <a:cubicBezTo>
                  <a:pt x="1386602" y="1916586"/>
                  <a:pt x="1391500" y="1911144"/>
                  <a:pt x="1397486" y="1911144"/>
                </a:cubicBezTo>
                <a:close/>
                <a:moveTo>
                  <a:pt x="1560194" y="1906790"/>
                </a:moveTo>
                <a:cubicBezTo>
                  <a:pt x="1566180" y="1906790"/>
                  <a:pt x="1574342" y="1914953"/>
                  <a:pt x="1574342" y="1921482"/>
                </a:cubicBezTo>
                <a:cubicBezTo>
                  <a:pt x="1574342" y="1928013"/>
                  <a:pt x="1566724" y="1936175"/>
                  <a:pt x="1560738" y="1935631"/>
                </a:cubicBezTo>
                <a:cubicBezTo>
                  <a:pt x="1554752" y="1935631"/>
                  <a:pt x="1547678" y="1928557"/>
                  <a:pt x="1547134" y="1922027"/>
                </a:cubicBezTo>
                <a:cubicBezTo>
                  <a:pt x="1546589" y="1915497"/>
                  <a:pt x="1554208" y="1907334"/>
                  <a:pt x="1560194" y="1906790"/>
                </a:cubicBezTo>
                <a:close/>
                <a:moveTo>
                  <a:pt x="2049952" y="1905702"/>
                </a:moveTo>
                <a:lnTo>
                  <a:pt x="2051041" y="1906027"/>
                </a:lnTo>
                <a:lnTo>
                  <a:pt x="2051041" y="1938133"/>
                </a:lnTo>
                <a:lnTo>
                  <a:pt x="2050496" y="1938353"/>
                </a:lnTo>
                <a:cubicBezTo>
                  <a:pt x="2039613" y="1937808"/>
                  <a:pt x="2034715" y="1933455"/>
                  <a:pt x="2034171" y="1922572"/>
                </a:cubicBezTo>
                <a:cubicBezTo>
                  <a:pt x="2034171" y="1911144"/>
                  <a:pt x="2039069" y="1905702"/>
                  <a:pt x="2049952" y="1905702"/>
                </a:cubicBezTo>
                <a:close/>
                <a:moveTo>
                  <a:pt x="1723447" y="1905702"/>
                </a:moveTo>
                <a:cubicBezTo>
                  <a:pt x="1730521" y="1905702"/>
                  <a:pt x="1739772" y="1914409"/>
                  <a:pt x="1739772" y="1920939"/>
                </a:cubicBezTo>
                <a:cubicBezTo>
                  <a:pt x="1740316" y="1929101"/>
                  <a:pt x="1732698" y="1936720"/>
                  <a:pt x="1724535" y="1937264"/>
                </a:cubicBezTo>
                <a:cubicBezTo>
                  <a:pt x="1716373" y="1937264"/>
                  <a:pt x="1708754" y="1930190"/>
                  <a:pt x="1708210" y="1922027"/>
                </a:cubicBezTo>
                <a:cubicBezTo>
                  <a:pt x="1708210" y="1914953"/>
                  <a:pt x="1716373" y="1905702"/>
                  <a:pt x="1723447" y="1905702"/>
                </a:cubicBezTo>
                <a:close/>
                <a:moveTo>
                  <a:pt x="1887787" y="1905158"/>
                </a:moveTo>
                <a:cubicBezTo>
                  <a:pt x="1898671" y="1905158"/>
                  <a:pt x="1904113" y="1911144"/>
                  <a:pt x="1904113" y="1922028"/>
                </a:cubicBezTo>
                <a:cubicBezTo>
                  <a:pt x="1904113" y="1932367"/>
                  <a:pt x="1898127" y="1937809"/>
                  <a:pt x="1886699" y="1937809"/>
                </a:cubicBezTo>
                <a:cubicBezTo>
                  <a:pt x="1876360" y="1937809"/>
                  <a:pt x="1870918" y="1931823"/>
                  <a:pt x="1870918" y="1921483"/>
                </a:cubicBezTo>
                <a:cubicBezTo>
                  <a:pt x="1870918" y="1910600"/>
                  <a:pt x="1876904" y="1904614"/>
                  <a:pt x="1887787" y="1905158"/>
                </a:cubicBezTo>
                <a:close/>
                <a:moveTo>
                  <a:pt x="1152606" y="1831693"/>
                </a:moveTo>
                <a:cubicBezTo>
                  <a:pt x="1155871" y="1832782"/>
                  <a:pt x="1160769" y="1836591"/>
                  <a:pt x="1161313" y="1839312"/>
                </a:cubicBezTo>
                <a:cubicBezTo>
                  <a:pt x="1160769" y="1843121"/>
                  <a:pt x="1156959" y="1846931"/>
                  <a:pt x="1153694" y="1852916"/>
                </a:cubicBezTo>
                <a:cubicBezTo>
                  <a:pt x="1149341" y="1847475"/>
                  <a:pt x="1146076" y="1844754"/>
                  <a:pt x="1144988" y="1841489"/>
                </a:cubicBezTo>
                <a:cubicBezTo>
                  <a:pt x="1143355" y="1837135"/>
                  <a:pt x="1148797" y="1830605"/>
                  <a:pt x="1152606" y="1831693"/>
                </a:cubicBezTo>
                <a:close/>
                <a:moveTo>
                  <a:pt x="1315315" y="1825708"/>
                </a:moveTo>
                <a:cubicBezTo>
                  <a:pt x="1321301" y="1825164"/>
                  <a:pt x="1331096" y="1834415"/>
                  <a:pt x="1330552" y="1840401"/>
                </a:cubicBezTo>
                <a:cubicBezTo>
                  <a:pt x="1330552" y="1845298"/>
                  <a:pt x="1321301" y="1854549"/>
                  <a:pt x="1316404" y="1854549"/>
                </a:cubicBezTo>
                <a:cubicBezTo>
                  <a:pt x="1310962" y="1855094"/>
                  <a:pt x="1302255" y="1846387"/>
                  <a:pt x="1301711" y="1840945"/>
                </a:cubicBezTo>
                <a:cubicBezTo>
                  <a:pt x="1301167" y="1834959"/>
                  <a:pt x="1309329" y="1826252"/>
                  <a:pt x="1315315" y="1825708"/>
                </a:cubicBezTo>
                <a:close/>
                <a:moveTo>
                  <a:pt x="1479656" y="1822987"/>
                </a:moveTo>
                <a:cubicBezTo>
                  <a:pt x="1489995" y="1823531"/>
                  <a:pt x="1495981" y="1830061"/>
                  <a:pt x="1495981" y="1840401"/>
                </a:cubicBezTo>
                <a:cubicBezTo>
                  <a:pt x="1495981" y="1851284"/>
                  <a:pt x="1490539" y="1856726"/>
                  <a:pt x="1478567" y="1856182"/>
                </a:cubicBezTo>
                <a:cubicBezTo>
                  <a:pt x="1467140" y="1856182"/>
                  <a:pt x="1462242" y="1850740"/>
                  <a:pt x="1462242" y="1839312"/>
                </a:cubicBezTo>
                <a:cubicBezTo>
                  <a:pt x="1462242" y="1828429"/>
                  <a:pt x="1468772" y="1822443"/>
                  <a:pt x="1479656" y="1822987"/>
                </a:cubicBezTo>
                <a:close/>
                <a:moveTo>
                  <a:pt x="1642365" y="1821355"/>
                </a:moveTo>
                <a:cubicBezTo>
                  <a:pt x="1653248" y="1821355"/>
                  <a:pt x="1661955" y="1829518"/>
                  <a:pt x="1660867" y="1840401"/>
                </a:cubicBezTo>
                <a:cubicBezTo>
                  <a:pt x="1659778" y="1853461"/>
                  <a:pt x="1653792" y="1857270"/>
                  <a:pt x="1642365" y="1857270"/>
                </a:cubicBezTo>
                <a:cubicBezTo>
                  <a:pt x="1630937" y="1857270"/>
                  <a:pt x="1624407" y="1850740"/>
                  <a:pt x="1624407" y="1839857"/>
                </a:cubicBezTo>
                <a:cubicBezTo>
                  <a:pt x="1624407" y="1828973"/>
                  <a:pt x="1632025" y="1821355"/>
                  <a:pt x="1642365" y="1821355"/>
                </a:cubicBezTo>
                <a:close/>
                <a:moveTo>
                  <a:pt x="1806162" y="1819723"/>
                </a:moveTo>
                <a:cubicBezTo>
                  <a:pt x="1816501" y="1819723"/>
                  <a:pt x="1827385" y="1831150"/>
                  <a:pt x="1826840" y="1840945"/>
                </a:cubicBezTo>
                <a:cubicBezTo>
                  <a:pt x="1826296" y="1850740"/>
                  <a:pt x="1813780" y="1862168"/>
                  <a:pt x="1804529" y="1861080"/>
                </a:cubicBezTo>
                <a:cubicBezTo>
                  <a:pt x="1795278" y="1860536"/>
                  <a:pt x="1783851" y="1847476"/>
                  <a:pt x="1784395" y="1839313"/>
                </a:cubicBezTo>
                <a:cubicBezTo>
                  <a:pt x="1784939" y="1828973"/>
                  <a:pt x="1796367" y="1819178"/>
                  <a:pt x="1806162" y="1819723"/>
                </a:cubicBezTo>
                <a:close/>
                <a:moveTo>
                  <a:pt x="1968870" y="1819178"/>
                </a:moveTo>
                <a:cubicBezTo>
                  <a:pt x="1980298" y="1819178"/>
                  <a:pt x="1990093" y="1828973"/>
                  <a:pt x="1990093" y="1840401"/>
                </a:cubicBezTo>
                <a:cubicBezTo>
                  <a:pt x="1990093" y="1851285"/>
                  <a:pt x="1980298" y="1861624"/>
                  <a:pt x="1968870" y="1861624"/>
                </a:cubicBezTo>
                <a:cubicBezTo>
                  <a:pt x="1957986" y="1861624"/>
                  <a:pt x="1947647" y="1851285"/>
                  <a:pt x="1947647" y="1840401"/>
                </a:cubicBezTo>
                <a:cubicBezTo>
                  <a:pt x="1947647" y="1828973"/>
                  <a:pt x="1957986" y="1819178"/>
                  <a:pt x="1968870" y="1819178"/>
                </a:cubicBezTo>
                <a:close/>
                <a:moveTo>
                  <a:pt x="1070436" y="1747347"/>
                </a:moveTo>
                <a:cubicBezTo>
                  <a:pt x="1078598" y="1747347"/>
                  <a:pt x="1081863" y="1750612"/>
                  <a:pt x="1081863" y="1758231"/>
                </a:cubicBezTo>
                <a:cubicBezTo>
                  <a:pt x="1081863" y="1766393"/>
                  <a:pt x="1078598" y="1769658"/>
                  <a:pt x="1070980" y="1769658"/>
                </a:cubicBezTo>
                <a:cubicBezTo>
                  <a:pt x="1063361" y="1769658"/>
                  <a:pt x="1060096" y="1766393"/>
                  <a:pt x="1059552" y="1758775"/>
                </a:cubicBezTo>
                <a:cubicBezTo>
                  <a:pt x="1059552" y="1751156"/>
                  <a:pt x="1062817" y="1747347"/>
                  <a:pt x="1070436" y="1747347"/>
                </a:cubicBezTo>
                <a:close/>
                <a:moveTo>
                  <a:pt x="1233688" y="1742449"/>
                </a:moveTo>
                <a:cubicBezTo>
                  <a:pt x="1242939" y="1741904"/>
                  <a:pt x="1250558" y="1750067"/>
                  <a:pt x="1250558" y="1758774"/>
                </a:cubicBezTo>
                <a:cubicBezTo>
                  <a:pt x="1250558" y="1767481"/>
                  <a:pt x="1242939" y="1775099"/>
                  <a:pt x="1233688" y="1775099"/>
                </a:cubicBezTo>
                <a:cubicBezTo>
                  <a:pt x="1224981" y="1775099"/>
                  <a:pt x="1218451" y="1768025"/>
                  <a:pt x="1217907" y="1759318"/>
                </a:cubicBezTo>
                <a:cubicBezTo>
                  <a:pt x="1217907" y="1750067"/>
                  <a:pt x="1224981" y="1742449"/>
                  <a:pt x="1233688" y="1742449"/>
                </a:cubicBezTo>
                <a:close/>
                <a:moveTo>
                  <a:pt x="1399662" y="1739728"/>
                </a:moveTo>
                <a:cubicBezTo>
                  <a:pt x="1410002" y="1740817"/>
                  <a:pt x="1418164" y="1750068"/>
                  <a:pt x="1417076" y="1760407"/>
                </a:cubicBezTo>
                <a:cubicBezTo>
                  <a:pt x="1415988" y="1769114"/>
                  <a:pt x="1404560" y="1779997"/>
                  <a:pt x="1396941" y="1779453"/>
                </a:cubicBezTo>
                <a:cubicBezTo>
                  <a:pt x="1388779" y="1778909"/>
                  <a:pt x="1376807" y="1765305"/>
                  <a:pt x="1377895" y="1757686"/>
                </a:cubicBezTo>
                <a:cubicBezTo>
                  <a:pt x="1379528" y="1746803"/>
                  <a:pt x="1389867" y="1738640"/>
                  <a:pt x="1399662" y="1739728"/>
                </a:cubicBezTo>
                <a:close/>
                <a:moveTo>
                  <a:pt x="1723991" y="1735919"/>
                </a:moveTo>
                <a:cubicBezTo>
                  <a:pt x="1738140" y="1735919"/>
                  <a:pt x="1746847" y="1744626"/>
                  <a:pt x="1746847" y="1758774"/>
                </a:cubicBezTo>
                <a:cubicBezTo>
                  <a:pt x="1746847" y="1772379"/>
                  <a:pt x="1738140" y="1781086"/>
                  <a:pt x="1723991" y="1781086"/>
                </a:cubicBezTo>
                <a:cubicBezTo>
                  <a:pt x="1709299" y="1781086"/>
                  <a:pt x="1701680" y="1773467"/>
                  <a:pt x="1701680" y="1758774"/>
                </a:cubicBezTo>
                <a:cubicBezTo>
                  <a:pt x="1701680" y="1744626"/>
                  <a:pt x="1709843" y="1735919"/>
                  <a:pt x="1723991" y="1735919"/>
                </a:cubicBezTo>
                <a:close/>
                <a:moveTo>
                  <a:pt x="1560194" y="1735919"/>
                </a:moveTo>
                <a:cubicBezTo>
                  <a:pt x="1572710" y="1736463"/>
                  <a:pt x="1582505" y="1746258"/>
                  <a:pt x="1582505" y="1758230"/>
                </a:cubicBezTo>
                <a:cubicBezTo>
                  <a:pt x="1582505" y="1770202"/>
                  <a:pt x="1572710" y="1779997"/>
                  <a:pt x="1560738" y="1779997"/>
                </a:cubicBezTo>
                <a:cubicBezTo>
                  <a:pt x="1549855" y="1779997"/>
                  <a:pt x="1538427" y="1769114"/>
                  <a:pt x="1538427" y="1758230"/>
                </a:cubicBezTo>
                <a:cubicBezTo>
                  <a:pt x="1538427" y="1746803"/>
                  <a:pt x="1548766" y="1735919"/>
                  <a:pt x="1560194" y="1735919"/>
                </a:cubicBezTo>
                <a:close/>
                <a:moveTo>
                  <a:pt x="2051041" y="1734831"/>
                </a:moveTo>
                <a:lnTo>
                  <a:pt x="2051041" y="1781438"/>
                </a:lnTo>
                <a:lnTo>
                  <a:pt x="2050496" y="1781630"/>
                </a:lnTo>
                <a:cubicBezTo>
                  <a:pt x="2033627" y="1782174"/>
                  <a:pt x="2027097" y="1772379"/>
                  <a:pt x="2027097" y="1758775"/>
                </a:cubicBezTo>
                <a:cubicBezTo>
                  <a:pt x="2027097" y="1744082"/>
                  <a:pt x="2033627" y="1734831"/>
                  <a:pt x="2051041" y="1734831"/>
                </a:cubicBezTo>
                <a:close/>
                <a:moveTo>
                  <a:pt x="1887788" y="1734831"/>
                </a:moveTo>
                <a:cubicBezTo>
                  <a:pt x="1902481" y="1735375"/>
                  <a:pt x="1910099" y="1742994"/>
                  <a:pt x="1910099" y="1758775"/>
                </a:cubicBezTo>
                <a:cubicBezTo>
                  <a:pt x="1910099" y="1771835"/>
                  <a:pt x="1903025" y="1782718"/>
                  <a:pt x="1886699" y="1781086"/>
                </a:cubicBezTo>
                <a:cubicBezTo>
                  <a:pt x="1872551" y="1782174"/>
                  <a:pt x="1863844" y="1770203"/>
                  <a:pt x="1863844" y="1757687"/>
                </a:cubicBezTo>
                <a:cubicBezTo>
                  <a:pt x="1863844" y="1742994"/>
                  <a:pt x="1874728" y="1734287"/>
                  <a:pt x="1887788" y="1734831"/>
                </a:cubicBezTo>
                <a:close/>
                <a:moveTo>
                  <a:pt x="826100" y="1671706"/>
                </a:moveTo>
                <a:cubicBezTo>
                  <a:pt x="830454" y="1670618"/>
                  <a:pt x="832086" y="1673338"/>
                  <a:pt x="832086" y="1677692"/>
                </a:cubicBezTo>
                <a:cubicBezTo>
                  <a:pt x="832086" y="1681501"/>
                  <a:pt x="829365" y="1683134"/>
                  <a:pt x="825556" y="1683134"/>
                </a:cubicBezTo>
                <a:cubicBezTo>
                  <a:pt x="821203" y="1683134"/>
                  <a:pt x="819570" y="1679869"/>
                  <a:pt x="820658" y="1676603"/>
                </a:cubicBezTo>
                <a:cubicBezTo>
                  <a:pt x="821203" y="1674427"/>
                  <a:pt x="823924" y="1672250"/>
                  <a:pt x="826100" y="1671706"/>
                </a:cubicBezTo>
                <a:close/>
                <a:moveTo>
                  <a:pt x="989354" y="1661912"/>
                </a:moveTo>
                <a:cubicBezTo>
                  <a:pt x="994251" y="1661912"/>
                  <a:pt x="1004046" y="1671707"/>
                  <a:pt x="1004046" y="1676604"/>
                </a:cubicBezTo>
                <a:cubicBezTo>
                  <a:pt x="1004046" y="1682590"/>
                  <a:pt x="996428" y="1690209"/>
                  <a:pt x="989354" y="1690209"/>
                </a:cubicBezTo>
                <a:cubicBezTo>
                  <a:pt x="982823" y="1690209"/>
                  <a:pt x="975749" y="1683679"/>
                  <a:pt x="975205" y="1677693"/>
                </a:cubicBezTo>
                <a:cubicBezTo>
                  <a:pt x="974661" y="1671707"/>
                  <a:pt x="983912" y="1661367"/>
                  <a:pt x="989354" y="1661912"/>
                </a:cubicBezTo>
                <a:close/>
                <a:moveTo>
                  <a:pt x="1153151" y="1659734"/>
                </a:moveTo>
                <a:cubicBezTo>
                  <a:pt x="1162946" y="1658646"/>
                  <a:pt x="1171108" y="1667353"/>
                  <a:pt x="1170564" y="1677692"/>
                </a:cubicBezTo>
                <a:cubicBezTo>
                  <a:pt x="1170020" y="1688575"/>
                  <a:pt x="1162946" y="1694562"/>
                  <a:pt x="1152062" y="1694562"/>
                </a:cubicBezTo>
                <a:cubicBezTo>
                  <a:pt x="1141179" y="1694017"/>
                  <a:pt x="1135737" y="1688031"/>
                  <a:pt x="1135737" y="1677148"/>
                </a:cubicBezTo>
                <a:cubicBezTo>
                  <a:pt x="1135737" y="1664632"/>
                  <a:pt x="1141179" y="1659190"/>
                  <a:pt x="1153151" y="1659734"/>
                </a:cubicBezTo>
                <a:close/>
                <a:moveTo>
                  <a:pt x="1315315" y="1655381"/>
                </a:moveTo>
                <a:cubicBezTo>
                  <a:pt x="1327287" y="1654836"/>
                  <a:pt x="1337082" y="1664088"/>
                  <a:pt x="1337082" y="1676603"/>
                </a:cubicBezTo>
                <a:cubicBezTo>
                  <a:pt x="1337082" y="1688575"/>
                  <a:pt x="1326743" y="1698915"/>
                  <a:pt x="1315315" y="1698915"/>
                </a:cubicBezTo>
                <a:cubicBezTo>
                  <a:pt x="1304976" y="1698915"/>
                  <a:pt x="1294092" y="1687487"/>
                  <a:pt x="1294092" y="1677148"/>
                </a:cubicBezTo>
                <a:cubicBezTo>
                  <a:pt x="1294092" y="1666264"/>
                  <a:pt x="1304431" y="1655925"/>
                  <a:pt x="1315315" y="1655381"/>
                </a:cubicBezTo>
                <a:close/>
                <a:moveTo>
                  <a:pt x="1479111" y="1654293"/>
                </a:moveTo>
                <a:cubicBezTo>
                  <a:pt x="1495437" y="1653204"/>
                  <a:pt x="1501967" y="1664632"/>
                  <a:pt x="1501967" y="1677692"/>
                </a:cubicBezTo>
                <a:cubicBezTo>
                  <a:pt x="1501967" y="1689664"/>
                  <a:pt x="1492716" y="1700548"/>
                  <a:pt x="1479111" y="1700548"/>
                </a:cubicBezTo>
                <a:cubicBezTo>
                  <a:pt x="1466596" y="1700548"/>
                  <a:pt x="1455712" y="1690208"/>
                  <a:pt x="1455712" y="1676604"/>
                </a:cubicBezTo>
                <a:cubicBezTo>
                  <a:pt x="1456256" y="1663544"/>
                  <a:pt x="1464963" y="1653204"/>
                  <a:pt x="1479111" y="1654293"/>
                </a:cubicBezTo>
                <a:close/>
                <a:moveTo>
                  <a:pt x="1643452" y="1650483"/>
                </a:moveTo>
                <a:cubicBezTo>
                  <a:pt x="1654880" y="1651027"/>
                  <a:pt x="1667940" y="1664087"/>
                  <a:pt x="1668484" y="1676603"/>
                </a:cubicBezTo>
                <a:cubicBezTo>
                  <a:pt x="1669029" y="1689120"/>
                  <a:pt x="1655968" y="1702724"/>
                  <a:pt x="1643452" y="1703268"/>
                </a:cubicBezTo>
                <a:cubicBezTo>
                  <a:pt x="1631480" y="1703812"/>
                  <a:pt x="1617332" y="1690208"/>
                  <a:pt x="1617332" y="1677692"/>
                </a:cubicBezTo>
                <a:cubicBezTo>
                  <a:pt x="1616788" y="1664632"/>
                  <a:pt x="1630392" y="1650483"/>
                  <a:pt x="1643452" y="1650483"/>
                </a:cubicBezTo>
                <a:close/>
                <a:moveTo>
                  <a:pt x="1968326" y="1649940"/>
                </a:moveTo>
                <a:cubicBezTo>
                  <a:pt x="1983019" y="1649395"/>
                  <a:pt x="1997167" y="1664088"/>
                  <a:pt x="1995535" y="1676604"/>
                </a:cubicBezTo>
                <a:cubicBezTo>
                  <a:pt x="1997167" y="1689664"/>
                  <a:pt x="1982474" y="1704901"/>
                  <a:pt x="1968870" y="1704357"/>
                </a:cubicBezTo>
                <a:cubicBezTo>
                  <a:pt x="1954177" y="1703813"/>
                  <a:pt x="1942205" y="1691841"/>
                  <a:pt x="1941661" y="1677148"/>
                </a:cubicBezTo>
                <a:cubicBezTo>
                  <a:pt x="1941117" y="1662456"/>
                  <a:pt x="1956354" y="1649940"/>
                  <a:pt x="1968326" y="1649940"/>
                </a:cubicBezTo>
                <a:close/>
                <a:moveTo>
                  <a:pt x="1805617" y="1649939"/>
                </a:moveTo>
                <a:cubicBezTo>
                  <a:pt x="1819222" y="1648851"/>
                  <a:pt x="1832826" y="1664088"/>
                  <a:pt x="1832826" y="1677148"/>
                </a:cubicBezTo>
                <a:cubicBezTo>
                  <a:pt x="1832282" y="1690752"/>
                  <a:pt x="1819222" y="1703812"/>
                  <a:pt x="1805073" y="1704357"/>
                </a:cubicBezTo>
                <a:cubicBezTo>
                  <a:pt x="1792557" y="1704901"/>
                  <a:pt x="1777864" y="1688031"/>
                  <a:pt x="1778409" y="1677148"/>
                </a:cubicBezTo>
                <a:cubicBezTo>
                  <a:pt x="1779497" y="1662999"/>
                  <a:pt x="1791469" y="1649939"/>
                  <a:pt x="1805617" y="1649939"/>
                </a:cubicBezTo>
                <a:close/>
                <a:moveTo>
                  <a:pt x="744474" y="1588992"/>
                </a:moveTo>
                <a:cubicBezTo>
                  <a:pt x="748827" y="1588992"/>
                  <a:pt x="751004" y="1590624"/>
                  <a:pt x="751004" y="1594978"/>
                </a:cubicBezTo>
                <a:cubicBezTo>
                  <a:pt x="751004" y="1598787"/>
                  <a:pt x="749916" y="1601508"/>
                  <a:pt x="745562" y="1602052"/>
                </a:cubicBezTo>
                <a:cubicBezTo>
                  <a:pt x="740665" y="1602052"/>
                  <a:pt x="738488" y="1600420"/>
                  <a:pt x="738488" y="1594978"/>
                </a:cubicBezTo>
                <a:cubicBezTo>
                  <a:pt x="737944" y="1590624"/>
                  <a:pt x="740121" y="1588992"/>
                  <a:pt x="744474" y="1588992"/>
                </a:cubicBezTo>
                <a:close/>
                <a:moveTo>
                  <a:pt x="907183" y="1579741"/>
                </a:moveTo>
                <a:cubicBezTo>
                  <a:pt x="913169" y="1579197"/>
                  <a:pt x="923508" y="1588992"/>
                  <a:pt x="923508" y="1594978"/>
                </a:cubicBezTo>
                <a:cubicBezTo>
                  <a:pt x="923508" y="1600964"/>
                  <a:pt x="915345" y="1610215"/>
                  <a:pt x="908815" y="1610759"/>
                </a:cubicBezTo>
                <a:cubicBezTo>
                  <a:pt x="901197" y="1611303"/>
                  <a:pt x="892490" y="1603685"/>
                  <a:pt x="892490" y="1595522"/>
                </a:cubicBezTo>
                <a:cubicBezTo>
                  <a:pt x="892490" y="1588448"/>
                  <a:pt x="900653" y="1579741"/>
                  <a:pt x="907183" y="1579741"/>
                </a:cubicBezTo>
                <a:close/>
                <a:moveTo>
                  <a:pt x="1071524" y="1574843"/>
                </a:moveTo>
                <a:cubicBezTo>
                  <a:pt x="1081319" y="1575387"/>
                  <a:pt x="1091114" y="1585726"/>
                  <a:pt x="1091114" y="1595522"/>
                </a:cubicBezTo>
                <a:cubicBezTo>
                  <a:pt x="1091114" y="1605317"/>
                  <a:pt x="1080231" y="1615656"/>
                  <a:pt x="1070980" y="1615656"/>
                </a:cubicBezTo>
                <a:cubicBezTo>
                  <a:pt x="1062273" y="1615656"/>
                  <a:pt x="1050845" y="1604228"/>
                  <a:pt x="1050301" y="1595522"/>
                </a:cubicBezTo>
                <a:cubicBezTo>
                  <a:pt x="1050301" y="1586270"/>
                  <a:pt x="1062273" y="1574299"/>
                  <a:pt x="1071524" y="1574843"/>
                </a:cubicBezTo>
                <a:close/>
                <a:moveTo>
                  <a:pt x="1233688" y="1573210"/>
                </a:moveTo>
                <a:cubicBezTo>
                  <a:pt x="1247837" y="1573210"/>
                  <a:pt x="1256544" y="1581373"/>
                  <a:pt x="1256544" y="1595522"/>
                </a:cubicBezTo>
                <a:cubicBezTo>
                  <a:pt x="1256544" y="1609670"/>
                  <a:pt x="1247837" y="1618377"/>
                  <a:pt x="1233688" y="1618377"/>
                </a:cubicBezTo>
                <a:cubicBezTo>
                  <a:pt x="1221172" y="1618377"/>
                  <a:pt x="1212465" y="1608582"/>
                  <a:pt x="1211377" y="1596610"/>
                </a:cubicBezTo>
                <a:cubicBezTo>
                  <a:pt x="1210289" y="1584638"/>
                  <a:pt x="1222261" y="1571034"/>
                  <a:pt x="1233688" y="1573210"/>
                </a:cubicBezTo>
                <a:close/>
                <a:moveTo>
                  <a:pt x="1398030" y="1569402"/>
                </a:moveTo>
                <a:cubicBezTo>
                  <a:pt x="1411634" y="1569946"/>
                  <a:pt x="1423606" y="1582462"/>
                  <a:pt x="1423062" y="1595522"/>
                </a:cubicBezTo>
                <a:cubicBezTo>
                  <a:pt x="1423062" y="1608582"/>
                  <a:pt x="1410546" y="1621099"/>
                  <a:pt x="1397485" y="1621099"/>
                </a:cubicBezTo>
                <a:cubicBezTo>
                  <a:pt x="1384969" y="1621099"/>
                  <a:pt x="1371365" y="1608038"/>
                  <a:pt x="1371365" y="1595522"/>
                </a:cubicBezTo>
                <a:cubicBezTo>
                  <a:pt x="1371365" y="1582462"/>
                  <a:pt x="1384969" y="1568857"/>
                  <a:pt x="1398030" y="1569402"/>
                </a:cubicBezTo>
                <a:close/>
                <a:moveTo>
                  <a:pt x="1560194" y="1568313"/>
                </a:moveTo>
                <a:cubicBezTo>
                  <a:pt x="1574342" y="1566680"/>
                  <a:pt x="1587403" y="1581373"/>
                  <a:pt x="1587947" y="1594433"/>
                </a:cubicBezTo>
                <a:cubicBezTo>
                  <a:pt x="1588491" y="1608582"/>
                  <a:pt x="1574887" y="1622730"/>
                  <a:pt x="1560194" y="1622730"/>
                </a:cubicBezTo>
                <a:cubicBezTo>
                  <a:pt x="1547134" y="1622730"/>
                  <a:pt x="1532985" y="1608582"/>
                  <a:pt x="1532985" y="1594977"/>
                </a:cubicBezTo>
                <a:cubicBezTo>
                  <a:pt x="1532985" y="1581917"/>
                  <a:pt x="1547134" y="1566680"/>
                  <a:pt x="1560194" y="1568313"/>
                </a:cubicBezTo>
                <a:close/>
                <a:moveTo>
                  <a:pt x="1887244" y="1567225"/>
                </a:moveTo>
                <a:cubicBezTo>
                  <a:pt x="1905202" y="1567225"/>
                  <a:pt x="1915541" y="1578109"/>
                  <a:pt x="1915541" y="1594978"/>
                </a:cubicBezTo>
                <a:cubicBezTo>
                  <a:pt x="1915541" y="1612392"/>
                  <a:pt x="1903569" y="1624363"/>
                  <a:pt x="1886699" y="1623819"/>
                </a:cubicBezTo>
                <a:cubicBezTo>
                  <a:pt x="1872551" y="1623819"/>
                  <a:pt x="1857314" y="1613480"/>
                  <a:pt x="1858947" y="1594978"/>
                </a:cubicBezTo>
                <a:cubicBezTo>
                  <a:pt x="1857858" y="1577564"/>
                  <a:pt x="1870918" y="1567225"/>
                  <a:pt x="1887244" y="1567225"/>
                </a:cubicBezTo>
                <a:close/>
                <a:moveTo>
                  <a:pt x="1724535" y="1567225"/>
                </a:moveTo>
                <a:cubicBezTo>
                  <a:pt x="1743037" y="1567225"/>
                  <a:pt x="1752288" y="1581373"/>
                  <a:pt x="1752288" y="1594978"/>
                </a:cubicBezTo>
                <a:cubicBezTo>
                  <a:pt x="1752288" y="1609127"/>
                  <a:pt x="1741949" y="1623275"/>
                  <a:pt x="1724535" y="1623275"/>
                </a:cubicBezTo>
                <a:cubicBezTo>
                  <a:pt x="1710930" y="1623819"/>
                  <a:pt x="1694605" y="1613480"/>
                  <a:pt x="1696238" y="1594978"/>
                </a:cubicBezTo>
                <a:cubicBezTo>
                  <a:pt x="1694605" y="1577564"/>
                  <a:pt x="1708754" y="1567225"/>
                  <a:pt x="1724535" y="1567225"/>
                </a:cubicBezTo>
                <a:close/>
                <a:moveTo>
                  <a:pt x="2050496" y="1566680"/>
                </a:moveTo>
                <a:lnTo>
                  <a:pt x="2051041" y="1566888"/>
                </a:lnTo>
                <a:lnTo>
                  <a:pt x="2051041" y="1623794"/>
                </a:lnTo>
                <a:lnTo>
                  <a:pt x="2049408" y="1624363"/>
                </a:lnTo>
                <a:cubicBezTo>
                  <a:pt x="2033083" y="1623818"/>
                  <a:pt x="2021111" y="1611302"/>
                  <a:pt x="2021655" y="1594977"/>
                </a:cubicBezTo>
                <a:cubicBezTo>
                  <a:pt x="2022199" y="1575931"/>
                  <a:pt x="2033627" y="1567224"/>
                  <a:pt x="2050496" y="1566680"/>
                </a:cubicBezTo>
                <a:close/>
                <a:moveTo>
                  <a:pt x="663392" y="1505188"/>
                </a:moveTo>
                <a:cubicBezTo>
                  <a:pt x="666113" y="1505188"/>
                  <a:pt x="669922" y="1510086"/>
                  <a:pt x="674819" y="1513895"/>
                </a:cubicBezTo>
                <a:cubicBezTo>
                  <a:pt x="669378" y="1517704"/>
                  <a:pt x="665569" y="1522602"/>
                  <a:pt x="662848" y="1522058"/>
                </a:cubicBezTo>
                <a:cubicBezTo>
                  <a:pt x="659583" y="1521513"/>
                  <a:pt x="654685" y="1516072"/>
                  <a:pt x="654685" y="1513351"/>
                </a:cubicBezTo>
                <a:cubicBezTo>
                  <a:pt x="654685" y="1510086"/>
                  <a:pt x="660127" y="1505188"/>
                  <a:pt x="663392" y="1505188"/>
                </a:cubicBezTo>
                <a:close/>
                <a:moveTo>
                  <a:pt x="826101" y="1497570"/>
                </a:moveTo>
                <a:cubicBezTo>
                  <a:pt x="834263" y="1497025"/>
                  <a:pt x="842426" y="1505188"/>
                  <a:pt x="842970" y="1513351"/>
                </a:cubicBezTo>
                <a:cubicBezTo>
                  <a:pt x="842970" y="1522058"/>
                  <a:pt x="835352" y="1529676"/>
                  <a:pt x="826645" y="1529676"/>
                </a:cubicBezTo>
                <a:cubicBezTo>
                  <a:pt x="818482" y="1529676"/>
                  <a:pt x="810864" y="1523146"/>
                  <a:pt x="810319" y="1514983"/>
                </a:cubicBezTo>
                <a:cubicBezTo>
                  <a:pt x="809775" y="1506276"/>
                  <a:pt x="817394" y="1498114"/>
                  <a:pt x="826101" y="1497570"/>
                </a:cubicBezTo>
                <a:close/>
                <a:moveTo>
                  <a:pt x="988265" y="1492128"/>
                </a:moveTo>
                <a:cubicBezTo>
                  <a:pt x="998605" y="1492128"/>
                  <a:pt x="1010577" y="1501379"/>
                  <a:pt x="1010577" y="1513351"/>
                </a:cubicBezTo>
                <a:cubicBezTo>
                  <a:pt x="1010577" y="1524234"/>
                  <a:pt x="1000237" y="1534574"/>
                  <a:pt x="989354" y="1534574"/>
                </a:cubicBezTo>
                <a:cubicBezTo>
                  <a:pt x="979559" y="1534574"/>
                  <a:pt x="968675" y="1523690"/>
                  <a:pt x="968131" y="1513895"/>
                </a:cubicBezTo>
                <a:cubicBezTo>
                  <a:pt x="968131" y="1503556"/>
                  <a:pt x="977926" y="1492672"/>
                  <a:pt x="988265" y="1492128"/>
                </a:cubicBezTo>
                <a:close/>
                <a:moveTo>
                  <a:pt x="1152606" y="1490496"/>
                </a:moveTo>
                <a:cubicBezTo>
                  <a:pt x="1167299" y="1489407"/>
                  <a:pt x="1176006" y="1498658"/>
                  <a:pt x="1176006" y="1513351"/>
                </a:cubicBezTo>
                <a:cubicBezTo>
                  <a:pt x="1176006" y="1530764"/>
                  <a:pt x="1166755" y="1537295"/>
                  <a:pt x="1152606" y="1537839"/>
                </a:cubicBezTo>
                <a:cubicBezTo>
                  <a:pt x="1139546" y="1537839"/>
                  <a:pt x="1129207" y="1530764"/>
                  <a:pt x="1129207" y="1514984"/>
                </a:cubicBezTo>
                <a:cubicBezTo>
                  <a:pt x="1129207" y="1498114"/>
                  <a:pt x="1138458" y="1491040"/>
                  <a:pt x="1152606" y="1490496"/>
                </a:cubicBezTo>
                <a:close/>
                <a:moveTo>
                  <a:pt x="1316403" y="1487231"/>
                </a:moveTo>
                <a:cubicBezTo>
                  <a:pt x="1331095" y="1487775"/>
                  <a:pt x="1342523" y="1499203"/>
                  <a:pt x="1342523" y="1513896"/>
                </a:cubicBezTo>
                <a:cubicBezTo>
                  <a:pt x="1342523" y="1528588"/>
                  <a:pt x="1330551" y="1540560"/>
                  <a:pt x="1315314" y="1540560"/>
                </a:cubicBezTo>
                <a:cubicBezTo>
                  <a:pt x="1303887" y="1542193"/>
                  <a:pt x="1288106" y="1527500"/>
                  <a:pt x="1288650" y="1513896"/>
                </a:cubicBezTo>
                <a:cubicBezTo>
                  <a:pt x="1289194" y="1498659"/>
                  <a:pt x="1301166" y="1486687"/>
                  <a:pt x="1316403" y="1487231"/>
                </a:cubicBezTo>
                <a:close/>
                <a:moveTo>
                  <a:pt x="1479656" y="1485054"/>
                </a:moveTo>
                <a:cubicBezTo>
                  <a:pt x="1495437" y="1485598"/>
                  <a:pt x="1508497" y="1496482"/>
                  <a:pt x="1507409" y="1513895"/>
                </a:cubicBezTo>
                <a:cubicBezTo>
                  <a:pt x="1508497" y="1527500"/>
                  <a:pt x="1498158" y="1542192"/>
                  <a:pt x="1479112" y="1541648"/>
                </a:cubicBezTo>
                <a:cubicBezTo>
                  <a:pt x="1462787" y="1541648"/>
                  <a:pt x="1451359" y="1529676"/>
                  <a:pt x="1451359" y="1513351"/>
                </a:cubicBezTo>
                <a:cubicBezTo>
                  <a:pt x="1451359" y="1493761"/>
                  <a:pt x="1466596" y="1485054"/>
                  <a:pt x="1479656" y="1485054"/>
                </a:cubicBezTo>
                <a:close/>
                <a:moveTo>
                  <a:pt x="1641820" y="1482334"/>
                </a:moveTo>
                <a:cubicBezTo>
                  <a:pt x="1657057" y="1481789"/>
                  <a:pt x="1672838" y="1496482"/>
                  <a:pt x="1673382" y="1512807"/>
                </a:cubicBezTo>
                <a:cubicBezTo>
                  <a:pt x="1673927" y="1528044"/>
                  <a:pt x="1658145" y="1544370"/>
                  <a:pt x="1642909" y="1544370"/>
                </a:cubicBezTo>
                <a:cubicBezTo>
                  <a:pt x="1626039" y="1542193"/>
                  <a:pt x="1612979" y="1532942"/>
                  <a:pt x="1612435" y="1513351"/>
                </a:cubicBezTo>
                <a:cubicBezTo>
                  <a:pt x="1611890" y="1497571"/>
                  <a:pt x="1626583" y="1483422"/>
                  <a:pt x="1641820" y="1482334"/>
                </a:cubicBezTo>
                <a:close/>
                <a:moveTo>
                  <a:pt x="1804529" y="1481788"/>
                </a:moveTo>
                <a:cubicBezTo>
                  <a:pt x="1820855" y="1481244"/>
                  <a:pt x="1836091" y="1494304"/>
                  <a:pt x="1837180" y="1513351"/>
                </a:cubicBezTo>
                <a:cubicBezTo>
                  <a:pt x="1838812" y="1528043"/>
                  <a:pt x="1825208" y="1544913"/>
                  <a:pt x="1805617" y="1545457"/>
                </a:cubicBezTo>
                <a:cubicBezTo>
                  <a:pt x="1787660" y="1544913"/>
                  <a:pt x="1774055" y="1532397"/>
                  <a:pt x="1773511" y="1514983"/>
                </a:cubicBezTo>
                <a:cubicBezTo>
                  <a:pt x="1772967" y="1494849"/>
                  <a:pt x="1788204" y="1482333"/>
                  <a:pt x="1804529" y="1481788"/>
                </a:cubicBezTo>
                <a:close/>
                <a:moveTo>
                  <a:pt x="1968870" y="1480700"/>
                </a:moveTo>
                <a:cubicBezTo>
                  <a:pt x="1984651" y="1480700"/>
                  <a:pt x="2000977" y="1495937"/>
                  <a:pt x="2000977" y="1513351"/>
                </a:cubicBezTo>
                <a:cubicBezTo>
                  <a:pt x="2001521" y="1529132"/>
                  <a:pt x="1987916" y="1546001"/>
                  <a:pt x="1968870" y="1545457"/>
                </a:cubicBezTo>
                <a:cubicBezTo>
                  <a:pt x="1949824" y="1545457"/>
                  <a:pt x="1936764" y="1530764"/>
                  <a:pt x="1936764" y="1513351"/>
                </a:cubicBezTo>
                <a:cubicBezTo>
                  <a:pt x="1936764" y="1493760"/>
                  <a:pt x="1953633" y="1480700"/>
                  <a:pt x="1968870" y="1480700"/>
                </a:cubicBezTo>
                <a:close/>
                <a:moveTo>
                  <a:pt x="581221" y="1423562"/>
                </a:moveTo>
                <a:cubicBezTo>
                  <a:pt x="586663" y="1423562"/>
                  <a:pt x="589384" y="1427371"/>
                  <a:pt x="588840" y="1431725"/>
                </a:cubicBezTo>
                <a:cubicBezTo>
                  <a:pt x="588840" y="1434990"/>
                  <a:pt x="585030" y="1438255"/>
                  <a:pt x="581765" y="1443153"/>
                </a:cubicBezTo>
                <a:cubicBezTo>
                  <a:pt x="577412" y="1438255"/>
                  <a:pt x="574147" y="1436078"/>
                  <a:pt x="573059" y="1432813"/>
                </a:cubicBezTo>
                <a:cubicBezTo>
                  <a:pt x="571426" y="1429004"/>
                  <a:pt x="576868" y="1423562"/>
                  <a:pt x="581221" y="1423562"/>
                </a:cubicBezTo>
                <a:close/>
                <a:moveTo>
                  <a:pt x="745562" y="1414855"/>
                </a:moveTo>
                <a:cubicBezTo>
                  <a:pt x="754269" y="1415399"/>
                  <a:pt x="761344" y="1423018"/>
                  <a:pt x="761344" y="1432269"/>
                </a:cubicBezTo>
                <a:cubicBezTo>
                  <a:pt x="761344" y="1442064"/>
                  <a:pt x="754813" y="1448050"/>
                  <a:pt x="745018" y="1448050"/>
                </a:cubicBezTo>
                <a:cubicBezTo>
                  <a:pt x="734679" y="1448050"/>
                  <a:pt x="728693" y="1442064"/>
                  <a:pt x="728693" y="1431725"/>
                </a:cubicBezTo>
                <a:cubicBezTo>
                  <a:pt x="728693" y="1421386"/>
                  <a:pt x="735223" y="1414311"/>
                  <a:pt x="745562" y="1414855"/>
                </a:cubicBezTo>
                <a:close/>
                <a:moveTo>
                  <a:pt x="908815" y="1409958"/>
                </a:moveTo>
                <a:cubicBezTo>
                  <a:pt x="920243" y="1410502"/>
                  <a:pt x="930038" y="1420297"/>
                  <a:pt x="930038" y="1431725"/>
                </a:cubicBezTo>
                <a:cubicBezTo>
                  <a:pt x="929494" y="1443697"/>
                  <a:pt x="919155" y="1454036"/>
                  <a:pt x="907183" y="1453492"/>
                </a:cubicBezTo>
                <a:cubicBezTo>
                  <a:pt x="896844" y="1453492"/>
                  <a:pt x="885960" y="1442064"/>
                  <a:pt x="885960" y="1431725"/>
                </a:cubicBezTo>
                <a:cubicBezTo>
                  <a:pt x="885960" y="1420297"/>
                  <a:pt x="897388" y="1409414"/>
                  <a:pt x="908815" y="1409958"/>
                </a:cubicBezTo>
                <a:close/>
                <a:moveTo>
                  <a:pt x="1070436" y="1406693"/>
                </a:moveTo>
                <a:cubicBezTo>
                  <a:pt x="1084584" y="1406693"/>
                  <a:pt x="1096012" y="1418121"/>
                  <a:pt x="1096012" y="1432269"/>
                </a:cubicBezTo>
                <a:cubicBezTo>
                  <a:pt x="1096012" y="1445329"/>
                  <a:pt x="1082952" y="1458390"/>
                  <a:pt x="1070436" y="1457846"/>
                </a:cubicBezTo>
                <a:cubicBezTo>
                  <a:pt x="1058464" y="1457301"/>
                  <a:pt x="1044860" y="1443153"/>
                  <a:pt x="1045404" y="1431181"/>
                </a:cubicBezTo>
                <a:cubicBezTo>
                  <a:pt x="1045948" y="1418665"/>
                  <a:pt x="1057920" y="1406693"/>
                  <a:pt x="1070436" y="1406693"/>
                </a:cubicBezTo>
                <a:close/>
                <a:moveTo>
                  <a:pt x="1235865" y="1404516"/>
                </a:moveTo>
                <a:cubicBezTo>
                  <a:pt x="1252191" y="1405605"/>
                  <a:pt x="1262530" y="1415944"/>
                  <a:pt x="1261986" y="1433358"/>
                </a:cubicBezTo>
                <a:cubicBezTo>
                  <a:pt x="1261442" y="1449683"/>
                  <a:pt x="1251102" y="1459478"/>
                  <a:pt x="1233689" y="1459478"/>
                </a:cubicBezTo>
                <a:cubicBezTo>
                  <a:pt x="1218452" y="1461655"/>
                  <a:pt x="1206480" y="1445329"/>
                  <a:pt x="1206480" y="1432269"/>
                </a:cubicBezTo>
                <a:cubicBezTo>
                  <a:pt x="1206480" y="1417032"/>
                  <a:pt x="1220084" y="1403428"/>
                  <a:pt x="1235865" y="1404516"/>
                </a:cubicBezTo>
                <a:close/>
                <a:moveTo>
                  <a:pt x="1397485" y="1400162"/>
                </a:moveTo>
                <a:cubicBezTo>
                  <a:pt x="1412178" y="1400162"/>
                  <a:pt x="1427959" y="1416487"/>
                  <a:pt x="1427959" y="1431724"/>
                </a:cubicBezTo>
                <a:cubicBezTo>
                  <a:pt x="1428503" y="1446961"/>
                  <a:pt x="1413810" y="1462198"/>
                  <a:pt x="1398029" y="1463287"/>
                </a:cubicBezTo>
                <a:cubicBezTo>
                  <a:pt x="1384425" y="1464375"/>
                  <a:pt x="1367555" y="1448049"/>
                  <a:pt x="1366467" y="1432813"/>
                </a:cubicBezTo>
                <a:cubicBezTo>
                  <a:pt x="1365923" y="1418120"/>
                  <a:pt x="1382792" y="1400162"/>
                  <a:pt x="1397485" y="1400162"/>
                </a:cubicBezTo>
                <a:close/>
                <a:moveTo>
                  <a:pt x="1561282" y="1399618"/>
                </a:moveTo>
                <a:cubicBezTo>
                  <a:pt x="1575975" y="1399618"/>
                  <a:pt x="1593388" y="1415943"/>
                  <a:pt x="1593388" y="1432269"/>
                </a:cubicBezTo>
                <a:cubicBezTo>
                  <a:pt x="1593388" y="1446961"/>
                  <a:pt x="1578696" y="1464919"/>
                  <a:pt x="1560738" y="1464375"/>
                </a:cubicBezTo>
                <a:cubicBezTo>
                  <a:pt x="1542236" y="1463831"/>
                  <a:pt x="1529176" y="1450226"/>
                  <a:pt x="1528631" y="1432813"/>
                </a:cubicBezTo>
                <a:cubicBezTo>
                  <a:pt x="1528087" y="1414311"/>
                  <a:pt x="1545501" y="1399618"/>
                  <a:pt x="1561282" y="1399618"/>
                </a:cubicBezTo>
                <a:close/>
                <a:moveTo>
                  <a:pt x="1723446" y="1399074"/>
                </a:moveTo>
                <a:cubicBezTo>
                  <a:pt x="1741948" y="1399074"/>
                  <a:pt x="1757185" y="1413767"/>
                  <a:pt x="1757185" y="1432269"/>
                </a:cubicBezTo>
                <a:cubicBezTo>
                  <a:pt x="1757185" y="1451315"/>
                  <a:pt x="1743037" y="1463831"/>
                  <a:pt x="1723991" y="1465464"/>
                </a:cubicBezTo>
                <a:cubicBezTo>
                  <a:pt x="1707121" y="1466552"/>
                  <a:pt x="1690252" y="1448594"/>
                  <a:pt x="1691340" y="1433357"/>
                </a:cubicBezTo>
                <a:cubicBezTo>
                  <a:pt x="1692428" y="1412678"/>
                  <a:pt x="1704400" y="1399074"/>
                  <a:pt x="1723446" y="1399074"/>
                </a:cubicBezTo>
                <a:close/>
                <a:moveTo>
                  <a:pt x="1886700" y="1398530"/>
                </a:moveTo>
                <a:cubicBezTo>
                  <a:pt x="1904113" y="1396898"/>
                  <a:pt x="1922071" y="1415944"/>
                  <a:pt x="1920439" y="1432269"/>
                </a:cubicBezTo>
                <a:cubicBezTo>
                  <a:pt x="1919350" y="1451315"/>
                  <a:pt x="1907378" y="1464920"/>
                  <a:pt x="1887788" y="1464920"/>
                </a:cubicBezTo>
                <a:cubicBezTo>
                  <a:pt x="1867109" y="1464920"/>
                  <a:pt x="1854049" y="1452948"/>
                  <a:pt x="1854049" y="1433358"/>
                </a:cubicBezTo>
                <a:cubicBezTo>
                  <a:pt x="1854049" y="1412679"/>
                  <a:pt x="1867109" y="1400163"/>
                  <a:pt x="1886700" y="1398530"/>
                </a:cubicBezTo>
                <a:close/>
                <a:moveTo>
                  <a:pt x="2051041" y="1398217"/>
                </a:moveTo>
                <a:lnTo>
                  <a:pt x="2051041" y="1464535"/>
                </a:lnTo>
                <a:lnTo>
                  <a:pt x="2049953" y="1464920"/>
                </a:lnTo>
                <a:cubicBezTo>
                  <a:pt x="2032539" y="1467096"/>
                  <a:pt x="2017302" y="1450771"/>
                  <a:pt x="2017302" y="1431725"/>
                </a:cubicBezTo>
                <a:cubicBezTo>
                  <a:pt x="2017302" y="1422746"/>
                  <a:pt x="2021383" y="1414311"/>
                  <a:pt x="2027709" y="1408121"/>
                </a:cubicBezTo>
                <a:close/>
                <a:moveTo>
                  <a:pt x="500139" y="1341936"/>
                </a:moveTo>
                <a:cubicBezTo>
                  <a:pt x="503404" y="1343568"/>
                  <a:pt x="506125" y="1346833"/>
                  <a:pt x="511023" y="1350643"/>
                </a:cubicBezTo>
                <a:cubicBezTo>
                  <a:pt x="506125" y="1354452"/>
                  <a:pt x="502860" y="1357717"/>
                  <a:pt x="499595" y="1358261"/>
                </a:cubicBezTo>
                <a:cubicBezTo>
                  <a:pt x="495241" y="1359349"/>
                  <a:pt x="490888" y="1353908"/>
                  <a:pt x="491432" y="1349010"/>
                </a:cubicBezTo>
                <a:cubicBezTo>
                  <a:pt x="491976" y="1344112"/>
                  <a:pt x="495241" y="1340848"/>
                  <a:pt x="500139" y="1341936"/>
                </a:cubicBezTo>
                <a:close/>
                <a:moveTo>
                  <a:pt x="662848" y="1333773"/>
                </a:moveTo>
                <a:cubicBezTo>
                  <a:pt x="673187" y="1333773"/>
                  <a:pt x="679173" y="1340303"/>
                  <a:pt x="679173" y="1350643"/>
                </a:cubicBezTo>
                <a:cubicBezTo>
                  <a:pt x="679173" y="1359894"/>
                  <a:pt x="672099" y="1366424"/>
                  <a:pt x="662848" y="1366424"/>
                </a:cubicBezTo>
                <a:cubicBezTo>
                  <a:pt x="653053" y="1366424"/>
                  <a:pt x="647067" y="1359894"/>
                  <a:pt x="647067" y="1350098"/>
                </a:cubicBezTo>
                <a:cubicBezTo>
                  <a:pt x="647067" y="1339759"/>
                  <a:pt x="653053" y="1333773"/>
                  <a:pt x="662848" y="1333773"/>
                </a:cubicBezTo>
                <a:close/>
                <a:moveTo>
                  <a:pt x="826645" y="1328331"/>
                </a:moveTo>
                <a:cubicBezTo>
                  <a:pt x="838617" y="1328331"/>
                  <a:pt x="848412" y="1338670"/>
                  <a:pt x="847868" y="1350642"/>
                </a:cubicBezTo>
                <a:cubicBezTo>
                  <a:pt x="847868" y="1362070"/>
                  <a:pt x="836984" y="1372409"/>
                  <a:pt x="825556" y="1372409"/>
                </a:cubicBezTo>
                <a:cubicBezTo>
                  <a:pt x="814673" y="1372409"/>
                  <a:pt x="803789" y="1360982"/>
                  <a:pt x="804334" y="1349554"/>
                </a:cubicBezTo>
                <a:cubicBezTo>
                  <a:pt x="804334" y="1337582"/>
                  <a:pt x="814673" y="1328331"/>
                  <a:pt x="826645" y="1328331"/>
                </a:cubicBezTo>
                <a:close/>
                <a:moveTo>
                  <a:pt x="989353" y="1323978"/>
                </a:moveTo>
                <a:cubicBezTo>
                  <a:pt x="1002957" y="1324522"/>
                  <a:pt x="1014385" y="1334861"/>
                  <a:pt x="1015473" y="1350098"/>
                </a:cubicBezTo>
                <a:cubicBezTo>
                  <a:pt x="1014929" y="1363702"/>
                  <a:pt x="1004046" y="1376219"/>
                  <a:pt x="989353" y="1376763"/>
                </a:cubicBezTo>
                <a:cubicBezTo>
                  <a:pt x="976293" y="1376763"/>
                  <a:pt x="963777" y="1364791"/>
                  <a:pt x="963777" y="1350642"/>
                </a:cubicBezTo>
                <a:cubicBezTo>
                  <a:pt x="963233" y="1334861"/>
                  <a:pt x="977925" y="1323434"/>
                  <a:pt x="989353" y="1323978"/>
                </a:cubicBezTo>
                <a:close/>
                <a:moveTo>
                  <a:pt x="1152606" y="1322889"/>
                </a:moveTo>
                <a:cubicBezTo>
                  <a:pt x="1170564" y="1320712"/>
                  <a:pt x="1180903" y="1335405"/>
                  <a:pt x="1181447" y="1350098"/>
                </a:cubicBezTo>
                <a:cubicBezTo>
                  <a:pt x="1181447" y="1364791"/>
                  <a:pt x="1171108" y="1379483"/>
                  <a:pt x="1152606" y="1379483"/>
                </a:cubicBezTo>
                <a:cubicBezTo>
                  <a:pt x="1137913" y="1379483"/>
                  <a:pt x="1124853" y="1367511"/>
                  <a:pt x="1124853" y="1350642"/>
                </a:cubicBezTo>
                <a:cubicBezTo>
                  <a:pt x="1124309" y="1333228"/>
                  <a:pt x="1137913" y="1320712"/>
                  <a:pt x="1152606" y="1322889"/>
                </a:cubicBezTo>
                <a:close/>
                <a:moveTo>
                  <a:pt x="1315315" y="1318536"/>
                </a:moveTo>
                <a:cubicBezTo>
                  <a:pt x="1334361" y="1318536"/>
                  <a:pt x="1345789" y="1331596"/>
                  <a:pt x="1347966" y="1350098"/>
                </a:cubicBezTo>
                <a:cubicBezTo>
                  <a:pt x="1345245" y="1369144"/>
                  <a:pt x="1334905" y="1382205"/>
                  <a:pt x="1315315" y="1381661"/>
                </a:cubicBezTo>
                <a:cubicBezTo>
                  <a:pt x="1296813" y="1381116"/>
                  <a:pt x="1284841" y="1369144"/>
                  <a:pt x="1284297" y="1350098"/>
                </a:cubicBezTo>
                <a:cubicBezTo>
                  <a:pt x="1284297" y="1331052"/>
                  <a:pt x="1297357" y="1319080"/>
                  <a:pt x="1315315" y="1318536"/>
                </a:cubicBezTo>
                <a:close/>
                <a:moveTo>
                  <a:pt x="1480744" y="1317448"/>
                </a:moveTo>
                <a:cubicBezTo>
                  <a:pt x="1499246" y="1317992"/>
                  <a:pt x="1512851" y="1332140"/>
                  <a:pt x="1512306" y="1351731"/>
                </a:cubicBezTo>
                <a:cubicBezTo>
                  <a:pt x="1511762" y="1370233"/>
                  <a:pt x="1497070" y="1383837"/>
                  <a:pt x="1477479" y="1383293"/>
                </a:cubicBezTo>
                <a:cubicBezTo>
                  <a:pt x="1458977" y="1382749"/>
                  <a:pt x="1447550" y="1368600"/>
                  <a:pt x="1446461" y="1349554"/>
                </a:cubicBezTo>
                <a:cubicBezTo>
                  <a:pt x="1445373" y="1333773"/>
                  <a:pt x="1463331" y="1314727"/>
                  <a:pt x="1480744" y="1317448"/>
                </a:cubicBezTo>
                <a:close/>
                <a:moveTo>
                  <a:pt x="1642908" y="1315815"/>
                </a:moveTo>
                <a:cubicBezTo>
                  <a:pt x="1663043" y="1315815"/>
                  <a:pt x="1677735" y="1333229"/>
                  <a:pt x="1676647" y="1351731"/>
                </a:cubicBezTo>
                <a:cubicBezTo>
                  <a:pt x="1675559" y="1371865"/>
                  <a:pt x="1661954" y="1384381"/>
                  <a:pt x="1640732" y="1383837"/>
                </a:cubicBezTo>
                <a:cubicBezTo>
                  <a:pt x="1620597" y="1384381"/>
                  <a:pt x="1608081" y="1368056"/>
                  <a:pt x="1608081" y="1349554"/>
                </a:cubicBezTo>
                <a:cubicBezTo>
                  <a:pt x="1608081" y="1329964"/>
                  <a:pt x="1623318" y="1315815"/>
                  <a:pt x="1642908" y="1315815"/>
                </a:cubicBezTo>
                <a:close/>
                <a:moveTo>
                  <a:pt x="1968870" y="1314183"/>
                </a:moveTo>
                <a:cubicBezTo>
                  <a:pt x="1989548" y="1314727"/>
                  <a:pt x="2004785" y="1329420"/>
                  <a:pt x="2005329" y="1351187"/>
                </a:cubicBezTo>
                <a:cubicBezTo>
                  <a:pt x="2004785" y="1370233"/>
                  <a:pt x="1985739" y="1388735"/>
                  <a:pt x="1967781" y="1388191"/>
                </a:cubicBezTo>
                <a:cubicBezTo>
                  <a:pt x="1949823" y="1387647"/>
                  <a:pt x="1931322" y="1367512"/>
                  <a:pt x="1931866" y="1350098"/>
                </a:cubicBezTo>
                <a:cubicBezTo>
                  <a:pt x="1932410" y="1331596"/>
                  <a:pt x="1950912" y="1313094"/>
                  <a:pt x="1968870" y="1314183"/>
                </a:cubicBezTo>
                <a:close/>
                <a:moveTo>
                  <a:pt x="1806161" y="1313639"/>
                </a:moveTo>
                <a:cubicBezTo>
                  <a:pt x="1825207" y="1314183"/>
                  <a:pt x="1843165" y="1332141"/>
                  <a:pt x="1841533" y="1351187"/>
                </a:cubicBezTo>
                <a:cubicBezTo>
                  <a:pt x="1840988" y="1360438"/>
                  <a:pt x="1838267" y="1370233"/>
                  <a:pt x="1830105" y="1376763"/>
                </a:cubicBezTo>
                <a:cubicBezTo>
                  <a:pt x="1822486" y="1383293"/>
                  <a:pt x="1813235" y="1387102"/>
                  <a:pt x="1803984" y="1387102"/>
                </a:cubicBezTo>
                <a:cubicBezTo>
                  <a:pt x="1786027" y="1387102"/>
                  <a:pt x="1768613" y="1367512"/>
                  <a:pt x="1768613" y="1350098"/>
                </a:cubicBezTo>
                <a:cubicBezTo>
                  <a:pt x="1769157" y="1331596"/>
                  <a:pt x="1788203" y="1313094"/>
                  <a:pt x="1806161" y="1313639"/>
                </a:cubicBezTo>
                <a:close/>
                <a:moveTo>
                  <a:pt x="419057" y="1262486"/>
                </a:moveTo>
                <a:cubicBezTo>
                  <a:pt x="423410" y="1262486"/>
                  <a:pt x="425587" y="1265207"/>
                  <a:pt x="424499" y="1269016"/>
                </a:cubicBezTo>
                <a:cubicBezTo>
                  <a:pt x="423410" y="1271737"/>
                  <a:pt x="421234" y="1273914"/>
                  <a:pt x="417969" y="1278811"/>
                </a:cubicBezTo>
                <a:cubicBezTo>
                  <a:pt x="414704" y="1273914"/>
                  <a:pt x="412527" y="1271737"/>
                  <a:pt x="411983" y="1269016"/>
                </a:cubicBezTo>
                <a:cubicBezTo>
                  <a:pt x="410894" y="1264118"/>
                  <a:pt x="414159" y="1262486"/>
                  <a:pt x="419057" y="1262486"/>
                </a:cubicBezTo>
                <a:close/>
                <a:moveTo>
                  <a:pt x="581221" y="1252147"/>
                </a:moveTo>
                <a:cubicBezTo>
                  <a:pt x="591016" y="1252691"/>
                  <a:pt x="598091" y="1260310"/>
                  <a:pt x="597547" y="1269017"/>
                </a:cubicBezTo>
                <a:cubicBezTo>
                  <a:pt x="597547" y="1278268"/>
                  <a:pt x="589928" y="1284798"/>
                  <a:pt x="580133" y="1284254"/>
                </a:cubicBezTo>
                <a:cubicBezTo>
                  <a:pt x="570882" y="1283709"/>
                  <a:pt x="564896" y="1277179"/>
                  <a:pt x="564896" y="1268472"/>
                </a:cubicBezTo>
                <a:cubicBezTo>
                  <a:pt x="564896" y="1259222"/>
                  <a:pt x="571970" y="1252147"/>
                  <a:pt x="581221" y="1252147"/>
                </a:cubicBezTo>
                <a:close/>
                <a:moveTo>
                  <a:pt x="745018" y="1246705"/>
                </a:moveTo>
                <a:cubicBezTo>
                  <a:pt x="757534" y="1246705"/>
                  <a:pt x="766785" y="1257044"/>
                  <a:pt x="766241" y="1269560"/>
                </a:cubicBezTo>
                <a:cubicBezTo>
                  <a:pt x="765697" y="1280988"/>
                  <a:pt x="755358" y="1290783"/>
                  <a:pt x="744474" y="1290783"/>
                </a:cubicBezTo>
                <a:cubicBezTo>
                  <a:pt x="733046" y="1290783"/>
                  <a:pt x="722707" y="1279900"/>
                  <a:pt x="722707" y="1267928"/>
                </a:cubicBezTo>
                <a:cubicBezTo>
                  <a:pt x="722707" y="1255956"/>
                  <a:pt x="733046" y="1246705"/>
                  <a:pt x="745018" y="1246705"/>
                </a:cubicBezTo>
                <a:close/>
                <a:moveTo>
                  <a:pt x="907727" y="1241807"/>
                </a:moveTo>
                <a:cubicBezTo>
                  <a:pt x="921331" y="1241807"/>
                  <a:pt x="934391" y="1257044"/>
                  <a:pt x="933847" y="1269016"/>
                </a:cubicBezTo>
                <a:cubicBezTo>
                  <a:pt x="933847" y="1282620"/>
                  <a:pt x="920787" y="1295680"/>
                  <a:pt x="907183" y="1295136"/>
                </a:cubicBezTo>
                <a:cubicBezTo>
                  <a:pt x="893578" y="1294592"/>
                  <a:pt x="880518" y="1280988"/>
                  <a:pt x="880518" y="1267927"/>
                </a:cubicBezTo>
                <a:cubicBezTo>
                  <a:pt x="881062" y="1254323"/>
                  <a:pt x="894122" y="1242351"/>
                  <a:pt x="907727" y="1241807"/>
                </a:cubicBezTo>
                <a:close/>
                <a:moveTo>
                  <a:pt x="1070979" y="1240719"/>
                </a:moveTo>
                <a:cubicBezTo>
                  <a:pt x="1091114" y="1240175"/>
                  <a:pt x="1099276" y="1252691"/>
                  <a:pt x="1099821" y="1268472"/>
                </a:cubicBezTo>
                <a:cubicBezTo>
                  <a:pt x="1099821" y="1285886"/>
                  <a:pt x="1088393" y="1297858"/>
                  <a:pt x="1070435" y="1297858"/>
                </a:cubicBezTo>
                <a:cubicBezTo>
                  <a:pt x="1053566" y="1297858"/>
                  <a:pt x="1042138" y="1286430"/>
                  <a:pt x="1042138" y="1269560"/>
                </a:cubicBezTo>
                <a:cubicBezTo>
                  <a:pt x="1042138" y="1250514"/>
                  <a:pt x="1053566" y="1240719"/>
                  <a:pt x="1070979" y="1240719"/>
                </a:cubicBezTo>
                <a:close/>
                <a:moveTo>
                  <a:pt x="1234233" y="1235821"/>
                </a:moveTo>
                <a:cubicBezTo>
                  <a:pt x="1250558" y="1235821"/>
                  <a:pt x="1267972" y="1252691"/>
                  <a:pt x="1266883" y="1269016"/>
                </a:cubicBezTo>
                <a:cubicBezTo>
                  <a:pt x="1266339" y="1285885"/>
                  <a:pt x="1251646" y="1301122"/>
                  <a:pt x="1234233" y="1300578"/>
                </a:cubicBezTo>
                <a:cubicBezTo>
                  <a:pt x="1216275" y="1300578"/>
                  <a:pt x="1201582" y="1286430"/>
                  <a:pt x="1201582" y="1267383"/>
                </a:cubicBezTo>
                <a:cubicBezTo>
                  <a:pt x="1201582" y="1249425"/>
                  <a:pt x="1217907" y="1235821"/>
                  <a:pt x="1234233" y="1235821"/>
                </a:cubicBezTo>
                <a:close/>
                <a:moveTo>
                  <a:pt x="1396397" y="1234733"/>
                </a:moveTo>
                <a:cubicBezTo>
                  <a:pt x="1413810" y="1233645"/>
                  <a:pt x="1433945" y="1250514"/>
                  <a:pt x="1431224" y="1268472"/>
                </a:cubicBezTo>
                <a:cubicBezTo>
                  <a:pt x="1433401" y="1286430"/>
                  <a:pt x="1415443" y="1303299"/>
                  <a:pt x="1396941" y="1302755"/>
                </a:cubicBezTo>
                <a:cubicBezTo>
                  <a:pt x="1381160" y="1302211"/>
                  <a:pt x="1363202" y="1290783"/>
                  <a:pt x="1363746" y="1269016"/>
                </a:cubicBezTo>
                <a:cubicBezTo>
                  <a:pt x="1364290" y="1248881"/>
                  <a:pt x="1376806" y="1235821"/>
                  <a:pt x="1396397" y="1234733"/>
                </a:cubicBezTo>
                <a:close/>
                <a:moveTo>
                  <a:pt x="1559649" y="1232557"/>
                </a:moveTo>
                <a:cubicBezTo>
                  <a:pt x="1580328" y="1232013"/>
                  <a:pt x="1595021" y="1246705"/>
                  <a:pt x="1597742" y="1268472"/>
                </a:cubicBezTo>
                <a:cubicBezTo>
                  <a:pt x="1598286" y="1286974"/>
                  <a:pt x="1580872" y="1304932"/>
                  <a:pt x="1561826" y="1305476"/>
                </a:cubicBezTo>
                <a:cubicBezTo>
                  <a:pt x="1543868" y="1306564"/>
                  <a:pt x="1524822" y="1288063"/>
                  <a:pt x="1523734" y="1269561"/>
                </a:cubicBezTo>
                <a:cubicBezTo>
                  <a:pt x="1522645" y="1252147"/>
                  <a:pt x="1541147" y="1232557"/>
                  <a:pt x="1559649" y="1232557"/>
                </a:cubicBezTo>
                <a:close/>
                <a:moveTo>
                  <a:pt x="1723990" y="1231468"/>
                </a:moveTo>
                <a:cubicBezTo>
                  <a:pt x="1743037" y="1231468"/>
                  <a:pt x="1761539" y="1249426"/>
                  <a:pt x="1762083" y="1268472"/>
                </a:cubicBezTo>
                <a:cubicBezTo>
                  <a:pt x="1762627" y="1290239"/>
                  <a:pt x="1741404" y="1306020"/>
                  <a:pt x="1724535" y="1307109"/>
                </a:cubicBezTo>
                <a:cubicBezTo>
                  <a:pt x="1706033" y="1306564"/>
                  <a:pt x="1687531" y="1290239"/>
                  <a:pt x="1686442" y="1270105"/>
                </a:cubicBezTo>
                <a:cubicBezTo>
                  <a:pt x="1685354" y="1254323"/>
                  <a:pt x="1701679" y="1231468"/>
                  <a:pt x="1723990" y="1231468"/>
                </a:cubicBezTo>
                <a:close/>
                <a:moveTo>
                  <a:pt x="1888332" y="1230924"/>
                </a:moveTo>
                <a:cubicBezTo>
                  <a:pt x="1905745" y="1229836"/>
                  <a:pt x="1928056" y="1250514"/>
                  <a:pt x="1925336" y="1269561"/>
                </a:cubicBezTo>
                <a:cubicBezTo>
                  <a:pt x="1925336" y="1289695"/>
                  <a:pt x="1907378" y="1306564"/>
                  <a:pt x="1887243" y="1307653"/>
                </a:cubicBezTo>
                <a:cubicBezTo>
                  <a:pt x="1870918" y="1308197"/>
                  <a:pt x="1847519" y="1288063"/>
                  <a:pt x="1849151" y="1267928"/>
                </a:cubicBezTo>
                <a:cubicBezTo>
                  <a:pt x="1850239" y="1247794"/>
                  <a:pt x="1867653" y="1231468"/>
                  <a:pt x="1888332" y="1230924"/>
                </a:cubicBezTo>
                <a:close/>
                <a:moveTo>
                  <a:pt x="2049952" y="1230380"/>
                </a:moveTo>
                <a:lnTo>
                  <a:pt x="2051041" y="1230805"/>
                </a:lnTo>
                <a:lnTo>
                  <a:pt x="2051041" y="1307109"/>
                </a:lnTo>
                <a:cubicBezTo>
                  <a:pt x="2033627" y="1309830"/>
                  <a:pt x="2011316" y="1286974"/>
                  <a:pt x="2012404" y="1268472"/>
                </a:cubicBezTo>
                <a:cubicBezTo>
                  <a:pt x="2013493" y="1247794"/>
                  <a:pt x="2029274" y="1230380"/>
                  <a:pt x="2049952" y="1230380"/>
                </a:cubicBezTo>
                <a:close/>
                <a:moveTo>
                  <a:pt x="337431" y="1181404"/>
                </a:moveTo>
                <a:cubicBezTo>
                  <a:pt x="339608" y="1182493"/>
                  <a:pt x="341240" y="1184669"/>
                  <a:pt x="345050" y="1187934"/>
                </a:cubicBezTo>
                <a:cubicBezTo>
                  <a:pt x="340696" y="1190111"/>
                  <a:pt x="338519" y="1192288"/>
                  <a:pt x="336343" y="1192288"/>
                </a:cubicBezTo>
                <a:cubicBezTo>
                  <a:pt x="331445" y="1192832"/>
                  <a:pt x="330901" y="1189567"/>
                  <a:pt x="330901" y="1185758"/>
                </a:cubicBezTo>
                <a:cubicBezTo>
                  <a:pt x="330901" y="1181404"/>
                  <a:pt x="334166" y="1180860"/>
                  <a:pt x="337431" y="1181404"/>
                </a:cubicBezTo>
                <a:close/>
                <a:moveTo>
                  <a:pt x="499051" y="1171065"/>
                </a:moveTo>
                <a:cubicBezTo>
                  <a:pt x="506125" y="1170521"/>
                  <a:pt x="516465" y="1179772"/>
                  <a:pt x="516465" y="1187390"/>
                </a:cubicBezTo>
                <a:cubicBezTo>
                  <a:pt x="515921" y="1193920"/>
                  <a:pt x="507214" y="1202627"/>
                  <a:pt x="500140" y="1202627"/>
                </a:cubicBezTo>
                <a:cubicBezTo>
                  <a:pt x="493065" y="1202627"/>
                  <a:pt x="484358" y="1195008"/>
                  <a:pt x="483814" y="1187390"/>
                </a:cubicBezTo>
                <a:cubicBezTo>
                  <a:pt x="483270" y="1180316"/>
                  <a:pt x="491977" y="1171065"/>
                  <a:pt x="499051" y="1171065"/>
                </a:cubicBezTo>
                <a:close/>
                <a:moveTo>
                  <a:pt x="662848" y="1165623"/>
                </a:moveTo>
                <a:cubicBezTo>
                  <a:pt x="675364" y="1165623"/>
                  <a:pt x="684615" y="1174874"/>
                  <a:pt x="684615" y="1187390"/>
                </a:cubicBezTo>
                <a:cubicBezTo>
                  <a:pt x="684615" y="1199362"/>
                  <a:pt x="674820" y="1209157"/>
                  <a:pt x="662848" y="1209157"/>
                </a:cubicBezTo>
                <a:cubicBezTo>
                  <a:pt x="651420" y="1209157"/>
                  <a:pt x="641081" y="1198274"/>
                  <a:pt x="641081" y="1186846"/>
                </a:cubicBezTo>
                <a:cubicBezTo>
                  <a:pt x="641081" y="1175418"/>
                  <a:pt x="651420" y="1165623"/>
                  <a:pt x="662848" y="1165623"/>
                </a:cubicBezTo>
                <a:close/>
                <a:moveTo>
                  <a:pt x="825556" y="1160725"/>
                </a:moveTo>
                <a:cubicBezTo>
                  <a:pt x="840249" y="1161270"/>
                  <a:pt x="851677" y="1171609"/>
                  <a:pt x="852765" y="1186846"/>
                </a:cubicBezTo>
                <a:cubicBezTo>
                  <a:pt x="853309" y="1199906"/>
                  <a:pt x="840249" y="1213511"/>
                  <a:pt x="826645" y="1213511"/>
                </a:cubicBezTo>
                <a:cubicBezTo>
                  <a:pt x="813585" y="1214055"/>
                  <a:pt x="799980" y="1200995"/>
                  <a:pt x="798892" y="1188479"/>
                </a:cubicBezTo>
                <a:cubicBezTo>
                  <a:pt x="797803" y="1173241"/>
                  <a:pt x="814129" y="1160181"/>
                  <a:pt x="825556" y="1160725"/>
                </a:cubicBezTo>
                <a:close/>
                <a:moveTo>
                  <a:pt x="989353" y="1158004"/>
                </a:moveTo>
                <a:cubicBezTo>
                  <a:pt x="1007855" y="1159092"/>
                  <a:pt x="1018739" y="1168888"/>
                  <a:pt x="1018195" y="1187934"/>
                </a:cubicBezTo>
                <a:cubicBezTo>
                  <a:pt x="1017651" y="1206436"/>
                  <a:pt x="1007311" y="1216231"/>
                  <a:pt x="988809" y="1216775"/>
                </a:cubicBezTo>
                <a:cubicBezTo>
                  <a:pt x="972484" y="1217319"/>
                  <a:pt x="960512" y="1203715"/>
                  <a:pt x="959968" y="1187934"/>
                </a:cubicBezTo>
                <a:cubicBezTo>
                  <a:pt x="959968" y="1170520"/>
                  <a:pt x="972484" y="1158004"/>
                  <a:pt x="989353" y="1158004"/>
                </a:cubicBezTo>
                <a:close/>
                <a:moveTo>
                  <a:pt x="1152062" y="1153651"/>
                </a:moveTo>
                <a:cubicBezTo>
                  <a:pt x="1166755" y="1152562"/>
                  <a:pt x="1186345" y="1171065"/>
                  <a:pt x="1185801" y="1186301"/>
                </a:cubicBezTo>
                <a:cubicBezTo>
                  <a:pt x="1184713" y="1205348"/>
                  <a:pt x="1171652" y="1218952"/>
                  <a:pt x="1153150" y="1219496"/>
                </a:cubicBezTo>
                <a:cubicBezTo>
                  <a:pt x="1135193" y="1221129"/>
                  <a:pt x="1119412" y="1204259"/>
                  <a:pt x="1119956" y="1187390"/>
                </a:cubicBezTo>
                <a:cubicBezTo>
                  <a:pt x="1120500" y="1168888"/>
                  <a:pt x="1134648" y="1154739"/>
                  <a:pt x="1152062" y="1153651"/>
                </a:cubicBezTo>
                <a:close/>
                <a:moveTo>
                  <a:pt x="1315315" y="1152018"/>
                </a:moveTo>
                <a:cubicBezTo>
                  <a:pt x="1336537" y="1151474"/>
                  <a:pt x="1351230" y="1169432"/>
                  <a:pt x="1351230" y="1186845"/>
                </a:cubicBezTo>
                <a:cubicBezTo>
                  <a:pt x="1350686" y="1205891"/>
                  <a:pt x="1338714" y="1222217"/>
                  <a:pt x="1315859" y="1221673"/>
                </a:cubicBezTo>
                <a:cubicBezTo>
                  <a:pt x="1294092" y="1221128"/>
                  <a:pt x="1282120" y="1209157"/>
                  <a:pt x="1281576" y="1187390"/>
                </a:cubicBezTo>
                <a:cubicBezTo>
                  <a:pt x="1281031" y="1167255"/>
                  <a:pt x="1295724" y="1152562"/>
                  <a:pt x="1315315" y="1152018"/>
                </a:cubicBezTo>
                <a:close/>
                <a:moveTo>
                  <a:pt x="1479656" y="1149298"/>
                </a:moveTo>
                <a:cubicBezTo>
                  <a:pt x="1500878" y="1149842"/>
                  <a:pt x="1517204" y="1168888"/>
                  <a:pt x="1516660" y="1188479"/>
                </a:cubicBezTo>
                <a:cubicBezTo>
                  <a:pt x="1515027" y="1210246"/>
                  <a:pt x="1495981" y="1224938"/>
                  <a:pt x="1478023" y="1224394"/>
                </a:cubicBezTo>
                <a:cubicBezTo>
                  <a:pt x="1457889" y="1223850"/>
                  <a:pt x="1439931" y="1205892"/>
                  <a:pt x="1441563" y="1185758"/>
                </a:cubicBezTo>
                <a:cubicBezTo>
                  <a:pt x="1442652" y="1166167"/>
                  <a:pt x="1458977" y="1149298"/>
                  <a:pt x="1479656" y="1149298"/>
                </a:cubicBezTo>
                <a:close/>
                <a:moveTo>
                  <a:pt x="1642365" y="1148209"/>
                </a:moveTo>
                <a:cubicBezTo>
                  <a:pt x="1659779" y="1147121"/>
                  <a:pt x="1681001" y="1166711"/>
                  <a:pt x="1681001" y="1187390"/>
                </a:cubicBezTo>
                <a:cubicBezTo>
                  <a:pt x="1681001" y="1208613"/>
                  <a:pt x="1658690" y="1226026"/>
                  <a:pt x="1641821" y="1226026"/>
                </a:cubicBezTo>
                <a:cubicBezTo>
                  <a:pt x="1624407" y="1226026"/>
                  <a:pt x="1601007" y="1205348"/>
                  <a:pt x="1603728" y="1186846"/>
                </a:cubicBezTo>
                <a:cubicBezTo>
                  <a:pt x="1603728" y="1165623"/>
                  <a:pt x="1621686" y="1149298"/>
                  <a:pt x="1642365" y="1148209"/>
                </a:cubicBezTo>
                <a:close/>
                <a:moveTo>
                  <a:pt x="1969414" y="1147665"/>
                </a:moveTo>
                <a:cubicBezTo>
                  <a:pt x="1991725" y="1146032"/>
                  <a:pt x="2009139" y="1165623"/>
                  <a:pt x="2009139" y="1187934"/>
                </a:cubicBezTo>
                <a:cubicBezTo>
                  <a:pt x="2008595" y="1209157"/>
                  <a:pt x="1990093" y="1227114"/>
                  <a:pt x="1968870" y="1227114"/>
                </a:cubicBezTo>
                <a:cubicBezTo>
                  <a:pt x="1949824" y="1227114"/>
                  <a:pt x="1928601" y="1209701"/>
                  <a:pt x="1929145" y="1186301"/>
                </a:cubicBezTo>
                <a:cubicBezTo>
                  <a:pt x="1929145" y="1165623"/>
                  <a:pt x="1948191" y="1145488"/>
                  <a:pt x="1969414" y="1147665"/>
                </a:cubicBezTo>
                <a:close/>
                <a:moveTo>
                  <a:pt x="1805617" y="1147665"/>
                </a:moveTo>
                <a:cubicBezTo>
                  <a:pt x="1825752" y="1147665"/>
                  <a:pt x="1845342" y="1165078"/>
                  <a:pt x="1844798" y="1187934"/>
                </a:cubicBezTo>
                <a:cubicBezTo>
                  <a:pt x="1844254" y="1208612"/>
                  <a:pt x="1824664" y="1227115"/>
                  <a:pt x="1805073" y="1226571"/>
                </a:cubicBezTo>
                <a:cubicBezTo>
                  <a:pt x="1787115" y="1226571"/>
                  <a:pt x="1764260" y="1209701"/>
                  <a:pt x="1766981" y="1186845"/>
                </a:cubicBezTo>
                <a:cubicBezTo>
                  <a:pt x="1764804" y="1165623"/>
                  <a:pt x="1786027" y="1147665"/>
                  <a:pt x="1805617" y="1147665"/>
                </a:cubicBezTo>
                <a:close/>
                <a:moveTo>
                  <a:pt x="417425" y="1090527"/>
                </a:moveTo>
                <a:cubicBezTo>
                  <a:pt x="423955" y="1090527"/>
                  <a:pt x="433206" y="1099234"/>
                  <a:pt x="432662" y="1105764"/>
                </a:cubicBezTo>
                <a:cubicBezTo>
                  <a:pt x="432662" y="1111206"/>
                  <a:pt x="423955" y="1119912"/>
                  <a:pt x="417969" y="1120457"/>
                </a:cubicBezTo>
                <a:cubicBezTo>
                  <a:pt x="411439" y="1121001"/>
                  <a:pt x="402188" y="1111750"/>
                  <a:pt x="402732" y="1105219"/>
                </a:cubicBezTo>
                <a:cubicBezTo>
                  <a:pt x="402732" y="1099234"/>
                  <a:pt x="411439" y="1090527"/>
                  <a:pt x="417425" y="1090527"/>
                </a:cubicBezTo>
                <a:close/>
                <a:moveTo>
                  <a:pt x="580677" y="1083996"/>
                </a:moveTo>
                <a:cubicBezTo>
                  <a:pt x="592105" y="1083996"/>
                  <a:pt x="601900" y="1093791"/>
                  <a:pt x="602444" y="1105219"/>
                </a:cubicBezTo>
                <a:cubicBezTo>
                  <a:pt x="602988" y="1116647"/>
                  <a:pt x="593193" y="1126986"/>
                  <a:pt x="581221" y="1127530"/>
                </a:cubicBezTo>
                <a:cubicBezTo>
                  <a:pt x="570338" y="1127530"/>
                  <a:pt x="558910" y="1116102"/>
                  <a:pt x="558910" y="1105219"/>
                </a:cubicBezTo>
                <a:cubicBezTo>
                  <a:pt x="558910" y="1094880"/>
                  <a:pt x="570338" y="1083996"/>
                  <a:pt x="580677" y="1083996"/>
                </a:cubicBezTo>
                <a:close/>
                <a:moveTo>
                  <a:pt x="743386" y="1079099"/>
                </a:moveTo>
                <a:cubicBezTo>
                  <a:pt x="756991" y="1079099"/>
                  <a:pt x="769507" y="1088894"/>
                  <a:pt x="770595" y="1105219"/>
                </a:cubicBezTo>
                <a:cubicBezTo>
                  <a:pt x="771683" y="1116103"/>
                  <a:pt x="760800" y="1131340"/>
                  <a:pt x="745019" y="1132428"/>
                </a:cubicBezTo>
                <a:cubicBezTo>
                  <a:pt x="734135" y="1134061"/>
                  <a:pt x="717810" y="1118280"/>
                  <a:pt x="717810" y="1106308"/>
                </a:cubicBezTo>
                <a:cubicBezTo>
                  <a:pt x="717810" y="1091071"/>
                  <a:pt x="731414" y="1079099"/>
                  <a:pt x="743386" y="1079099"/>
                </a:cubicBezTo>
                <a:close/>
                <a:moveTo>
                  <a:pt x="907727" y="1076378"/>
                </a:moveTo>
                <a:cubicBezTo>
                  <a:pt x="926773" y="1076378"/>
                  <a:pt x="937112" y="1087262"/>
                  <a:pt x="937112" y="1105219"/>
                </a:cubicBezTo>
                <a:cubicBezTo>
                  <a:pt x="937112" y="1121545"/>
                  <a:pt x="928950" y="1134061"/>
                  <a:pt x="908271" y="1134061"/>
                </a:cubicBezTo>
                <a:cubicBezTo>
                  <a:pt x="888681" y="1134605"/>
                  <a:pt x="878341" y="1122633"/>
                  <a:pt x="878885" y="1105764"/>
                </a:cubicBezTo>
                <a:cubicBezTo>
                  <a:pt x="878341" y="1086173"/>
                  <a:pt x="892490" y="1076378"/>
                  <a:pt x="907727" y="1076378"/>
                </a:cubicBezTo>
                <a:close/>
                <a:moveTo>
                  <a:pt x="1071524" y="1072569"/>
                </a:moveTo>
                <a:cubicBezTo>
                  <a:pt x="1089482" y="1072569"/>
                  <a:pt x="1104174" y="1087806"/>
                  <a:pt x="1104174" y="1105220"/>
                </a:cubicBezTo>
                <a:cubicBezTo>
                  <a:pt x="1104174" y="1123722"/>
                  <a:pt x="1090026" y="1137870"/>
                  <a:pt x="1070435" y="1137870"/>
                </a:cubicBezTo>
                <a:cubicBezTo>
                  <a:pt x="1054110" y="1140047"/>
                  <a:pt x="1037241" y="1121545"/>
                  <a:pt x="1038329" y="1105764"/>
                </a:cubicBezTo>
                <a:cubicBezTo>
                  <a:pt x="1039417" y="1086173"/>
                  <a:pt x="1052478" y="1072569"/>
                  <a:pt x="1071524" y="1072569"/>
                </a:cubicBezTo>
                <a:close/>
                <a:moveTo>
                  <a:pt x="1235865" y="1068760"/>
                </a:moveTo>
                <a:cubicBezTo>
                  <a:pt x="1254912" y="1070392"/>
                  <a:pt x="1272325" y="1088894"/>
                  <a:pt x="1271237" y="1106852"/>
                </a:cubicBezTo>
                <a:cubicBezTo>
                  <a:pt x="1270149" y="1124810"/>
                  <a:pt x="1252735" y="1142223"/>
                  <a:pt x="1234777" y="1142223"/>
                </a:cubicBezTo>
                <a:cubicBezTo>
                  <a:pt x="1215187" y="1142223"/>
                  <a:pt x="1197773" y="1124265"/>
                  <a:pt x="1198861" y="1105219"/>
                </a:cubicBezTo>
                <a:cubicBezTo>
                  <a:pt x="1199406" y="1085629"/>
                  <a:pt x="1217908" y="1067127"/>
                  <a:pt x="1235865" y="1068760"/>
                </a:cubicBezTo>
                <a:close/>
                <a:moveTo>
                  <a:pt x="1396397" y="1067127"/>
                </a:moveTo>
                <a:cubicBezTo>
                  <a:pt x="1416532" y="1065494"/>
                  <a:pt x="1437755" y="1087806"/>
                  <a:pt x="1435578" y="1105219"/>
                </a:cubicBezTo>
                <a:cubicBezTo>
                  <a:pt x="1437210" y="1125898"/>
                  <a:pt x="1413267" y="1144400"/>
                  <a:pt x="1396941" y="1143856"/>
                </a:cubicBezTo>
                <a:cubicBezTo>
                  <a:pt x="1377895" y="1143856"/>
                  <a:pt x="1358305" y="1122633"/>
                  <a:pt x="1358849" y="1105763"/>
                </a:cubicBezTo>
                <a:cubicBezTo>
                  <a:pt x="1359393" y="1085629"/>
                  <a:pt x="1376807" y="1068759"/>
                  <a:pt x="1396397" y="1067127"/>
                </a:cubicBezTo>
                <a:close/>
                <a:moveTo>
                  <a:pt x="1560738" y="1066582"/>
                </a:moveTo>
                <a:cubicBezTo>
                  <a:pt x="1581961" y="1063862"/>
                  <a:pt x="1599919" y="1083452"/>
                  <a:pt x="1599919" y="1105763"/>
                </a:cubicBezTo>
                <a:cubicBezTo>
                  <a:pt x="1599919" y="1127530"/>
                  <a:pt x="1581417" y="1144400"/>
                  <a:pt x="1560738" y="1144400"/>
                </a:cubicBezTo>
                <a:cubicBezTo>
                  <a:pt x="1538971" y="1144400"/>
                  <a:pt x="1521557" y="1125898"/>
                  <a:pt x="1521013" y="1105763"/>
                </a:cubicBezTo>
                <a:cubicBezTo>
                  <a:pt x="1521013" y="1085629"/>
                  <a:pt x="1538971" y="1063862"/>
                  <a:pt x="1560738" y="1066582"/>
                </a:cubicBezTo>
                <a:close/>
                <a:moveTo>
                  <a:pt x="1723447" y="1064406"/>
                </a:moveTo>
                <a:cubicBezTo>
                  <a:pt x="1744126" y="1063862"/>
                  <a:pt x="1763716" y="1076378"/>
                  <a:pt x="1764260" y="1104675"/>
                </a:cubicBezTo>
                <a:cubicBezTo>
                  <a:pt x="1764804" y="1130796"/>
                  <a:pt x="1745758" y="1145488"/>
                  <a:pt x="1724535" y="1146032"/>
                </a:cubicBezTo>
                <a:cubicBezTo>
                  <a:pt x="1703313" y="1147121"/>
                  <a:pt x="1683722" y="1130796"/>
                  <a:pt x="1683178" y="1105764"/>
                </a:cubicBezTo>
                <a:cubicBezTo>
                  <a:pt x="1684266" y="1082364"/>
                  <a:pt x="1698415" y="1064950"/>
                  <a:pt x="1723447" y="1064406"/>
                </a:cubicBezTo>
                <a:close/>
                <a:moveTo>
                  <a:pt x="2051041" y="1063318"/>
                </a:moveTo>
                <a:lnTo>
                  <a:pt x="2051041" y="1147740"/>
                </a:lnTo>
                <a:lnTo>
                  <a:pt x="2049952" y="1148210"/>
                </a:lnTo>
                <a:cubicBezTo>
                  <a:pt x="2028730" y="1147121"/>
                  <a:pt x="2008051" y="1128619"/>
                  <a:pt x="2008051" y="1105764"/>
                </a:cubicBezTo>
                <a:cubicBezTo>
                  <a:pt x="2008595" y="1081276"/>
                  <a:pt x="2027641" y="1063862"/>
                  <a:pt x="2051041" y="1063318"/>
                </a:cubicBezTo>
                <a:close/>
                <a:moveTo>
                  <a:pt x="1887787" y="1062773"/>
                </a:moveTo>
                <a:cubicBezTo>
                  <a:pt x="1909554" y="1063862"/>
                  <a:pt x="1930233" y="1084540"/>
                  <a:pt x="1929145" y="1105763"/>
                </a:cubicBezTo>
                <a:cubicBezTo>
                  <a:pt x="1928056" y="1130251"/>
                  <a:pt x="1908466" y="1147121"/>
                  <a:pt x="1886699" y="1147665"/>
                </a:cubicBezTo>
                <a:cubicBezTo>
                  <a:pt x="1862755" y="1145488"/>
                  <a:pt x="1845886" y="1127530"/>
                  <a:pt x="1844798" y="1105219"/>
                </a:cubicBezTo>
                <a:cubicBezTo>
                  <a:pt x="1844253" y="1083996"/>
                  <a:pt x="1867109" y="1061685"/>
                  <a:pt x="1887787" y="1062773"/>
                </a:cubicBezTo>
                <a:close/>
                <a:moveTo>
                  <a:pt x="335798" y="1011621"/>
                </a:moveTo>
                <a:cubicBezTo>
                  <a:pt x="343960" y="1011621"/>
                  <a:pt x="347770" y="1014886"/>
                  <a:pt x="348314" y="1023049"/>
                </a:cubicBezTo>
                <a:cubicBezTo>
                  <a:pt x="348314" y="1031755"/>
                  <a:pt x="344505" y="1036109"/>
                  <a:pt x="336886" y="1036109"/>
                </a:cubicBezTo>
                <a:cubicBezTo>
                  <a:pt x="329268" y="1036109"/>
                  <a:pt x="324914" y="1032300"/>
                  <a:pt x="324370" y="1024681"/>
                </a:cubicBezTo>
                <a:cubicBezTo>
                  <a:pt x="323826" y="1015974"/>
                  <a:pt x="327635" y="1011621"/>
                  <a:pt x="335798" y="1011621"/>
                </a:cubicBezTo>
                <a:close/>
                <a:moveTo>
                  <a:pt x="499051" y="1002914"/>
                </a:moveTo>
                <a:cubicBezTo>
                  <a:pt x="508846" y="1002370"/>
                  <a:pt x="520818" y="1014342"/>
                  <a:pt x="520818" y="1024137"/>
                </a:cubicBezTo>
                <a:cubicBezTo>
                  <a:pt x="520818" y="1032844"/>
                  <a:pt x="508846" y="1045360"/>
                  <a:pt x="499595" y="1045360"/>
                </a:cubicBezTo>
                <a:cubicBezTo>
                  <a:pt x="490888" y="1045360"/>
                  <a:pt x="478372" y="1032844"/>
                  <a:pt x="478372" y="1024137"/>
                </a:cubicBezTo>
                <a:cubicBezTo>
                  <a:pt x="478372" y="1014886"/>
                  <a:pt x="489800" y="1002914"/>
                  <a:pt x="499051" y="1002914"/>
                </a:cubicBezTo>
                <a:close/>
                <a:moveTo>
                  <a:pt x="663392" y="997473"/>
                </a:moveTo>
                <a:cubicBezTo>
                  <a:pt x="675908" y="998561"/>
                  <a:pt x="688968" y="1011622"/>
                  <a:pt x="688424" y="1024138"/>
                </a:cubicBezTo>
                <a:cubicBezTo>
                  <a:pt x="687880" y="1039374"/>
                  <a:pt x="676452" y="1050802"/>
                  <a:pt x="661759" y="1050258"/>
                </a:cubicBezTo>
                <a:cubicBezTo>
                  <a:pt x="647066" y="1049170"/>
                  <a:pt x="637271" y="1036109"/>
                  <a:pt x="636727" y="1023593"/>
                </a:cubicBezTo>
                <a:cubicBezTo>
                  <a:pt x="637271" y="1010533"/>
                  <a:pt x="651420" y="996929"/>
                  <a:pt x="663392" y="997473"/>
                </a:cubicBezTo>
                <a:close/>
                <a:moveTo>
                  <a:pt x="826645" y="995840"/>
                </a:moveTo>
                <a:cubicBezTo>
                  <a:pt x="845147" y="995296"/>
                  <a:pt x="855486" y="1007267"/>
                  <a:pt x="854942" y="1024137"/>
                </a:cubicBezTo>
                <a:cubicBezTo>
                  <a:pt x="855486" y="1039374"/>
                  <a:pt x="845147" y="1052978"/>
                  <a:pt x="825557" y="1052978"/>
                </a:cubicBezTo>
                <a:cubicBezTo>
                  <a:pt x="808143" y="1052434"/>
                  <a:pt x="796715" y="1041006"/>
                  <a:pt x="797260" y="1023593"/>
                </a:cubicBezTo>
                <a:cubicBezTo>
                  <a:pt x="797260" y="1005635"/>
                  <a:pt x="808687" y="995840"/>
                  <a:pt x="826645" y="995840"/>
                </a:cubicBezTo>
                <a:close/>
                <a:moveTo>
                  <a:pt x="990441" y="990942"/>
                </a:moveTo>
                <a:cubicBezTo>
                  <a:pt x="1008943" y="990942"/>
                  <a:pt x="1023092" y="1006179"/>
                  <a:pt x="1022548" y="1025225"/>
                </a:cubicBezTo>
                <a:cubicBezTo>
                  <a:pt x="1022004" y="1043183"/>
                  <a:pt x="1007311" y="1056243"/>
                  <a:pt x="988809" y="1056787"/>
                </a:cubicBezTo>
                <a:cubicBezTo>
                  <a:pt x="973028" y="1057332"/>
                  <a:pt x="956702" y="1041551"/>
                  <a:pt x="956702" y="1023593"/>
                </a:cubicBezTo>
                <a:cubicBezTo>
                  <a:pt x="956158" y="1006723"/>
                  <a:pt x="973572" y="988221"/>
                  <a:pt x="990441" y="990942"/>
                </a:cubicBezTo>
                <a:close/>
                <a:moveTo>
                  <a:pt x="1150974" y="987678"/>
                </a:moveTo>
                <a:cubicBezTo>
                  <a:pt x="1170020" y="986045"/>
                  <a:pt x="1189066" y="1004547"/>
                  <a:pt x="1189610" y="1023593"/>
                </a:cubicBezTo>
                <a:cubicBezTo>
                  <a:pt x="1190154" y="1042095"/>
                  <a:pt x="1170564" y="1061685"/>
                  <a:pt x="1152062" y="1061685"/>
                </a:cubicBezTo>
                <a:cubicBezTo>
                  <a:pt x="1134104" y="1061685"/>
                  <a:pt x="1115602" y="1042639"/>
                  <a:pt x="1115058" y="1024682"/>
                </a:cubicBezTo>
                <a:cubicBezTo>
                  <a:pt x="1115058" y="1006724"/>
                  <a:pt x="1133016" y="988222"/>
                  <a:pt x="1150974" y="987678"/>
                </a:cubicBezTo>
                <a:close/>
                <a:moveTo>
                  <a:pt x="1315314" y="985501"/>
                </a:moveTo>
                <a:cubicBezTo>
                  <a:pt x="1335993" y="983868"/>
                  <a:pt x="1354495" y="1005635"/>
                  <a:pt x="1354495" y="1023593"/>
                </a:cubicBezTo>
                <a:cubicBezTo>
                  <a:pt x="1355039" y="1042639"/>
                  <a:pt x="1333816" y="1065495"/>
                  <a:pt x="1315858" y="1062230"/>
                </a:cubicBezTo>
                <a:cubicBezTo>
                  <a:pt x="1294636" y="1062230"/>
                  <a:pt x="1277222" y="1045360"/>
                  <a:pt x="1277222" y="1024137"/>
                </a:cubicBezTo>
                <a:cubicBezTo>
                  <a:pt x="1277222" y="1002914"/>
                  <a:pt x="1294091" y="986589"/>
                  <a:pt x="1315314" y="985501"/>
                </a:cubicBezTo>
                <a:close/>
                <a:moveTo>
                  <a:pt x="1479656" y="984412"/>
                </a:moveTo>
                <a:cubicBezTo>
                  <a:pt x="1503055" y="984412"/>
                  <a:pt x="1519925" y="1000737"/>
                  <a:pt x="1519380" y="1025225"/>
                </a:cubicBezTo>
                <a:cubicBezTo>
                  <a:pt x="1518836" y="1045904"/>
                  <a:pt x="1502511" y="1065494"/>
                  <a:pt x="1478567" y="1063318"/>
                </a:cubicBezTo>
                <a:cubicBezTo>
                  <a:pt x="1454624" y="1064950"/>
                  <a:pt x="1438842" y="1044816"/>
                  <a:pt x="1439387" y="1023593"/>
                </a:cubicBezTo>
                <a:cubicBezTo>
                  <a:pt x="1439931" y="1000193"/>
                  <a:pt x="1455712" y="983868"/>
                  <a:pt x="1479656" y="984412"/>
                </a:cubicBezTo>
                <a:close/>
                <a:moveTo>
                  <a:pt x="1641820" y="981691"/>
                </a:moveTo>
                <a:cubicBezTo>
                  <a:pt x="1665220" y="981691"/>
                  <a:pt x="1683178" y="999649"/>
                  <a:pt x="1684810" y="1023592"/>
                </a:cubicBezTo>
                <a:cubicBezTo>
                  <a:pt x="1683722" y="1048625"/>
                  <a:pt x="1665220" y="1066038"/>
                  <a:pt x="1642909" y="1066038"/>
                </a:cubicBezTo>
                <a:cubicBezTo>
                  <a:pt x="1618421" y="1066038"/>
                  <a:pt x="1599919" y="1047536"/>
                  <a:pt x="1599919" y="1023592"/>
                </a:cubicBezTo>
                <a:cubicBezTo>
                  <a:pt x="1599919" y="1001281"/>
                  <a:pt x="1616788" y="982235"/>
                  <a:pt x="1641820" y="981691"/>
                </a:cubicBezTo>
                <a:close/>
                <a:moveTo>
                  <a:pt x="1806161" y="980603"/>
                </a:moveTo>
                <a:cubicBezTo>
                  <a:pt x="1829561" y="980603"/>
                  <a:pt x="1848607" y="1000737"/>
                  <a:pt x="1849151" y="1023592"/>
                </a:cubicBezTo>
                <a:cubicBezTo>
                  <a:pt x="1849151" y="1046992"/>
                  <a:pt x="1827928" y="1068215"/>
                  <a:pt x="1805617" y="1067127"/>
                </a:cubicBezTo>
                <a:cubicBezTo>
                  <a:pt x="1781673" y="1068215"/>
                  <a:pt x="1762083" y="1044815"/>
                  <a:pt x="1762083" y="1023592"/>
                </a:cubicBezTo>
                <a:cubicBezTo>
                  <a:pt x="1762083" y="1002370"/>
                  <a:pt x="1781673" y="980058"/>
                  <a:pt x="1806161" y="980603"/>
                </a:cubicBezTo>
                <a:close/>
                <a:moveTo>
                  <a:pt x="1969414" y="980059"/>
                </a:moveTo>
                <a:cubicBezTo>
                  <a:pt x="1993358" y="980603"/>
                  <a:pt x="2012404" y="1001282"/>
                  <a:pt x="2012404" y="1024137"/>
                </a:cubicBezTo>
                <a:cubicBezTo>
                  <a:pt x="2012404" y="1046449"/>
                  <a:pt x="1991726" y="1069304"/>
                  <a:pt x="1968870" y="1067127"/>
                </a:cubicBezTo>
                <a:cubicBezTo>
                  <a:pt x="1946015" y="1068760"/>
                  <a:pt x="1925336" y="1044272"/>
                  <a:pt x="1924792" y="1024137"/>
                </a:cubicBezTo>
                <a:cubicBezTo>
                  <a:pt x="1924792" y="1002914"/>
                  <a:pt x="1944382" y="980059"/>
                  <a:pt x="1969414" y="980059"/>
                </a:cubicBezTo>
                <a:close/>
                <a:moveTo>
                  <a:pt x="254171" y="931083"/>
                </a:moveTo>
                <a:cubicBezTo>
                  <a:pt x="260701" y="931083"/>
                  <a:pt x="265599" y="935437"/>
                  <a:pt x="265599" y="941967"/>
                </a:cubicBezTo>
                <a:cubicBezTo>
                  <a:pt x="265599" y="948497"/>
                  <a:pt x="260701" y="952850"/>
                  <a:pt x="254171" y="952850"/>
                </a:cubicBezTo>
                <a:cubicBezTo>
                  <a:pt x="247641" y="952850"/>
                  <a:pt x="243832" y="948497"/>
                  <a:pt x="243832" y="941967"/>
                </a:cubicBezTo>
                <a:cubicBezTo>
                  <a:pt x="243832" y="935437"/>
                  <a:pt x="247641" y="931627"/>
                  <a:pt x="254171" y="931083"/>
                </a:cubicBezTo>
                <a:close/>
                <a:moveTo>
                  <a:pt x="417968" y="922377"/>
                </a:moveTo>
                <a:cubicBezTo>
                  <a:pt x="427219" y="921833"/>
                  <a:pt x="437559" y="932716"/>
                  <a:pt x="437559" y="942511"/>
                </a:cubicBezTo>
                <a:cubicBezTo>
                  <a:pt x="437559" y="951762"/>
                  <a:pt x="427219" y="961557"/>
                  <a:pt x="417968" y="961557"/>
                </a:cubicBezTo>
                <a:cubicBezTo>
                  <a:pt x="409262" y="961557"/>
                  <a:pt x="397290" y="949585"/>
                  <a:pt x="397834" y="941423"/>
                </a:cubicBezTo>
                <a:cubicBezTo>
                  <a:pt x="398378" y="933260"/>
                  <a:pt x="409806" y="922377"/>
                  <a:pt x="417968" y="922377"/>
                </a:cubicBezTo>
                <a:close/>
                <a:moveTo>
                  <a:pt x="581222" y="916934"/>
                </a:moveTo>
                <a:cubicBezTo>
                  <a:pt x="593738" y="916934"/>
                  <a:pt x="607342" y="931082"/>
                  <a:pt x="606798" y="943054"/>
                </a:cubicBezTo>
                <a:cubicBezTo>
                  <a:pt x="606254" y="955570"/>
                  <a:pt x="593738" y="967542"/>
                  <a:pt x="581222" y="967542"/>
                </a:cubicBezTo>
                <a:cubicBezTo>
                  <a:pt x="567617" y="966454"/>
                  <a:pt x="557278" y="958291"/>
                  <a:pt x="556190" y="943054"/>
                </a:cubicBezTo>
                <a:cubicBezTo>
                  <a:pt x="555101" y="929994"/>
                  <a:pt x="568161" y="916934"/>
                  <a:pt x="581222" y="916934"/>
                </a:cubicBezTo>
                <a:close/>
                <a:moveTo>
                  <a:pt x="744474" y="913669"/>
                </a:moveTo>
                <a:cubicBezTo>
                  <a:pt x="765153" y="913669"/>
                  <a:pt x="773860" y="927273"/>
                  <a:pt x="773315" y="942510"/>
                </a:cubicBezTo>
                <a:cubicBezTo>
                  <a:pt x="772771" y="959924"/>
                  <a:pt x="761344" y="971352"/>
                  <a:pt x="743930" y="970807"/>
                </a:cubicBezTo>
                <a:cubicBezTo>
                  <a:pt x="727061" y="970807"/>
                  <a:pt x="716177" y="959380"/>
                  <a:pt x="716177" y="941966"/>
                </a:cubicBezTo>
                <a:cubicBezTo>
                  <a:pt x="716177" y="923464"/>
                  <a:pt x="727605" y="914213"/>
                  <a:pt x="744474" y="913669"/>
                </a:cubicBezTo>
                <a:close/>
                <a:moveTo>
                  <a:pt x="908271" y="908772"/>
                </a:moveTo>
                <a:cubicBezTo>
                  <a:pt x="927317" y="910405"/>
                  <a:pt x="940922" y="924553"/>
                  <a:pt x="940377" y="944144"/>
                </a:cubicBezTo>
                <a:cubicBezTo>
                  <a:pt x="939833" y="962101"/>
                  <a:pt x="925141" y="975162"/>
                  <a:pt x="906094" y="975162"/>
                </a:cubicBezTo>
                <a:cubicBezTo>
                  <a:pt x="890313" y="975162"/>
                  <a:pt x="873988" y="959925"/>
                  <a:pt x="874532" y="940879"/>
                </a:cubicBezTo>
                <a:cubicBezTo>
                  <a:pt x="874532" y="925641"/>
                  <a:pt x="891402" y="907684"/>
                  <a:pt x="908271" y="908772"/>
                </a:cubicBezTo>
                <a:close/>
                <a:moveTo>
                  <a:pt x="1072068" y="906051"/>
                </a:moveTo>
                <a:cubicBezTo>
                  <a:pt x="1093291" y="907683"/>
                  <a:pt x="1105807" y="921832"/>
                  <a:pt x="1107984" y="942511"/>
                </a:cubicBezTo>
                <a:cubicBezTo>
                  <a:pt x="1107984" y="961013"/>
                  <a:pt x="1088938" y="979515"/>
                  <a:pt x="1070980" y="979515"/>
                </a:cubicBezTo>
                <a:cubicBezTo>
                  <a:pt x="1053022" y="979515"/>
                  <a:pt x="1034520" y="960469"/>
                  <a:pt x="1034520" y="942511"/>
                </a:cubicBezTo>
                <a:cubicBezTo>
                  <a:pt x="1034520" y="923465"/>
                  <a:pt x="1053566" y="904419"/>
                  <a:pt x="1072068" y="906051"/>
                </a:cubicBezTo>
                <a:close/>
                <a:moveTo>
                  <a:pt x="1235321" y="903874"/>
                </a:moveTo>
                <a:cubicBezTo>
                  <a:pt x="1257088" y="903874"/>
                  <a:pt x="1272325" y="920199"/>
                  <a:pt x="1272325" y="943054"/>
                </a:cubicBezTo>
                <a:cubicBezTo>
                  <a:pt x="1275045" y="962645"/>
                  <a:pt x="1251646" y="982779"/>
                  <a:pt x="1233688" y="981147"/>
                </a:cubicBezTo>
                <a:cubicBezTo>
                  <a:pt x="1211921" y="979514"/>
                  <a:pt x="1195052" y="963189"/>
                  <a:pt x="1195596" y="940878"/>
                </a:cubicBezTo>
                <a:cubicBezTo>
                  <a:pt x="1196140" y="919111"/>
                  <a:pt x="1212465" y="903330"/>
                  <a:pt x="1235321" y="903874"/>
                </a:cubicBezTo>
                <a:close/>
                <a:moveTo>
                  <a:pt x="1397486" y="901153"/>
                </a:moveTo>
                <a:cubicBezTo>
                  <a:pt x="1420885" y="901698"/>
                  <a:pt x="1437755" y="917479"/>
                  <a:pt x="1438299" y="942511"/>
                </a:cubicBezTo>
                <a:cubicBezTo>
                  <a:pt x="1437210" y="966999"/>
                  <a:pt x="1420341" y="983324"/>
                  <a:pt x="1396941" y="983324"/>
                </a:cubicBezTo>
                <a:cubicBezTo>
                  <a:pt x="1371909" y="983324"/>
                  <a:pt x="1355584" y="963190"/>
                  <a:pt x="1356128" y="941967"/>
                </a:cubicBezTo>
                <a:cubicBezTo>
                  <a:pt x="1356128" y="919655"/>
                  <a:pt x="1373542" y="900609"/>
                  <a:pt x="1397486" y="901153"/>
                </a:cubicBezTo>
                <a:close/>
                <a:moveTo>
                  <a:pt x="1560738" y="898977"/>
                </a:moveTo>
                <a:cubicBezTo>
                  <a:pt x="1584138" y="899521"/>
                  <a:pt x="1603728" y="917479"/>
                  <a:pt x="1603728" y="942511"/>
                </a:cubicBezTo>
                <a:cubicBezTo>
                  <a:pt x="1603728" y="966999"/>
                  <a:pt x="1581961" y="985501"/>
                  <a:pt x="1560738" y="985501"/>
                </a:cubicBezTo>
                <a:cubicBezTo>
                  <a:pt x="1537883" y="985501"/>
                  <a:pt x="1516660" y="963734"/>
                  <a:pt x="1517204" y="941423"/>
                </a:cubicBezTo>
                <a:cubicBezTo>
                  <a:pt x="1517748" y="919656"/>
                  <a:pt x="1535706" y="898977"/>
                  <a:pt x="1560738" y="898977"/>
                </a:cubicBezTo>
                <a:close/>
                <a:moveTo>
                  <a:pt x="1723990" y="897888"/>
                </a:moveTo>
                <a:cubicBezTo>
                  <a:pt x="1747934" y="897888"/>
                  <a:pt x="1769701" y="919111"/>
                  <a:pt x="1768069" y="942510"/>
                </a:cubicBezTo>
                <a:cubicBezTo>
                  <a:pt x="1770245" y="965366"/>
                  <a:pt x="1746302" y="987133"/>
                  <a:pt x="1723990" y="986589"/>
                </a:cubicBezTo>
                <a:cubicBezTo>
                  <a:pt x="1701679" y="986589"/>
                  <a:pt x="1679912" y="964278"/>
                  <a:pt x="1679912" y="941422"/>
                </a:cubicBezTo>
                <a:cubicBezTo>
                  <a:pt x="1680456" y="919655"/>
                  <a:pt x="1700047" y="897888"/>
                  <a:pt x="1723990" y="897888"/>
                </a:cubicBezTo>
                <a:close/>
                <a:moveTo>
                  <a:pt x="2050497" y="897344"/>
                </a:moveTo>
                <a:lnTo>
                  <a:pt x="2051041" y="897453"/>
                </a:lnTo>
                <a:lnTo>
                  <a:pt x="2051041" y="986917"/>
                </a:lnTo>
                <a:lnTo>
                  <a:pt x="2049952" y="987133"/>
                </a:lnTo>
                <a:cubicBezTo>
                  <a:pt x="2026553" y="987133"/>
                  <a:pt x="2004786" y="965366"/>
                  <a:pt x="2005330" y="941422"/>
                </a:cubicBezTo>
                <a:cubicBezTo>
                  <a:pt x="2005874" y="918023"/>
                  <a:pt x="2026009" y="897344"/>
                  <a:pt x="2050497" y="897344"/>
                </a:cubicBezTo>
                <a:close/>
                <a:moveTo>
                  <a:pt x="1887243" y="897344"/>
                </a:moveTo>
                <a:cubicBezTo>
                  <a:pt x="1910099" y="897344"/>
                  <a:pt x="1931866" y="916390"/>
                  <a:pt x="1931866" y="942511"/>
                </a:cubicBezTo>
                <a:cubicBezTo>
                  <a:pt x="1931866" y="965910"/>
                  <a:pt x="1910099" y="986589"/>
                  <a:pt x="1887243" y="986589"/>
                </a:cubicBezTo>
                <a:cubicBezTo>
                  <a:pt x="1864932" y="987133"/>
                  <a:pt x="1839900" y="965910"/>
                  <a:pt x="1843165" y="941422"/>
                </a:cubicBezTo>
                <a:cubicBezTo>
                  <a:pt x="1840444" y="918567"/>
                  <a:pt x="1863299" y="897344"/>
                  <a:pt x="1887243" y="897344"/>
                </a:cubicBezTo>
                <a:close/>
                <a:moveTo>
                  <a:pt x="172545" y="854354"/>
                </a:moveTo>
                <a:cubicBezTo>
                  <a:pt x="176899" y="854354"/>
                  <a:pt x="179619" y="855442"/>
                  <a:pt x="179619" y="860884"/>
                </a:cubicBezTo>
                <a:cubicBezTo>
                  <a:pt x="180164" y="864693"/>
                  <a:pt x="177987" y="866870"/>
                  <a:pt x="173634" y="866870"/>
                </a:cubicBezTo>
                <a:cubicBezTo>
                  <a:pt x="169824" y="866870"/>
                  <a:pt x="166559" y="866870"/>
                  <a:pt x="166015" y="861973"/>
                </a:cubicBezTo>
                <a:cubicBezTo>
                  <a:pt x="165471" y="857075"/>
                  <a:pt x="167103" y="854354"/>
                  <a:pt x="172545" y="854354"/>
                </a:cubicBezTo>
                <a:close/>
                <a:moveTo>
                  <a:pt x="336342" y="843471"/>
                </a:moveTo>
                <a:cubicBezTo>
                  <a:pt x="346681" y="844015"/>
                  <a:pt x="353211" y="849457"/>
                  <a:pt x="353211" y="860340"/>
                </a:cubicBezTo>
                <a:cubicBezTo>
                  <a:pt x="353211" y="872312"/>
                  <a:pt x="348858" y="876665"/>
                  <a:pt x="336886" y="877210"/>
                </a:cubicBezTo>
                <a:cubicBezTo>
                  <a:pt x="324370" y="877210"/>
                  <a:pt x="320561" y="872856"/>
                  <a:pt x="320017" y="860884"/>
                </a:cubicBezTo>
                <a:cubicBezTo>
                  <a:pt x="319473" y="851089"/>
                  <a:pt x="327635" y="842927"/>
                  <a:pt x="336342" y="843471"/>
                </a:cubicBezTo>
                <a:close/>
                <a:moveTo>
                  <a:pt x="500139" y="837485"/>
                </a:moveTo>
                <a:cubicBezTo>
                  <a:pt x="514832" y="837485"/>
                  <a:pt x="522994" y="846735"/>
                  <a:pt x="522994" y="861428"/>
                </a:cubicBezTo>
                <a:cubicBezTo>
                  <a:pt x="522994" y="876121"/>
                  <a:pt x="513743" y="884284"/>
                  <a:pt x="499595" y="884284"/>
                </a:cubicBezTo>
                <a:cubicBezTo>
                  <a:pt x="485446" y="883740"/>
                  <a:pt x="475651" y="875033"/>
                  <a:pt x="476739" y="860340"/>
                </a:cubicBezTo>
                <a:cubicBezTo>
                  <a:pt x="476195" y="842926"/>
                  <a:pt x="489256" y="836940"/>
                  <a:pt x="500139" y="837485"/>
                </a:cubicBezTo>
                <a:close/>
                <a:moveTo>
                  <a:pt x="662848" y="832587"/>
                </a:moveTo>
                <a:cubicBezTo>
                  <a:pt x="677541" y="832587"/>
                  <a:pt x="691689" y="842926"/>
                  <a:pt x="690057" y="860340"/>
                </a:cubicBezTo>
                <a:cubicBezTo>
                  <a:pt x="691689" y="876121"/>
                  <a:pt x="679718" y="888637"/>
                  <a:pt x="662848" y="888637"/>
                </a:cubicBezTo>
                <a:cubicBezTo>
                  <a:pt x="644890" y="888637"/>
                  <a:pt x="634551" y="874489"/>
                  <a:pt x="634551" y="861428"/>
                </a:cubicBezTo>
                <a:cubicBezTo>
                  <a:pt x="634551" y="842926"/>
                  <a:pt x="647611" y="832587"/>
                  <a:pt x="662848" y="832587"/>
                </a:cubicBezTo>
                <a:close/>
                <a:moveTo>
                  <a:pt x="826101" y="827146"/>
                </a:moveTo>
                <a:cubicBezTo>
                  <a:pt x="840249" y="826602"/>
                  <a:pt x="859840" y="843471"/>
                  <a:pt x="859295" y="860885"/>
                </a:cubicBezTo>
                <a:cubicBezTo>
                  <a:pt x="858751" y="875033"/>
                  <a:pt x="844603" y="894624"/>
                  <a:pt x="825556" y="892991"/>
                </a:cubicBezTo>
                <a:cubicBezTo>
                  <a:pt x="808687" y="894079"/>
                  <a:pt x="793450" y="877754"/>
                  <a:pt x="793450" y="860885"/>
                </a:cubicBezTo>
                <a:cubicBezTo>
                  <a:pt x="793994" y="842927"/>
                  <a:pt x="808143" y="828234"/>
                  <a:pt x="826101" y="827146"/>
                </a:cubicBezTo>
                <a:close/>
                <a:moveTo>
                  <a:pt x="988809" y="824424"/>
                </a:moveTo>
                <a:cubicBezTo>
                  <a:pt x="1010576" y="825512"/>
                  <a:pt x="1024180" y="839661"/>
                  <a:pt x="1025813" y="860339"/>
                </a:cubicBezTo>
                <a:cubicBezTo>
                  <a:pt x="1026901" y="878842"/>
                  <a:pt x="1008399" y="896799"/>
                  <a:pt x="989897" y="897344"/>
                </a:cubicBezTo>
                <a:cubicBezTo>
                  <a:pt x="971939" y="897344"/>
                  <a:pt x="953982" y="880474"/>
                  <a:pt x="953437" y="861972"/>
                </a:cubicBezTo>
                <a:cubicBezTo>
                  <a:pt x="951805" y="842926"/>
                  <a:pt x="969763" y="824968"/>
                  <a:pt x="988809" y="824424"/>
                </a:cubicBezTo>
                <a:close/>
                <a:moveTo>
                  <a:pt x="1153695" y="821704"/>
                </a:moveTo>
                <a:cubicBezTo>
                  <a:pt x="1175462" y="822248"/>
                  <a:pt x="1191243" y="839118"/>
                  <a:pt x="1191243" y="861429"/>
                </a:cubicBezTo>
                <a:cubicBezTo>
                  <a:pt x="1193964" y="882107"/>
                  <a:pt x="1169476" y="900610"/>
                  <a:pt x="1152606" y="899521"/>
                </a:cubicBezTo>
                <a:cubicBezTo>
                  <a:pt x="1130839" y="898433"/>
                  <a:pt x="1114514" y="882107"/>
                  <a:pt x="1114514" y="859252"/>
                </a:cubicBezTo>
                <a:cubicBezTo>
                  <a:pt x="1115058" y="837485"/>
                  <a:pt x="1131928" y="821704"/>
                  <a:pt x="1153695" y="821704"/>
                </a:cubicBezTo>
                <a:close/>
                <a:moveTo>
                  <a:pt x="1316403" y="818982"/>
                </a:moveTo>
                <a:cubicBezTo>
                  <a:pt x="1341979" y="820071"/>
                  <a:pt x="1356128" y="838573"/>
                  <a:pt x="1357216" y="860884"/>
                </a:cubicBezTo>
                <a:cubicBezTo>
                  <a:pt x="1356128" y="884828"/>
                  <a:pt x="1337626" y="901697"/>
                  <a:pt x="1315315" y="901697"/>
                </a:cubicBezTo>
                <a:cubicBezTo>
                  <a:pt x="1293003" y="901697"/>
                  <a:pt x="1273957" y="884284"/>
                  <a:pt x="1274501" y="860340"/>
                </a:cubicBezTo>
                <a:cubicBezTo>
                  <a:pt x="1275046" y="835852"/>
                  <a:pt x="1291915" y="818438"/>
                  <a:pt x="1316403" y="818982"/>
                </a:cubicBezTo>
                <a:close/>
                <a:moveTo>
                  <a:pt x="1479112" y="816806"/>
                </a:moveTo>
                <a:cubicBezTo>
                  <a:pt x="1501423" y="816806"/>
                  <a:pt x="1523190" y="835852"/>
                  <a:pt x="1522646" y="860340"/>
                </a:cubicBezTo>
                <a:cubicBezTo>
                  <a:pt x="1523735" y="885372"/>
                  <a:pt x="1499791" y="904419"/>
                  <a:pt x="1479656" y="904419"/>
                </a:cubicBezTo>
                <a:cubicBezTo>
                  <a:pt x="1457889" y="904419"/>
                  <a:pt x="1436122" y="883740"/>
                  <a:pt x="1435578" y="860884"/>
                </a:cubicBezTo>
                <a:cubicBezTo>
                  <a:pt x="1435578" y="838573"/>
                  <a:pt x="1455713" y="816806"/>
                  <a:pt x="1479112" y="816806"/>
                </a:cubicBezTo>
                <a:close/>
                <a:moveTo>
                  <a:pt x="1642909" y="815718"/>
                </a:moveTo>
                <a:cubicBezTo>
                  <a:pt x="1665764" y="816262"/>
                  <a:pt x="1686987" y="835852"/>
                  <a:pt x="1686987" y="860885"/>
                </a:cubicBezTo>
                <a:cubicBezTo>
                  <a:pt x="1686987" y="884284"/>
                  <a:pt x="1666308" y="906051"/>
                  <a:pt x="1641276" y="905507"/>
                </a:cubicBezTo>
                <a:cubicBezTo>
                  <a:pt x="1619509" y="905507"/>
                  <a:pt x="1595021" y="884284"/>
                  <a:pt x="1597742" y="860340"/>
                </a:cubicBezTo>
                <a:cubicBezTo>
                  <a:pt x="1595021" y="836941"/>
                  <a:pt x="1619509" y="815174"/>
                  <a:pt x="1642909" y="815718"/>
                </a:cubicBezTo>
                <a:close/>
                <a:moveTo>
                  <a:pt x="1806161" y="815173"/>
                </a:moveTo>
                <a:cubicBezTo>
                  <a:pt x="1832282" y="815717"/>
                  <a:pt x="1854593" y="836396"/>
                  <a:pt x="1852416" y="860884"/>
                </a:cubicBezTo>
                <a:cubicBezTo>
                  <a:pt x="1850240" y="885372"/>
                  <a:pt x="1837179" y="906050"/>
                  <a:pt x="1805617" y="906594"/>
                </a:cubicBezTo>
                <a:cubicBezTo>
                  <a:pt x="1776776" y="906594"/>
                  <a:pt x="1759362" y="885916"/>
                  <a:pt x="1759906" y="860884"/>
                </a:cubicBezTo>
                <a:cubicBezTo>
                  <a:pt x="1759906" y="834219"/>
                  <a:pt x="1776776" y="815717"/>
                  <a:pt x="1806161" y="815173"/>
                </a:cubicBezTo>
                <a:close/>
                <a:moveTo>
                  <a:pt x="1968326" y="812453"/>
                </a:moveTo>
                <a:cubicBezTo>
                  <a:pt x="1979754" y="812453"/>
                  <a:pt x="1991726" y="817351"/>
                  <a:pt x="2000977" y="826057"/>
                </a:cubicBezTo>
                <a:cubicBezTo>
                  <a:pt x="2010772" y="835308"/>
                  <a:pt x="2016214" y="847280"/>
                  <a:pt x="2015670" y="859796"/>
                </a:cubicBezTo>
                <a:cubicBezTo>
                  <a:pt x="2014581" y="884828"/>
                  <a:pt x="2000977" y="904963"/>
                  <a:pt x="1969415" y="907684"/>
                </a:cubicBezTo>
                <a:cubicBezTo>
                  <a:pt x="1942206" y="906051"/>
                  <a:pt x="1923704" y="890270"/>
                  <a:pt x="1922071" y="860885"/>
                </a:cubicBezTo>
                <a:cubicBezTo>
                  <a:pt x="1920983" y="836397"/>
                  <a:pt x="1943294" y="812453"/>
                  <a:pt x="1968326" y="812453"/>
                </a:cubicBezTo>
                <a:close/>
                <a:moveTo>
                  <a:pt x="255260" y="762932"/>
                </a:moveTo>
                <a:cubicBezTo>
                  <a:pt x="261790" y="763476"/>
                  <a:pt x="271041" y="773271"/>
                  <a:pt x="270497" y="779802"/>
                </a:cubicBezTo>
                <a:cubicBezTo>
                  <a:pt x="270497" y="786332"/>
                  <a:pt x="261246" y="795038"/>
                  <a:pt x="254172" y="795038"/>
                </a:cubicBezTo>
                <a:cubicBezTo>
                  <a:pt x="246553" y="795038"/>
                  <a:pt x="238391" y="786332"/>
                  <a:pt x="238935" y="778713"/>
                </a:cubicBezTo>
                <a:cubicBezTo>
                  <a:pt x="239479" y="771095"/>
                  <a:pt x="248186" y="762388"/>
                  <a:pt x="255260" y="762932"/>
                </a:cubicBezTo>
                <a:close/>
                <a:moveTo>
                  <a:pt x="416881" y="756402"/>
                </a:moveTo>
                <a:cubicBezTo>
                  <a:pt x="430485" y="756402"/>
                  <a:pt x="439736" y="765109"/>
                  <a:pt x="440280" y="778713"/>
                </a:cubicBezTo>
                <a:cubicBezTo>
                  <a:pt x="440280" y="791229"/>
                  <a:pt x="431573" y="801024"/>
                  <a:pt x="419057" y="801024"/>
                </a:cubicBezTo>
                <a:cubicBezTo>
                  <a:pt x="405997" y="801569"/>
                  <a:pt x="396202" y="792317"/>
                  <a:pt x="396202" y="779257"/>
                </a:cubicBezTo>
                <a:cubicBezTo>
                  <a:pt x="396202" y="766741"/>
                  <a:pt x="404909" y="756946"/>
                  <a:pt x="416881" y="756402"/>
                </a:cubicBezTo>
                <a:close/>
                <a:moveTo>
                  <a:pt x="581766" y="751505"/>
                </a:moveTo>
                <a:cubicBezTo>
                  <a:pt x="598091" y="752594"/>
                  <a:pt x="607887" y="762933"/>
                  <a:pt x="608975" y="779802"/>
                </a:cubicBezTo>
                <a:cubicBezTo>
                  <a:pt x="608975" y="792318"/>
                  <a:pt x="596459" y="808644"/>
                  <a:pt x="580678" y="806467"/>
                </a:cubicBezTo>
                <a:cubicBezTo>
                  <a:pt x="565985" y="808100"/>
                  <a:pt x="553469" y="792318"/>
                  <a:pt x="553469" y="778714"/>
                </a:cubicBezTo>
                <a:cubicBezTo>
                  <a:pt x="553469" y="764021"/>
                  <a:pt x="567618" y="750417"/>
                  <a:pt x="581766" y="751505"/>
                </a:cubicBezTo>
                <a:close/>
                <a:moveTo>
                  <a:pt x="746107" y="746607"/>
                </a:moveTo>
                <a:cubicBezTo>
                  <a:pt x="762432" y="747695"/>
                  <a:pt x="778213" y="765653"/>
                  <a:pt x="777125" y="780346"/>
                </a:cubicBezTo>
                <a:cubicBezTo>
                  <a:pt x="776581" y="795038"/>
                  <a:pt x="762432" y="811908"/>
                  <a:pt x="742842" y="811364"/>
                </a:cubicBezTo>
                <a:cubicBezTo>
                  <a:pt x="725428" y="810276"/>
                  <a:pt x="712368" y="795583"/>
                  <a:pt x="712368" y="778713"/>
                </a:cubicBezTo>
                <a:cubicBezTo>
                  <a:pt x="712368" y="760755"/>
                  <a:pt x="730870" y="745519"/>
                  <a:pt x="746107" y="746607"/>
                </a:cubicBezTo>
                <a:close/>
                <a:moveTo>
                  <a:pt x="907727" y="741710"/>
                </a:moveTo>
                <a:cubicBezTo>
                  <a:pt x="925684" y="741710"/>
                  <a:pt x="944187" y="760756"/>
                  <a:pt x="944187" y="778714"/>
                </a:cubicBezTo>
                <a:cubicBezTo>
                  <a:pt x="944187" y="796672"/>
                  <a:pt x="926229" y="815174"/>
                  <a:pt x="907727" y="815174"/>
                </a:cubicBezTo>
                <a:cubicBezTo>
                  <a:pt x="889225" y="815174"/>
                  <a:pt x="872899" y="798848"/>
                  <a:pt x="872355" y="779258"/>
                </a:cubicBezTo>
                <a:cubicBezTo>
                  <a:pt x="871811" y="759668"/>
                  <a:pt x="888136" y="742254"/>
                  <a:pt x="907727" y="741710"/>
                </a:cubicBezTo>
                <a:close/>
                <a:moveTo>
                  <a:pt x="1070979" y="740621"/>
                </a:moveTo>
                <a:cubicBezTo>
                  <a:pt x="1091114" y="737357"/>
                  <a:pt x="1110704" y="761300"/>
                  <a:pt x="1110160" y="779258"/>
                </a:cubicBezTo>
                <a:cubicBezTo>
                  <a:pt x="1110160" y="798304"/>
                  <a:pt x="1089481" y="817894"/>
                  <a:pt x="1070979" y="817894"/>
                </a:cubicBezTo>
                <a:cubicBezTo>
                  <a:pt x="1049757" y="817894"/>
                  <a:pt x="1031255" y="797216"/>
                  <a:pt x="1031799" y="778714"/>
                </a:cubicBezTo>
                <a:cubicBezTo>
                  <a:pt x="1033431" y="756947"/>
                  <a:pt x="1049212" y="740621"/>
                  <a:pt x="1070979" y="740621"/>
                </a:cubicBezTo>
                <a:close/>
                <a:moveTo>
                  <a:pt x="1233688" y="736268"/>
                </a:moveTo>
                <a:cubicBezTo>
                  <a:pt x="1254367" y="735723"/>
                  <a:pt x="1276134" y="756402"/>
                  <a:pt x="1276134" y="777625"/>
                </a:cubicBezTo>
                <a:cubicBezTo>
                  <a:pt x="1276134" y="801025"/>
                  <a:pt x="1258720" y="819526"/>
                  <a:pt x="1235320" y="820615"/>
                </a:cubicBezTo>
                <a:cubicBezTo>
                  <a:pt x="1211377" y="821159"/>
                  <a:pt x="1193419" y="802657"/>
                  <a:pt x="1192331" y="779258"/>
                </a:cubicBezTo>
                <a:cubicBezTo>
                  <a:pt x="1190698" y="758579"/>
                  <a:pt x="1213009" y="736812"/>
                  <a:pt x="1233688" y="736268"/>
                </a:cubicBezTo>
                <a:close/>
                <a:moveTo>
                  <a:pt x="1397485" y="735724"/>
                </a:moveTo>
                <a:cubicBezTo>
                  <a:pt x="1421973" y="734091"/>
                  <a:pt x="1441564" y="757491"/>
                  <a:pt x="1441019" y="779802"/>
                </a:cubicBezTo>
                <a:cubicBezTo>
                  <a:pt x="1441019" y="803746"/>
                  <a:pt x="1418708" y="823336"/>
                  <a:pt x="1396397" y="823336"/>
                </a:cubicBezTo>
                <a:cubicBezTo>
                  <a:pt x="1374630" y="823336"/>
                  <a:pt x="1352863" y="802113"/>
                  <a:pt x="1352863" y="779258"/>
                </a:cubicBezTo>
                <a:cubicBezTo>
                  <a:pt x="1353407" y="758579"/>
                  <a:pt x="1372453" y="733547"/>
                  <a:pt x="1397485" y="735724"/>
                </a:cubicBezTo>
                <a:close/>
                <a:moveTo>
                  <a:pt x="1562371" y="734636"/>
                </a:moveTo>
                <a:cubicBezTo>
                  <a:pt x="1586314" y="732459"/>
                  <a:pt x="1605905" y="754226"/>
                  <a:pt x="1605905" y="779802"/>
                </a:cubicBezTo>
                <a:cubicBezTo>
                  <a:pt x="1605361" y="805923"/>
                  <a:pt x="1585226" y="823881"/>
                  <a:pt x="1560194" y="823881"/>
                </a:cubicBezTo>
                <a:cubicBezTo>
                  <a:pt x="1535706" y="823881"/>
                  <a:pt x="1515027" y="803202"/>
                  <a:pt x="1515572" y="777626"/>
                </a:cubicBezTo>
                <a:cubicBezTo>
                  <a:pt x="1516116" y="755859"/>
                  <a:pt x="1535162" y="731371"/>
                  <a:pt x="1562371" y="734636"/>
                </a:cubicBezTo>
                <a:close/>
                <a:moveTo>
                  <a:pt x="1724535" y="730827"/>
                </a:moveTo>
                <a:cubicBezTo>
                  <a:pt x="1748478" y="731371"/>
                  <a:pt x="1772422" y="755314"/>
                  <a:pt x="1772422" y="779258"/>
                </a:cubicBezTo>
                <a:cubicBezTo>
                  <a:pt x="1771878" y="804290"/>
                  <a:pt x="1748478" y="826602"/>
                  <a:pt x="1723446" y="826602"/>
                </a:cubicBezTo>
                <a:cubicBezTo>
                  <a:pt x="1696238" y="823881"/>
                  <a:pt x="1677736" y="807011"/>
                  <a:pt x="1676647" y="778714"/>
                </a:cubicBezTo>
                <a:cubicBezTo>
                  <a:pt x="1676103" y="753138"/>
                  <a:pt x="1699503" y="730282"/>
                  <a:pt x="1724535" y="730827"/>
                </a:cubicBezTo>
                <a:close/>
                <a:moveTo>
                  <a:pt x="1886699" y="730826"/>
                </a:moveTo>
                <a:cubicBezTo>
                  <a:pt x="1914452" y="730826"/>
                  <a:pt x="1934587" y="749872"/>
                  <a:pt x="1935131" y="778713"/>
                </a:cubicBezTo>
                <a:cubicBezTo>
                  <a:pt x="1936219" y="804834"/>
                  <a:pt x="1916085" y="826601"/>
                  <a:pt x="1887244" y="827145"/>
                </a:cubicBezTo>
                <a:cubicBezTo>
                  <a:pt x="1860579" y="826601"/>
                  <a:pt x="1838812" y="805922"/>
                  <a:pt x="1838812" y="778713"/>
                </a:cubicBezTo>
                <a:cubicBezTo>
                  <a:pt x="1839356" y="750416"/>
                  <a:pt x="1860035" y="730282"/>
                  <a:pt x="1886699" y="730826"/>
                </a:cubicBezTo>
                <a:close/>
                <a:moveTo>
                  <a:pt x="2050496" y="730282"/>
                </a:moveTo>
                <a:lnTo>
                  <a:pt x="2051041" y="730396"/>
                </a:lnTo>
                <a:lnTo>
                  <a:pt x="2051041" y="826942"/>
                </a:lnTo>
                <a:lnTo>
                  <a:pt x="2049952" y="827145"/>
                </a:lnTo>
                <a:cubicBezTo>
                  <a:pt x="2023832" y="827145"/>
                  <a:pt x="2001521" y="804290"/>
                  <a:pt x="2002065" y="778169"/>
                </a:cubicBezTo>
                <a:cubicBezTo>
                  <a:pt x="2002609" y="751505"/>
                  <a:pt x="2024376" y="730282"/>
                  <a:pt x="2050496" y="730282"/>
                </a:cubicBezTo>
                <a:close/>
                <a:moveTo>
                  <a:pt x="173634" y="685660"/>
                </a:moveTo>
                <a:cubicBezTo>
                  <a:pt x="181253" y="685660"/>
                  <a:pt x="185062" y="690013"/>
                  <a:pt x="184518" y="698176"/>
                </a:cubicBezTo>
                <a:cubicBezTo>
                  <a:pt x="183973" y="705250"/>
                  <a:pt x="180164" y="709059"/>
                  <a:pt x="172546" y="709059"/>
                </a:cubicBezTo>
                <a:cubicBezTo>
                  <a:pt x="164383" y="709059"/>
                  <a:pt x="160574" y="705250"/>
                  <a:pt x="161118" y="697088"/>
                </a:cubicBezTo>
                <a:cubicBezTo>
                  <a:pt x="161662" y="688925"/>
                  <a:pt x="164927" y="685660"/>
                  <a:pt x="173634" y="685660"/>
                </a:cubicBezTo>
                <a:close/>
                <a:moveTo>
                  <a:pt x="335798" y="675320"/>
                </a:moveTo>
                <a:cubicBezTo>
                  <a:pt x="345593" y="675320"/>
                  <a:pt x="357565" y="685115"/>
                  <a:pt x="357565" y="696543"/>
                </a:cubicBezTo>
                <a:cubicBezTo>
                  <a:pt x="357565" y="707426"/>
                  <a:pt x="346682" y="718854"/>
                  <a:pt x="336342" y="718854"/>
                </a:cubicBezTo>
                <a:cubicBezTo>
                  <a:pt x="327091" y="718854"/>
                  <a:pt x="315664" y="707426"/>
                  <a:pt x="315120" y="697631"/>
                </a:cubicBezTo>
                <a:cubicBezTo>
                  <a:pt x="314575" y="687292"/>
                  <a:pt x="325459" y="675864"/>
                  <a:pt x="335798" y="675320"/>
                </a:cubicBezTo>
                <a:close/>
                <a:moveTo>
                  <a:pt x="499051" y="670423"/>
                </a:moveTo>
                <a:cubicBezTo>
                  <a:pt x="512111" y="669335"/>
                  <a:pt x="526804" y="684027"/>
                  <a:pt x="526804" y="697088"/>
                </a:cubicBezTo>
                <a:cubicBezTo>
                  <a:pt x="526804" y="711236"/>
                  <a:pt x="513744" y="724296"/>
                  <a:pt x="499595" y="724296"/>
                </a:cubicBezTo>
                <a:cubicBezTo>
                  <a:pt x="486535" y="724296"/>
                  <a:pt x="472930" y="711236"/>
                  <a:pt x="472930" y="697632"/>
                </a:cubicBezTo>
                <a:cubicBezTo>
                  <a:pt x="472386" y="684027"/>
                  <a:pt x="485446" y="670423"/>
                  <a:pt x="499051" y="670423"/>
                </a:cubicBezTo>
                <a:close/>
                <a:moveTo>
                  <a:pt x="662848" y="665525"/>
                </a:moveTo>
                <a:cubicBezTo>
                  <a:pt x="678629" y="665525"/>
                  <a:pt x="694410" y="681306"/>
                  <a:pt x="694954" y="697087"/>
                </a:cubicBezTo>
                <a:cubicBezTo>
                  <a:pt x="695499" y="712868"/>
                  <a:pt x="679173" y="729194"/>
                  <a:pt x="663392" y="729194"/>
                </a:cubicBezTo>
                <a:cubicBezTo>
                  <a:pt x="647611" y="729194"/>
                  <a:pt x="632374" y="713957"/>
                  <a:pt x="632374" y="698176"/>
                </a:cubicBezTo>
                <a:cubicBezTo>
                  <a:pt x="631286" y="681850"/>
                  <a:pt x="647067" y="665525"/>
                  <a:pt x="662848" y="665525"/>
                </a:cubicBezTo>
                <a:close/>
                <a:moveTo>
                  <a:pt x="825013" y="663349"/>
                </a:moveTo>
                <a:cubicBezTo>
                  <a:pt x="844603" y="662260"/>
                  <a:pt x="861472" y="676953"/>
                  <a:pt x="860384" y="697632"/>
                </a:cubicBezTo>
                <a:cubicBezTo>
                  <a:pt x="861472" y="716134"/>
                  <a:pt x="846780" y="731915"/>
                  <a:pt x="826101" y="731915"/>
                </a:cubicBezTo>
                <a:cubicBezTo>
                  <a:pt x="806511" y="731915"/>
                  <a:pt x="791818" y="719399"/>
                  <a:pt x="791818" y="698176"/>
                </a:cubicBezTo>
                <a:cubicBezTo>
                  <a:pt x="791818" y="676409"/>
                  <a:pt x="805967" y="663893"/>
                  <a:pt x="825013" y="663349"/>
                </a:cubicBezTo>
                <a:close/>
                <a:moveTo>
                  <a:pt x="988809" y="658995"/>
                </a:moveTo>
                <a:cubicBezTo>
                  <a:pt x="1008400" y="657362"/>
                  <a:pt x="1028534" y="679129"/>
                  <a:pt x="1027446" y="697087"/>
                </a:cubicBezTo>
                <a:cubicBezTo>
                  <a:pt x="1026902" y="718310"/>
                  <a:pt x="1010576" y="735723"/>
                  <a:pt x="989353" y="735723"/>
                </a:cubicBezTo>
                <a:cubicBezTo>
                  <a:pt x="968675" y="735723"/>
                  <a:pt x="950717" y="718310"/>
                  <a:pt x="950717" y="697631"/>
                </a:cubicBezTo>
                <a:cubicBezTo>
                  <a:pt x="950717" y="676408"/>
                  <a:pt x="968131" y="660627"/>
                  <a:pt x="988809" y="658995"/>
                </a:cubicBezTo>
                <a:close/>
                <a:moveTo>
                  <a:pt x="1152607" y="655729"/>
                </a:moveTo>
                <a:cubicBezTo>
                  <a:pt x="1173829" y="654097"/>
                  <a:pt x="1194508" y="675864"/>
                  <a:pt x="1195052" y="697087"/>
                </a:cubicBezTo>
                <a:cubicBezTo>
                  <a:pt x="1195596" y="717766"/>
                  <a:pt x="1173829" y="739533"/>
                  <a:pt x="1153151" y="739533"/>
                </a:cubicBezTo>
                <a:cubicBezTo>
                  <a:pt x="1132472" y="740077"/>
                  <a:pt x="1110705" y="718310"/>
                  <a:pt x="1110705" y="697631"/>
                </a:cubicBezTo>
                <a:cubicBezTo>
                  <a:pt x="1112882" y="674231"/>
                  <a:pt x="1127574" y="657362"/>
                  <a:pt x="1152607" y="655729"/>
                </a:cubicBezTo>
                <a:close/>
                <a:moveTo>
                  <a:pt x="1316948" y="653554"/>
                </a:moveTo>
                <a:cubicBezTo>
                  <a:pt x="1340347" y="654098"/>
                  <a:pt x="1359937" y="674777"/>
                  <a:pt x="1359937" y="697632"/>
                </a:cubicBezTo>
                <a:cubicBezTo>
                  <a:pt x="1359937" y="718855"/>
                  <a:pt x="1339803" y="743343"/>
                  <a:pt x="1315315" y="740622"/>
                </a:cubicBezTo>
                <a:cubicBezTo>
                  <a:pt x="1293004" y="742799"/>
                  <a:pt x="1271237" y="718311"/>
                  <a:pt x="1271781" y="696544"/>
                </a:cubicBezTo>
                <a:cubicBezTo>
                  <a:pt x="1271781" y="675321"/>
                  <a:pt x="1292460" y="653010"/>
                  <a:pt x="1316948" y="653554"/>
                </a:cubicBezTo>
                <a:close/>
                <a:moveTo>
                  <a:pt x="1479112" y="651921"/>
                </a:moveTo>
                <a:cubicBezTo>
                  <a:pt x="1506321" y="651377"/>
                  <a:pt x="1524823" y="669335"/>
                  <a:pt x="1524823" y="697088"/>
                </a:cubicBezTo>
                <a:cubicBezTo>
                  <a:pt x="1524823" y="722664"/>
                  <a:pt x="1506865" y="743343"/>
                  <a:pt x="1479112" y="742254"/>
                </a:cubicBezTo>
                <a:cubicBezTo>
                  <a:pt x="1450815" y="743343"/>
                  <a:pt x="1433401" y="721031"/>
                  <a:pt x="1433945" y="697088"/>
                </a:cubicBezTo>
                <a:cubicBezTo>
                  <a:pt x="1434490" y="670423"/>
                  <a:pt x="1451903" y="652465"/>
                  <a:pt x="1479112" y="651921"/>
                </a:cubicBezTo>
                <a:close/>
                <a:moveTo>
                  <a:pt x="1642909" y="649744"/>
                </a:moveTo>
                <a:cubicBezTo>
                  <a:pt x="1671750" y="650288"/>
                  <a:pt x="1690252" y="668790"/>
                  <a:pt x="1690796" y="697087"/>
                </a:cubicBezTo>
                <a:cubicBezTo>
                  <a:pt x="1691340" y="723752"/>
                  <a:pt x="1672294" y="743342"/>
                  <a:pt x="1642909" y="745519"/>
                </a:cubicBezTo>
                <a:cubicBezTo>
                  <a:pt x="1614067" y="743887"/>
                  <a:pt x="1594477" y="725384"/>
                  <a:pt x="1594477" y="697632"/>
                </a:cubicBezTo>
                <a:cubicBezTo>
                  <a:pt x="1594477" y="668790"/>
                  <a:pt x="1614611" y="649200"/>
                  <a:pt x="1642909" y="649744"/>
                </a:cubicBezTo>
                <a:close/>
                <a:moveTo>
                  <a:pt x="1805617" y="648112"/>
                </a:moveTo>
                <a:cubicBezTo>
                  <a:pt x="1829561" y="648112"/>
                  <a:pt x="1857314" y="672055"/>
                  <a:pt x="1854593" y="698176"/>
                </a:cubicBezTo>
                <a:cubicBezTo>
                  <a:pt x="1856770" y="719399"/>
                  <a:pt x="1832826" y="747151"/>
                  <a:pt x="1805073" y="746607"/>
                </a:cubicBezTo>
                <a:cubicBezTo>
                  <a:pt x="1779497" y="746063"/>
                  <a:pt x="1756097" y="721575"/>
                  <a:pt x="1756097" y="697087"/>
                </a:cubicBezTo>
                <a:cubicBezTo>
                  <a:pt x="1756097" y="670423"/>
                  <a:pt x="1782218" y="647567"/>
                  <a:pt x="1805617" y="648112"/>
                </a:cubicBezTo>
                <a:close/>
                <a:moveTo>
                  <a:pt x="1969414" y="647023"/>
                </a:moveTo>
                <a:cubicBezTo>
                  <a:pt x="1992814" y="647023"/>
                  <a:pt x="2020567" y="672055"/>
                  <a:pt x="2018934" y="698176"/>
                </a:cubicBezTo>
                <a:cubicBezTo>
                  <a:pt x="2017302" y="725384"/>
                  <a:pt x="1996623" y="746063"/>
                  <a:pt x="1968326" y="746063"/>
                </a:cubicBezTo>
                <a:cubicBezTo>
                  <a:pt x="1941661" y="748784"/>
                  <a:pt x="1919350" y="721031"/>
                  <a:pt x="1918806" y="697087"/>
                </a:cubicBezTo>
                <a:cubicBezTo>
                  <a:pt x="1918806" y="669878"/>
                  <a:pt x="1945471" y="647023"/>
                  <a:pt x="1969414" y="647023"/>
                </a:cubicBezTo>
                <a:close/>
                <a:moveTo>
                  <a:pt x="90919" y="606754"/>
                </a:moveTo>
                <a:cubicBezTo>
                  <a:pt x="94728" y="608386"/>
                  <a:pt x="99626" y="612195"/>
                  <a:pt x="99626" y="615460"/>
                </a:cubicBezTo>
                <a:cubicBezTo>
                  <a:pt x="100170" y="618181"/>
                  <a:pt x="95816" y="621990"/>
                  <a:pt x="92007" y="627976"/>
                </a:cubicBezTo>
                <a:cubicBezTo>
                  <a:pt x="87654" y="623079"/>
                  <a:pt x="84389" y="619814"/>
                  <a:pt x="82756" y="616005"/>
                </a:cubicBezTo>
                <a:cubicBezTo>
                  <a:pt x="81668" y="613284"/>
                  <a:pt x="88198" y="605665"/>
                  <a:pt x="90919" y="606754"/>
                </a:cubicBezTo>
                <a:close/>
                <a:moveTo>
                  <a:pt x="254172" y="598047"/>
                </a:moveTo>
                <a:cubicBezTo>
                  <a:pt x="265599" y="597503"/>
                  <a:pt x="273218" y="606210"/>
                  <a:pt x="272674" y="614917"/>
                </a:cubicBezTo>
                <a:cubicBezTo>
                  <a:pt x="272674" y="625800"/>
                  <a:pt x="266688" y="632874"/>
                  <a:pt x="255260" y="633419"/>
                </a:cubicBezTo>
                <a:cubicBezTo>
                  <a:pt x="244376" y="633963"/>
                  <a:pt x="237302" y="626889"/>
                  <a:pt x="236758" y="616005"/>
                </a:cubicBezTo>
                <a:cubicBezTo>
                  <a:pt x="236758" y="605122"/>
                  <a:pt x="243832" y="598047"/>
                  <a:pt x="254172" y="598047"/>
                </a:cubicBezTo>
                <a:close/>
                <a:moveTo>
                  <a:pt x="418513" y="590429"/>
                </a:moveTo>
                <a:cubicBezTo>
                  <a:pt x="431029" y="590429"/>
                  <a:pt x="442457" y="601857"/>
                  <a:pt x="443001" y="614917"/>
                </a:cubicBezTo>
                <a:cubicBezTo>
                  <a:pt x="443545" y="627977"/>
                  <a:pt x="432118" y="640493"/>
                  <a:pt x="419058" y="640493"/>
                </a:cubicBezTo>
                <a:cubicBezTo>
                  <a:pt x="404365" y="640493"/>
                  <a:pt x="394570" y="630698"/>
                  <a:pt x="392937" y="616005"/>
                </a:cubicBezTo>
                <a:cubicBezTo>
                  <a:pt x="391849" y="604033"/>
                  <a:pt x="405997" y="590429"/>
                  <a:pt x="418513" y="590429"/>
                </a:cubicBezTo>
                <a:close/>
                <a:moveTo>
                  <a:pt x="581222" y="587163"/>
                </a:moveTo>
                <a:cubicBezTo>
                  <a:pt x="600812" y="588252"/>
                  <a:pt x="610063" y="598047"/>
                  <a:pt x="610063" y="616549"/>
                </a:cubicBezTo>
                <a:cubicBezTo>
                  <a:pt x="610063" y="634507"/>
                  <a:pt x="599179" y="644846"/>
                  <a:pt x="580677" y="645390"/>
                </a:cubicBezTo>
                <a:cubicBezTo>
                  <a:pt x="565440" y="644846"/>
                  <a:pt x="551836" y="634507"/>
                  <a:pt x="551836" y="615461"/>
                </a:cubicBezTo>
                <a:cubicBezTo>
                  <a:pt x="551836" y="594782"/>
                  <a:pt x="567073" y="586075"/>
                  <a:pt x="581222" y="587163"/>
                </a:cubicBezTo>
                <a:close/>
                <a:moveTo>
                  <a:pt x="743930" y="582266"/>
                </a:moveTo>
                <a:cubicBezTo>
                  <a:pt x="761344" y="581178"/>
                  <a:pt x="779301" y="599136"/>
                  <a:pt x="779301" y="616005"/>
                </a:cubicBezTo>
                <a:cubicBezTo>
                  <a:pt x="779301" y="632874"/>
                  <a:pt x="762976" y="649744"/>
                  <a:pt x="745563" y="649744"/>
                </a:cubicBezTo>
                <a:cubicBezTo>
                  <a:pt x="728149" y="649200"/>
                  <a:pt x="710191" y="635595"/>
                  <a:pt x="711824" y="616549"/>
                </a:cubicBezTo>
                <a:cubicBezTo>
                  <a:pt x="711824" y="596415"/>
                  <a:pt x="724340" y="583355"/>
                  <a:pt x="743930" y="582266"/>
                </a:cubicBezTo>
                <a:close/>
                <a:moveTo>
                  <a:pt x="907183" y="577913"/>
                </a:moveTo>
                <a:cubicBezTo>
                  <a:pt x="927318" y="576825"/>
                  <a:pt x="947452" y="598592"/>
                  <a:pt x="945276" y="615461"/>
                </a:cubicBezTo>
                <a:cubicBezTo>
                  <a:pt x="945276" y="635596"/>
                  <a:pt x="927318" y="653554"/>
                  <a:pt x="907727" y="654098"/>
                </a:cubicBezTo>
                <a:cubicBezTo>
                  <a:pt x="890314" y="654642"/>
                  <a:pt x="869091" y="635052"/>
                  <a:pt x="869091" y="616006"/>
                </a:cubicBezTo>
                <a:cubicBezTo>
                  <a:pt x="869635" y="595871"/>
                  <a:pt x="887049" y="578457"/>
                  <a:pt x="907183" y="577913"/>
                </a:cubicBezTo>
                <a:close/>
                <a:moveTo>
                  <a:pt x="1069891" y="574648"/>
                </a:moveTo>
                <a:cubicBezTo>
                  <a:pt x="1092202" y="574648"/>
                  <a:pt x="1111793" y="589885"/>
                  <a:pt x="1111248" y="615461"/>
                </a:cubicBezTo>
                <a:cubicBezTo>
                  <a:pt x="1111793" y="639405"/>
                  <a:pt x="1093835" y="656274"/>
                  <a:pt x="1070435" y="656274"/>
                </a:cubicBezTo>
                <a:cubicBezTo>
                  <a:pt x="1045403" y="656274"/>
                  <a:pt x="1029622" y="635052"/>
                  <a:pt x="1029622" y="614917"/>
                </a:cubicBezTo>
                <a:cubicBezTo>
                  <a:pt x="1030166" y="593150"/>
                  <a:pt x="1046491" y="574648"/>
                  <a:pt x="1069891" y="574648"/>
                </a:cubicBezTo>
                <a:close/>
                <a:moveTo>
                  <a:pt x="1235321" y="572472"/>
                </a:moveTo>
                <a:cubicBezTo>
                  <a:pt x="1256543" y="572472"/>
                  <a:pt x="1279399" y="590973"/>
                  <a:pt x="1277222" y="616550"/>
                </a:cubicBezTo>
                <a:cubicBezTo>
                  <a:pt x="1278855" y="639949"/>
                  <a:pt x="1255455" y="660084"/>
                  <a:pt x="1233688" y="660084"/>
                </a:cubicBezTo>
                <a:cubicBezTo>
                  <a:pt x="1211377" y="660084"/>
                  <a:pt x="1189610" y="637773"/>
                  <a:pt x="1190154" y="614917"/>
                </a:cubicBezTo>
                <a:cubicBezTo>
                  <a:pt x="1190698" y="594783"/>
                  <a:pt x="1209200" y="571927"/>
                  <a:pt x="1235321" y="572472"/>
                </a:cubicBezTo>
                <a:close/>
                <a:moveTo>
                  <a:pt x="1397485" y="569206"/>
                </a:moveTo>
                <a:cubicBezTo>
                  <a:pt x="1423606" y="569750"/>
                  <a:pt x="1443196" y="587708"/>
                  <a:pt x="1443196" y="616005"/>
                </a:cubicBezTo>
                <a:cubicBezTo>
                  <a:pt x="1443196" y="642670"/>
                  <a:pt x="1424150" y="661716"/>
                  <a:pt x="1396941" y="661172"/>
                </a:cubicBezTo>
                <a:cubicBezTo>
                  <a:pt x="1369188" y="661172"/>
                  <a:pt x="1350686" y="638860"/>
                  <a:pt x="1351775" y="614373"/>
                </a:cubicBezTo>
                <a:cubicBezTo>
                  <a:pt x="1352319" y="587164"/>
                  <a:pt x="1371365" y="569206"/>
                  <a:pt x="1397485" y="569206"/>
                </a:cubicBezTo>
                <a:close/>
                <a:moveTo>
                  <a:pt x="1560738" y="567029"/>
                </a:moveTo>
                <a:cubicBezTo>
                  <a:pt x="1586859" y="567029"/>
                  <a:pt x="1608082" y="587708"/>
                  <a:pt x="1609714" y="615461"/>
                </a:cubicBezTo>
                <a:cubicBezTo>
                  <a:pt x="1608082" y="641581"/>
                  <a:pt x="1589580" y="663892"/>
                  <a:pt x="1561283" y="663892"/>
                </a:cubicBezTo>
                <a:cubicBezTo>
                  <a:pt x="1534074" y="663892"/>
                  <a:pt x="1512851" y="642669"/>
                  <a:pt x="1512851" y="616005"/>
                </a:cubicBezTo>
                <a:cubicBezTo>
                  <a:pt x="1512851" y="587163"/>
                  <a:pt x="1535706" y="567029"/>
                  <a:pt x="1560738" y="567029"/>
                </a:cubicBezTo>
                <a:close/>
                <a:moveTo>
                  <a:pt x="1725624" y="565397"/>
                </a:moveTo>
                <a:cubicBezTo>
                  <a:pt x="1747935" y="565941"/>
                  <a:pt x="1775144" y="590429"/>
                  <a:pt x="1774599" y="616005"/>
                </a:cubicBezTo>
                <a:cubicBezTo>
                  <a:pt x="1774055" y="638317"/>
                  <a:pt x="1751744" y="668246"/>
                  <a:pt x="1723447" y="664981"/>
                </a:cubicBezTo>
                <a:cubicBezTo>
                  <a:pt x="1700592" y="667158"/>
                  <a:pt x="1674471" y="643758"/>
                  <a:pt x="1674471" y="615461"/>
                </a:cubicBezTo>
                <a:cubicBezTo>
                  <a:pt x="1674471" y="588797"/>
                  <a:pt x="1700592" y="565397"/>
                  <a:pt x="1725624" y="565397"/>
                </a:cubicBezTo>
                <a:close/>
                <a:moveTo>
                  <a:pt x="1886699" y="564853"/>
                </a:moveTo>
                <a:cubicBezTo>
                  <a:pt x="1914996" y="564309"/>
                  <a:pt x="1938396" y="589341"/>
                  <a:pt x="1938396" y="614917"/>
                </a:cubicBezTo>
                <a:cubicBezTo>
                  <a:pt x="1938396" y="640493"/>
                  <a:pt x="1917717" y="667702"/>
                  <a:pt x="1887787" y="665525"/>
                </a:cubicBezTo>
                <a:cubicBezTo>
                  <a:pt x="1860034" y="667702"/>
                  <a:pt x="1837723" y="644302"/>
                  <a:pt x="1837179" y="615461"/>
                </a:cubicBezTo>
                <a:cubicBezTo>
                  <a:pt x="1837179" y="586620"/>
                  <a:pt x="1861667" y="565397"/>
                  <a:pt x="1886699" y="564853"/>
                </a:cubicBezTo>
                <a:close/>
                <a:moveTo>
                  <a:pt x="2050496" y="564852"/>
                </a:moveTo>
                <a:lnTo>
                  <a:pt x="2051041" y="564962"/>
                </a:lnTo>
                <a:lnTo>
                  <a:pt x="2051041" y="665899"/>
                </a:lnTo>
                <a:lnTo>
                  <a:pt x="2049952" y="666069"/>
                </a:lnTo>
                <a:cubicBezTo>
                  <a:pt x="2018934" y="667157"/>
                  <a:pt x="1999344" y="642669"/>
                  <a:pt x="1999344" y="615460"/>
                </a:cubicBezTo>
                <a:cubicBezTo>
                  <a:pt x="1999344" y="587163"/>
                  <a:pt x="2021655" y="564852"/>
                  <a:pt x="2050496" y="564852"/>
                </a:cubicBezTo>
                <a:close/>
                <a:moveTo>
                  <a:pt x="173090" y="517509"/>
                </a:moveTo>
                <a:cubicBezTo>
                  <a:pt x="181252" y="517509"/>
                  <a:pt x="189415" y="525672"/>
                  <a:pt x="189959" y="533834"/>
                </a:cubicBezTo>
                <a:cubicBezTo>
                  <a:pt x="189959" y="542541"/>
                  <a:pt x="182341" y="550160"/>
                  <a:pt x="173634" y="550160"/>
                </a:cubicBezTo>
                <a:cubicBezTo>
                  <a:pt x="165471" y="550160"/>
                  <a:pt x="157853" y="543085"/>
                  <a:pt x="157308" y="534923"/>
                </a:cubicBezTo>
                <a:cubicBezTo>
                  <a:pt x="156764" y="526216"/>
                  <a:pt x="164383" y="518053"/>
                  <a:pt x="173090" y="517509"/>
                </a:cubicBezTo>
                <a:close/>
                <a:moveTo>
                  <a:pt x="335798" y="511523"/>
                </a:moveTo>
                <a:cubicBezTo>
                  <a:pt x="349947" y="512067"/>
                  <a:pt x="357565" y="519686"/>
                  <a:pt x="358654" y="533834"/>
                </a:cubicBezTo>
                <a:cubicBezTo>
                  <a:pt x="359742" y="547439"/>
                  <a:pt x="348314" y="557778"/>
                  <a:pt x="336343" y="556689"/>
                </a:cubicBezTo>
                <a:cubicBezTo>
                  <a:pt x="324371" y="558322"/>
                  <a:pt x="312943" y="545806"/>
                  <a:pt x="312943" y="534378"/>
                </a:cubicBezTo>
                <a:cubicBezTo>
                  <a:pt x="312943" y="522951"/>
                  <a:pt x="322738" y="510979"/>
                  <a:pt x="335798" y="511523"/>
                </a:cubicBezTo>
                <a:close/>
                <a:moveTo>
                  <a:pt x="500139" y="506626"/>
                </a:moveTo>
                <a:cubicBezTo>
                  <a:pt x="517553" y="507170"/>
                  <a:pt x="527892" y="517509"/>
                  <a:pt x="527348" y="535467"/>
                </a:cubicBezTo>
                <a:cubicBezTo>
                  <a:pt x="526804" y="552880"/>
                  <a:pt x="515920" y="562131"/>
                  <a:pt x="497963" y="561587"/>
                </a:cubicBezTo>
                <a:cubicBezTo>
                  <a:pt x="481093" y="561043"/>
                  <a:pt x="472386" y="550704"/>
                  <a:pt x="471842" y="533290"/>
                </a:cubicBezTo>
                <a:cubicBezTo>
                  <a:pt x="471298" y="516965"/>
                  <a:pt x="485447" y="506081"/>
                  <a:pt x="500139" y="506626"/>
                </a:cubicBezTo>
                <a:close/>
                <a:moveTo>
                  <a:pt x="662304" y="500639"/>
                </a:moveTo>
                <a:cubicBezTo>
                  <a:pt x="677540" y="497919"/>
                  <a:pt x="696587" y="518597"/>
                  <a:pt x="696042" y="533290"/>
                </a:cubicBezTo>
                <a:cubicBezTo>
                  <a:pt x="694954" y="551792"/>
                  <a:pt x="681894" y="565396"/>
                  <a:pt x="663392" y="566485"/>
                </a:cubicBezTo>
                <a:cubicBezTo>
                  <a:pt x="643802" y="567573"/>
                  <a:pt x="629653" y="549615"/>
                  <a:pt x="630197" y="534378"/>
                </a:cubicBezTo>
                <a:cubicBezTo>
                  <a:pt x="630741" y="515876"/>
                  <a:pt x="644346" y="501184"/>
                  <a:pt x="662304" y="500639"/>
                </a:cubicBezTo>
                <a:close/>
                <a:moveTo>
                  <a:pt x="825557" y="496830"/>
                </a:moveTo>
                <a:cubicBezTo>
                  <a:pt x="846780" y="496286"/>
                  <a:pt x="862561" y="513700"/>
                  <a:pt x="863649" y="534923"/>
                </a:cubicBezTo>
                <a:cubicBezTo>
                  <a:pt x="862017" y="556690"/>
                  <a:pt x="845147" y="571927"/>
                  <a:pt x="825557" y="571383"/>
                </a:cubicBezTo>
                <a:cubicBezTo>
                  <a:pt x="805422" y="570838"/>
                  <a:pt x="788553" y="555057"/>
                  <a:pt x="788553" y="534379"/>
                </a:cubicBezTo>
                <a:cubicBezTo>
                  <a:pt x="788553" y="514244"/>
                  <a:pt x="804334" y="497375"/>
                  <a:pt x="825557" y="496830"/>
                </a:cubicBezTo>
                <a:close/>
                <a:moveTo>
                  <a:pt x="989898" y="494110"/>
                </a:moveTo>
                <a:cubicBezTo>
                  <a:pt x="1012209" y="494654"/>
                  <a:pt x="1029622" y="513156"/>
                  <a:pt x="1029078" y="534923"/>
                </a:cubicBezTo>
                <a:cubicBezTo>
                  <a:pt x="1028534" y="556146"/>
                  <a:pt x="1010576" y="574104"/>
                  <a:pt x="989353" y="574104"/>
                </a:cubicBezTo>
                <a:cubicBezTo>
                  <a:pt x="969763" y="574648"/>
                  <a:pt x="947452" y="556690"/>
                  <a:pt x="949629" y="533835"/>
                </a:cubicBezTo>
                <a:cubicBezTo>
                  <a:pt x="947996" y="512068"/>
                  <a:pt x="968675" y="494110"/>
                  <a:pt x="989898" y="494110"/>
                </a:cubicBezTo>
                <a:close/>
                <a:moveTo>
                  <a:pt x="1152062" y="490301"/>
                </a:moveTo>
                <a:cubicBezTo>
                  <a:pt x="1174917" y="490301"/>
                  <a:pt x="1196140" y="509347"/>
                  <a:pt x="1196140" y="533835"/>
                </a:cubicBezTo>
                <a:cubicBezTo>
                  <a:pt x="1197228" y="558867"/>
                  <a:pt x="1173829" y="577913"/>
                  <a:pt x="1152606" y="577369"/>
                </a:cubicBezTo>
                <a:cubicBezTo>
                  <a:pt x="1130839" y="577369"/>
                  <a:pt x="1109616" y="556690"/>
                  <a:pt x="1109072" y="534379"/>
                </a:cubicBezTo>
                <a:cubicBezTo>
                  <a:pt x="1108528" y="510980"/>
                  <a:pt x="1128662" y="490301"/>
                  <a:pt x="1152062" y="490301"/>
                </a:cubicBezTo>
                <a:close/>
                <a:moveTo>
                  <a:pt x="1316947" y="489212"/>
                </a:moveTo>
                <a:cubicBezTo>
                  <a:pt x="1343612" y="489756"/>
                  <a:pt x="1361570" y="510435"/>
                  <a:pt x="1361570" y="534923"/>
                </a:cubicBezTo>
                <a:cubicBezTo>
                  <a:pt x="1361570" y="560499"/>
                  <a:pt x="1341980" y="580090"/>
                  <a:pt x="1315859" y="580090"/>
                </a:cubicBezTo>
                <a:cubicBezTo>
                  <a:pt x="1291915" y="580090"/>
                  <a:pt x="1269060" y="560499"/>
                  <a:pt x="1270693" y="533835"/>
                </a:cubicBezTo>
                <a:cubicBezTo>
                  <a:pt x="1269604" y="508258"/>
                  <a:pt x="1291371" y="488124"/>
                  <a:pt x="1316947" y="489212"/>
                </a:cubicBezTo>
                <a:close/>
                <a:moveTo>
                  <a:pt x="1479112" y="484315"/>
                </a:moveTo>
                <a:cubicBezTo>
                  <a:pt x="1503599" y="484315"/>
                  <a:pt x="1528087" y="508259"/>
                  <a:pt x="1528087" y="533835"/>
                </a:cubicBezTo>
                <a:cubicBezTo>
                  <a:pt x="1528087" y="558867"/>
                  <a:pt x="1506865" y="582267"/>
                  <a:pt x="1479656" y="582267"/>
                </a:cubicBezTo>
                <a:cubicBezTo>
                  <a:pt x="1453535" y="582267"/>
                  <a:pt x="1431224" y="560500"/>
                  <a:pt x="1431224" y="533835"/>
                </a:cubicBezTo>
                <a:cubicBezTo>
                  <a:pt x="1430680" y="506626"/>
                  <a:pt x="1454624" y="485403"/>
                  <a:pt x="1479112" y="484315"/>
                </a:cubicBezTo>
                <a:close/>
                <a:moveTo>
                  <a:pt x="1643452" y="484314"/>
                </a:moveTo>
                <a:cubicBezTo>
                  <a:pt x="1667396" y="481049"/>
                  <a:pt x="1693517" y="509891"/>
                  <a:pt x="1692973" y="534923"/>
                </a:cubicBezTo>
                <a:cubicBezTo>
                  <a:pt x="1692428" y="558867"/>
                  <a:pt x="1669573" y="584987"/>
                  <a:pt x="1641276" y="583898"/>
                </a:cubicBezTo>
                <a:cubicBezTo>
                  <a:pt x="1616788" y="583354"/>
                  <a:pt x="1592300" y="562676"/>
                  <a:pt x="1592300" y="532202"/>
                </a:cubicBezTo>
                <a:cubicBezTo>
                  <a:pt x="1592300" y="509891"/>
                  <a:pt x="1615155" y="481049"/>
                  <a:pt x="1643452" y="484314"/>
                </a:cubicBezTo>
                <a:close/>
                <a:moveTo>
                  <a:pt x="1806162" y="481594"/>
                </a:moveTo>
                <a:cubicBezTo>
                  <a:pt x="1839901" y="484859"/>
                  <a:pt x="1858947" y="504993"/>
                  <a:pt x="1857858" y="536011"/>
                </a:cubicBezTo>
                <a:cubicBezTo>
                  <a:pt x="1855682" y="568662"/>
                  <a:pt x="1834459" y="584987"/>
                  <a:pt x="1803441" y="586075"/>
                </a:cubicBezTo>
                <a:cubicBezTo>
                  <a:pt x="1775144" y="584443"/>
                  <a:pt x="1751744" y="559955"/>
                  <a:pt x="1753377" y="533290"/>
                </a:cubicBezTo>
                <a:cubicBezTo>
                  <a:pt x="1755009" y="504993"/>
                  <a:pt x="1780041" y="479417"/>
                  <a:pt x="1806162" y="481594"/>
                </a:cubicBezTo>
                <a:close/>
                <a:moveTo>
                  <a:pt x="1968326" y="480505"/>
                </a:moveTo>
                <a:cubicBezTo>
                  <a:pt x="1998256" y="483226"/>
                  <a:pt x="2020023" y="501728"/>
                  <a:pt x="2022200" y="534379"/>
                </a:cubicBezTo>
                <a:cubicBezTo>
                  <a:pt x="2023832" y="560499"/>
                  <a:pt x="1996079" y="588252"/>
                  <a:pt x="1969415" y="588252"/>
                </a:cubicBezTo>
                <a:cubicBezTo>
                  <a:pt x="1943294" y="588796"/>
                  <a:pt x="1916085" y="561587"/>
                  <a:pt x="1915541" y="534923"/>
                </a:cubicBezTo>
                <a:cubicBezTo>
                  <a:pt x="1914453" y="508258"/>
                  <a:pt x="1941117" y="480505"/>
                  <a:pt x="1968326" y="480505"/>
                </a:cubicBezTo>
                <a:close/>
                <a:moveTo>
                  <a:pt x="91464" y="440780"/>
                </a:moveTo>
                <a:cubicBezTo>
                  <a:pt x="99082" y="440780"/>
                  <a:pt x="102347" y="443501"/>
                  <a:pt x="102891" y="451664"/>
                </a:cubicBezTo>
                <a:cubicBezTo>
                  <a:pt x="102891" y="460915"/>
                  <a:pt x="100171" y="464179"/>
                  <a:pt x="92008" y="464179"/>
                </a:cubicBezTo>
                <a:cubicBezTo>
                  <a:pt x="83301" y="464179"/>
                  <a:pt x="80036" y="461459"/>
                  <a:pt x="80036" y="452752"/>
                </a:cubicBezTo>
                <a:cubicBezTo>
                  <a:pt x="80036" y="444045"/>
                  <a:pt x="83301" y="440780"/>
                  <a:pt x="91464" y="440780"/>
                </a:cubicBezTo>
                <a:close/>
                <a:moveTo>
                  <a:pt x="254172" y="430441"/>
                </a:moveTo>
                <a:cubicBezTo>
                  <a:pt x="263967" y="430441"/>
                  <a:pt x="276483" y="440236"/>
                  <a:pt x="275939" y="452208"/>
                </a:cubicBezTo>
                <a:cubicBezTo>
                  <a:pt x="275939" y="463092"/>
                  <a:pt x="265600" y="473975"/>
                  <a:pt x="254716" y="473975"/>
                </a:cubicBezTo>
                <a:cubicBezTo>
                  <a:pt x="244377" y="473975"/>
                  <a:pt x="232949" y="463092"/>
                  <a:pt x="232405" y="452752"/>
                </a:cubicBezTo>
                <a:cubicBezTo>
                  <a:pt x="232405" y="442413"/>
                  <a:pt x="243833" y="430985"/>
                  <a:pt x="254172" y="430441"/>
                </a:cubicBezTo>
                <a:close/>
                <a:moveTo>
                  <a:pt x="417969" y="424999"/>
                </a:moveTo>
                <a:cubicBezTo>
                  <a:pt x="432118" y="424999"/>
                  <a:pt x="444634" y="438059"/>
                  <a:pt x="444634" y="452752"/>
                </a:cubicBezTo>
                <a:cubicBezTo>
                  <a:pt x="445178" y="464180"/>
                  <a:pt x="432662" y="481049"/>
                  <a:pt x="417425" y="479417"/>
                </a:cubicBezTo>
                <a:cubicBezTo>
                  <a:pt x="405453" y="481049"/>
                  <a:pt x="389672" y="465268"/>
                  <a:pt x="390760" y="452208"/>
                </a:cubicBezTo>
                <a:cubicBezTo>
                  <a:pt x="391849" y="437515"/>
                  <a:pt x="403276" y="424999"/>
                  <a:pt x="417969" y="424999"/>
                </a:cubicBezTo>
                <a:close/>
                <a:moveTo>
                  <a:pt x="580677" y="419558"/>
                </a:moveTo>
                <a:cubicBezTo>
                  <a:pt x="596458" y="419013"/>
                  <a:pt x="612783" y="434795"/>
                  <a:pt x="612783" y="452208"/>
                </a:cubicBezTo>
                <a:cubicBezTo>
                  <a:pt x="612783" y="469622"/>
                  <a:pt x="599723" y="483226"/>
                  <a:pt x="581221" y="484315"/>
                </a:cubicBezTo>
                <a:cubicBezTo>
                  <a:pt x="561087" y="482138"/>
                  <a:pt x="549659" y="470710"/>
                  <a:pt x="549115" y="452208"/>
                </a:cubicBezTo>
                <a:cubicBezTo>
                  <a:pt x="548571" y="433162"/>
                  <a:pt x="564352" y="420102"/>
                  <a:pt x="580677" y="419558"/>
                </a:cubicBezTo>
                <a:close/>
                <a:moveTo>
                  <a:pt x="743931" y="415748"/>
                </a:moveTo>
                <a:cubicBezTo>
                  <a:pt x="761888" y="414660"/>
                  <a:pt x="779846" y="432618"/>
                  <a:pt x="780390" y="452208"/>
                </a:cubicBezTo>
                <a:cubicBezTo>
                  <a:pt x="780934" y="471254"/>
                  <a:pt x="764065" y="488668"/>
                  <a:pt x="744475" y="489212"/>
                </a:cubicBezTo>
                <a:cubicBezTo>
                  <a:pt x="727061" y="489212"/>
                  <a:pt x="709103" y="472342"/>
                  <a:pt x="708559" y="453840"/>
                </a:cubicBezTo>
                <a:cubicBezTo>
                  <a:pt x="707471" y="435883"/>
                  <a:pt x="725428" y="416836"/>
                  <a:pt x="743931" y="415748"/>
                </a:cubicBezTo>
                <a:close/>
                <a:moveTo>
                  <a:pt x="908271" y="414116"/>
                </a:moveTo>
                <a:cubicBezTo>
                  <a:pt x="927861" y="411395"/>
                  <a:pt x="946907" y="431529"/>
                  <a:pt x="946363" y="453296"/>
                </a:cubicBezTo>
                <a:cubicBezTo>
                  <a:pt x="946363" y="473975"/>
                  <a:pt x="927317" y="491933"/>
                  <a:pt x="906638" y="491933"/>
                </a:cubicBezTo>
                <a:cubicBezTo>
                  <a:pt x="887048" y="491933"/>
                  <a:pt x="866913" y="473431"/>
                  <a:pt x="868546" y="452208"/>
                </a:cubicBezTo>
                <a:cubicBezTo>
                  <a:pt x="870179" y="428808"/>
                  <a:pt x="884871" y="413571"/>
                  <a:pt x="908271" y="414116"/>
                </a:cubicBezTo>
                <a:close/>
                <a:moveTo>
                  <a:pt x="1072068" y="409218"/>
                </a:moveTo>
                <a:cubicBezTo>
                  <a:pt x="1097100" y="410307"/>
                  <a:pt x="1113970" y="427720"/>
                  <a:pt x="1113970" y="452752"/>
                </a:cubicBezTo>
                <a:cubicBezTo>
                  <a:pt x="1113970" y="478329"/>
                  <a:pt x="1092203" y="495198"/>
                  <a:pt x="1070436" y="495198"/>
                </a:cubicBezTo>
                <a:cubicBezTo>
                  <a:pt x="1048124" y="494654"/>
                  <a:pt x="1027446" y="475063"/>
                  <a:pt x="1028534" y="451120"/>
                </a:cubicBezTo>
                <a:cubicBezTo>
                  <a:pt x="1029622" y="427720"/>
                  <a:pt x="1048669" y="408130"/>
                  <a:pt x="1072068" y="409218"/>
                </a:cubicBezTo>
                <a:close/>
                <a:moveTo>
                  <a:pt x="1235865" y="408130"/>
                </a:moveTo>
                <a:cubicBezTo>
                  <a:pt x="1258721" y="405953"/>
                  <a:pt x="1279400" y="427176"/>
                  <a:pt x="1279400" y="453296"/>
                </a:cubicBezTo>
                <a:cubicBezTo>
                  <a:pt x="1278855" y="478328"/>
                  <a:pt x="1258177" y="497374"/>
                  <a:pt x="1233689" y="497374"/>
                </a:cubicBezTo>
                <a:cubicBezTo>
                  <a:pt x="1209745" y="496830"/>
                  <a:pt x="1189066" y="476151"/>
                  <a:pt x="1189611" y="451664"/>
                </a:cubicBezTo>
                <a:cubicBezTo>
                  <a:pt x="1189611" y="429352"/>
                  <a:pt x="1209201" y="404864"/>
                  <a:pt x="1235865" y="408130"/>
                </a:cubicBezTo>
                <a:close/>
                <a:moveTo>
                  <a:pt x="1396941" y="403776"/>
                </a:moveTo>
                <a:cubicBezTo>
                  <a:pt x="1425238" y="403232"/>
                  <a:pt x="1445373" y="423911"/>
                  <a:pt x="1446461" y="450575"/>
                </a:cubicBezTo>
                <a:cubicBezTo>
                  <a:pt x="1447005" y="476696"/>
                  <a:pt x="1426327" y="500096"/>
                  <a:pt x="1399118" y="500640"/>
                </a:cubicBezTo>
                <a:cubicBezTo>
                  <a:pt x="1372453" y="501184"/>
                  <a:pt x="1349598" y="479961"/>
                  <a:pt x="1349598" y="453296"/>
                </a:cubicBezTo>
                <a:cubicBezTo>
                  <a:pt x="1349598" y="424999"/>
                  <a:pt x="1370277" y="404865"/>
                  <a:pt x="1396941" y="403776"/>
                </a:cubicBezTo>
                <a:close/>
                <a:moveTo>
                  <a:pt x="1560738" y="402144"/>
                </a:moveTo>
                <a:cubicBezTo>
                  <a:pt x="1588491" y="402144"/>
                  <a:pt x="1611347" y="427176"/>
                  <a:pt x="1611347" y="453297"/>
                </a:cubicBezTo>
                <a:cubicBezTo>
                  <a:pt x="1610803" y="476152"/>
                  <a:pt x="1590668" y="502817"/>
                  <a:pt x="1560194" y="502272"/>
                </a:cubicBezTo>
                <a:cubicBezTo>
                  <a:pt x="1534074" y="501728"/>
                  <a:pt x="1508498" y="479961"/>
                  <a:pt x="1511218" y="451664"/>
                </a:cubicBezTo>
                <a:cubicBezTo>
                  <a:pt x="1508498" y="425544"/>
                  <a:pt x="1534618" y="402144"/>
                  <a:pt x="1560738" y="402144"/>
                </a:cubicBezTo>
                <a:close/>
                <a:moveTo>
                  <a:pt x="1723991" y="399423"/>
                </a:moveTo>
                <a:cubicBezTo>
                  <a:pt x="1756097" y="402688"/>
                  <a:pt x="1777320" y="422278"/>
                  <a:pt x="1776776" y="452752"/>
                </a:cubicBezTo>
                <a:cubicBezTo>
                  <a:pt x="1776232" y="483226"/>
                  <a:pt x="1757730" y="501728"/>
                  <a:pt x="1725079" y="504993"/>
                </a:cubicBezTo>
                <a:cubicBezTo>
                  <a:pt x="1697870" y="507714"/>
                  <a:pt x="1670117" y="479961"/>
                  <a:pt x="1671750" y="452752"/>
                </a:cubicBezTo>
                <a:cubicBezTo>
                  <a:pt x="1673382" y="420102"/>
                  <a:pt x="1692428" y="403232"/>
                  <a:pt x="1723991" y="399423"/>
                </a:cubicBezTo>
                <a:close/>
                <a:moveTo>
                  <a:pt x="2051040" y="398335"/>
                </a:moveTo>
                <a:lnTo>
                  <a:pt x="2051041" y="398335"/>
                </a:lnTo>
                <a:lnTo>
                  <a:pt x="2051041" y="506936"/>
                </a:lnTo>
                <a:lnTo>
                  <a:pt x="2049952" y="507170"/>
                </a:lnTo>
                <a:cubicBezTo>
                  <a:pt x="2020566" y="506626"/>
                  <a:pt x="1995534" y="481593"/>
                  <a:pt x="1995534" y="452208"/>
                </a:cubicBezTo>
                <a:cubicBezTo>
                  <a:pt x="1996078" y="424455"/>
                  <a:pt x="2021655" y="397246"/>
                  <a:pt x="2051040" y="398335"/>
                </a:cubicBezTo>
                <a:close/>
                <a:moveTo>
                  <a:pt x="1888332" y="398335"/>
                </a:moveTo>
                <a:cubicBezTo>
                  <a:pt x="1915541" y="398879"/>
                  <a:pt x="1941661" y="423911"/>
                  <a:pt x="1941661" y="452208"/>
                </a:cubicBezTo>
                <a:cubicBezTo>
                  <a:pt x="1941661" y="481594"/>
                  <a:pt x="1916085" y="507170"/>
                  <a:pt x="1886699" y="506082"/>
                </a:cubicBezTo>
                <a:cubicBezTo>
                  <a:pt x="1857314" y="505538"/>
                  <a:pt x="1833914" y="481594"/>
                  <a:pt x="1833370" y="452208"/>
                </a:cubicBezTo>
                <a:cubicBezTo>
                  <a:pt x="1833370" y="423911"/>
                  <a:pt x="1860035" y="398335"/>
                  <a:pt x="1888332" y="398335"/>
                </a:cubicBezTo>
                <a:close/>
                <a:moveTo>
                  <a:pt x="12014" y="364052"/>
                </a:moveTo>
                <a:cubicBezTo>
                  <a:pt x="13102" y="365140"/>
                  <a:pt x="15279" y="367317"/>
                  <a:pt x="15823" y="370038"/>
                </a:cubicBezTo>
                <a:cubicBezTo>
                  <a:pt x="16911" y="374391"/>
                  <a:pt x="14191" y="377656"/>
                  <a:pt x="9293" y="377656"/>
                </a:cubicBezTo>
                <a:cubicBezTo>
                  <a:pt x="4940" y="377656"/>
                  <a:pt x="3307" y="374936"/>
                  <a:pt x="3307" y="371126"/>
                </a:cubicBezTo>
                <a:cubicBezTo>
                  <a:pt x="3307" y="367317"/>
                  <a:pt x="4940" y="364052"/>
                  <a:pt x="12014" y="364052"/>
                </a:cubicBezTo>
                <a:close/>
                <a:moveTo>
                  <a:pt x="172545" y="353713"/>
                </a:moveTo>
                <a:cubicBezTo>
                  <a:pt x="184517" y="353713"/>
                  <a:pt x="190503" y="359154"/>
                  <a:pt x="190503" y="370582"/>
                </a:cubicBezTo>
                <a:cubicBezTo>
                  <a:pt x="190503" y="381466"/>
                  <a:pt x="184517" y="387996"/>
                  <a:pt x="173090" y="387996"/>
                </a:cubicBezTo>
                <a:cubicBezTo>
                  <a:pt x="163839" y="388540"/>
                  <a:pt x="155676" y="381466"/>
                  <a:pt x="155676" y="371126"/>
                </a:cubicBezTo>
                <a:cubicBezTo>
                  <a:pt x="155676" y="362419"/>
                  <a:pt x="161662" y="352080"/>
                  <a:pt x="172545" y="353713"/>
                </a:cubicBezTo>
                <a:close/>
                <a:moveTo>
                  <a:pt x="336886" y="345550"/>
                </a:moveTo>
                <a:cubicBezTo>
                  <a:pt x="350490" y="346094"/>
                  <a:pt x="362462" y="358610"/>
                  <a:pt x="361374" y="371670"/>
                </a:cubicBezTo>
                <a:cubicBezTo>
                  <a:pt x="360286" y="385275"/>
                  <a:pt x="348858" y="395614"/>
                  <a:pt x="335798" y="395070"/>
                </a:cubicBezTo>
                <a:cubicBezTo>
                  <a:pt x="319472" y="394526"/>
                  <a:pt x="311854" y="381466"/>
                  <a:pt x="311854" y="370038"/>
                </a:cubicBezTo>
                <a:cubicBezTo>
                  <a:pt x="311854" y="356978"/>
                  <a:pt x="324370" y="345550"/>
                  <a:pt x="336886" y="345550"/>
                </a:cubicBezTo>
                <a:close/>
                <a:moveTo>
                  <a:pt x="499596" y="342284"/>
                </a:moveTo>
                <a:cubicBezTo>
                  <a:pt x="518642" y="341196"/>
                  <a:pt x="528437" y="354256"/>
                  <a:pt x="528437" y="370582"/>
                </a:cubicBezTo>
                <a:cubicBezTo>
                  <a:pt x="528437" y="386363"/>
                  <a:pt x="518642" y="399967"/>
                  <a:pt x="499051" y="399423"/>
                </a:cubicBezTo>
                <a:cubicBezTo>
                  <a:pt x="481094" y="399423"/>
                  <a:pt x="470210" y="387995"/>
                  <a:pt x="470210" y="370037"/>
                </a:cubicBezTo>
                <a:cubicBezTo>
                  <a:pt x="470754" y="352624"/>
                  <a:pt x="481638" y="341740"/>
                  <a:pt x="499596" y="342284"/>
                </a:cubicBezTo>
                <a:close/>
                <a:moveTo>
                  <a:pt x="663392" y="337387"/>
                </a:moveTo>
                <a:cubicBezTo>
                  <a:pt x="680262" y="337387"/>
                  <a:pt x="697675" y="354801"/>
                  <a:pt x="697131" y="371126"/>
                </a:cubicBezTo>
                <a:cubicBezTo>
                  <a:pt x="696043" y="390172"/>
                  <a:pt x="682982" y="404321"/>
                  <a:pt x="662304" y="404321"/>
                </a:cubicBezTo>
                <a:cubicBezTo>
                  <a:pt x="643258" y="405953"/>
                  <a:pt x="629109" y="389084"/>
                  <a:pt x="629109" y="371126"/>
                </a:cubicBezTo>
                <a:cubicBezTo>
                  <a:pt x="629109" y="352624"/>
                  <a:pt x="645434" y="337387"/>
                  <a:pt x="663392" y="337387"/>
                </a:cubicBezTo>
                <a:close/>
                <a:moveTo>
                  <a:pt x="825556" y="332489"/>
                </a:moveTo>
                <a:cubicBezTo>
                  <a:pt x="847323" y="333577"/>
                  <a:pt x="864193" y="349358"/>
                  <a:pt x="864737" y="370037"/>
                </a:cubicBezTo>
                <a:cubicBezTo>
                  <a:pt x="864193" y="391260"/>
                  <a:pt x="847323" y="409218"/>
                  <a:pt x="826645" y="409218"/>
                </a:cubicBezTo>
                <a:cubicBezTo>
                  <a:pt x="808687" y="412483"/>
                  <a:pt x="788008" y="387995"/>
                  <a:pt x="787464" y="371126"/>
                </a:cubicBezTo>
                <a:cubicBezTo>
                  <a:pt x="787464" y="353712"/>
                  <a:pt x="808687" y="331945"/>
                  <a:pt x="825556" y="332489"/>
                </a:cubicBezTo>
                <a:close/>
                <a:moveTo>
                  <a:pt x="989898" y="328680"/>
                </a:moveTo>
                <a:cubicBezTo>
                  <a:pt x="1013297" y="329224"/>
                  <a:pt x="1030167" y="347182"/>
                  <a:pt x="1031255" y="371126"/>
                </a:cubicBezTo>
                <a:cubicBezTo>
                  <a:pt x="1029623" y="396702"/>
                  <a:pt x="1010576" y="413027"/>
                  <a:pt x="989354" y="413027"/>
                </a:cubicBezTo>
                <a:cubicBezTo>
                  <a:pt x="964866" y="412483"/>
                  <a:pt x="946908" y="393981"/>
                  <a:pt x="947452" y="370037"/>
                </a:cubicBezTo>
                <a:cubicBezTo>
                  <a:pt x="947996" y="346094"/>
                  <a:pt x="964866" y="328680"/>
                  <a:pt x="989898" y="328680"/>
                </a:cubicBezTo>
                <a:close/>
                <a:moveTo>
                  <a:pt x="1153150" y="326504"/>
                </a:moveTo>
                <a:cubicBezTo>
                  <a:pt x="1177094" y="326504"/>
                  <a:pt x="1197228" y="347727"/>
                  <a:pt x="1197228" y="370582"/>
                </a:cubicBezTo>
                <a:cubicBezTo>
                  <a:pt x="1197228" y="392894"/>
                  <a:pt x="1176550" y="417925"/>
                  <a:pt x="1152606" y="414661"/>
                </a:cubicBezTo>
                <a:cubicBezTo>
                  <a:pt x="1130295" y="417925"/>
                  <a:pt x="1107984" y="393982"/>
                  <a:pt x="1108528" y="370038"/>
                </a:cubicBezTo>
                <a:cubicBezTo>
                  <a:pt x="1109072" y="347727"/>
                  <a:pt x="1129751" y="326504"/>
                  <a:pt x="1153150" y="326504"/>
                </a:cubicBezTo>
                <a:close/>
                <a:moveTo>
                  <a:pt x="1317492" y="323239"/>
                </a:moveTo>
                <a:cubicBezTo>
                  <a:pt x="1341979" y="322151"/>
                  <a:pt x="1367012" y="348271"/>
                  <a:pt x="1364835" y="372215"/>
                </a:cubicBezTo>
                <a:cubicBezTo>
                  <a:pt x="1361026" y="399968"/>
                  <a:pt x="1344700" y="416837"/>
                  <a:pt x="1314771" y="419014"/>
                </a:cubicBezTo>
                <a:cubicBezTo>
                  <a:pt x="1286474" y="415205"/>
                  <a:pt x="1267972" y="398879"/>
                  <a:pt x="1268516" y="370582"/>
                </a:cubicBezTo>
                <a:cubicBezTo>
                  <a:pt x="1268516" y="341197"/>
                  <a:pt x="1288650" y="324327"/>
                  <a:pt x="1317492" y="323239"/>
                </a:cubicBezTo>
                <a:close/>
                <a:moveTo>
                  <a:pt x="1479112" y="320517"/>
                </a:moveTo>
                <a:cubicBezTo>
                  <a:pt x="1503600" y="319973"/>
                  <a:pt x="1530265" y="343917"/>
                  <a:pt x="1529720" y="371670"/>
                </a:cubicBezTo>
                <a:cubicBezTo>
                  <a:pt x="1528632" y="395069"/>
                  <a:pt x="1506321" y="423366"/>
                  <a:pt x="1478568" y="420101"/>
                </a:cubicBezTo>
                <a:cubicBezTo>
                  <a:pt x="1452447" y="422822"/>
                  <a:pt x="1429592" y="397246"/>
                  <a:pt x="1429592" y="370037"/>
                </a:cubicBezTo>
                <a:cubicBezTo>
                  <a:pt x="1429592" y="342284"/>
                  <a:pt x="1455713" y="320517"/>
                  <a:pt x="1479112" y="320517"/>
                </a:cubicBezTo>
                <a:close/>
                <a:moveTo>
                  <a:pt x="1642364" y="318341"/>
                </a:moveTo>
                <a:cubicBezTo>
                  <a:pt x="1670661" y="318341"/>
                  <a:pt x="1692973" y="339020"/>
                  <a:pt x="1695694" y="370582"/>
                </a:cubicBezTo>
                <a:cubicBezTo>
                  <a:pt x="1696238" y="397791"/>
                  <a:pt x="1671206" y="423367"/>
                  <a:pt x="1643453" y="424455"/>
                </a:cubicBezTo>
                <a:cubicBezTo>
                  <a:pt x="1616788" y="425544"/>
                  <a:pt x="1589035" y="398335"/>
                  <a:pt x="1589035" y="371670"/>
                </a:cubicBezTo>
                <a:cubicBezTo>
                  <a:pt x="1589035" y="345006"/>
                  <a:pt x="1615155" y="317797"/>
                  <a:pt x="1642364" y="318341"/>
                </a:cubicBezTo>
                <a:close/>
                <a:moveTo>
                  <a:pt x="90919" y="273718"/>
                </a:moveTo>
                <a:cubicBezTo>
                  <a:pt x="96361" y="273174"/>
                  <a:pt x="106156" y="282425"/>
                  <a:pt x="106700" y="288411"/>
                </a:cubicBezTo>
                <a:cubicBezTo>
                  <a:pt x="106700" y="294941"/>
                  <a:pt x="97993" y="303648"/>
                  <a:pt x="91463" y="303648"/>
                </a:cubicBezTo>
                <a:cubicBezTo>
                  <a:pt x="84933" y="303648"/>
                  <a:pt x="76226" y="294941"/>
                  <a:pt x="76770" y="288411"/>
                </a:cubicBezTo>
                <a:cubicBezTo>
                  <a:pt x="76770" y="283513"/>
                  <a:pt x="86021" y="274262"/>
                  <a:pt x="90919" y="273718"/>
                </a:cubicBezTo>
                <a:close/>
                <a:moveTo>
                  <a:pt x="254716" y="267733"/>
                </a:moveTo>
                <a:cubicBezTo>
                  <a:pt x="267776" y="267733"/>
                  <a:pt x="276483" y="276440"/>
                  <a:pt x="276483" y="288956"/>
                </a:cubicBezTo>
                <a:cubicBezTo>
                  <a:pt x="276483" y="301472"/>
                  <a:pt x="266688" y="311811"/>
                  <a:pt x="254172" y="311811"/>
                </a:cubicBezTo>
                <a:cubicBezTo>
                  <a:pt x="243289" y="311811"/>
                  <a:pt x="232405" y="300384"/>
                  <a:pt x="232405" y="289500"/>
                </a:cubicBezTo>
                <a:cubicBezTo>
                  <a:pt x="232405" y="276984"/>
                  <a:pt x="242744" y="267733"/>
                  <a:pt x="254716" y="267733"/>
                </a:cubicBezTo>
                <a:close/>
                <a:moveTo>
                  <a:pt x="1941117" y="263202"/>
                </a:moveTo>
                <a:cubicBezTo>
                  <a:pt x="1937852" y="261570"/>
                  <a:pt x="1936219" y="263202"/>
                  <a:pt x="1936219" y="266467"/>
                </a:cubicBezTo>
                <a:cubicBezTo>
                  <a:pt x="1936763" y="268644"/>
                  <a:pt x="1937852" y="270276"/>
                  <a:pt x="1938396" y="272453"/>
                </a:cubicBezTo>
                <a:cubicBezTo>
                  <a:pt x="1944382" y="290955"/>
                  <a:pt x="1943838" y="308913"/>
                  <a:pt x="1932954" y="325782"/>
                </a:cubicBezTo>
                <a:cubicBezTo>
                  <a:pt x="1931866" y="327415"/>
                  <a:pt x="1931866" y="329047"/>
                  <a:pt x="1930777" y="331224"/>
                </a:cubicBezTo>
                <a:cubicBezTo>
                  <a:pt x="1932410" y="331224"/>
                  <a:pt x="1935131" y="331224"/>
                  <a:pt x="1936219" y="330136"/>
                </a:cubicBezTo>
                <a:cubicBezTo>
                  <a:pt x="1945470" y="323061"/>
                  <a:pt x="1955265" y="320885"/>
                  <a:pt x="1966693" y="320340"/>
                </a:cubicBezTo>
                <a:cubicBezTo>
                  <a:pt x="1978121" y="319796"/>
                  <a:pt x="1989004" y="323061"/>
                  <a:pt x="1998799" y="328503"/>
                </a:cubicBezTo>
                <a:cubicBezTo>
                  <a:pt x="2000432" y="329047"/>
                  <a:pt x="2001520" y="329592"/>
                  <a:pt x="2003153" y="330136"/>
                </a:cubicBezTo>
                <a:cubicBezTo>
                  <a:pt x="2002609" y="328503"/>
                  <a:pt x="2002609" y="326326"/>
                  <a:pt x="2001520" y="324694"/>
                </a:cubicBezTo>
                <a:cubicBezTo>
                  <a:pt x="1999344" y="319796"/>
                  <a:pt x="1995534" y="314899"/>
                  <a:pt x="1994446" y="309457"/>
                </a:cubicBezTo>
                <a:cubicBezTo>
                  <a:pt x="1992269" y="295308"/>
                  <a:pt x="1990093" y="281160"/>
                  <a:pt x="1998255" y="267555"/>
                </a:cubicBezTo>
                <a:cubicBezTo>
                  <a:pt x="2000432" y="267555"/>
                  <a:pt x="2000432" y="265923"/>
                  <a:pt x="2000976" y="263746"/>
                </a:cubicBezTo>
                <a:cubicBezTo>
                  <a:pt x="1998799" y="263746"/>
                  <a:pt x="1996623" y="262658"/>
                  <a:pt x="1995534" y="263746"/>
                </a:cubicBezTo>
                <a:cubicBezTo>
                  <a:pt x="1977577" y="272997"/>
                  <a:pt x="1959075" y="272997"/>
                  <a:pt x="1941117" y="263202"/>
                </a:cubicBezTo>
                <a:close/>
                <a:moveTo>
                  <a:pt x="417425" y="262291"/>
                </a:moveTo>
                <a:cubicBezTo>
                  <a:pt x="434839" y="262291"/>
                  <a:pt x="445178" y="272086"/>
                  <a:pt x="445178" y="288956"/>
                </a:cubicBezTo>
                <a:cubicBezTo>
                  <a:pt x="445178" y="305825"/>
                  <a:pt x="434839" y="316164"/>
                  <a:pt x="417969" y="317253"/>
                </a:cubicBezTo>
                <a:cubicBezTo>
                  <a:pt x="404909" y="317797"/>
                  <a:pt x="389672" y="306369"/>
                  <a:pt x="390216" y="290044"/>
                </a:cubicBezTo>
                <a:cubicBezTo>
                  <a:pt x="391305" y="272086"/>
                  <a:pt x="400011" y="262291"/>
                  <a:pt x="417425" y="262291"/>
                </a:cubicBezTo>
                <a:close/>
                <a:moveTo>
                  <a:pt x="580678" y="256304"/>
                </a:moveTo>
                <a:cubicBezTo>
                  <a:pt x="596459" y="255760"/>
                  <a:pt x="616049" y="273174"/>
                  <a:pt x="613872" y="288955"/>
                </a:cubicBezTo>
                <a:cubicBezTo>
                  <a:pt x="615505" y="304736"/>
                  <a:pt x="598635" y="322150"/>
                  <a:pt x="581222" y="322150"/>
                </a:cubicBezTo>
                <a:cubicBezTo>
                  <a:pt x="564352" y="322150"/>
                  <a:pt x="548571" y="308001"/>
                  <a:pt x="548027" y="289499"/>
                </a:cubicBezTo>
                <a:cubicBezTo>
                  <a:pt x="547483" y="272086"/>
                  <a:pt x="565441" y="256849"/>
                  <a:pt x="580678" y="256304"/>
                </a:cubicBezTo>
                <a:close/>
                <a:moveTo>
                  <a:pt x="743930" y="251951"/>
                </a:moveTo>
                <a:cubicBezTo>
                  <a:pt x="764609" y="251951"/>
                  <a:pt x="782566" y="268820"/>
                  <a:pt x="782022" y="289499"/>
                </a:cubicBezTo>
                <a:cubicBezTo>
                  <a:pt x="781478" y="311266"/>
                  <a:pt x="765153" y="326503"/>
                  <a:pt x="744474" y="326503"/>
                </a:cubicBezTo>
                <a:cubicBezTo>
                  <a:pt x="723795" y="326503"/>
                  <a:pt x="708014" y="311266"/>
                  <a:pt x="707470" y="289499"/>
                </a:cubicBezTo>
                <a:cubicBezTo>
                  <a:pt x="706926" y="271541"/>
                  <a:pt x="722163" y="252495"/>
                  <a:pt x="743930" y="251951"/>
                </a:cubicBezTo>
                <a:close/>
                <a:moveTo>
                  <a:pt x="907183" y="249775"/>
                </a:moveTo>
                <a:cubicBezTo>
                  <a:pt x="929494" y="249775"/>
                  <a:pt x="946908" y="263924"/>
                  <a:pt x="947452" y="289500"/>
                </a:cubicBezTo>
                <a:cubicBezTo>
                  <a:pt x="947996" y="311811"/>
                  <a:pt x="931127" y="330313"/>
                  <a:pt x="908271" y="329225"/>
                </a:cubicBezTo>
                <a:cubicBezTo>
                  <a:pt x="885960" y="330857"/>
                  <a:pt x="868002" y="312355"/>
                  <a:pt x="867458" y="290044"/>
                </a:cubicBezTo>
                <a:cubicBezTo>
                  <a:pt x="867458" y="266100"/>
                  <a:pt x="884872" y="249775"/>
                  <a:pt x="907183" y="249775"/>
                </a:cubicBezTo>
                <a:close/>
                <a:moveTo>
                  <a:pt x="1070435" y="245965"/>
                </a:moveTo>
                <a:cubicBezTo>
                  <a:pt x="1093291" y="245421"/>
                  <a:pt x="1116146" y="264467"/>
                  <a:pt x="1114513" y="290043"/>
                </a:cubicBezTo>
                <a:cubicBezTo>
                  <a:pt x="1115602" y="312899"/>
                  <a:pt x="1092202" y="334122"/>
                  <a:pt x="1069347" y="333578"/>
                </a:cubicBezTo>
                <a:cubicBezTo>
                  <a:pt x="1047036" y="333034"/>
                  <a:pt x="1026357" y="311266"/>
                  <a:pt x="1026357" y="288955"/>
                </a:cubicBezTo>
                <a:cubicBezTo>
                  <a:pt x="1026901" y="268276"/>
                  <a:pt x="1045403" y="245965"/>
                  <a:pt x="1070435" y="245965"/>
                </a:cubicBezTo>
                <a:close/>
                <a:moveTo>
                  <a:pt x="1233689" y="241613"/>
                </a:moveTo>
                <a:cubicBezTo>
                  <a:pt x="1257632" y="241068"/>
                  <a:pt x="1281032" y="263924"/>
                  <a:pt x="1282120" y="288412"/>
                </a:cubicBezTo>
                <a:cubicBezTo>
                  <a:pt x="1282665" y="312900"/>
                  <a:pt x="1260898" y="336299"/>
                  <a:pt x="1235321" y="335755"/>
                </a:cubicBezTo>
                <a:cubicBezTo>
                  <a:pt x="1206480" y="335211"/>
                  <a:pt x="1190155" y="318886"/>
                  <a:pt x="1187434" y="289500"/>
                </a:cubicBezTo>
                <a:cubicBezTo>
                  <a:pt x="1184713" y="266100"/>
                  <a:pt x="1208657" y="242701"/>
                  <a:pt x="1233689" y="241613"/>
                </a:cubicBezTo>
                <a:close/>
                <a:moveTo>
                  <a:pt x="1397485" y="238891"/>
                </a:moveTo>
                <a:cubicBezTo>
                  <a:pt x="1421973" y="237259"/>
                  <a:pt x="1448638" y="264467"/>
                  <a:pt x="1448094" y="288955"/>
                </a:cubicBezTo>
                <a:cubicBezTo>
                  <a:pt x="1447005" y="312355"/>
                  <a:pt x="1424150" y="341196"/>
                  <a:pt x="1398029" y="338475"/>
                </a:cubicBezTo>
                <a:cubicBezTo>
                  <a:pt x="1372453" y="340652"/>
                  <a:pt x="1347421" y="315620"/>
                  <a:pt x="1348509" y="289499"/>
                </a:cubicBezTo>
                <a:cubicBezTo>
                  <a:pt x="1349598" y="261202"/>
                  <a:pt x="1369732" y="240524"/>
                  <a:pt x="1397485" y="238891"/>
                </a:cubicBezTo>
                <a:close/>
                <a:moveTo>
                  <a:pt x="1559650" y="237258"/>
                </a:moveTo>
                <a:cubicBezTo>
                  <a:pt x="1590668" y="236170"/>
                  <a:pt x="1611891" y="259570"/>
                  <a:pt x="1613523" y="288955"/>
                </a:cubicBezTo>
                <a:cubicBezTo>
                  <a:pt x="1613523" y="316164"/>
                  <a:pt x="1587403" y="342829"/>
                  <a:pt x="1560738" y="342829"/>
                </a:cubicBezTo>
                <a:cubicBezTo>
                  <a:pt x="1534618" y="342829"/>
                  <a:pt x="1505776" y="315620"/>
                  <a:pt x="1507953" y="289499"/>
                </a:cubicBezTo>
                <a:cubicBezTo>
                  <a:pt x="1510130" y="261202"/>
                  <a:pt x="1526455" y="238347"/>
                  <a:pt x="1559650" y="237258"/>
                </a:cubicBezTo>
                <a:close/>
                <a:moveTo>
                  <a:pt x="9837" y="198078"/>
                </a:moveTo>
                <a:cubicBezTo>
                  <a:pt x="14190" y="198078"/>
                  <a:pt x="19632" y="202976"/>
                  <a:pt x="19632" y="207873"/>
                </a:cubicBezTo>
                <a:cubicBezTo>
                  <a:pt x="19632" y="212227"/>
                  <a:pt x="14190" y="217668"/>
                  <a:pt x="10381" y="218213"/>
                </a:cubicBezTo>
                <a:cubicBezTo>
                  <a:pt x="5483" y="218757"/>
                  <a:pt x="-503" y="212771"/>
                  <a:pt x="42" y="207873"/>
                </a:cubicBezTo>
                <a:cubicBezTo>
                  <a:pt x="42" y="202976"/>
                  <a:pt x="5483" y="198078"/>
                  <a:pt x="9837" y="198078"/>
                </a:cubicBezTo>
                <a:close/>
                <a:moveTo>
                  <a:pt x="173090" y="187739"/>
                </a:moveTo>
                <a:cubicBezTo>
                  <a:pt x="183429" y="188283"/>
                  <a:pt x="192136" y="196990"/>
                  <a:pt x="192136" y="207329"/>
                </a:cubicBezTo>
                <a:cubicBezTo>
                  <a:pt x="192136" y="217669"/>
                  <a:pt x="182341" y="228008"/>
                  <a:pt x="172546" y="227464"/>
                </a:cubicBezTo>
                <a:cubicBezTo>
                  <a:pt x="163839" y="226920"/>
                  <a:pt x="154588" y="217669"/>
                  <a:pt x="154044" y="208418"/>
                </a:cubicBezTo>
                <a:cubicBezTo>
                  <a:pt x="153500" y="198078"/>
                  <a:pt x="162751" y="187739"/>
                  <a:pt x="173090" y="187739"/>
                </a:cubicBezTo>
                <a:close/>
                <a:moveTo>
                  <a:pt x="336887" y="182297"/>
                </a:moveTo>
                <a:cubicBezTo>
                  <a:pt x="350491" y="182841"/>
                  <a:pt x="361919" y="191548"/>
                  <a:pt x="363007" y="207329"/>
                </a:cubicBezTo>
                <a:cubicBezTo>
                  <a:pt x="363551" y="219845"/>
                  <a:pt x="349947" y="233449"/>
                  <a:pt x="336887" y="233994"/>
                </a:cubicBezTo>
                <a:cubicBezTo>
                  <a:pt x="324371" y="233994"/>
                  <a:pt x="311311" y="221478"/>
                  <a:pt x="310766" y="208961"/>
                </a:cubicBezTo>
                <a:cubicBezTo>
                  <a:pt x="310222" y="195357"/>
                  <a:pt x="323282" y="181753"/>
                  <a:pt x="336887" y="182297"/>
                </a:cubicBezTo>
                <a:close/>
                <a:moveTo>
                  <a:pt x="1856225" y="180487"/>
                </a:moveTo>
                <a:cubicBezTo>
                  <a:pt x="1856225" y="182664"/>
                  <a:pt x="1855137" y="184841"/>
                  <a:pt x="1855681" y="185929"/>
                </a:cubicBezTo>
                <a:cubicBezTo>
                  <a:pt x="1863844" y="206064"/>
                  <a:pt x="1863844" y="226198"/>
                  <a:pt x="1851872" y="244700"/>
                </a:cubicBezTo>
                <a:cubicBezTo>
                  <a:pt x="1851328" y="245788"/>
                  <a:pt x="1851328" y="246877"/>
                  <a:pt x="1851328" y="247965"/>
                </a:cubicBezTo>
                <a:cubicBezTo>
                  <a:pt x="1852416" y="247965"/>
                  <a:pt x="1854049" y="247965"/>
                  <a:pt x="1854593" y="247421"/>
                </a:cubicBezTo>
                <a:cubicBezTo>
                  <a:pt x="1868197" y="237082"/>
                  <a:pt x="1883434" y="237082"/>
                  <a:pt x="1899215" y="238714"/>
                </a:cubicBezTo>
                <a:cubicBezTo>
                  <a:pt x="1904113" y="239258"/>
                  <a:pt x="1909010" y="241979"/>
                  <a:pt x="1913908" y="243067"/>
                </a:cubicBezTo>
                <a:cubicBezTo>
                  <a:pt x="1915541" y="243612"/>
                  <a:pt x="1917173" y="242523"/>
                  <a:pt x="1918806" y="242523"/>
                </a:cubicBezTo>
                <a:cubicBezTo>
                  <a:pt x="1918806" y="240891"/>
                  <a:pt x="1918806" y="239258"/>
                  <a:pt x="1918261" y="238170"/>
                </a:cubicBezTo>
                <a:cubicBezTo>
                  <a:pt x="1908466" y="220756"/>
                  <a:pt x="1910099" y="203887"/>
                  <a:pt x="1917173" y="185929"/>
                </a:cubicBezTo>
                <a:cubicBezTo>
                  <a:pt x="1917717" y="184297"/>
                  <a:pt x="1917717" y="183208"/>
                  <a:pt x="1918261" y="181576"/>
                </a:cubicBezTo>
                <a:cubicBezTo>
                  <a:pt x="1916629" y="182120"/>
                  <a:pt x="1914996" y="182120"/>
                  <a:pt x="1913908" y="182664"/>
                </a:cubicBezTo>
                <a:cubicBezTo>
                  <a:pt x="1895950" y="189738"/>
                  <a:pt x="1877992" y="190827"/>
                  <a:pt x="1860579" y="180487"/>
                </a:cubicBezTo>
                <a:cubicBezTo>
                  <a:pt x="1858946" y="181031"/>
                  <a:pt x="1857858" y="181031"/>
                  <a:pt x="1856225" y="180487"/>
                </a:cubicBezTo>
                <a:close/>
                <a:moveTo>
                  <a:pt x="499595" y="175767"/>
                </a:moveTo>
                <a:cubicBezTo>
                  <a:pt x="514832" y="175767"/>
                  <a:pt x="531702" y="193181"/>
                  <a:pt x="531158" y="207874"/>
                </a:cubicBezTo>
                <a:cubicBezTo>
                  <a:pt x="530613" y="223110"/>
                  <a:pt x="513744" y="239980"/>
                  <a:pt x="498507" y="238347"/>
                </a:cubicBezTo>
                <a:cubicBezTo>
                  <a:pt x="479461" y="236715"/>
                  <a:pt x="469666" y="224743"/>
                  <a:pt x="468033" y="207329"/>
                </a:cubicBezTo>
                <a:cubicBezTo>
                  <a:pt x="466945" y="192636"/>
                  <a:pt x="484903" y="175767"/>
                  <a:pt x="499595" y="175767"/>
                </a:cubicBezTo>
                <a:close/>
                <a:moveTo>
                  <a:pt x="662304" y="173046"/>
                </a:moveTo>
                <a:cubicBezTo>
                  <a:pt x="683527" y="171958"/>
                  <a:pt x="698220" y="189916"/>
                  <a:pt x="697676" y="207873"/>
                </a:cubicBezTo>
                <a:cubicBezTo>
                  <a:pt x="697131" y="227464"/>
                  <a:pt x="684615" y="243245"/>
                  <a:pt x="662304" y="242156"/>
                </a:cubicBezTo>
                <a:cubicBezTo>
                  <a:pt x="639993" y="241612"/>
                  <a:pt x="628565" y="229096"/>
                  <a:pt x="628021" y="207873"/>
                </a:cubicBezTo>
                <a:cubicBezTo>
                  <a:pt x="628021" y="187739"/>
                  <a:pt x="642714" y="172502"/>
                  <a:pt x="662304" y="173046"/>
                </a:cubicBezTo>
                <a:close/>
                <a:moveTo>
                  <a:pt x="826645" y="168148"/>
                </a:moveTo>
                <a:cubicBezTo>
                  <a:pt x="844602" y="168148"/>
                  <a:pt x="867458" y="187194"/>
                  <a:pt x="864737" y="207329"/>
                </a:cubicBezTo>
                <a:cubicBezTo>
                  <a:pt x="867458" y="229096"/>
                  <a:pt x="844058" y="247054"/>
                  <a:pt x="826100" y="247054"/>
                </a:cubicBezTo>
                <a:cubicBezTo>
                  <a:pt x="808687" y="247054"/>
                  <a:pt x="787464" y="228552"/>
                  <a:pt x="787464" y="207873"/>
                </a:cubicBezTo>
                <a:cubicBezTo>
                  <a:pt x="787464" y="187194"/>
                  <a:pt x="807054" y="168148"/>
                  <a:pt x="826645" y="168148"/>
                </a:cubicBezTo>
                <a:close/>
                <a:moveTo>
                  <a:pt x="987721" y="164883"/>
                </a:moveTo>
                <a:cubicBezTo>
                  <a:pt x="1012209" y="164339"/>
                  <a:pt x="1030711" y="181753"/>
                  <a:pt x="1031799" y="207329"/>
                </a:cubicBezTo>
                <a:cubicBezTo>
                  <a:pt x="1031255" y="232361"/>
                  <a:pt x="1011665" y="250319"/>
                  <a:pt x="988809" y="250319"/>
                </a:cubicBezTo>
                <a:cubicBezTo>
                  <a:pt x="965954" y="250319"/>
                  <a:pt x="946364" y="231273"/>
                  <a:pt x="945819" y="208417"/>
                </a:cubicBezTo>
                <a:cubicBezTo>
                  <a:pt x="945275" y="185018"/>
                  <a:pt x="962689" y="165428"/>
                  <a:pt x="987721" y="164883"/>
                </a:cubicBezTo>
                <a:close/>
                <a:moveTo>
                  <a:pt x="1153150" y="162707"/>
                </a:moveTo>
                <a:cubicBezTo>
                  <a:pt x="1177638" y="161619"/>
                  <a:pt x="1197772" y="180665"/>
                  <a:pt x="1197772" y="207874"/>
                </a:cubicBezTo>
                <a:cubicBezTo>
                  <a:pt x="1197772" y="235083"/>
                  <a:pt x="1176005" y="253584"/>
                  <a:pt x="1151517" y="253584"/>
                </a:cubicBezTo>
                <a:cubicBezTo>
                  <a:pt x="1128118" y="253040"/>
                  <a:pt x="1106895" y="234538"/>
                  <a:pt x="1107439" y="207329"/>
                </a:cubicBezTo>
                <a:cubicBezTo>
                  <a:pt x="1107983" y="179576"/>
                  <a:pt x="1129206" y="161075"/>
                  <a:pt x="1153150" y="162707"/>
                </a:cubicBezTo>
                <a:close/>
                <a:moveTo>
                  <a:pt x="1315315" y="158353"/>
                </a:moveTo>
                <a:cubicBezTo>
                  <a:pt x="1341435" y="156177"/>
                  <a:pt x="1365923" y="184474"/>
                  <a:pt x="1365379" y="206785"/>
                </a:cubicBezTo>
                <a:cubicBezTo>
                  <a:pt x="1365379" y="229640"/>
                  <a:pt x="1344156" y="256849"/>
                  <a:pt x="1315859" y="256305"/>
                </a:cubicBezTo>
                <a:cubicBezTo>
                  <a:pt x="1290283" y="256305"/>
                  <a:pt x="1267427" y="233994"/>
                  <a:pt x="1266883" y="207873"/>
                </a:cubicBezTo>
                <a:cubicBezTo>
                  <a:pt x="1265795" y="181209"/>
                  <a:pt x="1292460" y="157265"/>
                  <a:pt x="1315315" y="158353"/>
                </a:cubicBezTo>
                <a:close/>
                <a:moveTo>
                  <a:pt x="1478567" y="156721"/>
                </a:moveTo>
                <a:cubicBezTo>
                  <a:pt x="1510129" y="156721"/>
                  <a:pt x="1530264" y="180665"/>
                  <a:pt x="1529720" y="207329"/>
                </a:cubicBezTo>
                <a:cubicBezTo>
                  <a:pt x="1530264" y="236715"/>
                  <a:pt x="1510129" y="258482"/>
                  <a:pt x="1478567" y="258482"/>
                </a:cubicBezTo>
                <a:cubicBezTo>
                  <a:pt x="1449182" y="257938"/>
                  <a:pt x="1428503" y="238892"/>
                  <a:pt x="1427959" y="207874"/>
                </a:cubicBezTo>
                <a:cubicBezTo>
                  <a:pt x="1427415" y="179576"/>
                  <a:pt x="1447549" y="156721"/>
                  <a:pt x="1478567" y="156721"/>
                </a:cubicBezTo>
                <a:close/>
                <a:moveTo>
                  <a:pt x="1644541" y="153456"/>
                </a:moveTo>
                <a:cubicBezTo>
                  <a:pt x="1672294" y="154544"/>
                  <a:pt x="1697870" y="180665"/>
                  <a:pt x="1697326" y="209506"/>
                </a:cubicBezTo>
                <a:cubicBezTo>
                  <a:pt x="1696782" y="238347"/>
                  <a:pt x="1669573" y="263924"/>
                  <a:pt x="1641276" y="262835"/>
                </a:cubicBezTo>
                <a:cubicBezTo>
                  <a:pt x="1612979" y="261203"/>
                  <a:pt x="1587402" y="236715"/>
                  <a:pt x="1587947" y="206785"/>
                </a:cubicBezTo>
                <a:cubicBezTo>
                  <a:pt x="1587947" y="180121"/>
                  <a:pt x="1613523" y="152368"/>
                  <a:pt x="1644541" y="153456"/>
                </a:cubicBezTo>
                <a:close/>
                <a:moveTo>
                  <a:pt x="91463" y="109922"/>
                </a:moveTo>
                <a:cubicBezTo>
                  <a:pt x="97993" y="109922"/>
                  <a:pt x="107244" y="119173"/>
                  <a:pt x="107244" y="126247"/>
                </a:cubicBezTo>
                <a:cubicBezTo>
                  <a:pt x="107788" y="132777"/>
                  <a:pt x="98537" y="142028"/>
                  <a:pt x="91463" y="142028"/>
                </a:cubicBezTo>
                <a:cubicBezTo>
                  <a:pt x="83845" y="142028"/>
                  <a:pt x="75682" y="133866"/>
                  <a:pt x="75682" y="126247"/>
                </a:cubicBezTo>
                <a:cubicBezTo>
                  <a:pt x="75682" y="118629"/>
                  <a:pt x="84389" y="109922"/>
                  <a:pt x="91463" y="109922"/>
                </a:cubicBezTo>
                <a:close/>
                <a:moveTo>
                  <a:pt x="1942341" y="104915"/>
                </a:moveTo>
                <a:cubicBezTo>
                  <a:pt x="1941389" y="105799"/>
                  <a:pt x="1941389" y="107840"/>
                  <a:pt x="1942205" y="111377"/>
                </a:cubicBezTo>
                <a:cubicBezTo>
                  <a:pt x="1943294" y="118451"/>
                  <a:pt x="1944926" y="124437"/>
                  <a:pt x="1946559" y="131511"/>
                </a:cubicBezTo>
                <a:cubicBezTo>
                  <a:pt x="1944382" y="139674"/>
                  <a:pt x="1941661" y="148381"/>
                  <a:pt x="1939484" y="157088"/>
                </a:cubicBezTo>
                <a:cubicBezTo>
                  <a:pt x="1939484" y="158176"/>
                  <a:pt x="1941117" y="160353"/>
                  <a:pt x="1941117" y="160353"/>
                </a:cubicBezTo>
                <a:cubicBezTo>
                  <a:pt x="1955810" y="154367"/>
                  <a:pt x="1971046" y="150558"/>
                  <a:pt x="1986828" y="157088"/>
                </a:cubicBezTo>
                <a:cubicBezTo>
                  <a:pt x="1987372" y="157088"/>
                  <a:pt x="1987916" y="157088"/>
                  <a:pt x="1987916" y="157088"/>
                </a:cubicBezTo>
                <a:cubicBezTo>
                  <a:pt x="1994990" y="157632"/>
                  <a:pt x="1996623" y="155999"/>
                  <a:pt x="1993902" y="150013"/>
                </a:cubicBezTo>
                <a:cubicBezTo>
                  <a:pt x="1988460" y="136409"/>
                  <a:pt x="1988460" y="123349"/>
                  <a:pt x="1993902" y="109744"/>
                </a:cubicBezTo>
                <a:cubicBezTo>
                  <a:pt x="1995534" y="105935"/>
                  <a:pt x="1994446" y="103214"/>
                  <a:pt x="1989004" y="105391"/>
                </a:cubicBezTo>
                <a:cubicBezTo>
                  <a:pt x="1975400" y="109744"/>
                  <a:pt x="1961796" y="109744"/>
                  <a:pt x="1948191" y="105391"/>
                </a:cubicBezTo>
                <a:cubicBezTo>
                  <a:pt x="1945198" y="104303"/>
                  <a:pt x="1943294" y="104031"/>
                  <a:pt x="1942341" y="104915"/>
                </a:cubicBezTo>
                <a:close/>
                <a:moveTo>
                  <a:pt x="255804" y="103392"/>
                </a:moveTo>
                <a:cubicBezTo>
                  <a:pt x="269409" y="103392"/>
                  <a:pt x="277571" y="112643"/>
                  <a:pt x="277571" y="126791"/>
                </a:cubicBezTo>
                <a:cubicBezTo>
                  <a:pt x="277027" y="139852"/>
                  <a:pt x="267776" y="148558"/>
                  <a:pt x="254172" y="148014"/>
                </a:cubicBezTo>
                <a:cubicBezTo>
                  <a:pt x="241112" y="148014"/>
                  <a:pt x="231861" y="138763"/>
                  <a:pt x="232405" y="125159"/>
                </a:cubicBezTo>
                <a:cubicBezTo>
                  <a:pt x="232405" y="112099"/>
                  <a:pt x="242200" y="102848"/>
                  <a:pt x="255804" y="103392"/>
                </a:cubicBezTo>
                <a:close/>
                <a:moveTo>
                  <a:pt x="1773511" y="99405"/>
                </a:moveTo>
                <a:cubicBezTo>
                  <a:pt x="1773511" y="102126"/>
                  <a:pt x="1772966" y="104303"/>
                  <a:pt x="1773511" y="107023"/>
                </a:cubicBezTo>
                <a:cubicBezTo>
                  <a:pt x="1776232" y="114098"/>
                  <a:pt x="1778408" y="121716"/>
                  <a:pt x="1780585" y="130423"/>
                </a:cubicBezTo>
                <a:cubicBezTo>
                  <a:pt x="1778408" y="139130"/>
                  <a:pt x="1775687" y="147293"/>
                  <a:pt x="1773511" y="155999"/>
                </a:cubicBezTo>
                <a:cubicBezTo>
                  <a:pt x="1772966" y="157632"/>
                  <a:pt x="1772966" y="160897"/>
                  <a:pt x="1774055" y="161985"/>
                </a:cubicBezTo>
                <a:cubicBezTo>
                  <a:pt x="1775143" y="163074"/>
                  <a:pt x="1778408" y="163074"/>
                  <a:pt x="1780041" y="162529"/>
                </a:cubicBezTo>
                <a:cubicBezTo>
                  <a:pt x="1789836" y="155455"/>
                  <a:pt x="1800719" y="157632"/>
                  <a:pt x="1811059" y="157632"/>
                </a:cubicBezTo>
                <a:cubicBezTo>
                  <a:pt x="1817589" y="157632"/>
                  <a:pt x="1824119" y="156543"/>
                  <a:pt x="1829561" y="161985"/>
                </a:cubicBezTo>
                <a:cubicBezTo>
                  <a:pt x="1830649" y="163074"/>
                  <a:pt x="1834458" y="161985"/>
                  <a:pt x="1836635" y="161985"/>
                </a:cubicBezTo>
                <a:cubicBezTo>
                  <a:pt x="1835547" y="160353"/>
                  <a:pt x="1835002" y="158720"/>
                  <a:pt x="1833914" y="157088"/>
                </a:cubicBezTo>
                <a:cubicBezTo>
                  <a:pt x="1826840" y="139674"/>
                  <a:pt x="1826296" y="121716"/>
                  <a:pt x="1834458" y="104303"/>
                </a:cubicBezTo>
                <a:cubicBezTo>
                  <a:pt x="1835002" y="102670"/>
                  <a:pt x="1835547" y="101038"/>
                  <a:pt x="1835547" y="99405"/>
                </a:cubicBezTo>
                <a:cubicBezTo>
                  <a:pt x="1833914" y="99949"/>
                  <a:pt x="1832282" y="99949"/>
                  <a:pt x="1831193" y="101038"/>
                </a:cubicBezTo>
                <a:cubicBezTo>
                  <a:pt x="1814324" y="109200"/>
                  <a:pt x="1797454" y="109200"/>
                  <a:pt x="1780041" y="101582"/>
                </a:cubicBezTo>
                <a:cubicBezTo>
                  <a:pt x="1777864" y="100493"/>
                  <a:pt x="1775687" y="100493"/>
                  <a:pt x="1773511" y="99405"/>
                </a:cubicBezTo>
                <a:close/>
                <a:moveTo>
                  <a:pt x="417424" y="97950"/>
                </a:moveTo>
                <a:cubicBezTo>
                  <a:pt x="435382" y="97950"/>
                  <a:pt x="445721" y="108289"/>
                  <a:pt x="445721" y="126247"/>
                </a:cubicBezTo>
                <a:cubicBezTo>
                  <a:pt x="445721" y="143661"/>
                  <a:pt x="435382" y="153456"/>
                  <a:pt x="417424" y="153456"/>
                </a:cubicBezTo>
                <a:cubicBezTo>
                  <a:pt x="402187" y="155088"/>
                  <a:pt x="389127" y="141484"/>
                  <a:pt x="390215" y="125159"/>
                </a:cubicBezTo>
                <a:cubicBezTo>
                  <a:pt x="391304" y="107745"/>
                  <a:pt x="400555" y="97950"/>
                  <a:pt x="417424" y="97950"/>
                </a:cubicBezTo>
                <a:close/>
                <a:moveTo>
                  <a:pt x="580677" y="92508"/>
                </a:moveTo>
                <a:cubicBezTo>
                  <a:pt x="599724" y="92508"/>
                  <a:pt x="613328" y="106112"/>
                  <a:pt x="614960" y="125159"/>
                </a:cubicBezTo>
                <a:cubicBezTo>
                  <a:pt x="616049" y="141484"/>
                  <a:pt x="598091" y="161618"/>
                  <a:pt x="581766" y="158353"/>
                </a:cubicBezTo>
                <a:cubicBezTo>
                  <a:pt x="561631" y="158353"/>
                  <a:pt x="548571" y="145293"/>
                  <a:pt x="548571" y="125703"/>
                </a:cubicBezTo>
                <a:cubicBezTo>
                  <a:pt x="548571" y="106657"/>
                  <a:pt x="562175" y="92508"/>
                  <a:pt x="580677" y="92508"/>
                </a:cubicBezTo>
                <a:close/>
                <a:moveTo>
                  <a:pt x="745019" y="88154"/>
                </a:moveTo>
                <a:cubicBezTo>
                  <a:pt x="763521" y="87610"/>
                  <a:pt x="783111" y="107745"/>
                  <a:pt x="782567" y="126791"/>
                </a:cubicBezTo>
                <a:cubicBezTo>
                  <a:pt x="782023" y="147469"/>
                  <a:pt x="761344" y="164339"/>
                  <a:pt x="743930" y="164339"/>
                </a:cubicBezTo>
                <a:cubicBezTo>
                  <a:pt x="723796" y="163795"/>
                  <a:pt x="705838" y="144204"/>
                  <a:pt x="706382" y="125702"/>
                </a:cubicBezTo>
                <a:cubicBezTo>
                  <a:pt x="706926" y="109377"/>
                  <a:pt x="723252" y="87066"/>
                  <a:pt x="745019" y="88154"/>
                </a:cubicBezTo>
                <a:close/>
                <a:moveTo>
                  <a:pt x="1685898" y="84712"/>
                </a:moveTo>
                <a:lnTo>
                  <a:pt x="1685681" y="85147"/>
                </a:lnTo>
                <a:lnTo>
                  <a:pt x="1685354" y="85256"/>
                </a:lnTo>
                <a:cubicBezTo>
                  <a:pt x="1685354" y="85256"/>
                  <a:pt x="1685898" y="84712"/>
                  <a:pt x="1685898" y="84712"/>
                </a:cubicBezTo>
                <a:close/>
                <a:moveTo>
                  <a:pt x="907183" y="84345"/>
                </a:moveTo>
                <a:cubicBezTo>
                  <a:pt x="916978" y="84345"/>
                  <a:pt x="926773" y="87610"/>
                  <a:pt x="934935" y="95228"/>
                </a:cubicBezTo>
                <a:cubicBezTo>
                  <a:pt x="944187" y="103935"/>
                  <a:pt x="946907" y="114819"/>
                  <a:pt x="949628" y="125158"/>
                </a:cubicBezTo>
                <a:cubicBezTo>
                  <a:pt x="946907" y="150190"/>
                  <a:pt x="932759" y="166515"/>
                  <a:pt x="908271" y="167060"/>
                </a:cubicBezTo>
                <a:cubicBezTo>
                  <a:pt x="884871" y="167604"/>
                  <a:pt x="867458" y="150734"/>
                  <a:pt x="866369" y="125702"/>
                </a:cubicBezTo>
                <a:cubicBezTo>
                  <a:pt x="865825" y="103935"/>
                  <a:pt x="884871" y="83801"/>
                  <a:pt x="907183" y="84345"/>
                </a:cubicBezTo>
                <a:close/>
                <a:moveTo>
                  <a:pt x="1070979" y="82169"/>
                </a:moveTo>
                <a:cubicBezTo>
                  <a:pt x="1095467" y="79448"/>
                  <a:pt x="1115602" y="103936"/>
                  <a:pt x="1115602" y="126247"/>
                </a:cubicBezTo>
                <a:cubicBezTo>
                  <a:pt x="1115602" y="148014"/>
                  <a:pt x="1094923" y="170325"/>
                  <a:pt x="1071524" y="170325"/>
                </a:cubicBezTo>
                <a:cubicBezTo>
                  <a:pt x="1047580" y="170325"/>
                  <a:pt x="1026357" y="148558"/>
                  <a:pt x="1026357" y="125703"/>
                </a:cubicBezTo>
                <a:cubicBezTo>
                  <a:pt x="1026357" y="103936"/>
                  <a:pt x="1047036" y="79448"/>
                  <a:pt x="1070979" y="82169"/>
                </a:cubicBezTo>
                <a:close/>
                <a:moveTo>
                  <a:pt x="1684811" y="82168"/>
                </a:moveTo>
                <a:cubicBezTo>
                  <a:pt x="1684811" y="82168"/>
                  <a:pt x="1684266" y="82713"/>
                  <a:pt x="1684266" y="82713"/>
                </a:cubicBezTo>
                <a:lnTo>
                  <a:pt x="1684469" y="82365"/>
                </a:lnTo>
                <a:close/>
                <a:moveTo>
                  <a:pt x="1234777" y="78360"/>
                </a:moveTo>
                <a:cubicBezTo>
                  <a:pt x="1259809" y="76727"/>
                  <a:pt x="1284297" y="101759"/>
                  <a:pt x="1282664" y="126791"/>
                </a:cubicBezTo>
                <a:cubicBezTo>
                  <a:pt x="1280487" y="152912"/>
                  <a:pt x="1264162" y="171958"/>
                  <a:pt x="1234232" y="174135"/>
                </a:cubicBezTo>
                <a:cubicBezTo>
                  <a:pt x="1205935" y="172502"/>
                  <a:pt x="1186345" y="153456"/>
                  <a:pt x="1186889" y="126791"/>
                </a:cubicBezTo>
                <a:cubicBezTo>
                  <a:pt x="1187433" y="96318"/>
                  <a:pt x="1207024" y="79992"/>
                  <a:pt x="1234777" y="78360"/>
                </a:cubicBezTo>
                <a:close/>
                <a:moveTo>
                  <a:pt x="1398574" y="76182"/>
                </a:moveTo>
                <a:cubicBezTo>
                  <a:pt x="1424150" y="74006"/>
                  <a:pt x="1448638" y="99582"/>
                  <a:pt x="1448094" y="127335"/>
                </a:cubicBezTo>
                <a:cubicBezTo>
                  <a:pt x="1447549" y="151823"/>
                  <a:pt x="1426327" y="176311"/>
                  <a:pt x="1396941" y="175766"/>
                </a:cubicBezTo>
                <a:cubicBezTo>
                  <a:pt x="1367011" y="175222"/>
                  <a:pt x="1347421" y="151278"/>
                  <a:pt x="1347421" y="125702"/>
                </a:cubicBezTo>
                <a:cubicBezTo>
                  <a:pt x="1347421" y="99038"/>
                  <a:pt x="1369732" y="74006"/>
                  <a:pt x="1398574" y="76182"/>
                </a:cubicBezTo>
                <a:close/>
                <a:moveTo>
                  <a:pt x="1561282" y="72373"/>
                </a:moveTo>
                <a:cubicBezTo>
                  <a:pt x="1588491" y="72373"/>
                  <a:pt x="1614611" y="96861"/>
                  <a:pt x="1614611" y="126247"/>
                </a:cubicBezTo>
                <a:cubicBezTo>
                  <a:pt x="1614067" y="155632"/>
                  <a:pt x="1590667" y="180120"/>
                  <a:pt x="1560738" y="179576"/>
                </a:cubicBezTo>
                <a:cubicBezTo>
                  <a:pt x="1530808" y="179576"/>
                  <a:pt x="1507953" y="156176"/>
                  <a:pt x="1507409" y="126247"/>
                </a:cubicBezTo>
                <a:cubicBezTo>
                  <a:pt x="1506864" y="96861"/>
                  <a:pt x="1532441" y="72373"/>
                  <a:pt x="1561282" y="72373"/>
                </a:cubicBezTo>
                <a:close/>
                <a:moveTo>
                  <a:pt x="10381" y="33737"/>
                </a:moveTo>
                <a:cubicBezTo>
                  <a:pt x="15822" y="33737"/>
                  <a:pt x="20720" y="39179"/>
                  <a:pt x="20720" y="45165"/>
                </a:cubicBezTo>
                <a:cubicBezTo>
                  <a:pt x="20176" y="50606"/>
                  <a:pt x="14734" y="55504"/>
                  <a:pt x="9292" y="54960"/>
                </a:cubicBezTo>
                <a:cubicBezTo>
                  <a:pt x="4395" y="54416"/>
                  <a:pt x="41" y="49518"/>
                  <a:pt x="41" y="44621"/>
                </a:cubicBezTo>
                <a:cubicBezTo>
                  <a:pt x="-503" y="38635"/>
                  <a:pt x="4395" y="33737"/>
                  <a:pt x="10381" y="33737"/>
                </a:cubicBezTo>
                <a:close/>
                <a:moveTo>
                  <a:pt x="172546" y="23942"/>
                </a:moveTo>
                <a:cubicBezTo>
                  <a:pt x="181796" y="22854"/>
                  <a:pt x="193224" y="34826"/>
                  <a:pt x="193224" y="44621"/>
                </a:cubicBezTo>
                <a:cubicBezTo>
                  <a:pt x="193224" y="53872"/>
                  <a:pt x="182341" y="64755"/>
                  <a:pt x="173090" y="64755"/>
                </a:cubicBezTo>
                <a:cubicBezTo>
                  <a:pt x="164383" y="64755"/>
                  <a:pt x="152411" y="52784"/>
                  <a:pt x="152411" y="44621"/>
                </a:cubicBezTo>
                <a:cubicBezTo>
                  <a:pt x="152411" y="36458"/>
                  <a:pt x="164927" y="24486"/>
                  <a:pt x="172546" y="23942"/>
                </a:cubicBezTo>
                <a:close/>
                <a:moveTo>
                  <a:pt x="1861123" y="22132"/>
                </a:moveTo>
                <a:cubicBezTo>
                  <a:pt x="1861123" y="26485"/>
                  <a:pt x="1860035" y="31383"/>
                  <a:pt x="1861123" y="35737"/>
                </a:cubicBezTo>
                <a:cubicBezTo>
                  <a:pt x="1863844" y="44443"/>
                  <a:pt x="1864932" y="52606"/>
                  <a:pt x="1861123" y="61313"/>
                </a:cubicBezTo>
                <a:cubicBezTo>
                  <a:pt x="1860035" y="64034"/>
                  <a:pt x="1860035" y="67299"/>
                  <a:pt x="1858946" y="72740"/>
                </a:cubicBezTo>
                <a:cubicBezTo>
                  <a:pt x="1858402" y="76550"/>
                  <a:pt x="1861123" y="77638"/>
                  <a:pt x="1866021" y="76550"/>
                </a:cubicBezTo>
                <a:cubicBezTo>
                  <a:pt x="1868741" y="76006"/>
                  <a:pt x="1871462" y="76006"/>
                  <a:pt x="1873639" y="74917"/>
                </a:cubicBezTo>
                <a:cubicBezTo>
                  <a:pt x="1882346" y="71108"/>
                  <a:pt x="1891053" y="71108"/>
                  <a:pt x="1900304" y="74373"/>
                </a:cubicBezTo>
                <a:cubicBezTo>
                  <a:pt x="1902480" y="75461"/>
                  <a:pt x="1905201" y="76006"/>
                  <a:pt x="1907922" y="76006"/>
                </a:cubicBezTo>
                <a:cubicBezTo>
                  <a:pt x="1912276" y="76550"/>
                  <a:pt x="1914996" y="75461"/>
                  <a:pt x="1912820" y="70020"/>
                </a:cubicBezTo>
                <a:cubicBezTo>
                  <a:pt x="1907378" y="55871"/>
                  <a:pt x="1906834" y="41178"/>
                  <a:pt x="1912820" y="27030"/>
                </a:cubicBezTo>
                <a:cubicBezTo>
                  <a:pt x="1914996" y="22132"/>
                  <a:pt x="1911731" y="21588"/>
                  <a:pt x="1908466" y="22132"/>
                </a:cubicBezTo>
                <a:cubicBezTo>
                  <a:pt x="1906290" y="22676"/>
                  <a:pt x="1904657" y="24309"/>
                  <a:pt x="1902480" y="24309"/>
                </a:cubicBezTo>
                <a:cubicBezTo>
                  <a:pt x="1892685" y="24309"/>
                  <a:pt x="1882890" y="24853"/>
                  <a:pt x="1873095" y="24309"/>
                </a:cubicBezTo>
                <a:cubicBezTo>
                  <a:pt x="1868741" y="24309"/>
                  <a:pt x="1864932" y="22676"/>
                  <a:pt x="1861123" y="22132"/>
                </a:cubicBezTo>
                <a:close/>
                <a:moveTo>
                  <a:pt x="336886" y="17412"/>
                </a:moveTo>
                <a:cubicBezTo>
                  <a:pt x="347770" y="17412"/>
                  <a:pt x="363551" y="31016"/>
                  <a:pt x="363007" y="44077"/>
                </a:cubicBezTo>
                <a:cubicBezTo>
                  <a:pt x="363007" y="57681"/>
                  <a:pt x="350491" y="70741"/>
                  <a:pt x="337431" y="71285"/>
                </a:cubicBezTo>
                <a:cubicBezTo>
                  <a:pt x="324370" y="71830"/>
                  <a:pt x="310766" y="58769"/>
                  <a:pt x="310222" y="45165"/>
                </a:cubicBezTo>
                <a:cubicBezTo>
                  <a:pt x="309678" y="31016"/>
                  <a:pt x="323282" y="17956"/>
                  <a:pt x="336886" y="17412"/>
                </a:cubicBezTo>
                <a:close/>
                <a:moveTo>
                  <a:pt x="498507" y="13059"/>
                </a:moveTo>
                <a:cubicBezTo>
                  <a:pt x="514832" y="11970"/>
                  <a:pt x="531702" y="28296"/>
                  <a:pt x="531702" y="44621"/>
                </a:cubicBezTo>
                <a:cubicBezTo>
                  <a:pt x="531702" y="60402"/>
                  <a:pt x="515376" y="76183"/>
                  <a:pt x="499595" y="76727"/>
                </a:cubicBezTo>
                <a:cubicBezTo>
                  <a:pt x="483270" y="76727"/>
                  <a:pt x="467489" y="61490"/>
                  <a:pt x="467489" y="45165"/>
                </a:cubicBezTo>
                <a:cubicBezTo>
                  <a:pt x="467489" y="28840"/>
                  <a:pt x="482182" y="13059"/>
                  <a:pt x="498507" y="13059"/>
                </a:cubicBezTo>
                <a:close/>
                <a:moveTo>
                  <a:pt x="662303" y="7616"/>
                </a:moveTo>
                <a:cubicBezTo>
                  <a:pt x="680805" y="7072"/>
                  <a:pt x="698763" y="25030"/>
                  <a:pt x="698763" y="44076"/>
                </a:cubicBezTo>
                <a:cubicBezTo>
                  <a:pt x="698763" y="62578"/>
                  <a:pt x="680261" y="81624"/>
                  <a:pt x="662303" y="81080"/>
                </a:cubicBezTo>
                <a:cubicBezTo>
                  <a:pt x="644346" y="80536"/>
                  <a:pt x="626932" y="62578"/>
                  <a:pt x="626932" y="44076"/>
                </a:cubicBezTo>
                <a:cubicBezTo>
                  <a:pt x="626932" y="25574"/>
                  <a:pt x="643257" y="8160"/>
                  <a:pt x="662303" y="7616"/>
                </a:cubicBezTo>
                <a:close/>
                <a:moveTo>
                  <a:pt x="825557" y="5440"/>
                </a:moveTo>
                <a:cubicBezTo>
                  <a:pt x="847868" y="5440"/>
                  <a:pt x="865281" y="23942"/>
                  <a:pt x="865281" y="44621"/>
                </a:cubicBezTo>
                <a:cubicBezTo>
                  <a:pt x="865281" y="63667"/>
                  <a:pt x="847324" y="85978"/>
                  <a:pt x="826101" y="83257"/>
                </a:cubicBezTo>
                <a:cubicBezTo>
                  <a:pt x="805422" y="85978"/>
                  <a:pt x="786920" y="64211"/>
                  <a:pt x="786920" y="44621"/>
                </a:cubicBezTo>
                <a:cubicBezTo>
                  <a:pt x="786920" y="22854"/>
                  <a:pt x="805422" y="5440"/>
                  <a:pt x="825557" y="5440"/>
                </a:cubicBezTo>
                <a:close/>
                <a:moveTo>
                  <a:pt x="989353" y="1086"/>
                </a:moveTo>
                <a:cubicBezTo>
                  <a:pt x="1013297" y="1086"/>
                  <a:pt x="1032343" y="21220"/>
                  <a:pt x="1032343" y="43532"/>
                </a:cubicBezTo>
                <a:cubicBezTo>
                  <a:pt x="1032887" y="66931"/>
                  <a:pt x="1012753" y="88698"/>
                  <a:pt x="989897" y="87610"/>
                </a:cubicBezTo>
                <a:cubicBezTo>
                  <a:pt x="967042" y="88698"/>
                  <a:pt x="945819" y="65843"/>
                  <a:pt x="945819" y="44620"/>
                </a:cubicBezTo>
                <a:cubicBezTo>
                  <a:pt x="945819" y="23941"/>
                  <a:pt x="964321" y="1086"/>
                  <a:pt x="989353" y="1086"/>
                </a:cubicBezTo>
                <a:close/>
                <a:moveTo>
                  <a:pt x="1614056" y="0"/>
                </a:moveTo>
                <a:lnTo>
                  <a:pt x="1675529" y="0"/>
                </a:lnTo>
                <a:lnTo>
                  <a:pt x="1682905" y="4720"/>
                </a:lnTo>
                <a:lnTo>
                  <a:pt x="1933639" y="4720"/>
                </a:lnTo>
                <a:cubicBezTo>
                  <a:pt x="1966059" y="4720"/>
                  <a:pt x="1995409" y="17861"/>
                  <a:pt x="2016655" y="39107"/>
                </a:cubicBezTo>
                <a:lnTo>
                  <a:pt x="2028934" y="57318"/>
                </a:lnTo>
                <a:lnTo>
                  <a:pt x="2026008" y="71108"/>
                </a:lnTo>
                <a:cubicBezTo>
                  <a:pt x="2023832" y="74917"/>
                  <a:pt x="2026552" y="77094"/>
                  <a:pt x="2030906" y="75461"/>
                </a:cubicBezTo>
                <a:lnTo>
                  <a:pt x="2039929" y="73627"/>
                </a:lnTo>
                <a:lnTo>
                  <a:pt x="2041815" y="76424"/>
                </a:lnTo>
                <a:cubicBezTo>
                  <a:pt x="2047756" y="90470"/>
                  <a:pt x="2051041" y="105912"/>
                  <a:pt x="2051041" y="122122"/>
                </a:cubicBezTo>
                <a:lnTo>
                  <a:pt x="2051041" y="186473"/>
                </a:lnTo>
                <a:lnTo>
                  <a:pt x="2029818" y="186473"/>
                </a:lnTo>
                <a:cubicBezTo>
                  <a:pt x="2023832" y="184297"/>
                  <a:pt x="2022743" y="185929"/>
                  <a:pt x="2023287" y="192459"/>
                </a:cubicBezTo>
                <a:cubicBezTo>
                  <a:pt x="2023287" y="193548"/>
                  <a:pt x="2023287" y="195180"/>
                  <a:pt x="2023832" y="196268"/>
                </a:cubicBezTo>
                <a:cubicBezTo>
                  <a:pt x="2028185" y="210961"/>
                  <a:pt x="2026008" y="225110"/>
                  <a:pt x="2019478" y="239258"/>
                </a:cubicBezTo>
                <a:cubicBezTo>
                  <a:pt x="2018934" y="240347"/>
                  <a:pt x="2019478" y="241979"/>
                  <a:pt x="2020022" y="242523"/>
                </a:cubicBezTo>
                <a:cubicBezTo>
                  <a:pt x="2020566" y="243067"/>
                  <a:pt x="2022743" y="243612"/>
                  <a:pt x="2023287" y="243067"/>
                </a:cubicBezTo>
                <a:cubicBezTo>
                  <a:pt x="2032266" y="238986"/>
                  <a:pt x="2041245" y="237082"/>
                  <a:pt x="2050224" y="237150"/>
                </a:cubicBezTo>
                <a:lnTo>
                  <a:pt x="2051041" y="237329"/>
                </a:lnTo>
                <a:lnTo>
                  <a:pt x="2051041" y="348996"/>
                </a:lnTo>
                <a:lnTo>
                  <a:pt x="2036552" y="347754"/>
                </a:lnTo>
                <a:cubicBezTo>
                  <a:pt x="2031178" y="346733"/>
                  <a:pt x="2026009" y="344829"/>
                  <a:pt x="2021111" y="341019"/>
                </a:cubicBezTo>
                <a:cubicBezTo>
                  <a:pt x="2020022" y="339931"/>
                  <a:pt x="2018390" y="339387"/>
                  <a:pt x="2016757" y="338842"/>
                </a:cubicBezTo>
                <a:cubicBezTo>
                  <a:pt x="2016757" y="340475"/>
                  <a:pt x="2016757" y="343196"/>
                  <a:pt x="2017301" y="344284"/>
                </a:cubicBezTo>
                <a:cubicBezTo>
                  <a:pt x="2022743" y="354079"/>
                  <a:pt x="2026008" y="364419"/>
                  <a:pt x="2025464" y="376391"/>
                </a:cubicBezTo>
                <a:cubicBezTo>
                  <a:pt x="2024376" y="398702"/>
                  <a:pt x="2014580" y="413939"/>
                  <a:pt x="1994446" y="424278"/>
                </a:cubicBezTo>
                <a:cubicBezTo>
                  <a:pt x="1972135" y="435706"/>
                  <a:pt x="1950912" y="431352"/>
                  <a:pt x="1933498" y="416115"/>
                </a:cubicBezTo>
                <a:cubicBezTo>
                  <a:pt x="1917173" y="401967"/>
                  <a:pt x="1908466" y="378567"/>
                  <a:pt x="1920438" y="352447"/>
                </a:cubicBezTo>
                <a:cubicBezTo>
                  <a:pt x="1922615" y="348093"/>
                  <a:pt x="1923703" y="343196"/>
                  <a:pt x="1925336" y="338298"/>
                </a:cubicBezTo>
                <a:cubicBezTo>
                  <a:pt x="1920982" y="339931"/>
                  <a:pt x="1916085" y="341563"/>
                  <a:pt x="1911731" y="343196"/>
                </a:cubicBezTo>
                <a:cubicBezTo>
                  <a:pt x="1907378" y="344828"/>
                  <a:pt x="1903024" y="347005"/>
                  <a:pt x="1898671" y="347005"/>
                </a:cubicBezTo>
                <a:cubicBezTo>
                  <a:pt x="1882890" y="348638"/>
                  <a:pt x="1867653" y="348638"/>
                  <a:pt x="1854593" y="336666"/>
                </a:cubicBezTo>
                <a:lnTo>
                  <a:pt x="1847690" y="333480"/>
                </a:lnTo>
                <a:lnTo>
                  <a:pt x="1852961" y="344461"/>
                </a:lnTo>
                <a:cubicBezTo>
                  <a:pt x="1868742" y="372214"/>
                  <a:pt x="1855137" y="408674"/>
                  <a:pt x="1826840" y="420646"/>
                </a:cubicBezTo>
                <a:cubicBezTo>
                  <a:pt x="1803441" y="430985"/>
                  <a:pt x="1777864" y="422278"/>
                  <a:pt x="1765893" y="408130"/>
                </a:cubicBezTo>
                <a:cubicBezTo>
                  <a:pt x="1749567" y="388539"/>
                  <a:pt x="1744126" y="368405"/>
                  <a:pt x="1759362" y="342829"/>
                </a:cubicBezTo>
                <a:cubicBezTo>
                  <a:pt x="1771199" y="322422"/>
                  <a:pt x="1795584" y="313341"/>
                  <a:pt x="1815991" y="317193"/>
                </a:cubicBezTo>
                <a:cubicBezTo>
                  <a:pt x="1822793" y="318477"/>
                  <a:pt x="1829153" y="321198"/>
                  <a:pt x="1834459" y="325415"/>
                </a:cubicBezTo>
                <a:lnTo>
                  <a:pt x="1845023" y="330169"/>
                </a:lnTo>
                <a:lnTo>
                  <a:pt x="1840444" y="321429"/>
                </a:lnTo>
                <a:cubicBezTo>
                  <a:pt x="1831193" y="306736"/>
                  <a:pt x="1832282" y="290955"/>
                  <a:pt x="1834458" y="275174"/>
                </a:cubicBezTo>
                <a:cubicBezTo>
                  <a:pt x="1835002" y="269732"/>
                  <a:pt x="1838812" y="265379"/>
                  <a:pt x="1840988" y="259937"/>
                </a:cubicBezTo>
                <a:cubicBezTo>
                  <a:pt x="1841533" y="258849"/>
                  <a:pt x="1842077" y="257216"/>
                  <a:pt x="1842077" y="255584"/>
                </a:cubicBezTo>
                <a:cubicBezTo>
                  <a:pt x="1840444" y="256128"/>
                  <a:pt x="1838812" y="256672"/>
                  <a:pt x="1837723" y="257216"/>
                </a:cubicBezTo>
                <a:cubicBezTo>
                  <a:pt x="1831193" y="259937"/>
                  <a:pt x="1824663" y="263746"/>
                  <a:pt x="1817589" y="264834"/>
                </a:cubicBezTo>
                <a:cubicBezTo>
                  <a:pt x="1799631" y="268100"/>
                  <a:pt x="1782762" y="264290"/>
                  <a:pt x="1768069" y="251774"/>
                </a:cubicBezTo>
                <a:lnTo>
                  <a:pt x="1764740" y="250110"/>
                </a:lnTo>
                <a:lnTo>
                  <a:pt x="1773510" y="267189"/>
                </a:lnTo>
                <a:cubicBezTo>
                  <a:pt x="1786571" y="292765"/>
                  <a:pt x="1773510" y="323239"/>
                  <a:pt x="1750655" y="336843"/>
                </a:cubicBezTo>
                <a:cubicBezTo>
                  <a:pt x="1721270" y="354257"/>
                  <a:pt x="1685354" y="337388"/>
                  <a:pt x="1673926" y="310723"/>
                </a:cubicBezTo>
                <a:cubicBezTo>
                  <a:pt x="1664675" y="289500"/>
                  <a:pt x="1669029" y="271542"/>
                  <a:pt x="1681545" y="254673"/>
                </a:cubicBezTo>
                <a:cubicBezTo>
                  <a:pt x="1694605" y="237803"/>
                  <a:pt x="1712563" y="231817"/>
                  <a:pt x="1733786" y="235083"/>
                </a:cubicBezTo>
                <a:cubicBezTo>
                  <a:pt x="1739771" y="236171"/>
                  <a:pt x="1745757" y="239980"/>
                  <a:pt x="1751743" y="242157"/>
                </a:cubicBezTo>
                <a:lnTo>
                  <a:pt x="1762506" y="246769"/>
                </a:lnTo>
                <a:lnTo>
                  <a:pt x="1757185" y="236537"/>
                </a:lnTo>
                <a:cubicBezTo>
                  <a:pt x="1747934" y="219668"/>
                  <a:pt x="1747390" y="203343"/>
                  <a:pt x="1756097" y="185929"/>
                </a:cubicBezTo>
                <a:cubicBezTo>
                  <a:pt x="1757185" y="183752"/>
                  <a:pt x="1756641" y="180487"/>
                  <a:pt x="1757185" y="177766"/>
                </a:cubicBezTo>
                <a:cubicBezTo>
                  <a:pt x="1754464" y="177766"/>
                  <a:pt x="1751199" y="177222"/>
                  <a:pt x="1749023" y="178311"/>
                </a:cubicBezTo>
                <a:cubicBezTo>
                  <a:pt x="1722358" y="193003"/>
                  <a:pt x="1688075" y="178855"/>
                  <a:pt x="1676103" y="154911"/>
                </a:cubicBezTo>
                <a:cubicBezTo>
                  <a:pt x="1665220" y="133688"/>
                  <a:pt x="1667396" y="113554"/>
                  <a:pt x="1681001" y="94507"/>
                </a:cubicBezTo>
                <a:lnTo>
                  <a:pt x="1685681" y="85147"/>
                </a:lnTo>
                <a:lnTo>
                  <a:pt x="1693517" y="82536"/>
                </a:lnTo>
                <a:cubicBezTo>
                  <a:pt x="1710930" y="71108"/>
                  <a:pt x="1728888" y="71108"/>
                  <a:pt x="1747934" y="77638"/>
                </a:cubicBezTo>
                <a:cubicBezTo>
                  <a:pt x="1750655" y="78726"/>
                  <a:pt x="1753920" y="78726"/>
                  <a:pt x="1756641" y="79271"/>
                </a:cubicBezTo>
                <a:cubicBezTo>
                  <a:pt x="1756097" y="76550"/>
                  <a:pt x="1755553" y="74373"/>
                  <a:pt x="1754464" y="71652"/>
                </a:cubicBezTo>
                <a:cubicBezTo>
                  <a:pt x="1753920" y="70564"/>
                  <a:pt x="1753376" y="69475"/>
                  <a:pt x="1752832" y="68387"/>
                </a:cubicBezTo>
                <a:cubicBezTo>
                  <a:pt x="1747934" y="52062"/>
                  <a:pt x="1747390" y="35737"/>
                  <a:pt x="1756097" y="20500"/>
                </a:cubicBezTo>
                <a:cubicBezTo>
                  <a:pt x="1756641" y="19411"/>
                  <a:pt x="1757185" y="16690"/>
                  <a:pt x="1756641" y="16146"/>
                </a:cubicBezTo>
                <a:cubicBezTo>
                  <a:pt x="1755553" y="15058"/>
                  <a:pt x="1753376" y="14514"/>
                  <a:pt x="1751744" y="15058"/>
                </a:cubicBezTo>
                <a:cubicBezTo>
                  <a:pt x="1747934" y="16146"/>
                  <a:pt x="1744669" y="19411"/>
                  <a:pt x="1741404" y="19955"/>
                </a:cubicBezTo>
                <a:cubicBezTo>
                  <a:pt x="1724535" y="21588"/>
                  <a:pt x="1707121" y="23765"/>
                  <a:pt x="1691884" y="11249"/>
                </a:cubicBezTo>
                <a:lnTo>
                  <a:pt x="1685645" y="8369"/>
                </a:lnTo>
                <a:lnTo>
                  <a:pt x="1688620" y="14691"/>
                </a:lnTo>
                <a:cubicBezTo>
                  <a:pt x="1700048" y="32648"/>
                  <a:pt x="1700048" y="50606"/>
                  <a:pt x="1691885" y="69652"/>
                </a:cubicBezTo>
                <a:lnTo>
                  <a:pt x="1684469" y="82365"/>
                </a:lnTo>
                <a:lnTo>
                  <a:pt x="1663044" y="94684"/>
                </a:lnTo>
                <a:cubicBezTo>
                  <a:pt x="1651072" y="101759"/>
                  <a:pt x="1638556" y="100126"/>
                  <a:pt x="1626584" y="96861"/>
                </a:cubicBezTo>
                <a:cubicBezTo>
                  <a:pt x="1608082" y="91419"/>
                  <a:pt x="1595566" y="78359"/>
                  <a:pt x="1590124" y="60401"/>
                </a:cubicBezTo>
                <a:cubicBezTo>
                  <a:pt x="1586315" y="48974"/>
                  <a:pt x="1586315" y="37002"/>
                  <a:pt x="1591757" y="25030"/>
                </a:cubicBezTo>
                <a:close/>
                <a:moveTo>
                  <a:pt x="1460066" y="0"/>
                </a:moveTo>
                <a:lnTo>
                  <a:pt x="1498513" y="0"/>
                </a:lnTo>
                <a:lnTo>
                  <a:pt x="1517204" y="8092"/>
                </a:lnTo>
                <a:cubicBezTo>
                  <a:pt x="1526183" y="17411"/>
                  <a:pt x="1531352" y="30199"/>
                  <a:pt x="1531896" y="45164"/>
                </a:cubicBezTo>
                <a:cubicBezTo>
                  <a:pt x="1532985" y="71829"/>
                  <a:pt x="1505776" y="97949"/>
                  <a:pt x="1479111" y="97949"/>
                </a:cubicBezTo>
                <a:cubicBezTo>
                  <a:pt x="1451902" y="97949"/>
                  <a:pt x="1425238" y="71829"/>
                  <a:pt x="1426870" y="45164"/>
                </a:cubicBezTo>
                <a:cubicBezTo>
                  <a:pt x="1427687" y="29655"/>
                  <a:pt x="1432720" y="16867"/>
                  <a:pt x="1441631" y="7684"/>
                </a:cubicBezTo>
                <a:close/>
                <a:moveTo>
                  <a:pt x="1296749" y="0"/>
                </a:moveTo>
                <a:lnTo>
                  <a:pt x="1335755" y="0"/>
                </a:lnTo>
                <a:lnTo>
                  <a:pt x="1350278" y="10270"/>
                </a:lnTo>
                <a:cubicBezTo>
                  <a:pt x="1359937" y="19861"/>
                  <a:pt x="1366467" y="32649"/>
                  <a:pt x="1365923" y="45165"/>
                </a:cubicBezTo>
                <a:cubicBezTo>
                  <a:pt x="1364291" y="71829"/>
                  <a:pt x="1343068" y="93052"/>
                  <a:pt x="1315315" y="93052"/>
                </a:cubicBezTo>
                <a:cubicBezTo>
                  <a:pt x="1290283" y="95229"/>
                  <a:pt x="1266339" y="69109"/>
                  <a:pt x="1266339" y="44076"/>
                </a:cubicBezTo>
                <a:cubicBezTo>
                  <a:pt x="1266339" y="30472"/>
                  <a:pt x="1273141" y="18228"/>
                  <a:pt x="1282732" y="9317"/>
                </a:cubicBezTo>
                <a:close/>
                <a:moveTo>
                  <a:pt x="1148085" y="0"/>
                </a:moveTo>
                <a:lnTo>
                  <a:pt x="1161802" y="0"/>
                </a:lnTo>
                <a:lnTo>
                  <a:pt x="1169637" y="1315"/>
                </a:lnTo>
                <a:cubicBezTo>
                  <a:pt x="1186447" y="8432"/>
                  <a:pt x="1199813" y="26798"/>
                  <a:pt x="1199405" y="45164"/>
                </a:cubicBezTo>
                <a:cubicBezTo>
                  <a:pt x="1198861" y="69652"/>
                  <a:pt x="1175462" y="93596"/>
                  <a:pt x="1151518" y="91419"/>
                </a:cubicBezTo>
                <a:cubicBezTo>
                  <a:pt x="1123765" y="88154"/>
                  <a:pt x="1109072" y="72373"/>
                  <a:pt x="1105807" y="44620"/>
                </a:cubicBezTo>
                <a:cubicBezTo>
                  <a:pt x="1107440" y="30472"/>
                  <a:pt x="1111657" y="19588"/>
                  <a:pt x="1119139" y="11902"/>
                </a:cubicBezTo>
                <a:close/>
              </a:path>
            </a:pathLst>
          </a:custGeom>
          <a:solidFill>
            <a:srgbClr val="9AA8C5">
              <a:alpha val="17000"/>
            </a:srgbClr>
          </a:solidFill>
          <a:ln w="5432" cap="flat">
            <a:noFill/>
            <a:prstDash val="solid"/>
            <a:miter/>
          </a:ln>
        </p:spPr>
        <p:txBody>
          <a:bodyPr rtlCol="0" anchor="ctr"/>
          <a:lstStyle/>
          <a:p>
            <a:endParaRPr lang="en-IN"/>
          </a:p>
        </p:txBody>
      </p:sp>
    </p:spTree>
    <p:extLst>
      <p:ext uri="{BB962C8B-B14F-4D97-AF65-F5344CB8AC3E}">
        <p14:creationId xmlns:p14="http://schemas.microsoft.com/office/powerpoint/2010/main" val="246561172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2_Header 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31FF101-CEFA-48CA-B63E-4E9BEB513CA0}"/>
              </a:ext>
            </a:extLst>
          </p:cNvPr>
          <p:cNvGraphicFramePr>
            <a:graphicFrameLocks noChangeAspect="1"/>
          </p:cNvGraphicFramePr>
          <p:nvPr>
            <p:custDataLst>
              <p:tags r:id="rId1"/>
            </p:custDataLst>
            <p:extLst>
              <p:ext uri="{D42A27DB-BD31-4B8C-83A1-F6EECF244321}">
                <p14:modId xmlns:p14="http://schemas.microsoft.com/office/powerpoint/2010/main" val="12671750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0" imgH="393" progId="TCLayout.ActiveDocument.1">
                  <p:embed/>
                </p:oleObj>
              </mc:Choice>
              <mc:Fallback>
                <p:oleObj name="think-cell Slide" r:id="rId3" imgW="400" imgH="393" progId="TCLayout.ActiveDocument.1">
                  <p:embed/>
                  <p:pic>
                    <p:nvPicPr>
                      <p:cNvPr id="3" name="Object 2" hidden="1">
                        <a:extLst>
                          <a:ext uri="{FF2B5EF4-FFF2-40B4-BE49-F238E27FC236}">
                            <a16:creationId xmlns:a16="http://schemas.microsoft.com/office/drawing/2014/main" id="{431FF101-CEFA-48CA-B63E-4E9BEB513CA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Title 11">
            <a:extLst>
              <a:ext uri="{FF2B5EF4-FFF2-40B4-BE49-F238E27FC236}">
                <a16:creationId xmlns:a16="http://schemas.microsoft.com/office/drawing/2014/main" id="{42DBC9BA-C3A4-427D-94AA-551C24394CA8}"/>
              </a:ext>
            </a:extLst>
          </p:cNvPr>
          <p:cNvSpPr>
            <a:spLocks noGrp="1"/>
          </p:cNvSpPr>
          <p:nvPr>
            <p:ph type="title" hasCustomPrompt="1"/>
          </p:nvPr>
        </p:nvSpPr>
        <p:spPr>
          <a:xfrm>
            <a:off x="464908" y="185817"/>
            <a:ext cx="10515600" cy="608663"/>
          </a:xfrm>
          <a:prstGeom prst="rect">
            <a:avLst/>
          </a:prstGeom>
        </p:spPr>
        <p:txBody>
          <a:bodyPr vert="horz" lIns="0" tIns="0" rIns="0" bIns="0" rtlCol="0" anchor="ctr">
            <a:normAutofit/>
          </a:bodyPr>
          <a:lstStyle>
            <a:lvl1pPr>
              <a:defRPr lang="en-US" sz="2600" dirty="0">
                <a:solidFill>
                  <a:srgbClr val="334D8B"/>
                </a:solidFill>
              </a:defRPr>
            </a:lvl1pPr>
          </a:lstStyle>
          <a:p>
            <a:pPr lvl="0"/>
            <a:r>
              <a:rPr lang="en-US"/>
              <a:t>Write your Heading here</a:t>
            </a:r>
          </a:p>
        </p:txBody>
      </p:sp>
      <p:sp>
        <p:nvSpPr>
          <p:cNvPr id="11" name="Rectangle: Rounded Corners 29">
            <a:extLst>
              <a:ext uri="{FF2B5EF4-FFF2-40B4-BE49-F238E27FC236}">
                <a16:creationId xmlns:a16="http://schemas.microsoft.com/office/drawing/2014/main" id="{8C410F46-E2D7-C944-BDC6-0A3901C8C478}"/>
              </a:ext>
            </a:extLst>
          </p:cNvPr>
          <p:cNvSpPr/>
          <p:nvPr/>
        </p:nvSpPr>
        <p:spPr>
          <a:xfrm>
            <a:off x="386740" y="1117797"/>
            <a:ext cx="3600000" cy="1575248"/>
          </a:xfrm>
          <a:prstGeom prst="roundRect">
            <a:avLst>
              <a:gd name="adj" fmla="val 5129"/>
            </a:avLst>
          </a:prstGeom>
          <a:solidFill>
            <a:schemeClr val="bg1"/>
          </a:solidFill>
          <a:ln>
            <a:noFill/>
          </a:ln>
          <a:effectLst>
            <a:outerShdw blurRad="88900" sx="102000" sy="102000" algn="ctr"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latin typeface="+mj-lt"/>
            </a:endParaRPr>
          </a:p>
        </p:txBody>
      </p:sp>
      <p:sp>
        <p:nvSpPr>
          <p:cNvPr id="13" name="Rectangle: Rounded Corners 35">
            <a:extLst>
              <a:ext uri="{FF2B5EF4-FFF2-40B4-BE49-F238E27FC236}">
                <a16:creationId xmlns:a16="http://schemas.microsoft.com/office/drawing/2014/main" id="{A5532AA2-C2E0-164D-845E-B28A9D739A66}"/>
              </a:ext>
            </a:extLst>
          </p:cNvPr>
          <p:cNvSpPr/>
          <p:nvPr/>
        </p:nvSpPr>
        <p:spPr>
          <a:xfrm>
            <a:off x="387321" y="1017971"/>
            <a:ext cx="3599418" cy="381068"/>
          </a:xfrm>
          <a:prstGeom prst="roundRect">
            <a:avLst/>
          </a:prstGeom>
          <a:solidFill>
            <a:srgbClr val="33ADAD"/>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914400" rtl="0" eaLnBrk="0" fontAlgn="base" latinLnBrk="0" hangingPunct="0">
              <a:lnSpc>
                <a:spcPct val="100000"/>
              </a:lnSpc>
              <a:spcBef>
                <a:spcPts val="600"/>
              </a:spcBef>
              <a:spcAft>
                <a:spcPct val="0"/>
              </a:spcAft>
              <a:buClrTx/>
              <a:buSzTx/>
              <a:buFontTx/>
              <a:buNone/>
              <a:tabLst/>
              <a:defRPr/>
            </a:pPr>
            <a:r>
              <a:rPr kumimoji="0" lang="en-US" sz="1400" b="1" i="0" u="none" strike="noStrike" kern="1200" cap="none" spc="0" normalizeH="0" baseline="0" noProof="0">
                <a:ln>
                  <a:noFill/>
                </a:ln>
                <a:solidFill>
                  <a:prstClr val="white"/>
                </a:solidFill>
                <a:effectLst/>
                <a:uLnTx/>
                <a:uFillTx/>
                <a:latin typeface="Calibri"/>
                <a:ea typeface="+mn-ea"/>
                <a:cs typeface="+mn-cs"/>
              </a:rPr>
              <a:t> </a:t>
            </a:r>
          </a:p>
        </p:txBody>
      </p:sp>
      <p:sp>
        <p:nvSpPr>
          <p:cNvPr id="23" name="Rectangle: Rounded Corners 29">
            <a:extLst>
              <a:ext uri="{FF2B5EF4-FFF2-40B4-BE49-F238E27FC236}">
                <a16:creationId xmlns:a16="http://schemas.microsoft.com/office/drawing/2014/main" id="{E6C9E6B6-FB6C-0E4A-BE1A-C7969B9B527C}"/>
              </a:ext>
            </a:extLst>
          </p:cNvPr>
          <p:cNvSpPr/>
          <p:nvPr/>
        </p:nvSpPr>
        <p:spPr>
          <a:xfrm>
            <a:off x="386740" y="2933935"/>
            <a:ext cx="3600000" cy="1575249"/>
          </a:xfrm>
          <a:prstGeom prst="roundRect">
            <a:avLst>
              <a:gd name="adj" fmla="val 5129"/>
            </a:avLst>
          </a:prstGeom>
          <a:solidFill>
            <a:schemeClr val="bg1"/>
          </a:solidFill>
          <a:ln>
            <a:noFill/>
          </a:ln>
          <a:effectLst>
            <a:outerShdw blurRad="88900" sx="102000" sy="102000" algn="ctr"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latin typeface="+mj-lt"/>
            </a:endParaRPr>
          </a:p>
        </p:txBody>
      </p:sp>
      <p:sp>
        <p:nvSpPr>
          <p:cNvPr id="24" name="Rectangle: Rounded Corners 35">
            <a:extLst>
              <a:ext uri="{FF2B5EF4-FFF2-40B4-BE49-F238E27FC236}">
                <a16:creationId xmlns:a16="http://schemas.microsoft.com/office/drawing/2014/main" id="{A39DF50D-D815-0944-8CFD-07E410E8DD3C}"/>
              </a:ext>
            </a:extLst>
          </p:cNvPr>
          <p:cNvSpPr/>
          <p:nvPr/>
        </p:nvSpPr>
        <p:spPr>
          <a:xfrm>
            <a:off x="387321" y="2834109"/>
            <a:ext cx="3599418" cy="381068"/>
          </a:xfrm>
          <a:prstGeom prst="roundRect">
            <a:avLst/>
          </a:prstGeom>
          <a:solidFill>
            <a:srgbClr val="33ADAD"/>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914400" rtl="0" eaLnBrk="0" fontAlgn="base" latinLnBrk="0" hangingPunct="0">
              <a:lnSpc>
                <a:spcPct val="100000"/>
              </a:lnSpc>
              <a:spcBef>
                <a:spcPts val="600"/>
              </a:spcBef>
              <a:spcAft>
                <a:spcPct val="0"/>
              </a:spcAft>
              <a:buClrTx/>
              <a:buSzTx/>
              <a:buFontTx/>
              <a:buNone/>
              <a:tabLst/>
              <a:defRPr/>
            </a:pPr>
            <a:r>
              <a:rPr kumimoji="0" lang="en-US" sz="1400" b="1" i="0" u="none" strike="noStrike" kern="1200" cap="none" spc="0" normalizeH="0" baseline="0" noProof="0">
                <a:ln>
                  <a:noFill/>
                </a:ln>
                <a:solidFill>
                  <a:prstClr val="white"/>
                </a:solidFill>
                <a:effectLst/>
                <a:uLnTx/>
                <a:uFillTx/>
                <a:latin typeface="Calibri"/>
                <a:ea typeface="+mn-ea"/>
                <a:cs typeface="+mn-cs"/>
              </a:rPr>
              <a:t> </a:t>
            </a:r>
          </a:p>
        </p:txBody>
      </p:sp>
      <p:sp>
        <p:nvSpPr>
          <p:cNvPr id="32" name="Rectangle: Rounded Corners 29">
            <a:extLst>
              <a:ext uri="{FF2B5EF4-FFF2-40B4-BE49-F238E27FC236}">
                <a16:creationId xmlns:a16="http://schemas.microsoft.com/office/drawing/2014/main" id="{F3BEE0BF-6B05-7341-A5C7-3FB2DBF35D44}"/>
              </a:ext>
            </a:extLst>
          </p:cNvPr>
          <p:cNvSpPr/>
          <p:nvPr/>
        </p:nvSpPr>
        <p:spPr>
          <a:xfrm>
            <a:off x="386740" y="4753095"/>
            <a:ext cx="3600000" cy="1575250"/>
          </a:xfrm>
          <a:prstGeom prst="roundRect">
            <a:avLst>
              <a:gd name="adj" fmla="val 5129"/>
            </a:avLst>
          </a:prstGeom>
          <a:solidFill>
            <a:schemeClr val="bg1"/>
          </a:solidFill>
          <a:ln>
            <a:noFill/>
          </a:ln>
          <a:effectLst>
            <a:outerShdw blurRad="88900" sx="102000" sy="102000" algn="ctr"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latin typeface="+mj-lt"/>
            </a:endParaRPr>
          </a:p>
        </p:txBody>
      </p:sp>
      <p:sp>
        <p:nvSpPr>
          <p:cNvPr id="33" name="Rectangle: Rounded Corners 35">
            <a:extLst>
              <a:ext uri="{FF2B5EF4-FFF2-40B4-BE49-F238E27FC236}">
                <a16:creationId xmlns:a16="http://schemas.microsoft.com/office/drawing/2014/main" id="{22F9CE8F-AA3A-E749-9284-2E5B7394ADB0}"/>
              </a:ext>
            </a:extLst>
          </p:cNvPr>
          <p:cNvSpPr/>
          <p:nvPr/>
        </p:nvSpPr>
        <p:spPr>
          <a:xfrm>
            <a:off x="387321" y="4653269"/>
            <a:ext cx="3599418" cy="381068"/>
          </a:xfrm>
          <a:prstGeom prst="roundRect">
            <a:avLst/>
          </a:prstGeom>
          <a:solidFill>
            <a:srgbClr val="33ADAD"/>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914400" rtl="0" eaLnBrk="0" fontAlgn="base" latinLnBrk="0" hangingPunct="0">
              <a:lnSpc>
                <a:spcPct val="100000"/>
              </a:lnSpc>
              <a:spcBef>
                <a:spcPts val="600"/>
              </a:spcBef>
              <a:spcAft>
                <a:spcPct val="0"/>
              </a:spcAft>
              <a:buClrTx/>
              <a:buSzTx/>
              <a:buFontTx/>
              <a:buNone/>
              <a:tabLst/>
              <a:defRPr/>
            </a:pPr>
            <a:r>
              <a:rPr kumimoji="0" lang="en-US" sz="1400" b="1" i="0" u="none" strike="noStrike" kern="1200" cap="none" spc="0" normalizeH="0" baseline="0" noProof="0">
                <a:ln>
                  <a:noFill/>
                </a:ln>
                <a:solidFill>
                  <a:prstClr val="white"/>
                </a:solidFill>
                <a:effectLst/>
                <a:uLnTx/>
                <a:uFillTx/>
                <a:latin typeface="Calibri"/>
                <a:ea typeface="+mn-ea"/>
                <a:cs typeface="+mn-cs"/>
              </a:rPr>
              <a:t> </a:t>
            </a:r>
          </a:p>
        </p:txBody>
      </p:sp>
      <p:sp>
        <p:nvSpPr>
          <p:cNvPr id="17" name="Rectangle: Rounded Corners 29">
            <a:extLst>
              <a:ext uri="{FF2B5EF4-FFF2-40B4-BE49-F238E27FC236}">
                <a16:creationId xmlns:a16="http://schemas.microsoft.com/office/drawing/2014/main" id="{51DBD123-32D4-E143-8564-DCB9EB381CEB}"/>
              </a:ext>
            </a:extLst>
          </p:cNvPr>
          <p:cNvSpPr/>
          <p:nvPr/>
        </p:nvSpPr>
        <p:spPr>
          <a:xfrm>
            <a:off x="4291388" y="1118162"/>
            <a:ext cx="3600000" cy="1581009"/>
          </a:xfrm>
          <a:prstGeom prst="roundRect">
            <a:avLst>
              <a:gd name="adj" fmla="val 5129"/>
            </a:avLst>
          </a:prstGeom>
          <a:solidFill>
            <a:schemeClr val="bg1"/>
          </a:solidFill>
          <a:ln>
            <a:noFill/>
          </a:ln>
          <a:effectLst>
            <a:outerShdw blurRad="88900" sx="102000" sy="102000" algn="ctr"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latin typeface="+mj-lt"/>
            </a:endParaRPr>
          </a:p>
        </p:txBody>
      </p:sp>
      <p:sp>
        <p:nvSpPr>
          <p:cNvPr id="18" name="Rectangle: Rounded Corners 35">
            <a:extLst>
              <a:ext uri="{FF2B5EF4-FFF2-40B4-BE49-F238E27FC236}">
                <a16:creationId xmlns:a16="http://schemas.microsoft.com/office/drawing/2014/main" id="{29531FA8-410A-F149-84EE-9A526572893F}"/>
              </a:ext>
            </a:extLst>
          </p:cNvPr>
          <p:cNvSpPr/>
          <p:nvPr/>
        </p:nvSpPr>
        <p:spPr>
          <a:xfrm>
            <a:off x="4291969" y="1017971"/>
            <a:ext cx="3599418" cy="382461"/>
          </a:xfrm>
          <a:prstGeom prst="roundRect">
            <a:avLst/>
          </a:prstGeom>
          <a:solidFill>
            <a:srgbClr val="33ADAD"/>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914400" rtl="0" eaLnBrk="0" fontAlgn="base" latinLnBrk="0" hangingPunct="0">
              <a:lnSpc>
                <a:spcPct val="100000"/>
              </a:lnSpc>
              <a:spcBef>
                <a:spcPts val="600"/>
              </a:spcBef>
              <a:spcAft>
                <a:spcPct val="0"/>
              </a:spcAft>
              <a:buClrTx/>
              <a:buSzTx/>
              <a:buFontTx/>
              <a:buNone/>
              <a:tabLst/>
              <a:defRPr/>
            </a:pPr>
            <a:r>
              <a:rPr kumimoji="0" lang="en-US" sz="1400" b="1" i="0" u="none" strike="noStrike" kern="1200" cap="none" spc="0" normalizeH="0" baseline="0" noProof="0">
                <a:ln>
                  <a:noFill/>
                </a:ln>
                <a:solidFill>
                  <a:prstClr val="white"/>
                </a:solidFill>
                <a:effectLst/>
                <a:uLnTx/>
                <a:uFillTx/>
                <a:latin typeface="Calibri"/>
                <a:ea typeface="+mn-ea"/>
                <a:cs typeface="+mn-cs"/>
              </a:rPr>
              <a:t> </a:t>
            </a:r>
          </a:p>
        </p:txBody>
      </p:sp>
      <p:sp>
        <p:nvSpPr>
          <p:cNvPr id="26" name="Rectangle: Rounded Corners 29">
            <a:extLst>
              <a:ext uri="{FF2B5EF4-FFF2-40B4-BE49-F238E27FC236}">
                <a16:creationId xmlns:a16="http://schemas.microsoft.com/office/drawing/2014/main" id="{3C18CCA7-3907-944C-B8C8-272133A1D422}"/>
              </a:ext>
            </a:extLst>
          </p:cNvPr>
          <p:cNvSpPr/>
          <p:nvPr/>
        </p:nvSpPr>
        <p:spPr>
          <a:xfrm>
            <a:off x="4291388" y="2934198"/>
            <a:ext cx="3600000" cy="1579418"/>
          </a:xfrm>
          <a:prstGeom prst="roundRect">
            <a:avLst>
              <a:gd name="adj" fmla="val 5129"/>
            </a:avLst>
          </a:prstGeom>
          <a:solidFill>
            <a:schemeClr val="bg1"/>
          </a:solidFill>
          <a:ln>
            <a:noFill/>
          </a:ln>
          <a:effectLst>
            <a:outerShdw blurRad="88900" sx="102000" sy="102000" algn="ctr"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latin typeface="+mj-lt"/>
            </a:endParaRPr>
          </a:p>
        </p:txBody>
      </p:sp>
      <p:sp>
        <p:nvSpPr>
          <p:cNvPr id="27" name="Rectangle: Rounded Corners 35">
            <a:extLst>
              <a:ext uri="{FF2B5EF4-FFF2-40B4-BE49-F238E27FC236}">
                <a16:creationId xmlns:a16="http://schemas.microsoft.com/office/drawing/2014/main" id="{C00E4067-DA85-7741-AB40-F09BDB24170E}"/>
              </a:ext>
            </a:extLst>
          </p:cNvPr>
          <p:cNvSpPr/>
          <p:nvPr/>
        </p:nvSpPr>
        <p:spPr>
          <a:xfrm>
            <a:off x="4291969" y="2834108"/>
            <a:ext cx="3599418" cy="382076"/>
          </a:xfrm>
          <a:prstGeom prst="roundRect">
            <a:avLst/>
          </a:prstGeom>
          <a:solidFill>
            <a:srgbClr val="33ADAD"/>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914400" rtl="0" eaLnBrk="0" fontAlgn="base" latinLnBrk="0" hangingPunct="0">
              <a:lnSpc>
                <a:spcPct val="100000"/>
              </a:lnSpc>
              <a:spcBef>
                <a:spcPts val="600"/>
              </a:spcBef>
              <a:spcAft>
                <a:spcPct val="0"/>
              </a:spcAft>
              <a:buClrTx/>
              <a:buSzTx/>
              <a:buFontTx/>
              <a:buNone/>
              <a:tabLst/>
              <a:defRPr/>
            </a:pPr>
            <a:r>
              <a:rPr kumimoji="0" lang="en-US" sz="1400" b="1" i="0" u="none" strike="noStrike" kern="1200" cap="none" spc="0" normalizeH="0" baseline="0" noProof="0">
                <a:ln>
                  <a:noFill/>
                </a:ln>
                <a:solidFill>
                  <a:prstClr val="white"/>
                </a:solidFill>
                <a:effectLst/>
                <a:uLnTx/>
                <a:uFillTx/>
                <a:latin typeface="Calibri"/>
                <a:ea typeface="+mn-ea"/>
                <a:cs typeface="+mn-cs"/>
              </a:rPr>
              <a:t> </a:t>
            </a:r>
          </a:p>
        </p:txBody>
      </p:sp>
      <p:sp>
        <p:nvSpPr>
          <p:cNvPr id="35" name="Rectangle: Rounded Corners 29">
            <a:extLst>
              <a:ext uri="{FF2B5EF4-FFF2-40B4-BE49-F238E27FC236}">
                <a16:creationId xmlns:a16="http://schemas.microsoft.com/office/drawing/2014/main" id="{F7CE6502-6F16-F34F-B22A-6F280CE7CFF8}"/>
              </a:ext>
            </a:extLst>
          </p:cNvPr>
          <p:cNvSpPr/>
          <p:nvPr/>
        </p:nvSpPr>
        <p:spPr>
          <a:xfrm>
            <a:off x="4291388" y="4753359"/>
            <a:ext cx="3600000" cy="1579418"/>
          </a:xfrm>
          <a:prstGeom prst="roundRect">
            <a:avLst>
              <a:gd name="adj" fmla="val 5129"/>
            </a:avLst>
          </a:prstGeom>
          <a:solidFill>
            <a:schemeClr val="bg1"/>
          </a:solidFill>
          <a:ln>
            <a:noFill/>
          </a:ln>
          <a:effectLst>
            <a:outerShdw blurRad="88900" sx="102000" sy="102000" algn="ctr"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latin typeface="+mj-lt"/>
            </a:endParaRPr>
          </a:p>
        </p:txBody>
      </p:sp>
      <p:sp>
        <p:nvSpPr>
          <p:cNvPr id="36" name="Rectangle: Rounded Corners 35">
            <a:extLst>
              <a:ext uri="{FF2B5EF4-FFF2-40B4-BE49-F238E27FC236}">
                <a16:creationId xmlns:a16="http://schemas.microsoft.com/office/drawing/2014/main" id="{7B83E41F-E5D2-F346-9966-99FCE27F777E}"/>
              </a:ext>
            </a:extLst>
          </p:cNvPr>
          <p:cNvSpPr/>
          <p:nvPr/>
        </p:nvSpPr>
        <p:spPr>
          <a:xfrm>
            <a:off x="4291969" y="4653269"/>
            <a:ext cx="3599418" cy="382076"/>
          </a:xfrm>
          <a:prstGeom prst="roundRect">
            <a:avLst/>
          </a:prstGeom>
          <a:solidFill>
            <a:srgbClr val="33ADAD"/>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914400" rtl="0" eaLnBrk="0" fontAlgn="base" latinLnBrk="0" hangingPunct="0">
              <a:lnSpc>
                <a:spcPct val="100000"/>
              </a:lnSpc>
              <a:spcBef>
                <a:spcPts val="600"/>
              </a:spcBef>
              <a:spcAft>
                <a:spcPct val="0"/>
              </a:spcAft>
              <a:buClrTx/>
              <a:buSzTx/>
              <a:buFontTx/>
              <a:buNone/>
              <a:tabLst/>
              <a:defRPr/>
            </a:pPr>
            <a:r>
              <a:rPr kumimoji="0" lang="en-US" sz="1400" b="1" i="0" u="none" strike="noStrike" kern="1200" cap="none" spc="0" normalizeH="0" baseline="0" noProof="0">
                <a:ln>
                  <a:noFill/>
                </a:ln>
                <a:solidFill>
                  <a:prstClr val="white"/>
                </a:solidFill>
                <a:effectLst/>
                <a:uLnTx/>
                <a:uFillTx/>
                <a:latin typeface="Calibri"/>
                <a:ea typeface="+mn-ea"/>
                <a:cs typeface="+mn-cs"/>
              </a:rPr>
              <a:t> </a:t>
            </a:r>
          </a:p>
        </p:txBody>
      </p:sp>
      <p:sp>
        <p:nvSpPr>
          <p:cNvPr id="20" name="Rectangle: Rounded Corners 29">
            <a:extLst>
              <a:ext uri="{FF2B5EF4-FFF2-40B4-BE49-F238E27FC236}">
                <a16:creationId xmlns:a16="http://schemas.microsoft.com/office/drawing/2014/main" id="{30AF890F-B4D7-7845-9222-57DB4EBC0CA6}"/>
              </a:ext>
            </a:extLst>
          </p:cNvPr>
          <p:cNvSpPr/>
          <p:nvPr/>
        </p:nvSpPr>
        <p:spPr>
          <a:xfrm>
            <a:off x="8196036" y="1118161"/>
            <a:ext cx="3600000" cy="1581009"/>
          </a:xfrm>
          <a:prstGeom prst="roundRect">
            <a:avLst>
              <a:gd name="adj" fmla="val 5129"/>
            </a:avLst>
          </a:prstGeom>
          <a:solidFill>
            <a:schemeClr val="bg1"/>
          </a:solidFill>
          <a:ln>
            <a:noFill/>
          </a:ln>
          <a:effectLst>
            <a:outerShdw blurRad="88900" sx="102000" sy="102000" algn="ctr"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latin typeface="+mj-lt"/>
            </a:endParaRPr>
          </a:p>
        </p:txBody>
      </p:sp>
      <p:sp>
        <p:nvSpPr>
          <p:cNvPr id="21" name="Rectangle: Rounded Corners 35">
            <a:extLst>
              <a:ext uri="{FF2B5EF4-FFF2-40B4-BE49-F238E27FC236}">
                <a16:creationId xmlns:a16="http://schemas.microsoft.com/office/drawing/2014/main" id="{34484417-E25D-6340-8C2F-1C0EAB64EE47}"/>
              </a:ext>
            </a:extLst>
          </p:cNvPr>
          <p:cNvSpPr/>
          <p:nvPr/>
        </p:nvSpPr>
        <p:spPr>
          <a:xfrm>
            <a:off x="8196617" y="1017970"/>
            <a:ext cx="3599418" cy="382461"/>
          </a:xfrm>
          <a:prstGeom prst="roundRect">
            <a:avLst/>
          </a:prstGeom>
          <a:solidFill>
            <a:srgbClr val="33ADAD"/>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914400" rtl="0" eaLnBrk="0" fontAlgn="base" latinLnBrk="0" hangingPunct="0">
              <a:lnSpc>
                <a:spcPct val="100000"/>
              </a:lnSpc>
              <a:spcBef>
                <a:spcPts val="600"/>
              </a:spcBef>
              <a:spcAft>
                <a:spcPct val="0"/>
              </a:spcAft>
              <a:buClrTx/>
              <a:buSzTx/>
              <a:buFontTx/>
              <a:buNone/>
              <a:tabLst/>
              <a:defRPr/>
            </a:pPr>
            <a:r>
              <a:rPr kumimoji="0" lang="en-US" sz="1400" b="1" i="0" u="none" strike="noStrike" kern="1200" cap="none" spc="0" normalizeH="0" baseline="0" noProof="0">
                <a:ln>
                  <a:noFill/>
                </a:ln>
                <a:solidFill>
                  <a:prstClr val="white"/>
                </a:solidFill>
                <a:effectLst/>
                <a:uLnTx/>
                <a:uFillTx/>
                <a:latin typeface="Calibri"/>
                <a:ea typeface="+mn-ea"/>
                <a:cs typeface="+mn-cs"/>
              </a:rPr>
              <a:t> </a:t>
            </a:r>
          </a:p>
        </p:txBody>
      </p:sp>
      <p:sp>
        <p:nvSpPr>
          <p:cNvPr id="29" name="Rectangle: Rounded Corners 29">
            <a:extLst>
              <a:ext uri="{FF2B5EF4-FFF2-40B4-BE49-F238E27FC236}">
                <a16:creationId xmlns:a16="http://schemas.microsoft.com/office/drawing/2014/main" id="{C16C19C0-F18E-5143-8112-C69DD4032E4B}"/>
              </a:ext>
            </a:extLst>
          </p:cNvPr>
          <p:cNvSpPr/>
          <p:nvPr/>
        </p:nvSpPr>
        <p:spPr>
          <a:xfrm>
            <a:off x="8196036" y="2934298"/>
            <a:ext cx="3600000" cy="1581009"/>
          </a:xfrm>
          <a:prstGeom prst="roundRect">
            <a:avLst>
              <a:gd name="adj" fmla="val 5129"/>
            </a:avLst>
          </a:prstGeom>
          <a:solidFill>
            <a:schemeClr val="bg1"/>
          </a:solidFill>
          <a:ln>
            <a:noFill/>
          </a:ln>
          <a:effectLst>
            <a:outerShdw blurRad="88900" sx="102000" sy="102000" algn="ctr"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latin typeface="+mj-lt"/>
            </a:endParaRPr>
          </a:p>
        </p:txBody>
      </p:sp>
      <p:sp>
        <p:nvSpPr>
          <p:cNvPr id="30" name="Rectangle: Rounded Corners 35">
            <a:extLst>
              <a:ext uri="{FF2B5EF4-FFF2-40B4-BE49-F238E27FC236}">
                <a16:creationId xmlns:a16="http://schemas.microsoft.com/office/drawing/2014/main" id="{8ECF97B2-75D9-8145-ACF7-C67C8849C62D}"/>
              </a:ext>
            </a:extLst>
          </p:cNvPr>
          <p:cNvSpPr/>
          <p:nvPr/>
        </p:nvSpPr>
        <p:spPr>
          <a:xfrm>
            <a:off x="8196617" y="2834107"/>
            <a:ext cx="3599418" cy="382461"/>
          </a:xfrm>
          <a:prstGeom prst="roundRect">
            <a:avLst/>
          </a:prstGeom>
          <a:solidFill>
            <a:srgbClr val="33ADAD"/>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914400" rtl="0" eaLnBrk="0" fontAlgn="base" latinLnBrk="0" hangingPunct="0">
              <a:lnSpc>
                <a:spcPct val="100000"/>
              </a:lnSpc>
              <a:spcBef>
                <a:spcPts val="600"/>
              </a:spcBef>
              <a:spcAft>
                <a:spcPct val="0"/>
              </a:spcAft>
              <a:buClrTx/>
              <a:buSzTx/>
              <a:buFontTx/>
              <a:buNone/>
              <a:tabLst/>
              <a:defRPr/>
            </a:pPr>
            <a:r>
              <a:rPr kumimoji="0" lang="en-US" sz="1400" b="1" i="0" u="none" strike="noStrike" kern="1200" cap="none" spc="0" normalizeH="0" baseline="0" noProof="0">
                <a:ln>
                  <a:noFill/>
                </a:ln>
                <a:solidFill>
                  <a:prstClr val="white"/>
                </a:solidFill>
                <a:effectLst/>
                <a:uLnTx/>
                <a:uFillTx/>
                <a:latin typeface="Calibri"/>
                <a:ea typeface="+mn-ea"/>
                <a:cs typeface="+mn-cs"/>
              </a:rPr>
              <a:t> </a:t>
            </a:r>
          </a:p>
        </p:txBody>
      </p:sp>
      <p:sp>
        <p:nvSpPr>
          <p:cNvPr id="38" name="Rectangle: Rounded Corners 29">
            <a:extLst>
              <a:ext uri="{FF2B5EF4-FFF2-40B4-BE49-F238E27FC236}">
                <a16:creationId xmlns:a16="http://schemas.microsoft.com/office/drawing/2014/main" id="{7AC766BC-D772-8C43-AD71-A8DD8A277FAF}"/>
              </a:ext>
            </a:extLst>
          </p:cNvPr>
          <p:cNvSpPr/>
          <p:nvPr/>
        </p:nvSpPr>
        <p:spPr>
          <a:xfrm>
            <a:off x="8196036" y="4753459"/>
            <a:ext cx="3600000" cy="1581009"/>
          </a:xfrm>
          <a:prstGeom prst="roundRect">
            <a:avLst>
              <a:gd name="adj" fmla="val 5129"/>
            </a:avLst>
          </a:prstGeom>
          <a:solidFill>
            <a:schemeClr val="bg1"/>
          </a:solidFill>
          <a:ln>
            <a:noFill/>
          </a:ln>
          <a:effectLst>
            <a:outerShdw blurRad="88900" sx="102000" sy="102000" algn="ctr"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latin typeface="+mj-lt"/>
            </a:endParaRPr>
          </a:p>
        </p:txBody>
      </p:sp>
      <p:sp>
        <p:nvSpPr>
          <p:cNvPr id="39" name="Rectangle: Rounded Corners 35">
            <a:extLst>
              <a:ext uri="{FF2B5EF4-FFF2-40B4-BE49-F238E27FC236}">
                <a16:creationId xmlns:a16="http://schemas.microsoft.com/office/drawing/2014/main" id="{138E7664-1197-5143-82C8-BE14A33FE833}"/>
              </a:ext>
            </a:extLst>
          </p:cNvPr>
          <p:cNvSpPr/>
          <p:nvPr/>
        </p:nvSpPr>
        <p:spPr>
          <a:xfrm>
            <a:off x="8196617" y="4653268"/>
            <a:ext cx="3599418" cy="382461"/>
          </a:xfrm>
          <a:prstGeom prst="roundRect">
            <a:avLst/>
          </a:prstGeom>
          <a:solidFill>
            <a:srgbClr val="33ADAD"/>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914400" rtl="0" eaLnBrk="0" fontAlgn="base" latinLnBrk="0" hangingPunct="0">
              <a:lnSpc>
                <a:spcPct val="100000"/>
              </a:lnSpc>
              <a:spcBef>
                <a:spcPts val="600"/>
              </a:spcBef>
              <a:spcAft>
                <a:spcPct val="0"/>
              </a:spcAft>
              <a:buClrTx/>
              <a:buSzTx/>
              <a:buFontTx/>
              <a:buNone/>
              <a:tabLst/>
              <a:defRPr/>
            </a:pPr>
            <a:r>
              <a:rPr kumimoji="0" lang="en-US" sz="1400" b="1" i="0" u="none" strike="noStrike" kern="1200" cap="none" spc="0" normalizeH="0" baseline="0" noProof="0">
                <a:ln>
                  <a:noFill/>
                </a:ln>
                <a:solidFill>
                  <a:prstClr val="white"/>
                </a:solidFill>
                <a:effectLst/>
                <a:uLnTx/>
                <a:uFillTx/>
                <a:latin typeface="Calibri"/>
                <a:ea typeface="+mn-ea"/>
                <a:cs typeface="+mn-cs"/>
              </a:rPr>
              <a:t> </a:t>
            </a:r>
          </a:p>
        </p:txBody>
      </p:sp>
      <p:sp>
        <p:nvSpPr>
          <p:cNvPr id="42" name="Text Placeholder 3">
            <a:extLst>
              <a:ext uri="{FF2B5EF4-FFF2-40B4-BE49-F238E27FC236}">
                <a16:creationId xmlns:a16="http://schemas.microsoft.com/office/drawing/2014/main" id="{828AC549-495B-6E4A-9899-4F244D264C7A}"/>
              </a:ext>
            </a:extLst>
          </p:cNvPr>
          <p:cNvSpPr>
            <a:spLocks noGrp="1"/>
          </p:cNvSpPr>
          <p:nvPr>
            <p:ph type="body" sz="half" idx="2" hasCustomPrompt="1"/>
          </p:nvPr>
        </p:nvSpPr>
        <p:spPr>
          <a:xfrm>
            <a:off x="526919" y="1709128"/>
            <a:ext cx="3204000" cy="608663"/>
          </a:xfrm>
          <a:prstGeom prst="rect">
            <a:avLst/>
          </a:prstGeom>
        </p:spPr>
        <p:txBody>
          <a:bodyPr>
            <a:normAutofit/>
          </a:bodyPr>
          <a:lstStyle>
            <a:lvl1pPr marL="0" indent="0">
              <a:buClr>
                <a:schemeClr val="accent3"/>
              </a:buClr>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Write your text here</a:t>
            </a:r>
          </a:p>
        </p:txBody>
      </p:sp>
      <p:sp>
        <p:nvSpPr>
          <p:cNvPr id="43" name="Text Placeholder 3">
            <a:extLst>
              <a:ext uri="{FF2B5EF4-FFF2-40B4-BE49-F238E27FC236}">
                <a16:creationId xmlns:a16="http://schemas.microsoft.com/office/drawing/2014/main" id="{87D619AB-BE9F-6940-8FCB-845DB0E26969}"/>
              </a:ext>
            </a:extLst>
          </p:cNvPr>
          <p:cNvSpPr>
            <a:spLocks noGrp="1"/>
          </p:cNvSpPr>
          <p:nvPr>
            <p:ph type="body" sz="half" idx="10" hasCustomPrompt="1"/>
          </p:nvPr>
        </p:nvSpPr>
        <p:spPr>
          <a:xfrm>
            <a:off x="4435656" y="1709128"/>
            <a:ext cx="3204000" cy="608663"/>
          </a:xfrm>
          <a:prstGeom prst="rect">
            <a:avLst/>
          </a:prstGeom>
        </p:spPr>
        <p:txBody>
          <a:bodyPr>
            <a:normAutofit/>
          </a:bodyPr>
          <a:lstStyle>
            <a:lvl1pPr marL="0" indent="0">
              <a:buClr>
                <a:schemeClr val="accent3"/>
              </a:buClr>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Write your text here</a:t>
            </a:r>
          </a:p>
        </p:txBody>
      </p:sp>
      <p:sp>
        <p:nvSpPr>
          <p:cNvPr id="44" name="Text Placeholder 3">
            <a:extLst>
              <a:ext uri="{FF2B5EF4-FFF2-40B4-BE49-F238E27FC236}">
                <a16:creationId xmlns:a16="http://schemas.microsoft.com/office/drawing/2014/main" id="{E0D9325B-78D2-894C-A139-C98B3B5E3821}"/>
              </a:ext>
            </a:extLst>
          </p:cNvPr>
          <p:cNvSpPr>
            <a:spLocks noGrp="1"/>
          </p:cNvSpPr>
          <p:nvPr>
            <p:ph type="body" sz="half" idx="11" hasCustomPrompt="1"/>
          </p:nvPr>
        </p:nvSpPr>
        <p:spPr>
          <a:xfrm>
            <a:off x="8352327" y="1709128"/>
            <a:ext cx="3204000" cy="608663"/>
          </a:xfrm>
          <a:prstGeom prst="rect">
            <a:avLst/>
          </a:prstGeom>
        </p:spPr>
        <p:txBody>
          <a:bodyPr>
            <a:normAutofit/>
          </a:bodyPr>
          <a:lstStyle>
            <a:lvl1pPr marL="0" indent="0">
              <a:buClr>
                <a:schemeClr val="accent3"/>
              </a:buClr>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Write your text here</a:t>
            </a:r>
          </a:p>
        </p:txBody>
      </p:sp>
      <p:sp>
        <p:nvSpPr>
          <p:cNvPr id="45" name="Text Placeholder 3">
            <a:extLst>
              <a:ext uri="{FF2B5EF4-FFF2-40B4-BE49-F238E27FC236}">
                <a16:creationId xmlns:a16="http://schemas.microsoft.com/office/drawing/2014/main" id="{8C1A8DFE-BB3E-144F-A221-693FCE316B9D}"/>
              </a:ext>
            </a:extLst>
          </p:cNvPr>
          <p:cNvSpPr>
            <a:spLocks noGrp="1"/>
          </p:cNvSpPr>
          <p:nvPr>
            <p:ph type="body" sz="half" idx="12" hasCustomPrompt="1"/>
          </p:nvPr>
        </p:nvSpPr>
        <p:spPr>
          <a:xfrm>
            <a:off x="8352327" y="3617441"/>
            <a:ext cx="3204000" cy="608663"/>
          </a:xfrm>
          <a:prstGeom prst="rect">
            <a:avLst/>
          </a:prstGeom>
        </p:spPr>
        <p:txBody>
          <a:bodyPr>
            <a:normAutofit/>
          </a:bodyPr>
          <a:lstStyle>
            <a:lvl1pPr marL="0" indent="0">
              <a:buClr>
                <a:schemeClr val="accent3"/>
              </a:buClr>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Write your text here</a:t>
            </a:r>
          </a:p>
        </p:txBody>
      </p:sp>
      <p:sp>
        <p:nvSpPr>
          <p:cNvPr id="46" name="Text Placeholder 3">
            <a:extLst>
              <a:ext uri="{FF2B5EF4-FFF2-40B4-BE49-F238E27FC236}">
                <a16:creationId xmlns:a16="http://schemas.microsoft.com/office/drawing/2014/main" id="{C51240F9-4E8B-E744-BA99-04D7AC461CAD}"/>
              </a:ext>
            </a:extLst>
          </p:cNvPr>
          <p:cNvSpPr>
            <a:spLocks noGrp="1"/>
          </p:cNvSpPr>
          <p:nvPr>
            <p:ph type="body" sz="half" idx="13" hasCustomPrompt="1"/>
          </p:nvPr>
        </p:nvSpPr>
        <p:spPr>
          <a:xfrm>
            <a:off x="4435656" y="3617441"/>
            <a:ext cx="3204000" cy="608663"/>
          </a:xfrm>
          <a:prstGeom prst="rect">
            <a:avLst/>
          </a:prstGeom>
        </p:spPr>
        <p:txBody>
          <a:bodyPr>
            <a:normAutofit/>
          </a:bodyPr>
          <a:lstStyle>
            <a:lvl1pPr marL="0" indent="0">
              <a:buClr>
                <a:schemeClr val="accent3"/>
              </a:buClr>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Write your text here</a:t>
            </a:r>
          </a:p>
        </p:txBody>
      </p:sp>
      <p:sp>
        <p:nvSpPr>
          <p:cNvPr id="47" name="Text Placeholder 3">
            <a:extLst>
              <a:ext uri="{FF2B5EF4-FFF2-40B4-BE49-F238E27FC236}">
                <a16:creationId xmlns:a16="http://schemas.microsoft.com/office/drawing/2014/main" id="{30046D0C-CA33-BB4D-B1FC-48386405C5E0}"/>
              </a:ext>
            </a:extLst>
          </p:cNvPr>
          <p:cNvSpPr>
            <a:spLocks noGrp="1"/>
          </p:cNvSpPr>
          <p:nvPr>
            <p:ph type="body" sz="half" idx="14" hasCustomPrompt="1"/>
          </p:nvPr>
        </p:nvSpPr>
        <p:spPr>
          <a:xfrm>
            <a:off x="526919" y="3617441"/>
            <a:ext cx="3204000" cy="608663"/>
          </a:xfrm>
          <a:prstGeom prst="rect">
            <a:avLst/>
          </a:prstGeom>
        </p:spPr>
        <p:txBody>
          <a:bodyPr>
            <a:normAutofit/>
          </a:bodyPr>
          <a:lstStyle>
            <a:lvl1pPr marL="0" indent="0">
              <a:buClr>
                <a:schemeClr val="accent3"/>
              </a:buClr>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Write your text here</a:t>
            </a:r>
          </a:p>
        </p:txBody>
      </p:sp>
      <p:sp>
        <p:nvSpPr>
          <p:cNvPr id="48" name="Text Placeholder 3">
            <a:extLst>
              <a:ext uri="{FF2B5EF4-FFF2-40B4-BE49-F238E27FC236}">
                <a16:creationId xmlns:a16="http://schemas.microsoft.com/office/drawing/2014/main" id="{01DC8254-051B-E34A-871D-6260B285E8EC}"/>
              </a:ext>
            </a:extLst>
          </p:cNvPr>
          <p:cNvSpPr>
            <a:spLocks noGrp="1"/>
          </p:cNvSpPr>
          <p:nvPr>
            <p:ph type="body" sz="half" idx="15" hasCustomPrompt="1"/>
          </p:nvPr>
        </p:nvSpPr>
        <p:spPr>
          <a:xfrm>
            <a:off x="526919" y="5167947"/>
            <a:ext cx="3204000" cy="608663"/>
          </a:xfrm>
          <a:prstGeom prst="rect">
            <a:avLst/>
          </a:prstGeom>
        </p:spPr>
        <p:txBody>
          <a:bodyPr>
            <a:normAutofit/>
          </a:bodyPr>
          <a:lstStyle>
            <a:lvl1pPr marL="0" indent="0">
              <a:buClr>
                <a:schemeClr val="accent3"/>
              </a:buClr>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Write your text here</a:t>
            </a:r>
          </a:p>
        </p:txBody>
      </p:sp>
      <p:sp>
        <p:nvSpPr>
          <p:cNvPr id="49" name="Text Placeholder 3">
            <a:extLst>
              <a:ext uri="{FF2B5EF4-FFF2-40B4-BE49-F238E27FC236}">
                <a16:creationId xmlns:a16="http://schemas.microsoft.com/office/drawing/2014/main" id="{B7319033-C103-9E4B-9D90-C98A67C41B22}"/>
              </a:ext>
            </a:extLst>
          </p:cNvPr>
          <p:cNvSpPr>
            <a:spLocks noGrp="1"/>
          </p:cNvSpPr>
          <p:nvPr>
            <p:ph type="body" sz="half" idx="16" hasCustomPrompt="1"/>
          </p:nvPr>
        </p:nvSpPr>
        <p:spPr>
          <a:xfrm>
            <a:off x="4435656" y="5167947"/>
            <a:ext cx="3204000" cy="608663"/>
          </a:xfrm>
          <a:prstGeom prst="rect">
            <a:avLst/>
          </a:prstGeom>
        </p:spPr>
        <p:txBody>
          <a:bodyPr>
            <a:normAutofit/>
          </a:bodyPr>
          <a:lstStyle>
            <a:lvl1pPr marL="0" indent="0">
              <a:buClr>
                <a:schemeClr val="accent3"/>
              </a:buClr>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Write your text here</a:t>
            </a:r>
          </a:p>
        </p:txBody>
      </p:sp>
      <p:sp>
        <p:nvSpPr>
          <p:cNvPr id="50" name="Text Placeholder 3">
            <a:extLst>
              <a:ext uri="{FF2B5EF4-FFF2-40B4-BE49-F238E27FC236}">
                <a16:creationId xmlns:a16="http://schemas.microsoft.com/office/drawing/2014/main" id="{0E0B0921-86C9-FD47-8ED8-97F4D7C9E0E0}"/>
              </a:ext>
            </a:extLst>
          </p:cNvPr>
          <p:cNvSpPr>
            <a:spLocks noGrp="1"/>
          </p:cNvSpPr>
          <p:nvPr>
            <p:ph type="body" sz="half" idx="17" hasCustomPrompt="1"/>
          </p:nvPr>
        </p:nvSpPr>
        <p:spPr>
          <a:xfrm>
            <a:off x="8352327" y="5167947"/>
            <a:ext cx="3204000" cy="608663"/>
          </a:xfrm>
          <a:prstGeom prst="rect">
            <a:avLst/>
          </a:prstGeom>
        </p:spPr>
        <p:txBody>
          <a:bodyPr>
            <a:normAutofit/>
          </a:bodyPr>
          <a:lstStyle>
            <a:lvl1pPr marL="0" indent="0">
              <a:buClr>
                <a:schemeClr val="accent3"/>
              </a:buClr>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Write your text here</a:t>
            </a:r>
          </a:p>
        </p:txBody>
      </p:sp>
      <p:sp>
        <p:nvSpPr>
          <p:cNvPr id="53" name="Text Placeholder 3">
            <a:extLst>
              <a:ext uri="{FF2B5EF4-FFF2-40B4-BE49-F238E27FC236}">
                <a16:creationId xmlns:a16="http://schemas.microsoft.com/office/drawing/2014/main" id="{EACD705A-DE6D-144C-BE97-D7856FF855C4}"/>
              </a:ext>
            </a:extLst>
          </p:cNvPr>
          <p:cNvSpPr>
            <a:spLocks noGrp="1"/>
          </p:cNvSpPr>
          <p:nvPr>
            <p:ph type="body" sz="half" idx="33" hasCustomPrompt="1"/>
          </p:nvPr>
        </p:nvSpPr>
        <p:spPr>
          <a:xfrm>
            <a:off x="526919" y="1076418"/>
            <a:ext cx="3204000" cy="269234"/>
          </a:xfrm>
          <a:prstGeom prst="rect">
            <a:avLst/>
          </a:prstGeom>
        </p:spPr>
        <p:txBody>
          <a:bodyPr>
            <a:noAutofit/>
          </a:bodyPr>
          <a:lstStyle>
            <a:lvl1pPr marL="0" indent="0">
              <a:buNone/>
              <a:defRPr sz="1200" b="1">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Heading</a:t>
            </a:r>
          </a:p>
        </p:txBody>
      </p:sp>
      <p:sp>
        <p:nvSpPr>
          <p:cNvPr id="54" name="Text Placeholder 3">
            <a:extLst>
              <a:ext uri="{FF2B5EF4-FFF2-40B4-BE49-F238E27FC236}">
                <a16:creationId xmlns:a16="http://schemas.microsoft.com/office/drawing/2014/main" id="{E1ADBD76-CA33-644D-B93D-19D551B08C86}"/>
              </a:ext>
            </a:extLst>
          </p:cNvPr>
          <p:cNvSpPr>
            <a:spLocks noGrp="1"/>
          </p:cNvSpPr>
          <p:nvPr>
            <p:ph type="body" sz="half" idx="34" hasCustomPrompt="1"/>
          </p:nvPr>
        </p:nvSpPr>
        <p:spPr>
          <a:xfrm>
            <a:off x="8352327" y="1097856"/>
            <a:ext cx="3204000" cy="269234"/>
          </a:xfrm>
          <a:prstGeom prst="rect">
            <a:avLst/>
          </a:prstGeom>
        </p:spPr>
        <p:txBody>
          <a:bodyPr>
            <a:noAutofit/>
          </a:bodyPr>
          <a:lstStyle>
            <a:lvl1pPr marL="0" indent="0">
              <a:buNone/>
              <a:defRPr sz="1200" b="1">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Heading</a:t>
            </a:r>
          </a:p>
        </p:txBody>
      </p:sp>
      <p:sp>
        <p:nvSpPr>
          <p:cNvPr id="55" name="Text Placeholder 3">
            <a:extLst>
              <a:ext uri="{FF2B5EF4-FFF2-40B4-BE49-F238E27FC236}">
                <a16:creationId xmlns:a16="http://schemas.microsoft.com/office/drawing/2014/main" id="{A3285D86-0BF6-124B-866E-754A4675948C}"/>
              </a:ext>
            </a:extLst>
          </p:cNvPr>
          <p:cNvSpPr>
            <a:spLocks noGrp="1"/>
          </p:cNvSpPr>
          <p:nvPr>
            <p:ph type="body" sz="half" idx="35" hasCustomPrompt="1"/>
          </p:nvPr>
        </p:nvSpPr>
        <p:spPr>
          <a:xfrm>
            <a:off x="4435656" y="1058099"/>
            <a:ext cx="3204000" cy="269234"/>
          </a:xfrm>
          <a:prstGeom prst="rect">
            <a:avLst/>
          </a:prstGeom>
        </p:spPr>
        <p:txBody>
          <a:bodyPr>
            <a:noAutofit/>
          </a:bodyPr>
          <a:lstStyle>
            <a:lvl1pPr marL="0" indent="0">
              <a:buNone/>
              <a:defRPr sz="1200" b="1">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Heading</a:t>
            </a:r>
          </a:p>
        </p:txBody>
      </p:sp>
      <p:sp>
        <p:nvSpPr>
          <p:cNvPr id="56" name="Text Placeholder 3">
            <a:extLst>
              <a:ext uri="{FF2B5EF4-FFF2-40B4-BE49-F238E27FC236}">
                <a16:creationId xmlns:a16="http://schemas.microsoft.com/office/drawing/2014/main" id="{35AB8324-29F5-BC44-BEE3-96CDE9BD1DDD}"/>
              </a:ext>
            </a:extLst>
          </p:cNvPr>
          <p:cNvSpPr>
            <a:spLocks noGrp="1"/>
          </p:cNvSpPr>
          <p:nvPr>
            <p:ph type="body" sz="half" idx="36" hasCustomPrompt="1"/>
          </p:nvPr>
        </p:nvSpPr>
        <p:spPr>
          <a:xfrm>
            <a:off x="526919" y="2920030"/>
            <a:ext cx="3204000" cy="269234"/>
          </a:xfrm>
          <a:prstGeom prst="rect">
            <a:avLst/>
          </a:prstGeom>
        </p:spPr>
        <p:txBody>
          <a:bodyPr>
            <a:noAutofit/>
          </a:bodyPr>
          <a:lstStyle>
            <a:lvl1pPr marL="0" indent="0">
              <a:buNone/>
              <a:defRPr sz="1200" b="1">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Heading</a:t>
            </a:r>
          </a:p>
        </p:txBody>
      </p:sp>
      <p:sp>
        <p:nvSpPr>
          <p:cNvPr id="57" name="Text Placeholder 3">
            <a:extLst>
              <a:ext uri="{FF2B5EF4-FFF2-40B4-BE49-F238E27FC236}">
                <a16:creationId xmlns:a16="http://schemas.microsoft.com/office/drawing/2014/main" id="{1DA4FB0D-AB79-6B43-B05F-8ADA3973B61C}"/>
              </a:ext>
            </a:extLst>
          </p:cNvPr>
          <p:cNvSpPr>
            <a:spLocks noGrp="1"/>
          </p:cNvSpPr>
          <p:nvPr>
            <p:ph type="body" sz="half" idx="37" hasCustomPrompt="1"/>
          </p:nvPr>
        </p:nvSpPr>
        <p:spPr>
          <a:xfrm>
            <a:off x="8352327" y="2920030"/>
            <a:ext cx="3204000" cy="269234"/>
          </a:xfrm>
          <a:prstGeom prst="rect">
            <a:avLst/>
          </a:prstGeom>
        </p:spPr>
        <p:txBody>
          <a:bodyPr>
            <a:noAutofit/>
          </a:bodyPr>
          <a:lstStyle>
            <a:lvl1pPr marL="0" indent="0">
              <a:buNone/>
              <a:defRPr sz="1200" b="1">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Heading</a:t>
            </a:r>
          </a:p>
        </p:txBody>
      </p:sp>
      <p:sp>
        <p:nvSpPr>
          <p:cNvPr id="58" name="Text Placeholder 3">
            <a:extLst>
              <a:ext uri="{FF2B5EF4-FFF2-40B4-BE49-F238E27FC236}">
                <a16:creationId xmlns:a16="http://schemas.microsoft.com/office/drawing/2014/main" id="{DCD5C689-4716-DA44-AA01-00C3DADC7732}"/>
              </a:ext>
            </a:extLst>
          </p:cNvPr>
          <p:cNvSpPr>
            <a:spLocks noGrp="1"/>
          </p:cNvSpPr>
          <p:nvPr>
            <p:ph type="body" sz="half" idx="38" hasCustomPrompt="1"/>
          </p:nvPr>
        </p:nvSpPr>
        <p:spPr>
          <a:xfrm>
            <a:off x="4435656" y="2920030"/>
            <a:ext cx="3204000" cy="269234"/>
          </a:xfrm>
          <a:prstGeom prst="rect">
            <a:avLst/>
          </a:prstGeom>
        </p:spPr>
        <p:txBody>
          <a:bodyPr>
            <a:noAutofit/>
          </a:bodyPr>
          <a:lstStyle>
            <a:lvl1pPr marL="0" indent="0">
              <a:buNone/>
              <a:defRPr sz="1200" b="1">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Heading</a:t>
            </a:r>
          </a:p>
        </p:txBody>
      </p:sp>
      <p:sp>
        <p:nvSpPr>
          <p:cNvPr id="59" name="Text Placeholder 3">
            <a:extLst>
              <a:ext uri="{FF2B5EF4-FFF2-40B4-BE49-F238E27FC236}">
                <a16:creationId xmlns:a16="http://schemas.microsoft.com/office/drawing/2014/main" id="{ADBC0B6F-F237-6C40-A3E6-79772F53147E}"/>
              </a:ext>
            </a:extLst>
          </p:cNvPr>
          <p:cNvSpPr>
            <a:spLocks noGrp="1"/>
          </p:cNvSpPr>
          <p:nvPr>
            <p:ph type="body" sz="half" idx="39" hasCustomPrompt="1"/>
          </p:nvPr>
        </p:nvSpPr>
        <p:spPr>
          <a:xfrm>
            <a:off x="526919" y="4709075"/>
            <a:ext cx="3204000" cy="269234"/>
          </a:xfrm>
          <a:prstGeom prst="rect">
            <a:avLst/>
          </a:prstGeom>
        </p:spPr>
        <p:txBody>
          <a:bodyPr>
            <a:noAutofit/>
          </a:bodyPr>
          <a:lstStyle>
            <a:lvl1pPr marL="0" indent="0">
              <a:buNone/>
              <a:defRPr sz="1200" b="1">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Heading</a:t>
            </a:r>
          </a:p>
        </p:txBody>
      </p:sp>
      <p:sp>
        <p:nvSpPr>
          <p:cNvPr id="60" name="Text Placeholder 3">
            <a:extLst>
              <a:ext uri="{FF2B5EF4-FFF2-40B4-BE49-F238E27FC236}">
                <a16:creationId xmlns:a16="http://schemas.microsoft.com/office/drawing/2014/main" id="{F4500620-955E-7245-8689-4711EE855E1A}"/>
              </a:ext>
            </a:extLst>
          </p:cNvPr>
          <p:cNvSpPr>
            <a:spLocks noGrp="1"/>
          </p:cNvSpPr>
          <p:nvPr>
            <p:ph type="body" sz="half" idx="40" hasCustomPrompt="1"/>
          </p:nvPr>
        </p:nvSpPr>
        <p:spPr>
          <a:xfrm>
            <a:off x="8352327" y="4709075"/>
            <a:ext cx="3204000" cy="269234"/>
          </a:xfrm>
          <a:prstGeom prst="rect">
            <a:avLst/>
          </a:prstGeom>
        </p:spPr>
        <p:txBody>
          <a:bodyPr>
            <a:noAutofit/>
          </a:bodyPr>
          <a:lstStyle>
            <a:lvl1pPr marL="0" indent="0">
              <a:buNone/>
              <a:defRPr sz="1200" b="1">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Heading</a:t>
            </a:r>
          </a:p>
        </p:txBody>
      </p:sp>
      <p:sp>
        <p:nvSpPr>
          <p:cNvPr id="61" name="Text Placeholder 3">
            <a:extLst>
              <a:ext uri="{FF2B5EF4-FFF2-40B4-BE49-F238E27FC236}">
                <a16:creationId xmlns:a16="http://schemas.microsoft.com/office/drawing/2014/main" id="{EC91577B-8CC5-2C4C-97F7-1E2AD8770F46}"/>
              </a:ext>
            </a:extLst>
          </p:cNvPr>
          <p:cNvSpPr>
            <a:spLocks noGrp="1"/>
          </p:cNvSpPr>
          <p:nvPr>
            <p:ph type="body" sz="half" idx="41" hasCustomPrompt="1"/>
          </p:nvPr>
        </p:nvSpPr>
        <p:spPr>
          <a:xfrm>
            <a:off x="4435656" y="4709075"/>
            <a:ext cx="3204000" cy="269234"/>
          </a:xfrm>
          <a:prstGeom prst="rect">
            <a:avLst/>
          </a:prstGeom>
        </p:spPr>
        <p:txBody>
          <a:bodyPr>
            <a:noAutofit/>
          </a:bodyPr>
          <a:lstStyle>
            <a:lvl1pPr marL="0" indent="0">
              <a:buNone/>
              <a:defRPr sz="1200" b="1">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Heading</a:t>
            </a:r>
          </a:p>
        </p:txBody>
      </p:sp>
      <p:sp>
        <p:nvSpPr>
          <p:cNvPr id="63" name="Slide Number Placeholder 5">
            <a:extLst>
              <a:ext uri="{FF2B5EF4-FFF2-40B4-BE49-F238E27FC236}">
                <a16:creationId xmlns:a16="http://schemas.microsoft.com/office/drawing/2014/main" id="{9D268CE0-2846-408A-A59D-DB1EBB3679AD}"/>
              </a:ext>
            </a:extLst>
          </p:cNvPr>
          <p:cNvSpPr txBox="1">
            <a:spLocks/>
          </p:cNvSpPr>
          <p:nvPr userDrawn="1"/>
        </p:nvSpPr>
        <p:spPr>
          <a:xfrm>
            <a:off x="11373135" y="6506785"/>
            <a:ext cx="609600" cy="261610"/>
          </a:xfrm>
          <a:prstGeom prst="rect">
            <a:avLst/>
          </a:prstGeom>
          <a:noFill/>
        </p:spPr>
        <p:txBody>
          <a:bodyPr>
            <a:spAutoFit/>
          </a:bodyPr>
          <a:lstStyle>
            <a:defPPr>
              <a:defRPr lang="en-US"/>
            </a:defPPr>
            <a:lvl1pPr marL="0" algn="ctr" defTabSz="914400" rtl="0" eaLnBrk="1" latinLnBrk="0" hangingPunct="1">
              <a:defRPr lang="en-US" sz="1800" kern="1200" smtClean="0">
                <a:solidFill>
                  <a:schemeClr val="bg1"/>
                </a:solidFill>
                <a:latin typeface="Tahoma" pitchFamily="34" charset="0"/>
                <a:ea typeface="Tahoma" pitchFamily="34" charset="0"/>
                <a:cs typeface="Tahoma"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fld id="{3413C1ED-5599-4BB6-878F-244F2E6B8E4A}" type="slidenum">
              <a:rPr lang="en-IN" sz="1100">
                <a:solidFill>
                  <a:prstClr val="black">
                    <a:lumMod val="50000"/>
                    <a:lumOff val="50000"/>
                  </a:prstClr>
                </a:solidFill>
              </a:rPr>
              <a:pPr fontAlgn="auto">
                <a:spcBef>
                  <a:spcPts val="0"/>
                </a:spcBef>
                <a:spcAft>
                  <a:spcPts val="0"/>
                </a:spcAft>
                <a:defRPr/>
              </a:pPr>
              <a:t>‹#›</a:t>
            </a:fld>
            <a:endParaRPr lang="en-IN" sz="1100">
              <a:solidFill>
                <a:prstClr val="black">
                  <a:lumMod val="50000"/>
                  <a:lumOff val="50000"/>
                </a:prstClr>
              </a:solidFill>
            </a:endParaRPr>
          </a:p>
        </p:txBody>
      </p:sp>
      <p:pic>
        <p:nvPicPr>
          <p:cNvPr id="64" name="Picture 63">
            <a:extLst>
              <a:ext uri="{FF2B5EF4-FFF2-40B4-BE49-F238E27FC236}">
                <a16:creationId xmlns:a16="http://schemas.microsoft.com/office/drawing/2014/main" id="{6952F44E-6242-4E2B-BBC2-D718505B02DD}"/>
              </a:ext>
            </a:extLst>
          </p:cNvPr>
          <p:cNvPicPr>
            <a:picLocks noChangeAspect="1"/>
          </p:cNvPicPr>
          <p:nvPr userDrawn="1"/>
        </p:nvPicPr>
        <p:blipFill>
          <a:blip r:embed="rId5"/>
          <a:stretch>
            <a:fillRect/>
          </a:stretch>
        </p:blipFill>
        <p:spPr>
          <a:xfrm>
            <a:off x="464908" y="6506785"/>
            <a:ext cx="1148260" cy="138938"/>
          </a:xfrm>
          <a:prstGeom prst="rect">
            <a:avLst/>
          </a:prstGeom>
        </p:spPr>
      </p:pic>
      <p:sp>
        <p:nvSpPr>
          <p:cNvPr id="65" name="Freeform: Shape 14">
            <a:extLst>
              <a:ext uri="{FF2B5EF4-FFF2-40B4-BE49-F238E27FC236}">
                <a16:creationId xmlns:a16="http://schemas.microsoft.com/office/drawing/2014/main" id="{38DCAF16-2DA8-463A-BCF7-99955D068075}"/>
              </a:ext>
            </a:extLst>
          </p:cNvPr>
          <p:cNvSpPr/>
          <p:nvPr userDrawn="1"/>
        </p:nvSpPr>
        <p:spPr>
          <a:xfrm rot="5400000" flipH="1">
            <a:off x="10650813" y="-6388"/>
            <a:ext cx="1528833" cy="1553542"/>
          </a:xfrm>
          <a:custGeom>
            <a:avLst/>
            <a:gdLst>
              <a:gd name="connsiteX0" fmla="*/ 2051041 w 2051041"/>
              <a:gd name="connsiteY0" fmla="*/ 2080382 h 2084191"/>
              <a:gd name="connsiteX1" fmla="*/ 2051041 w 2051041"/>
              <a:gd name="connsiteY1" fmla="*/ 2083967 h 2084191"/>
              <a:gd name="connsiteX2" fmla="*/ 2047231 w 2051041"/>
              <a:gd name="connsiteY2" fmla="*/ 2084191 h 2084191"/>
              <a:gd name="connsiteX3" fmla="*/ 2045599 w 2051041"/>
              <a:gd name="connsiteY3" fmla="*/ 2081470 h 2084191"/>
              <a:gd name="connsiteX4" fmla="*/ 1478568 w 2051041"/>
              <a:gd name="connsiteY4" fmla="*/ 1997668 h 2084191"/>
              <a:gd name="connsiteX5" fmla="*/ 1484554 w 2051041"/>
              <a:gd name="connsiteY5" fmla="*/ 2004743 h 2084191"/>
              <a:gd name="connsiteX6" fmla="*/ 1478568 w 2051041"/>
              <a:gd name="connsiteY6" fmla="*/ 2009096 h 2084191"/>
              <a:gd name="connsiteX7" fmla="*/ 1473126 w 2051041"/>
              <a:gd name="connsiteY7" fmla="*/ 2003654 h 2084191"/>
              <a:gd name="connsiteX8" fmla="*/ 1478568 w 2051041"/>
              <a:gd name="connsiteY8" fmla="*/ 1997668 h 2084191"/>
              <a:gd name="connsiteX9" fmla="*/ 1641820 w 2051041"/>
              <a:gd name="connsiteY9" fmla="*/ 1993859 h 2084191"/>
              <a:gd name="connsiteX10" fmla="*/ 1652160 w 2051041"/>
              <a:gd name="connsiteY10" fmla="*/ 2003654 h 2084191"/>
              <a:gd name="connsiteX11" fmla="*/ 1641820 w 2051041"/>
              <a:gd name="connsiteY11" fmla="*/ 2013449 h 2084191"/>
              <a:gd name="connsiteX12" fmla="*/ 1632025 w 2051041"/>
              <a:gd name="connsiteY12" fmla="*/ 2003654 h 2084191"/>
              <a:gd name="connsiteX13" fmla="*/ 1641820 w 2051041"/>
              <a:gd name="connsiteY13" fmla="*/ 1993859 h 2084191"/>
              <a:gd name="connsiteX14" fmla="*/ 1969414 w 2051041"/>
              <a:gd name="connsiteY14" fmla="*/ 1992226 h 2084191"/>
              <a:gd name="connsiteX15" fmla="*/ 1979753 w 2051041"/>
              <a:gd name="connsiteY15" fmla="*/ 2003654 h 2084191"/>
              <a:gd name="connsiteX16" fmla="*/ 1968325 w 2051041"/>
              <a:gd name="connsiteY16" fmla="*/ 2014537 h 2084191"/>
              <a:gd name="connsiteX17" fmla="*/ 1957986 w 2051041"/>
              <a:gd name="connsiteY17" fmla="*/ 2003110 h 2084191"/>
              <a:gd name="connsiteX18" fmla="*/ 1969414 w 2051041"/>
              <a:gd name="connsiteY18" fmla="*/ 1992226 h 2084191"/>
              <a:gd name="connsiteX19" fmla="*/ 1805073 w 2051041"/>
              <a:gd name="connsiteY19" fmla="*/ 1992226 h 2084191"/>
              <a:gd name="connsiteX20" fmla="*/ 1815956 w 2051041"/>
              <a:gd name="connsiteY20" fmla="*/ 2002565 h 2084191"/>
              <a:gd name="connsiteX21" fmla="*/ 1805073 w 2051041"/>
              <a:gd name="connsiteY21" fmla="*/ 2014537 h 2084191"/>
              <a:gd name="connsiteX22" fmla="*/ 1794189 w 2051041"/>
              <a:gd name="connsiteY22" fmla="*/ 2004198 h 2084191"/>
              <a:gd name="connsiteX23" fmla="*/ 1805073 w 2051041"/>
              <a:gd name="connsiteY23" fmla="*/ 1992226 h 2084191"/>
              <a:gd name="connsiteX24" fmla="*/ 1234233 w 2051041"/>
              <a:gd name="connsiteY24" fmla="*/ 1916042 h 2084191"/>
              <a:gd name="connsiteX25" fmla="*/ 1240219 w 2051041"/>
              <a:gd name="connsiteY25" fmla="*/ 1923660 h 2084191"/>
              <a:gd name="connsiteX26" fmla="*/ 1236953 w 2051041"/>
              <a:gd name="connsiteY26" fmla="*/ 1926381 h 2084191"/>
              <a:gd name="connsiteX27" fmla="*/ 1229335 w 2051041"/>
              <a:gd name="connsiteY27" fmla="*/ 1918762 h 2084191"/>
              <a:gd name="connsiteX28" fmla="*/ 1234233 w 2051041"/>
              <a:gd name="connsiteY28" fmla="*/ 1916042 h 2084191"/>
              <a:gd name="connsiteX29" fmla="*/ 1397486 w 2051041"/>
              <a:gd name="connsiteY29" fmla="*/ 1911144 h 2084191"/>
              <a:gd name="connsiteX30" fmla="*/ 1408369 w 2051041"/>
              <a:gd name="connsiteY30" fmla="*/ 1921483 h 2084191"/>
              <a:gd name="connsiteX31" fmla="*/ 1399118 w 2051041"/>
              <a:gd name="connsiteY31" fmla="*/ 1931823 h 2084191"/>
              <a:gd name="connsiteX32" fmla="*/ 1387146 w 2051041"/>
              <a:gd name="connsiteY32" fmla="*/ 1922028 h 2084191"/>
              <a:gd name="connsiteX33" fmla="*/ 1397486 w 2051041"/>
              <a:gd name="connsiteY33" fmla="*/ 1911144 h 2084191"/>
              <a:gd name="connsiteX34" fmla="*/ 1560194 w 2051041"/>
              <a:gd name="connsiteY34" fmla="*/ 1906790 h 2084191"/>
              <a:gd name="connsiteX35" fmla="*/ 1574342 w 2051041"/>
              <a:gd name="connsiteY35" fmla="*/ 1921482 h 2084191"/>
              <a:gd name="connsiteX36" fmla="*/ 1560738 w 2051041"/>
              <a:gd name="connsiteY36" fmla="*/ 1935631 h 2084191"/>
              <a:gd name="connsiteX37" fmla="*/ 1547134 w 2051041"/>
              <a:gd name="connsiteY37" fmla="*/ 1922027 h 2084191"/>
              <a:gd name="connsiteX38" fmla="*/ 1560194 w 2051041"/>
              <a:gd name="connsiteY38" fmla="*/ 1906790 h 2084191"/>
              <a:gd name="connsiteX39" fmla="*/ 2049952 w 2051041"/>
              <a:gd name="connsiteY39" fmla="*/ 1905702 h 2084191"/>
              <a:gd name="connsiteX40" fmla="*/ 2051041 w 2051041"/>
              <a:gd name="connsiteY40" fmla="*/ 1906027 h 2084191"/>
              <a:gd name="connsiteX41" fmla="*/ 2051041 w 2051041"/>
              <a:gd name="connsiteY41" fmla="*/ 1938133 h 2084191"/>
              <a:gd name="connsiteX42" fmla="*/ 2050496 w 2051041"/>
              <a:gd name="connsiteY42" fmla="*/ 1938353 h 2084191"/>
              <a:gd name="connsiteX43" fmla="*/ 2034171 w 2051041"/>
              <a:gd name="connsiteY43" fmla="*/ 1922572 h 2084191"/>
              <a:gd name="connsiteX44" fmla="*/ 2049952 w 2051041"/>
              <a:gd name="connsiteY44" fmla="*/ 1905702 h 2084191"/>
              <a:gd name="connsiteX45" fmla="*/ 1723447 w 2051041"/>
              <a:gd name="connsiteY45" fmla="*/ 1905702 h 2084191"/>
              <a:gd name="connsiteX46" fmla="*/ 1739772 w 2051041"/>
              <a:gd name="connsiteY46" fmla="*/ 1920939 h 2084191"/>
              <a:gd name="connsiteX47" fmla="*/ 1724535 w 2051041"/>
              <a:gd name="connsiteY47" fmla="*/ 1937264 h 2084191"/>
              <a:gd name="connsiteX48" fmla="*/ 1708210 w 2051041"/>
              <a:gd name="connsiteY48" fmla="*/ 1922027 h 2084191"/>
              <a:gd name="connsiteX49" fmla="*/ 1723447 w 2051041"/>
              <a:gd name="connsiteY49" fmla="*/ 1905702 h 2084191"/>
              <a:gd name="connsiteX50" fmla="*/ 1887787 w 2051041"/>
              <a:gd name="connsiteY50" fmla="*/ 1905158 h 2084191"/>
              <a:gd name="connsiteX51" fmla="*/ 1904113 w 2051041"/>
              <a:gd name="connsiteY51" fmla="*/ 1922028 h 2084191"/>
              <a:gd name="connsiteX52" fmla="*/ 1886699 w 2051041"/>
              <a:gd name="connsiteY52" fmla="*/ 1937809 h 2084191"/>
              <a:gd name="connsiteX53" fmla="*/ 1870918 w 2051041"/>
              <a:gd name="connsiteY53" fmla="*/ 1921483 h 2084191"/>
              <a:gd name="connsiteX54" fmla="*/ 1887787 w 2051041"/>
              <a:gd name="connsiteY54" fmla="*/ 1905158 h 2084191"/>
              <a:gd name="connsiteX55" fmla="*/ 1152606 w 2051041"/>
              <a:gd name="connsiteY55" fmla="*/ 1831693 h 2084191"/>
              <a:gd name="connsiteX56" fmla="*/ 1161313 w 2051041"/>
              <a:gd name="connsiteY56" fmla="*/ 1839312 h 2084191"/>
              <a:gd name="connsiteX57" fmla="*/ 1153694 w 2051041"/>
              <a:gd name="connsiteY57" fmla="*/ 1852916 h 2084191"/>
              <a:gd name="connsiteX58" fmla="*/ 1144988 w 2051041"/>
              <a:gd name="connsiteY58" fmla="*/ 1841489 h 2084191"/>
              <a:gd name="connsiteX59" fmla="*/ 1152606 w 2051041"/>
              <a:gd name="connsiteY59" fmla="*/ 1831693 h 2084191"/>
              <a:gd name="connsiteX60" fmla="*/ 1315315 w 2051041"/>
              <a:gd name="connsiteY60" fmla="*/ 1825708 h 2084191"/>
              <a:gd name="connsiteX61" fmla="*/ 1330552 w 2051041"/>
              <a:gd name="connsiteY61" fmla="*/ 1840401 h 2084191"/>
              <a:gd name="connsiteX62" fmla="*/ 1316404 w 2051041"/>
              <a:gd name="connsiteY62" fmla="*/ 1854549 h 2084191"/>
              <a:gd name="connsiteX63" fmla="*/ 1301711 w 2051041"/>
              <a:gd name="connsiteY63" fmla="*/ 1840945 h 2084191"/>
              <a:gd name="connsiteX64" fmla="*/ 1315315 w 2051041"/>
              <a:gd name="connsiteY64" fmla="*/ 1825708 h 2084191"/>
              <a:gd name="connsiteX65" fmla="*/ 1479656 w 2051041"/>
              <a:gd name="connsiteY65" fmla="*/ 1822987 h 2084191"/>
              <a:gd name="connsiteX66" fmla="*/ 1495981 w 2051041"/>
              <a:gd name="connsiteY66" fmla="*/ 1840401 h 2084191"/>
              <a:gd name="connsiteX67" fmla="*/ 1478567 w 2051041"/>
              <a:gd name="connsiteY67" fmla="*/ 1856182 h 2084191"/>
              <a:gd name="connsiteX68" fmla="*/ 1462242 w 2051041"/>
              <a:gd name="connsiteY68" fmla="*/ 1839312 h 2084191"/>
              <a:gd name="connsiteX69" fmla="*/ 1479656 w 2051041"/>
              <a:gd name="connsiteY69" fmla="*/ 1822987 h 2084191"/>
              <a:gd name="connsiteX70" fmla="*/ 1642365 w 2051041"/>
              <a:gd name="connsiteY70" fmla="*/ 1821355 h 2084191"/>
              <a:gd name="connsiteX71" fmla="*/ 1660867 w 2051041"/>
              <a:gd name="connsiteY71" fmla="*/ 1840401 h 2084191"/>
              <a:gd name="connsiteX72" fmla="*/ 1642365 w 2051041"/>
              <a:gd name="connsiteY72" fmla="*/ 1857270 h 2084191"/>
              <a:gd name="connsiteX73" fmla="*/ 1624407 w 2051041"/>
              <a:gd name="connsiteY73" fmla="*/ 1839857 h 2084191"/>
              <a:gd name="connsiteX74" fmla="*/ 1642365 w 2051041"/>
              <a:gd name="connsiteY74" fmla="*/ 1821355 h 2084191"/>
              <a:gd name="connsiteX75" fmla="*/ 1806162 w 2051041"/>
              <a:gd name="connsiteY75" fmla="*/ 1819723 h 2084191"/>
              <a:gd name="connsiteX76" fmla="*/ 1826840 w 2051041"/>
              <a:gd name="connsiteY76" fmla="*/ 1840945 h 2084191"/>
              <a:gd name="connsiteX77" fmla="*/ 1804529 w 2051041"/>
              <a:gd name="connsiteY77" fmla="*/ 1861080 h 2084191"/>
              <a:gd name="connsiteX78" fmla="*/ 1784395 w 2051041"/>
              <a:gd name="connsiteY78" fmla="*/ 1839313 h 2084191"/>
              <a:gd name="connsiteX79" fmla="*/ 1806162 w 2051041"/>
              <a:gd name="connsiteY79" fmla="*/ 1819723 h 2084191"/>
              <a:gd name="connsiteX80" fmla="*/ 1968870 w 2051041"/>
              <a:gd name="connsiteY80" fmla="*/ 1819178 h 2084191"/>
              <a:gd name="connsiteX81" fmla="*/ 1990093 w 2051041"/>
              <a:gd name="connsiteY81" fmla="*/ 1840401 h 2084191"/>
              <a:gd name="connsiteX82" fmla="*/ 1968870 w 2051041"/>
              <a:gd name="connsiteY82" fmla="*/ 1861624 h 2084191"/>
              <a:gd name="connsiteX83" fmla="*/ 1947647 w 2051041"/>
              <a:gd name="connsiteY83" fmla="*/ 1840401 h 2084191"/>
              <a:gd name="connsiteX84" fmla="*/ 1968870 w 2051041"/>
              <a:gd name="connsiteY84" fmla="*/ 1819178 h 2084191"/>
              <a:gd name="connsiteX85" fmla="*/ 1070436 w 2051041"/>
              <a:gd name="connsiteY85" fmla="*/ 1747347 h 2084191"/>
              <a:gd name="connsiteX86" fmla="*/ 1081863 w 2051041"/>
              <a:gd name="connsiteY86" fmla="*/ 1758231 h 2084191"/>
              <a:gd name="connsiteX87" fmla="*/ 1070980 w 2051041"/>
              <a:gd name="connsiteY87" fmla="*/ 1769658 h 2084191"/>
              <a:gd name="connsiteX88" fmla="*/ 1059552 w 2051041"/>
              <a:gd name="connsiteY88" fmla="*/ 1758775 h 2084191"/>
              <a:gd name="connsiteX89" fmla="*/ 1070436 w 2051041"/>
              <a:gd name="connsiteY89" fmla="*/ 1747347 h 2084191"/>
              <a:gd name="connsiteX90" fmla="*/ 1233688 w 2051041"/>
              <a:gd name="connsiteY90" fmla="*/ 1742449 h 2084191"/>
              <a:gd name="connsiteX91" fmla="*/ 1250558 w 2051041"/>
              <a:gd name="connsiteY91" fmla="*/ 1758774 h 2084191"/>
              <a:gd name="connsiteX92" fmla="*/ 1233688 w 2051041"/>
              <a:gd name="connsiteY92" fmla="*/ 1775099 h 2084191"/>
              <a:gd name="connsiteX93" fmla="*/ 1217907 w 2051041"/>
              <a:gd name="connsiteY93" fmla="*/ 1759318 h 2084191"/>
              <a:gd name="connsiteX94" fmla="*/ 1233688 w 2051041"/>
              <a:gd name="connsiteY94" fmla="*/ 1742449 h 2084191"/>
              <a:gd name="connsiteX95" fmla="*/ 1399662 w 2051041"/>
              <a:gd name="connsiteY95" fmla="*/ 1739728 h 2084191"/>
              <a:gd name="connsiteX96" fmla="*/ 1417076 w 2051041"/>
              <a:gd name="connsiteY96" fmla="*/ 1760407 h 2084191"/>
              <a:gd name="connsiteX97" fmla="*/ 1396941 w 2051041"/>
              <a:gd name="connsiteY97" fmla="*/ 1779453 h 2084191"/>
              <a:gd name="connsiteX98" fmla="*/ 1377895 w 2051041"/>
              <a:gd name="connsiteY98" fmla="*/ 1757686 h 2084191"/>
              <a:gd name="connsiteX99" fmla="*/ 1399662 w 2051041"/>
              <a:gd name="connsiteY99" fmla="*/ 1739728 h 2084191"/>
              <a:gd name="connsiteX100" fmla="*/ 1723991 w 2051041"/>
              <a:gd name="connsiteY100" fmla="*/ 1735919 h 2084191"/>
              <a:gd name="connsiteX101" fmla="*/ 1746847 w 2051041"/>
              <a:gd name="connsiteY101" fmla="*/ 1758774 h 2084191"/>
              <a:gd name="connsiteX102" fmla="*/ 1723991 w 2051041"/>
              <a:gd name="connsiteY102" fmla="*/ 1781086 h 2084191"/>
              <a:gd name="connsiteX103" fmla="*/ 1701680 w 2051041"/>
              <a:gd name="connsiteY103" fmla="*/ 1758774 h 2084191"/>
              <a:gd name="connsiteX104" fmla="*/ 1723991 w 2051041"/>
              <a:gd name="connsiteY104" fmla="*/ 1735919 h 2084191"/>
              <a:gd name="connsiteX105" fmla="*/ 1560194 w 2051041"/>
              <a:gd name="connsiteY105" fmla="*/ 1735919 h 2084191"/>
              <a:gd name="connsiteX106" fmla="*/ 1582505 w 2051041"/>
              <a:gd name="connsiteY106" fmla="*/ 1758230 h 2084191"/>
              <a:gd name="connsiteX107" fmla="*/ 1560738 w 2051041"/>
              <a:gd name="connsiteY107" fmla="*/ 1779997 h 2084191"/>
              <a:gd name="connsiteX108" fmla="*/ 1538427 w 2051041"/>
              <a:gd name="connsiteY108" fmla="*/ 1758230 h 2084191"/>
              <a:gd name="connsiteX109" fmla="*/ 1560194 w 2051041"/>
              <a:gd name="connsiteY109" fmla="*/ 1735919 h 2084191"/>
              <a:gd name="connsiteX110" fmla="*/ 2051041 w 2051041"/>
              <a:gd name="connsiteY110" fmla="*/ 1734831 h 2084191"/>
              <a:gd name="connsiteX111" fmla="*/ 2051041 w 2051041"/>
              <a:gd name="connsiteY111" fmla="*/ 1781438 h 2084191"/>
              <a:gd name="connsiteX112" fmla="*/ 2050496 w 2051041"/>
              <a:gd name="connsiteY112" fmla="*/ 1781630 h 2084191"/>
              <a:gd name="connsiteX113" fmla="*/ 2027097 w 2051041"/>
              <a:gd name="connsiteY113" fmla="*/ 1758775 h 2084191"/>
              <a:gd name="connsiteX114" fmla="*/ 2051041 w 2051041"/>
              <a:gd name="connsiteY114" fmla="*/ 1734831 h 2084191"/>
              <a:gd name="connsiteX115" fmla="*/ 1887788 w 2051041"/>
              <a:gd name="connsiteY115" fmla="*/ 1734831 h 2084191"/>
              <a:gd name="connsiteX116" fmla="*/ 1910099 w 2051041"/>
              <a:gd name="connsiteY116" fmla="*/ 1758775 h 2084191"/>
              <a:gd name="connsiteX117" fmla="*/ 1886699 w 2051041"/>
              <a:gd name="connsiteY117" fmla="*/ 1781086 h 2084191"/>
              <a:gd name="connsiteX118" fmla="*/ 1863844 w 2051041"/>
              <a:gd name="connsiteY118" fmla="*/ 1757687 h 2084191"/>
              <a:gd name="connsiteX119" fmla="*/ 1887788 w 2051041"/>
              <a:gd name="connsiteY119" fmla="*/ 1734831 h 2084191"/>
              <a:gd name="connsiteX120" fmla="*/ 826100 w 2051041"/>
              <a:gd name="connsiteY120" fmla="*/ 1671706 h 2084191"/>
              <a:gd name="connsiteX121" fmla="*/ 832086 w 2051041"/>
              <a:gd name="connsiteY121" fmla="*/ 1677692 h 2084191"/>
              <a:gd name="connsiteX122" fmla="*/ 825556 w 2051041"/>
              <a:gd name="connsiteY122" fmla="*/ 1683134 h 2084191"/>
              <a:gd name="connsiteX123" fmla="*/ 820658 w 2051041"/>
              <a:gd name="connsiteY123" fmla="*/ 1676603 h 2084191"/>
              <a:gd name="connsiteX124" fmla="*/ 826100 w 2051041"/>
              <a:gd name="connsiteY124" fmla="*/ 1671706 h 2084191"/>
              <a:gd name="connsiteX125" fmla="*/ 989354 w 2051041"/>
              <a:gd name="connsiteY125" fmla="*/ 1661912 h 2084191"/>
              <a:gd name="connsiteX126" fmla="*/ 1004046 w 2051041"/>
              <a:gd name="connsiteY126" fmla="*/ 1676604 h 2084191"/>
              <a:gd name="connsiteX127" fmla="*/ 989354 w 2051041"/>
              <a:gd name="connsiteY127" fmla="*/ 1690209 h 2084191"/>
              <a:gd name="connsiteX128" fmla="*/ 975205 w 2051041"/>
              <a:gd name="connsiteY128" fmla="*/ 1677693 h 2084191"/>
              <a:gd name="connsiteX129" fmla="*/ 989354 w 2051041"/>
              <a:gd name="connsiteY129" fmla="*/ 1661912 h 2084191"/>
              <a:gd name="connsiteX130" fmla="*/ 1153151 w 2051041"/>
              <a:gd name="connsiteY130" fmla="*/ 1659734 h 2084191"/>
              <a:gd name="connsiteX131" fmla="*/ 1170564 w 2051041"/>
              <a:gd name="connsiteY131" fmla="*/ 1677692 h 2084191"/>
              <a:gd name="connsiteX132" fmla="*/ 1152062 w 2051041"/>
              <a:gd name="connsiteY132" fmla="*/ 1694562 h 2084191"/>
              <a:gd name="connsiteX133" fmla="*/ 1135737 w 2051041"/>
              <a:gd name="connsiteY133" fmla="*/ 1677148 h 2084191"/>
              <a:gd name="connsiteX134" fmla="*/ 1153151 w 2051041"/>
              <a:gd name="connsiteY134" fmla="*/ 1659734 h 2084191"/>
              <a:gd name="connsiteX135" fmla="*/ 1315315 w 2051041"/>
              <a:gd name="connsiteY135" fmla="*/ 1655381 h 2084191"/>
              <a:gd name="connsiteX136" fmla="*/ 1337082 w 2051041"/>
              <a:gd name="connsiteY136" fmla="*/ 1676603 h 2084191"/>
              <a:gd name="connsiteX137" fmla="*/ 1315315 w 2051041"/>
              <a:gd name="connsiteY137" fmla="*/ 1698915 h 2084191"/>
              <a:gd name="connsiteX138" fmla="*/ 1294092 w 2051041"/>
              <a:gd name="connsiteY138" fmla="*/ 1677148 h 2084191"/>
              <a:gd name="connsiteX139" fmla="*/ 1315315 w 2051041"/>
              <a:gd name="connsiteY139" fmla="*/ 1655381 h 2084191"/>
              <a:gd name="connsiteX140" fmla="*/ 1479111 w 2051041"/>
              <a:gd name="connsiteY140" fmla="*/ 1654293 h 2084191"/>
              <a:gd name="connsiteX141" fmla="*/ 1501967 w 2051041"/>
              <a:gd name="connsiteY141" fmla="*/ 1677692 h 2084191"/>
              <a:gd name="connsiteX142" fmla="*/ 1479111 w 2051041"/>
              <a:gd name="connsiteY142" fmla="*/ 1700548 h 2084191"/>
              <a:gd name="connsiteX143" fmla="*/ 1455712 w 2051041"/>
              <a:gd name="connsiteY143" fmla="*/ 1676604 h 2084191"/>
              <a:gd name="connsiteX144" fmla="*/ 1479111 w 2051041"/>
              <a:gd name="connsiteY144" fmla="*/ 1654293 h 2084191"/>
              <a:gd name="connsiteX145" fmla="*/ 1643452 w 2051041"/>
              <a:gd name="connsiteY145" fmla="*/ 1650483 h 2084191"/>
              <a:gd name="connsiteX146" fmla="*/ 1668484 w 2051041"/>
              <a:gd name="connsiteY146" fmla="*/ 1676603 h 2084191"/>
              <a:gd name="connsiteX147" fmla="*/ 1643452 w 2051041"/>
              <a:gd name="connsiteY147" fmla="*/ 1703268 h 2084191"/>
              <a:gd name="connsiteX148" fmla="*/ 1617332 w 2051041"/>
              <a:gd name="connsiteY148" fmla="*/ 1677692 h 2084191"/>
              <a:gd name="connsiteX149" fmla="*/ 1643452 w 2051041"/>
              <a:gd name="connsiteY149" fmla="*/ 1650483 h 2084191"/>
              <a:gd name="connsiteX150" fmla="*/ 1968326 w 2051041"/>
              <a:gd name="connsiteY150" fmla="*/ 1649940 h 2084191"/>
              <a:gd name="connsiteX151" fmla="*/ 1995535 w 2051041"/>
              <a:gd name="connsiteY151" fmla="*/ 1676604 h 2084191"/>
              <a:gd name="connsiteX152" fmla="*/ 1968870 w 2051041"/>
              <a:gd name="connsiteY152" fmla="*/ 1704357 h 2084191"/>
              <a:gd name="connsiteX153" fmla="*/ 1941661 w 2051041"/>
              <a:gd name="connsiteY153" fmla="*/ 1677148 h 2084191"/>
              <a:gd name="connsiteX154" fmla="*/ 1968326 w 2051041"/>
              <a:gd name="connsiteY154" fmla="*/ 1649940 h 2084191"/>
              <a:gd name="connsiteX155" fmla="*/ 1805617 w 2051041"/>
              <a:gd name="connsiteY155" fmla="*/ 1649939 h 2084191"/>
              <a:gd name="connsiteX156" fmla="*/ 1832826 w 2051041"/>
              <a:gd name="connsiteY156" fmla="*/ 1677148 h 2084191"/>
              <a:gd name="connsiteX157" fmla="*/ 1805073 w 2051041"/>
              <a:gd name="connsiteY157" fmla="*/ 1704357 h 2084191"/>
              <a:gd name="connsiteX158" fmla="*/ 1778409 w 2051041"/>
              <a:gd name="connsiteY158" fmla="*/ 1677148 h 2084191"/>
              <a:gd name="connsiteX159" fmla="*/ 1805617 w 2051041"/>
              <a:gd name="connsiteY159" fmla="*/ 1649939 h 2084191"/>
              <a:gd name="connsiteX160" fmla="*/ 744474 w 2051041"/>
              <a:gd name="connsiteY160" fmla="*/ 1588992 h 2084191"/>
              <a:gd name="connsiteX161" fmla="*/ 751004 w 2051041"/>
              <a:gd name="connsiteY161" fmla="*/ 1594978 h 2084191"/>
              <a:gd name="connsiteX162" fmla="*/ 745562 w 2051041"/>
              <a:gd name="connsiteY162" fmla="*/ 1602052 h 2084191"/>
              <a:gd name="connsiteX163" fmla="*/ 738488 w 2051041"/>
              <a:gd name="connsiteY163" fmla="*/ 1594978 h 2084191"/>
              <a:gd name="connsiteX164" fmla="*/ 744474 w 2051041"/>
              <a:gd name="connsiteY164" fmla="*/ 1588992 h 2084191"/>
              <a:gd name="connsiteX165" fmla="*/ 907183 w 2051041"/>
              <a:gd name="connsiteY165" fmla="*/ 1579741 h 2084191"/>
              <a:gd name="connsiteX166" fmla="*/ 923508 w 2051041"/>
              <a:gd name="connsiteY166" fmla="*/ 1594978 h 2084191"/>
              <a:gd name="connsiteX167" fmla="*/ 908815 w 2051041"/>
              <a:gd name="connsiteY167" fmla="*/ 1610759 h 2084191"/>
              <a:gd name="connsiteX168" fmla="*/ 892490 w 2051041"/>
              <a:gd name="connsiteY168" fmla="*/ 1595522 h 2084191"/>
              <a:gd name="connsiteX169" fmla="*/ 907183 w 2051041"/>
              <a:gd name="connsiteY169" fmla="*/ 1579741 h 2084191"/>
              <a:gd name="connsiteX170" fmla="*/ 1071524 w 2051041"/>
              <a:gd name="connsiteY170" fmla="*/ 1574843 h 2084191"/>
              <a:gd name="connsiteX171" fmla="*/ 1091114 w 2051041"/>
              <a:gd name="connsiteY171" fmla="*/ 1595522 h 2084191"/>
              <a:gd name="connsiteX172" fmla="*/ 1070980 w 2051041"/>
              <a:gd name="connsiteY172" fmla="*/ 1615656 h 2084191"/>
              <a:gd name="connsiteX173" fmla="*/ 1050301 w 2051041"/>
              <a:gd name="connsiteY173" fmla="*/ 1595522 h 2084191"/>
              <a:gd name="connsiteX174" fmla="*/ 1071524 w 2051041"/>
              <a:gd name="connsiteY174" fmla="*/ 1574843 h 2084191"/>
              <a:gd name="connsiteX175" fmla="*/ 1233688 w 2051041"/>
              <a:gd name="connsiteY175" fmla="*/ 1573210 h 2084191"/>
              <a:gd name="connsiteX176" fmla="*/ 1256544 w 2051041"/>
              <a:gd name="connsiteY176" fmla="*/ 1595522 h 2084191"/>
              <a:gd name="connsiteX177" fmla="*/ 1233688 w 2051041"/>
              <a:gd name="connsiteY177" fmla="*/ 1618377 h 2084191"/>
              <a:gd name="connsiteX178" fmla="*/ 1211377 w 2051041"/>
              <a:gd name="connsiteY178" fmla="*/ 1596610 h 2084191"/>
              <a:gd name="connsiteX179" fmla="*/ 1233688 w 2051041"/>
              <a:gd name="connsiteY179" fmla="*/ 1573210 h 2084191"/>
              <a:gd name="connsiteX180" fmla="*/ 1398030 w 2051041"/>
              <a:gd name="connsiteY180" fmla="*/ 1569402 h 2084191"/>
              <a:gd name="connsiteX181" fmla="*/ 1423062 w 2051041"/>
              <a:gd name="connsiteY181" fmla="*/ 1595522 h 2084191"/>
              <a:gd name="connsiteX182" fmla="*/ 1397485 w 2051041"/>
              <a:gd name="connsiteY182" fmla="*/ 1621099 h 2084191"/>
              <a:gd name="connsiteX183" fmla="*/ 1371365 w 2051041"/>
              <a:gd name="connsiteY183" fmla="*/ 1595522 h 2084191"/>
              <a:gd name="connsiteX184" fmla="*/ 1398030 w 2051041"/>
              <a:gd name="connsiteY184" fmla="*/ 1569402 h 2084191"/>
              <a:gd name="connsiteX185" fmla="*/ 1560194 w 2051041"/>
              <a:gd name="connsiteY185" fmla="*/ 1568313 h 2084191"/>
              <a:gd name="connsiteX186" fmla="*/ 1587947 w 2051041"/>
              <a:gd name="connsiteY186" fmla="*/ 1594433 h 2084191"/>
              <a:gd name="connsiteX187" fmla="*/ 1560194 w 2051041"/>
              <a:gd name="connsiteY187" fmla="*/ 1622730 h 2084191"/>
              <a:gd name="connsiteX188" fmla="*/ 1532985 w 2051041"/>
              <a:gd name="connsiteY188" fmla="*/ 1594977 h 2084191"/>
              <a:gd name="connsiteX189" fmla="*/ 1560194 w 2051041"/>
              <a:gd name="connsiteY189" fmla="*/ 1568313 h 2084191"/>
              <a:gd name="connsiteX190" fmla="*/ 1887244 w 2051041"/>
              <a:gd name="connsiteY190" fmla="*/ 1567225 h 2084191"/>
              <a:gd name="connsiteX191" fmla="*/ 1915541 w 2051041"/>
              <a:gd name="connsiteY191" fmla="*/ 1594978 h 2084191"/>
              <a:gd name="connsiteX192" fmla="*/ 1886699 w 2051041"/>
              <a:gd name="connsiteY192" fmla="*/ 1623819 h 2084191"/>
              <a:gd name="connsiteX193" fmla="*/ 1858947 w 2051041"/>
              <a:gd name="connsiteY193" fmla="*/ 1594978 h 2084191"/>
              <a:gd name="connsiteX194" fmla="*/ 1887244 w 2051041"/>
              <a:gd name="connsiteY194" fmla="*/ 1567225 h 2084191"/>
              <a:gd name="connsiteX195" fmla="*/ 1724535 w 2051041"/>
              <a:gd name="connsiteY195" fmla="*/ 1567225 h 2084191"/>
              <a:gd name="connsiteX196" fmla="*/ 1752288 w 2051041"/>
              <a:gd name="connsiteY196" fmla="*/ 1594978 h 2084191"/>
              <a:gd name="connsiteX197" fmla="*/ 1724535 w 2051041"/>
              <a:gd name="connsiteY197" fmla="*/ 1623275 h 2084191"/>
              <a:gd name="connsiteX198" fmla="*/ 1696238 w 2051041"/>
              <a:gd name="connsiteY198" fmla="*/ 1594978 h 2084191"/>
              <a:gd name="connsiteX199" fmla="*/ 1724535 w 2051041"/>
              <a:gd name="connsiteY199" fmla="*/ 1567225 h 2084191"/>
              <a:gd name="connsiteX200" fmla="*/ 2050496 w 2051041"/>
              <a:gd name="connsiteY200" fmla="*/ 1566680 h 2084191"/>
              <a:gd name="connsiteX201" fmla="*/ 2051041 w 2051041"/>
              <a:gd name="connsiteY201" fmla="*/ 1566888 h 2084191"/>
              <a:gd name="connsiteX202" fmla="*/ 2051041 w 2051041"/>
              <a:gd name="connsiteY202" fmla="*/ 1623794 h 2084191"/>
              <a:gd name="connsiteX203" fmla="*/ 2049408 w 2051041"/>
              <a:gd name="connsiteY203" fmla="*/ 1624363 h 2084191"/>
              <a:gd name="connsiteX204" fmla="*/ 2021655 w 2051041"/>
              <a:gd name="connsiteY204" fmla="*/ 1594977 h 2084191"/>
              <a:gd name="connsiteX205" fmla="*/ 2050496 w 2051041"/>
              <a:gd name="connsiteY205" fmla="*/ 1566680 h 2084191"/>
              <a:gd name="connsiteX206" fmla="*/ 663392 w 2051041"/>
              <a:gd name="connsiteY206" fmla="*/ 1505188 h 2084191"/>
              <a:gd name="connsiteX207" fmla="*/ 674819 w 2051041"/>
              <a:gd name="connsiteY207" fmla="*/ 1513895 h 2084191"/>
              <a:gd name="connsiteX208" fmla="*/ 662848 w 2051041"/>
              <a:gd name="connsiteY208" fmla="*/ 1522058 h 2084191"/>
              <a:gd name="connsiteX209" fmla="*/ 654685 w 2051041"/>
              <a:gd name="connsiteY209" fmla="*/ 1513351 h 2084191"/>
              <a:gd name="connsiteX210" fmla="*/ 663392 w 2051041"/>
              <a:gd name="connsiteY210" fmla="*/ 1505188 h 2084191"/>
              <a:gd name="connsiteX211" fmla="*/ 826101 w 2051041"/>
              <a:gd name="connsiteY211" fmla="*/ 1497570 h 2084191"/>
              <a:gd name="connsiteX212" fmla="*/ 842970 w 2051041"/>
              <a:gd name="connsiteY212" fmla="*/ 1513351 h 2084191"/>
              <a:gd name="connsiteX213" fmla="*/ 826645 w 2051041"/>
              <a:gd name="connsiteY213" fmla="*/ 1529676 h 2084191"/>
              <a:gd name="connsiteX214" fmla="*/ 810319 w 2051041"/>
              <a:gd name="connsiteY214" fmla="*/ 1514983 h 2084191"/>
              <a:gd name="connsiteX215" fmla="*/ 826101 w 2051041"/>
              <a:gd name="connsiteY215" fmla="*/ 1497570 h 2084191"/>
              <a:gd name="connsiteX216" fmla="*/ 988265 w 2051041"/>
              <a:gd name="connsiteY216" fmla="*/ 1492128 h 2084191"/>
              <a:gd name="connsiteX217" fmla="*/ 1010577 w 2051041"/>
              <a:gd name="connsiteY217" fmla="*/ 1513351 h 2084191"/>
              <a:gd name="connsiteX218" fmla="*/ 989354 w 2051041"/>
              <a:gd name="connsiteY218" fmla="*/ 1534574 h 2084191"/>
              <a:gd name="connsiteX219" fmla="*/ 968131 w 2051041"/>
              <a:gd name="connsiteY219" fmla="*/ 1513895 h 2084191"/>
              <a:gd name="connsiteX220" fmla="*/ 988265 w 2051041"/>
              <a:gd name="connsiteY220" fmla="*/ 1492128 h 2084191"/>
              <a:gd name="connsiteX221" fmla="*/ 1152606 w 2051041"/>
              <a:gd name="connsiteY221" fmla="*/ 1490496 h 2084191"/>
              <a:gd name="connsiteX222" fmla="*/ 1176006 w 2051041"/>
              <a:gd name="connsiteY222" fmla="*/ 1513351 h 2084191"/>
              <a:gd name="connsiteX223" fmla="*/ 1152606 w 2051041"/>
              <a:gd name="connsiteY223" fmla="*/ 1537839 h 2084191"/>
              <a:gd name="connsiteX224" fmla="*/ 1129207 w 2051041"/>
              <a:gd name="connsiteY224" fmla="*/ 1514984 h 2084191"/>
              <a:gd name="connsiteX225" fmla="*/ 1152606 w 2051041"/>
              <a:gd name="connsiteY225" fmla="*/ 1490496 h 2084191"/>
              <a:gd name="connsiteX226" fmla="*/ 1316403 w 2051041"/>
              <a:gd name="connsiteY226" fmla="*/ 1487231 h 2084191"/>
              <a:gd name="connsiteX227" fmla="*/ 1342523 w 2051041"/>
              <a:gd name="connsiteY227" fmla="*/ 1513896 h 2084191"/>
              <a:gd name="connsiteX228" fmla="*/ 1315314 w 2051041"/>
              <a:gd name="connsiteY228" fmla="*/ 1540560 h 2084191"/>
              <a:gd name="connsiteX229" fmla="*/ 1288650 w 2051041"/>
              <a:gd name="connsiteY229" fmla="*/ 1513896 h 2084191"/>
              <a:gd name="connsiteX230" fmla="*/ 1316403 w 2051041"/>
              <a:gd name="connsiteY230" fmla="*/ 1487231 h 2084191"/>
              <a:gd name="connsiteX231" fmla="*/ 1479656 w 2051041"/>
              <a:gd name="connsiteY231" fmla="*/ 1485054 h 2084191"/>
              <a:gd name="connsiteX232" fmla="*/ 1507409 w 2051041"/>
              <a:gd name="connsiteY232" fmla="*/ 1513895 h 2084191"/>
              <a:gd name="connsiteX233" fmla="*/ 1479112 w 2051041"/>
              <a:gd name="connsiteY233" fmla="*/ 1541648 h 2084191"/>
              <a:gd name="connsiteX234" fmla="*/ 1451359 w 2051041"/>
              <a:gd name="connsiteY234" fmla="*/ 1513351 h 2084191"/>
              <a:gd name="connsiteX235" fmla="*/ 1479656 w 2051041"/>
              <a:gd name="connsiteY235" fmla="*/ 1485054 h 2084191"/>
              <a:gd name="connsiteX236" fmla="*/ 1641820 w 2051041"/>
              <a:gd name="connsiteY236" fmla="*/ 1482334 h 2084191"/>
              <a:gd name="connsiteX237" fmla="*/ 1673382 w 2051041"/>
              <a:gd name="connsiteY237" fmla="*/ 1512807 h 2084191"/>
              <a:gd name="connsiteX238" fmla="*/ 1642909 w 2051041"/>
              <a:gd name="connsiteY238" fmla="*/ 1544370 h 2084191"/>
              <a:gd name="connsiteX239" fmla="*/ 1612435 w 2051041"/>
              <a:gd name="connsiteY239" fmla="*/ 1513351 h 2084191"/>
              <a:gd name="connsiteX240" fmla="*/ 1641820 w 2051041"/>
              <a:gd name="connsiteY240" fmla="*/ 1482334 h 2084191"/>
              <a:gd name="connsiteX241" fmla="*/ 1804529 w 2051041"/>
              <a:gd name="connsiteY241" fmla="*/ 1481788 h 2084191"/>
              <a:gd name="connsiteX242" fmla="*/ 1837180 w 2051041"/>
              <a:gd name="connsiteY242" fmla="*/ 1513351 h 2084191"/>
              <a:gd name="connsiteX243" fmla="*/ 1805617 w 2051041"/>
              <a:gd name="connsiteY243" fmla="*/ 1545457 h 2084191"/>
              <a:gd name="connsiteX244" fmla="*/ 1773511 w 2051041"/>
              <a:gd name="connsiteY244" fmla="*/ 1514983 h 2084191"/>
              <a:gd name="connsiteX245" fmla="*/ 1804529 w 2051041"/>
              <a:gd name="connsiteY245" fmla="*/ 1481788 h 2084191"/>
              <a:gd name="connsiteX246" fmla="*/ 1968870 w 2051041"/>
              <a:gd name="connsiteY246" fmla="*/ 1480700 h 2084191"/>
              <a:gd name="connsiteX247" fmla="*/ 2000977 w 2051041"/>
              <a:gd name="connsiteY247" fmla="*/ 1513351 h 2084191"/>
              <a:gd name="connsiteX248" fmla="*/ 1968870 w 2051041"/>
              <a:gd name="connsiteY248" fmla="*/ 1545457 h 2084191"/>
              <a:gd name="connsiteX249" fmla="*/ 1936764 w 2051041"/>
              <a:gd name="connsiteY249" fmla="*/ 1513351 h 2084191"/>
              <a:gd name="connsiteX250" fmla="*/ 1968870 w 2051041"/>
              <a:gd name="connsiteY250" fmla="*/ 1480700 h 2084191"/>
              <a:gd name="connsiteX251" fmla="*/ 581221 w 2051041"/>
              <a:gd name="connsiteY251" fmla="*/ 1423562 h 2084191"/>
              <a:gd name="connsiteX252" fmla="*/ 588840 w 2051041"/>
              <a:gd name="connsiteY252" fmla="*/ 1431725 h 2084191"/>
              <a:gd name="connsiteX253" fmla="*/ 581765 w 2051041"/>
              <a:gd name="connsiteY253" fmla="*/ 1443153 h 2084191"/>
              <a:gd name="connsiteX254" fmla="*/ 573059 w 2051041"/>
              <a:gd name="connsiteY254" fmla="*/ 1432813 h 2084191"/>
              <a:gd name="connsiteX255" fmla="*/ 581221 w 2051041"/>
              <a:gd name="connsiteY255" fmla="*/ 1423562 h 2084191"/>
              <a:gd name="connsiteX256" fmla="*/ 745562 w 2051041"/>
              <a:gd name="connsiteY256" fmla="*/ 1414855 h 2084191"/>
              <a:gd name="connsiteX257" fmla="*/ 761344 w 2051041"/>
              <a:gd name="connsiteY257" fmla="*/ 1432269 h 2084191"/>
              <a:gd name="connsiteX258" fmla="*/ 745018 w 2051041"/>
              <a:gd name="connsiteY258" fmla="*/ 1448050 h 2084191"/>
              <a:gd name="connsiteX259" fmla="*/ 728693 w 2051041"/>
              <a:gd name="connsiteY259" fmla="*/ 1431725 h 2084191"/>
              <a:gd name="connsiteX260" fmla="*/ 745562 w 2051041"/>
              <a:gd name="connsiteY260" fmla="*/ 1414855 h 2084191"/>
              <a:gd name="connsiteX261" fmla="*/ 908815 w 2051041"/>
              <a:gd name="connsiteY261" fmla="*/ 1409958 h 2084191"/>
              <a:gd name="connsiteX262" fmla="*/ 930038 w 2051041"/>
              <a:gd name="connsiteY262" fmla="*/ 1431725 h 2084191"/>
              <a:gd name="connsiteX263" fmla="*/ 907183 w 2051041"/>
              <a:gd name="connsiteY263" fmla="*/ 1453492 h 2084191"/>
              <a:gd name="connsiteX264" fmla="*/ 885960 w 2051041"/>
              <a:gd name="connsiteY264" fmla="*/ 1431725 h 2084191"/>
              <a:gd name="connsiteX265" fmla="*/ 908815 w 2051041"/>
              <a:gd name="connsiteY265" fmla="*/ 1409958 h 2084191"/>
              <a:gd name="connsiteX266" fmla="*/ 1070436 w 2051041"/>
              <a:gd name="connsiteY266" fmla="*/ 1406693 h 2084191"/>
              <a:gd name="connsiteX267" fmla="*/ 1096012 w 2051041"/>
              <a:gd name="connsiteY267" fmla="*/ 1432269 h 2084191"/>
              <a:gd name="connsiteX268" fmla="*/ 1070436 w 2051041"/>
              <a:gd name="connsiteY268" fmla="*/ 1457846 h 2084191"/>
              <a:gd name="connsiteX269" fmla="*/ 1045404 w 2051041"/>
              <a:gd name="connsiteY269" fmla="*/ 1431181 h 2084191"/>
              <a:gd name="connsiteX270" fmla="*/ 1070436 w 2051041"/>
              <a:gd name="connsiteY270" fmla="*/ 1406693 h 2084191"/>
              <a:gd name="connsiteX271" fmla="*/ 1235865 w 2051041"/>
              <a:gd name="connsiteY271" fmla="*/ 1404516 h 2084191"/>
              <a:gd name="connsiteX272" fmla="*/ 1261986 w 2051041"/>
              <a:gd name="connsiteY272" fmla="*/ 1433358 h 2084191"/>
              <a:gd name="connsiteX273" fmla="*/ 1233689 w 2051041"/>
              <a:gd name="connsiteY273" fmla="*/ 1459478 h 2084191"/>
              <a:gd name="connsiteX274" fmla="*/ 1206480 w 2051041"/>
              <a:gd name="connsiteY274" fmla="*/ 1432269 h 2084191"/>
              <a:gd name="connsiteX275" fmla="*/ 1235865 w 2051041"/>
              <a:gd name="connsiteY275" fmla="*/ 1404516 h 2084191"/>
              <a:gd name="connsiteX276" fmla="*/ 1397485 w 2051041"/>
              <a:gd name="connsiteY276" fmla="*/ 1400162 h 2084191"/>
              <a:gd name="connsiteX277" fmla="*/ 1427959 w 2051041"/>
              <a:gd name="connsiteY277" fmla="*/ 1431724 h 2084191"/>
              <a:gd name="connsiteX278" fmla="*/ 1398029 w 2051041"/>
              <a:gd name="connsiteY278" fmla="*/ 1463287 h 2084191"/>
              <a:gd name="connsiteX279" fmla="*/ 1366467 w 2051041"/>
              <a:gd name="connsiteY279" fmla="*/ 1432813 h 2084191"/>
              <a:gd name="connsiteX280" fmla="*/ 1397485 w 2051041"/>
              <a:gd name="connsiteY280" fmla="*/ 1400162 h 2084191"/>
              <a:gd name="connsiteX281" fmla="*/ 1561282 w 2051041"/>
              <a:gd name="connsiteY281" fmla="*/ 1399618 h 2084191"/>
              <a:gd name="connsiteX282" fmla="*/ 1593388 w 2051041"/>
              <a:gd name="connsiteY282" fmla="*/ 1432269 h 2084191"/>
              <a:gd name="connsiteX283" fmla="*/ 1560738 w 2051041"/>
              <a:gd name="connsiteY283" fmla="*/ 1464375 h 2084191"/>
              <a:gd name="connsiteX284" fmla="*/ 1528631 w 2051041"/>
              <a:gd name="connsiteY284" fmla="*/ 1432813 h 2084191"/>
              <a:gd name="connsiteX285" fmla="*/ 1561282 w 2051041"/>
              <a:gd name="connsiteY285" fmla="*/ 1399618 h 2084191"/>
              <a:gd name="connsiteX286" fmla="*/ 1723446 w 2051041"/>
              <a:gd name="connsiteY286" fmla="*/ 1399074 h 2084191"/>
              <a:gd name="connsiteX287" fmla="*/ 1757185 w 2051041"/>
              <a:gd name="connsiteY287" fmla="*/ 1432269 h 2084191"/>
              <a:gd name="connsiteX288" fmla="*/ 1723991 w 2051041"/>
              <a:gd name="connsiteY288" fmla="*/ 1465464 h 2084191"/>
              <a:gd name="connsiteX289" fmla="*/ 1691340 w 2051041"/>
              <a:gd name="connsiteY289" fmla="*/ 1433357 h 2084191"/>
              <a:gd name="connsiteX290" fmla="*/ 1723446 w 2051041"/>
              <a:gd name="connsiteY290" fmla="*/ 1399074 h 2084191"/>
              <a:gd name="connsiteX291" fmla="*/ 1886700 w 2051041"/>
              <a:gd name="connsiteY291" fmla="*/ 1398530 h 2084191"/>
              <a:gd name="connsiteX292" fmla="*/ 1920439 w 2051041"/>
              <a:gd name="connsiteY292" fmla="*/ 1432269 h 2084191"/>
              <a:gd name="connsiteX293" fmla="*/ 1887788 w 2051041"/>
              <a:gd name="connsiteY293" fmla="*/ 1464920 h 2084191"/>
              <a:gd name="connsiteX294" fmla="*/ 1854049 w 2051041"/>
              <a:gd name="connsiteY294" fmla="*/ 1433358 h 2084191"/>
              <a:gd name="connsiteX295" fmla="*/ 1886700 w 2051041"/>
              <a:gd name="connsiteY295" fmla="*/ 1398530 h 2084191"/>
              <a:gd name="connsiteX296" fmla="*/ 2051041 w 2051041"/>
              <a:gd name="connsiteY296" fmla="*/ 1398217 h 2084191"/>
              <a:gd name="connsiteX297" fmla="*/ 2051041 w 2051041"/>
              <a:gd name="connsiteY297" fmla="*/ 1464535 h 2084191"/>
              <a:gd name="connsiteX298" fmla="*/ 2049953 w 2051041"/>
              <a:gd name="connsiteY298" fmla="*/ 1464920 h 2084191"/>
              <a:gd name="connsiteX299" fmla="*/ 2017302 w 2051041"/>
              <a:gd name="connsiteY299" fmla="*/ 1431725 h 2084191"/>
              <a:gd name="connsiteX300" fmla="*/ 2027709 w 2051041"/>
              <a:gd name="connsiteY300" fmla="*/ 1408121 h 2084191"/>
              <a:gd name="connsiteX301" fmla="*/ 500139 w 2051041"/>
              <a:gd name="connsiteY301" fmla="*/ 1341936 h 2084191"/>
              <a:gd name="connsiteX302" fmla="*/ 511023 w 2051041"/>
              <a:gd name="connsiteY302" fmla="*/ 1350643 h 2084191"/>
              <a:gd name="connsiteX303" fmla="*/ 499595 w 2051041"/>
              <a:gd name="connsiteY303" fmla="*/ 1358261 h 2084191"/>
              <a:gd name="connsiteX304" fmla="*/ 491432 w 2051041"/>
              <a:gd name="connsiteY304" fmla="*/ 1349010 h 2084191"/>
              <a:gd name="connsiteX305" fmla="*/ 500139 w 2051041"/>
              <a:gd name="connsiteY305" fmla="*/ 1341936 h 2084191"/>
              <a:gd name="connsiteX306" fmla="*/ 662848 w 2051041"/>
              <a:gd name="connsiteY306" fmla="*/ 1333773 h 2084191"/>
              <a:gd name="connsiteX307" fmla="*/ 679173 w 2051041"/>
              <a:gd name="connsiteY307" fmla="*/ 1350643 h 2084191"/>
              <a:gd name="connsiteX308" fmla="*/ 662848 w 2051041"/>
              <a:gd name="connsiteY308" fmla="*/ 1366424 h 2084191"/>
              <a:gd name="connsiteX309" fmla="*/ 647067 w 2051041"/>
              <a:gd name="connsiteY309" fmla="*/ 1350098 h 2084191"/>
              <a:gd name="connsiteX310" fmla="*/ 662848 w 2051041"/>
              <a:gd name="connsiteY310" fmla="*/ 1333773 h 2084191"/>
              <a:gd name="connsiteX311" fmla="*/ 826645 w 2051041"/>
              <a:gd name="connsiteY311" fmla="*/ 1328331 h 2084191"/>
              <a:gd name="connsiteX312" fmla="*/ 847868 w 2051041"/>
              <a:gd name="connsiteY312" fmla="*/ 1350642 h 2084191"/>
              <a:gd name="connsiteX313" fmla="*/ 825556 w 2051041"/>
              <a:gd name="connsiteY313" fmla="*/ 1372409 h 2084191"/>
              <a:gd name="connsiteX314" fmla="*/ 804334 w 2051041"/>
              <a:gd name="connsiteY314" fmla="*/ 1349554 h 2084191"/>
              <a:gd name="connsiteX315" fmla="*/ 826645 w 2051041"/>
              <a:gd name="connsiteY315" fmla="*/ 1328331 h 2084191"/>
              <a:gd name="connsiteX316" fmla="*/ 989353 w 2051041"/>
              <a:gd name="connsiteY316" fmla="*/ 1323978 h 2084191"/>
              <a:gd name="connsiteX317" fmla="*/ 1015473 w 2051041"/>
              <a:gd name="connsiteY317" fmla="*/ 1350098 h 2084191"/>
              <a:gd name="connsiteX318" fmla="*/ 989353 w 2051041"/>
              <a:gd name="connsiteY318" fmla="*/ 1376763 h 2084191"/>
              <a:gd name="connsiteX319" fmla="*/ 963777 w 2051041"/>
              <a:gd name="connsiteY319" fmla="*/ 1350642 h 2084191"/>
              <a:gd name="connsiteX320" fmla="*/ 989353 w 2051041"/>
              <a:gd name="connsiteY320" fmla="*/ 1323978 h 2084191"/>
              <a:gd name="connsiteX321" fmla="*/ 1152606 w 2051041"/>
              <a:gd name="connsiteY321" fmla="*/ 1322889 h 2084191"/>
              <a:gd name="connsiteX322" fmla="*/ 1181447 w 2051041"/>
              <a:gd name="connsiteY322" fmla="*/ 1350098 h 2084191"/>
              <a:gd name="connsiteX323" fmla="*/ 1152606 w 2051041"/>
              <a:gd name="connsiteY323" fmla="*/ 1379483 h 2084191"/>
              <a:gd name="connsiteX324" fmla="*/ 1124853 w 2051041"/>
              <a:gd name="connsiteY324" fmla="*/ 1350642 h 2084191"/>
              <a:gd name="connsiteX325" fmla="*/ 1152606 w 2051041"/>
              <a:gd name="connsiteY325" fmla="*/ 1322889 h 2084191"/>
              <a:gd name="connsiteX326" fmla="*/ 1315315 w 2051041"/>
              <a:gd name="connsiteY326" fmla="*/ 1318536 h 2084191"/>
              <a:gd name="connsiteX327" fmla="*/ 1347966 w 2051041"/>
              <a:gd name="connsiteY327" fmla="*/ 1350098 h 2084191"/>
              <a:gd name="connsiteX328" fmla="*/ 1315315 w 2051041"/>
              <a:gd name="connsiteY328" fmla="*/ 1381661 h 2084191"/>
              <a:gd name="connsiteX329" fmla="*/ 1284297 w 2051041"/>
              <a:gd name="connsiteY329" fmla="*/ 1350098 h 2084191"/>
              <a:gd name="connsiteX330" fmla="*/ 1315315 w 2051041"/>
              <a:gd name="connsiteY330" fmla="*/ 1318536 h 2084191"/>
              <a:gd name="connsiteX331" fmla="*/ 1480744 w 2051041"/>
              <a:gd name="connsiteY331" fmla="*/ 1317448 h 2084191"/>
              <a:gd name="connsiteX332" fmla="*/ 1512306 w 2051041"/>
              <a:gd name="connsiteY332" fmla="*/ 1351731 h 2084191"/>
              <a:gd name="connsiteX333" fmla="*/ 1477479 w 2051041"/>
              <a:gd name="connsiteY333" fmla="*/ 1383293 h 2084191"/>
              <a:gd name="connsiteX334" fmla="*/ 1446461 w 2051041"/>
              <a:gd name="connsiteY334" fmla="*/ 1349554 h 2084191"/>
              <a:gd name="connsiteX335" fmla="*/ 1480744 w 2051041"/>
              <a:gd name="connsiteY335" fmla="*/ 1317448 h 2084191"/>
              <a:gd name="connsiteX336" fmla="*/ 1642908 w 2051041"/>
              <a:gd name="connsiteY336" fmla="*/ 1315815 h 2084191"/>
              <a:gd name="connsiteX337" fmla="*/ 1676647 w 2051041"/>
              <a:gd name="connsiteY337" fmla="*/ 1351731 h 2084191"/>
              <a:gd name="connsiteX338" fmla="*/ 1640732 w 2051041"/>
              <a:gd name="connsiteY338" fmla="*/ 1383837 h 2084191"/>
              <a:gd name="connsiteX339" fmla="*/ 1608081 w 2051041"/>
              <a:gd name="connsiteY339" fmla="*/ 1349554 h 2084191"/>
              <a:gd name="connsiteX340" fmla="*/ 1642908 w 2051041"/>
              <a:gd name="connsiteY340" fmla="*/ 1315815 h 2084191"/>
              <a:gd name="connsiteX341" fmla="*/ 1968870 w 2051041"/>
              <a:gd name="connsiteY341" fmla="*/ 1314183 h 2084191"/>
              <a:gd name="connsiteX342" fmla="*/ 2005329 w 2051041"/>
              <a:gd name="connsiteY342" fmla="*/ 1351187 h 2084191"/>
              <a:gd name="connsiteX343" fmla="*/ 1967781 w 2051041"/>
              <a:gd name="connsiteY343" fmla="*/ 1388191 h 2084191"/>
              <a:gd name="connsiteX344" fmla="*/ 1931866 w 2051041"/>
              <a:gd name="connsiteY344" fmla="*/ 1350098 h 2084191"/>
              <a:gd name="connsiteX345" fmla="*/ 1968870 w 2051041"/>
              <a:gd name="connsiteY345" fmla="*/ 1314183 h 2084191"/>
              <a:gd name="connsiteX346" fmla="*/ 1806161 w 2051041"/>
              <a:gd name="connsiteY346" fmla="*/ 1313639 h 2084191"/>
              <a:gd name="connsiteX347" fmla="*/ 1841533 w 2051041"/>
              <a:gd name="connsiteY347" fmla="*/ 1351187 h 2084191"/>
              <a:gd name="connsiteX348" fmla="*/ 1830105 w 2051041"/>
              <a:gd name="connsiteY348" fmla="*/ 1376763 h 2084191"/>
              <a:gd name="connsiteX349" fmla="*/ 1803984 w 2051041"/>
              <a:gd name="connsiteY349" fmla="*/ 1387102 h 2084191"/>
              <a:gd name="connsiteX350" fmla="*/ 1768613 w 2051041"/>
              <a:gd name="connsiteY350" fmla="*/ 1350098 h 2084191"/>
              <a:gd name="connsiteX351" fmla="*/ 1806161 w 2051041"/>
              <a:gd name="connsiteY351" fmla="*/ 1313639 h 2084191"/>
              <a:gd name="connsiteX352" fmla="*/ 419057 w 2051041"/>
              <a:gd name="connsiteY352" fmla="*/ 1262486 h 2084191"/>
              <a:gd name="connsiteX353" fmla="*/ 424499 w 2051041"/>
              <a:gd name="connsiteY353" fmla="*/ 1269016 h 2084191"/>
              <a:gd name="connsiteX354" fmla="*/ 417969 w 2051041"/>
              <a:gd name="connsiteY354" fmla="*/ 1278811 h 2084191"/>
              <a:gd name="connsiteX355" fmla="*/ 411983 w 2051041"/>
              <a:gd name="connsiteY355" fmla="*/ 1269016 h 2084191"/>
              <a:gd name="connsiteX356" fmla="*/ 419057 w 2051041"/>
              <a:gd name="connsiteY356" fmla="*/ 1262486 h 2084191"/>
              <a:gd name="connsiteX357" fmla="*/ 581221 w 2051041"/>
              <a:gd name="connsiteY357" fmla="*/ 1252147 h 2084191"/>
              <a:gd name="connsiteX358" fmla="*/ 597547 w 2051041"/>
              <a:gd name="connsiteY358" fmla="*/ 1269017 h 2084191"/>
              <a:gd name="connsiteX359" fmla="*/ 580133 w 2051041"/>
              <a:gd name="connsiteY359" fmla="*/ 1284254 h 2084191"/>
              <a:gd name="connsiteX360" fmla="*/ 564896 w 2051041"/>
              <a:gd name="connsiteY360" fmla="*/ 1268472 h 2084191"/>
              <a:gd name="connsiteX361" fmla="*/ 581221 w 2051041"/>
              <a:gd name="connsiteY361" fmla="*/ 1252147 h 2084191"/>
              <a:gd name="connsiteX362" fmla="*/ 745018 w 2051041"/>
              <a:gd name="connsiteY362" fmla="*/ 1246705 h 2084191"/>
              <a:gd name="connsiteX363" fmla="*/ 766241 w 2051041"/>
              <a:gd name="connsiteY363" fmla="*/ 1269560 h 2084191"/>
              <a:gd name="connsiteX364" fmla="*/ 744474 w 2051041"/>
              <a:gd name="connsiteY364" fmla="*/ 1290783 h 2084191"/>
              <a:gd name="connsiteX365" fmla="*/ 722707 w 2051041"/>
              <a:gd name="connsiteY365" fmla="*/ 1267928 h 2084191"/>
              <a:gd name="connsiteX366" fmla="*/ 745018 w 2051041"/>
              <a:gd name="connsiteY366" fmla="*/ 1246705 h 2084191"/>
              <a:gd name="connsiteX367" fmla="*/ 907727 w 2051041"/>
              <a:gd name="connsiteY367" fmla="*/ 1241807 h 2084191"/>
              <a:gd name="connsiteX368" fmla="*/ 933847 w 2051041"/>
              <a:gd name="connsiteY368" fmla="*/ 1269016 h 2084191"/>
              <a:gd name="connsiteX369" fmla="*/ 907183 w 2051041"/>
              <a:gd name="connsiteY369" fmla="*/ 1295136 h 2084191"/>
              <a:gd name="connsiteX370" fmla="*/ 880518 w 2051041"/>
              <a:gd name="connsiteY370" fmla="*/ 1267927 h 2084191"/>
              <a:gd name="connsiteX371" fmla="*/ 907727 w 2051041"/>
              <a:gd name="connsiteY371" fmla="*/ 1241807 h 2084191"/>
              <a:gd name="connsiteX372" fmla="*/ 1070979 w 2051041"/>
              <a:gd name="connsiteY372" fmla="*/ 1240719 h 2084191"/>
              <a:gd name="connsiteX373" fmla="*/ 1099821 w 2051041"/>
              <a:gd name="connsiteY373" fmla="*/ 1268472 h 2084191"/>
              <a:gd name="connsiteX374" fmla="*/ 1070435 w 2051041"/>
              <a:gd name="connsiteY374" fmla="*/ 1297858 h 2084191"/>
              <a:gd name="connsiteX375" fmla="*/ 1042138 w 2051041"/>
              <a:gd name="connsiteY375" fmla="*/ 1269560 h 2084191"/>
              <a:gd name="connsiteX376" fmla="*/ 1070979 w 2051041"/>
              <a:gd name="connsiteY376" fmla="*/ 1240719 h 2084191"/>
              <a:gd name="connsiteX377" fmla="*/ 1234233 w 2051041"/>
              <a:gd name="connsiteY377" fmla="*/ 1235821 h 2084191"/>
              <a:gd name="connsiteX378" fmla="*/ 1266883 w 2051041"/>
              <a:gd name="connsiteY378" fmla="*/ 1269016 h 2084191"/>
              <a:gd name="connsiteX379" fmla="*/ 1234233 w 2051041"/>
              <a:gd name="connsiteY379" fmla="*/ 1300578 h 2084191"/>
              <a:gd name="connsiteX380" fmla="*/ 1201582 w 2051041"/>
              <a:gd name="connsiteY380" fmla="*/ 1267383 h 2084191"/>
              <a:gd name="connsiteX381" fmla="*/ 1234233 w 2051041"/>
              <a:gd name="connsiteY381" fmla="*/ 1235821 h 2084191"/>
              <a:gd name="connsiteX382" fmla="*/ 1396397 w 2051041"/>
              <a:gd name="connsiteY382" fmla="*/ 1234733 h 2084191"/>
              <a:gd name="connsiteX383" fmla="*/ 1431224 w 2051041"/>
              <a:gd name="connsiteY383" fmla="*/ 1268472 h 2084191"/>
              <a:gd name="connsiteX384" fmla="*/ 1396941 w 2051041"/>
              <a:gd name="connsiteY384" fmla="*/ 1302755 h 2084191"/>
              <a:gd name="connsiteX385" fmla="*/ 1363746 w 2051041"/>
              <a:gd name="connsiteY385" fmla="*/ 1269016 h 2084191"/>
              <a:gd name="connsiteX386" fmla="*/ 1396397 w 2051041"/>
              <a:gd name="connsiteY386" fmla="*/ 1234733 h 2084191"/>
              <a:gd name="connsiteX387" fmla="*/ 1559649 w 2051041"/>
              <a:gd name="connsiteY387" fmla="*/ 1232557 h 2084191"/>
              <a:gd name="connsiteX388" fmla="*/ 1597742 w 2051041"/>
              <a:gd name="connsiteY388" fmla="*/ 1268472 h 2084191"/>
              <a:gd name="connsiteX389" fmla="*/ 1561826 w 2051041"/>
              <a:gd name="connsiteY389" fmla="*/ 1305476 h 2084191"/>
              <a:gd name="connsiteX390" fmla="*/ 1523734 w 2051041"/>
              <a:gd name="connsiteY390" fmla="*/ 1269561 h 2084191"/>
              <a:gd name="connsiteX391" fmla="*/ 1559649 w 2051041"/>
              <a:gd name="connsiteY391" fmla="*/ 1232557 h 2084191"/>
              <a:gd name="connsiteX392" fmla="*/ 1723990 w 2051041"/>
              <a:gd name="connsiteY392" fmla="*/ 1231468 h 2084191"/>
              <a:gd name="connsiteX393" fmla="*/ 1762083 w 2051041"/>
              <a:gd name="connsiteY393" fmla="*/ 1268472 h 2084191"/>
              <a:gd name="connsiteX394" fmla="*/ 1724535 w 2051041"/>
              <a:gd name="connsiteY394" fmla="*/ 1307109 h 2084191"/>
              <a:gd name="connsiteX395" fmla="*/ 1686442 w 2051041"/>
              <a:gd name="connsiteY395" fmla="*/ 1270105 h 2084191"/>
              <a:gd name="connsiteX396" fmla="*/ 1723990 w 2051041"/>
              <a:gd name="connsiteY396" fmla="*/ 1231468 h 2084191"/>
              <a:gd name="connsiteX397" fmla="*/ 1888332 w 2051041"/>
              <a:gd name="connsiteY397" fmla="*/ 1230924 h 2084191"/>
              <a:gd name="connsiteX398" fmla="*/ 1925336 w 2051041"/>
              <a:gd name="connsiteY398" fmla="*/ 1269561 h 2084191"/>
              <a:gd name="connsiteX399" fmla="*/ 1887243 w 2051041"/>
              <a:gd name="connsiteY399" fmla="*/ 1307653 h 2084191"/>
              <a:gd name="connsiteX400" fmla="*/ 1849151 w 2051041"/>
              <a:gd name="connsiteY400" fmla="*/ 1267928 h 2084191"/>
              <a:gd name="connsiteX401" fmla="*/ 1888332 w 2051041"/>
              <a:gd name="connsiteY401" fmla="*/ 1230924 h 2084191"/>
              <a:gd name="connsiteX402" fmla="*/ 2049952 w 2051041"/>
              <a:gd name="connsiteY402" fmla="*/ 1230380 h 2084191"/>
              <a:gd name="connsiteX403" fmla="*/ 2051041 w 2051041"/>
              <a:gd name="connsiteY403" fmla="*/ 1230805 h 2084191"/>
              <a:gd name="connsiteX404" fmla="*/ 2051041 w 2051041"/>
              <a:gd name="connsiteY404" fmla="*/ 1307109 h 2084191"/>
              <a:gd name="connsiteX405" fmla="*/ 2012404 w 2051041"/>
              <a:gd name="connsiteY405" fmla="*/ 1268472 h 2084191"/>
              <a:gd name="connsiteX406" fmla="*/ 2049952 w 2051041"/>
              <a:gd name="connsiteY406" fmla="*/ 1230380 h 2084191"/>
              <a:gd name="connsiteX407" fmla="*/ 337431 w 2051041"/>
              <a:gd name="connsiteY407" fmla="*/ 1181404 h 2084191"/>
              <a:gd name="connsiteX408" fmla="*/ 345050 w 2051041"/>
              <a:gd name="connsiteY408" fmla="*/ 1187934 h 2084191"/>
              <a:gd name="connsiteX409" fmla="*/ 336343 w 2051041"/>
              <a:gd name="connsiteY409" fmla="*/ 1192288 h 2084191"/>
              <a:gd name="connsiteX410" fmla="*/ 330901 w 2051041"/>
              <a:gd name="connsiteY410" fmla="*/ 1185758 h 2084191"/>
              <a:gd name="connsiteX411" fmla="*/ 337431 w 2051041"/>
              <a:gd name="connsiteY411" fmla="*/ 1181404 h 2084191"/>
              <a:gd name="connsiteX412" fmla="*/ 499051 w 2051041"/>
              <a:gd name="connsiteY412" fmla="*/ 1171065 h 2084191"/>
              <a:gd name="connsiteX413" fmla="*/ 516465 w 2051041"/>
              <a:gd name="connsiteY413" fmla="*/ 1187390 h 2084191"/>
              <a:gd name="connsiteX414" fmla="*/ 500140 w 2051041"/>
              <a:gd name="connsiteY414" fmla="*/ 1202627 h 2084191"/>
              <a:gd name="connsiteX415" fmla="*/ 483814 w 2051041"/>
              <a:gd name="connsiteY415" fmla="*/ 1187390 h 2084191"/>
              <a:gd name="connsiteX416" fmla="*/ 499051 w 2051041"/>
              <a:gd name="connsiteY416" fmla="*/ 1171065 h 2084191"/>
              <a:gd name="connsiteX417" fmla="*/ 662848 w 2051041"/>
              <a:gd name="connsiteY417" fmla="*/ 1165623 h 2084191"/>
              <a:gd name="connsiteX418" fmla="*/ 684615 w 2051041"/>
              <a:gd name="connsiteY418" fmla="*/ 1187390 h 2084191"/>
              <a:gd name="connsiteX419" fmla="*/ 662848 w 2051041"/>
              <a:gd name="connsiteY419" fmla="*/ 1209157 h 2084191"/>
              <a:gd name="connsiteX420" fmla="*/ 641081 w 2051041"/>
              <a:gd name="connsiteY420" fmla="*/ 1186846 h 2084191"/>
              <a:gd name="connsiteX421" fmla="*/ 662848 w 2051041"/>
              <a:gd name="connsiteY421" fmla="*/ 1165623 h 2084191"/>
              <a:gd name="connsiteX422" fmla="*/ 825556 w 2051041"/>
              <a:gd name="connsiteY422" fmla="*/ 1160725 h 2084191"/>
              <a:gd name="connsiteX423" fmla="*/ 852765 w 2051041"/>
              <a:gd name="connsiteY423" fmla="*/ 1186846 h 2084191"/>
              <a:gd name="connsiteX424" fmla="*/ 826645 w 2051041"/>
              <a:gd name="connsiteY424" fmla="*/ 1213511 h 2084191"/>
              <a:gd name="connsiteX425" fmla="*/ 798892 w 2051041"/>
              <a:gd name="connsiteY425" fmla="*/ 1188479 h 2084191"/>
              <a:gd name="connsiteX426" fmla="*/ 825556 w 2051041"/>
              <a:gd name="connsiteY426" fmla="*/ 1160725 h 2084191"/>
              <a:gd name="connsiteX427" fmla="*/ 989353 w 2051041"/>
              <a:gd name="connsiteY427" fmla="*/ 1158004 h 2084191"/>
              <a:gd name="connsiteX428" fmla="*/ 1018195 w 2051041"/>
              <a:gd name="connsiteY428" fmla="*/ 1187934 h 2084191"/>
              <a:gd name="connsiteX429" fmla="*/ 988809 w 2051041"/>
              <a:gd name="connsiteY429" fmla="*/ 1216775 h 2084191"/>
              <a:gd name="connsiteX430" fmla="*/ 959968 w 2051041"/>
              <a:gd name="connsiteY430" fmla="*/ 1187934 h 2084191"/>
              <a:gd name="connsiteX431" fmla="*/ 989353 w 2051041"/>
              <a:gd name="connsiteY431" fmla="*/ 1158004 h 2084191"/>
              <a:gd name="connsiteX432" fmla="*/ 1152062 w 2051041"/>
              <a:gd name="connsiteY432" fmla="*/ 1153651 h 2084191"/>
              <a:gd name="connsiteX433" fmla="*/ 1185801 w 2051041"/>
              <a:gd name="connsiteY433" fmla="*/ 1186301 h 2084191"/>
              <a:gd name="connsiteX434" fmla="*/ 1153150 w 2051041"/>
              <a:gd name="connsiteY434" fmla="*/ 1219496 h 2084191"/>
              <a:gd name="connsiteX435" fmla="*/ 1119956 w 2051041"/>
              <a:gd name="connsiteY435" fmla="*/ 1187390 h 2084191"/>
              <a:gd name="connsiteX436" fmla="*/ 1152062 w 2051041"/>
              <a:gd name="connsiteY436" fmla="*/ 1153651 h 2084191"/>
              <a:gd name="connsiteX437" fmla="*/ 1315315 w 2051041"/>
              <a:gd name="connsiteY437" fmla="*/ 1152018 h 2084191"/>
              <a:gd name="connsiteX438" fmla="*/ 1351230 w 2051041"/>
              <a:gd name="connsiteY438" fmla="*/ 1186845 h 2084191"/>
              <a:gd name="connsiteX439" fmla="*/ 1315859 w 2051041"/>
              <a:gd name="connsiteY439" fmla="*/ 1221673 h 2084191"/>
              <a:gd name="connsiteX440" fmla="*/ 1281576 w 2051041"/>
              <a:gd name="connsiteY440" fmla="*/ 1187390 h 2084191"/>
              <a:gd name="connsiteX441" fmla="*/ 1315315 w 2051041"/>
              <a:gd name="connsiteY441" fmla="*/ 1152018 h 2084191"/>
              <a:gd name="connsiteX442" fmla="*/ 1479656 w 2051041"/>
              <a:gd name="connsiteY442" fmla="*/ 1149298 h 2084191"/>
              <a:gd name="connsiteX443" fmla="*/ 1516660 w 2051041"/>
              <a:gd name="connsiteY443" fmla="*/ 1188479 h 2084191"/>
              <a:gd name="connsiteX444" fmla="*/ 1478023 w 2051041"/>
              <a:gd name="connsiteY444" fmla="*/ 1224394 h 2084191"/>
              <a:gd name="connsiteX445" fmla="*/ 1441563 w 2051041"/>
              <a:gd name="connsiteY445" fmla="*/ 1185758 h 2084191"/>
              <a:gd name="connsiteX446" fmla="*/ 1479656 w 2051041"/>
              <a:gd name="connsiteY446" fmla="*/ 1149298 h 2084191"/>
              <a:gd name="connsiteX447" fmla="*/ 1642365 w 2051041"/>
              <a:gd name="connsiteY447" fmla="*/ 1148209 h 2084191"/>
              <a:gd name="connsiteX448" fmla="*/ 1681001 w 2051041"/>
              <a:gd name="connsiteY448" fmla="*/ 1187390 h 2084191"/>
              <a:gd name="connsiteX449" fmla="*/ 1641821 w 2051041"/>
              <a:gd name="connsiteY449" fmla="*/ 1226026 h 2084191"/>
              <a:gd name="connsiteX450" fmla="*/ 1603728 w 2051041"/>
              <a:gd name="connsiteY450" fmla="*/ 1186846 h 2084191"/>
              <a:gd name="connsiteX451" fmla="*/ 1642365 w 2051041"/>
              <a:gd name="connsiteY451" fmla="*/ 1148209 h 2084191"/>
              <a:gd name="connsiteX452" fmla="*/ 1969414 w 2051041"/>
              <a:gd name="connsiteY452" fmla="*/ 1147665 h 2084191"/>
              <a:gd name="connsiteX453" fmla="*/ 2009139 w 2051041"/>
              <a:gd name="connsiteY453" fmla="*/ 1187934 h 2084191"/>
              <a:gd name="connsiteX454" fmla="*/ 1968870 w 2051041"/>
              <a:gd name="connsiteY454" fmla="*/ 1227114 h 2084191"/>
              <a:gd name="connsiteX455" fmla="*/ 1929145 w 2051041"/>
              <a:gd name="connsiteY455" fmla="*/ 1186301 h 2084191"/>
              <a:gd name="connsiteX456" fmla="*/ 1969414 w 2051041"/>
              <a:gd name="connsiteY456" fmla="*/ 1147665 h 2084191"/>
              <a:gd name="connsiteX457" fmla="*/ 1805617 w 2051041"/>
              <a:gd name="connsiteY457" fmla="*/ 1147665 h 2084191"/>
              <a:gd name="connsiteX458" fmla="*/ 1844798 w 2051041"/>
              <a:gd name="connsiteY458" fmla="*/ 1187934 h 2084191"/>
              <a:gd name="connsiteX459" fmla="*/ 1805073 w 2051041"/>
              <a:gd name="connsiteY459" fmla="*/ 1226571 h 2084191"/>
              <a:gd name="connsiteX460" fmla="*/ 1766981 w 2051041"/>
              <a:gd name="connsiteY460" fmla="*/ 1186845 h 2084191"/>
              <a:gd name="connsiteX461" fmla="*/ 1805617 w 2051041"/>
              <a:gd name="connsiteY461" fmla="*/ 1147665 h 2084191"/>
              <a:gd name="connsiteX462" fmla="*/ 417425 w 2051041"/>
              <a:gd name="connsiteY462" fmla="*/ 1090527 h 2084191"/>
              <a:gd name="connsiteX463" fmla="*/ 432662 w 2051041"/>
              <a:gd name="connsiteY463" fmla="*/ 1105764 h 2084191"/>
              <a:gd name="connsiteX464" fmla="*/ 417969 w 2051041"/>
              <a:gd name="connsiteY464" fmla="*/ 1120457 h 2084191"/>
              <a:gd name="connsiteX465" fmla="*/ 402732 w 2051041"/>
              <a:gd name="connsiteY465" fmla="*/ 1105219 h 2084191"/>
              <a:gd name="connsiteX466" fmla="*/ 417425 w 2051041"/>
              <a:gd name="connsiteY466" fmla="*/ 1090527 h 2084191"/>
              <a:gd name="connsiteX467" fmla="*/ 580677 w 2051041"/>
              <a:gd name="connsiteY467" fmla="*/ 1083996 h 2084191"/>
              <a:gd name="connsiteX468" fmla="*/ 602444 w 2051041"/>
              <a:gd name="connsiteY468" fmla="*/ 1105219 h 2084191"/>
              <a:gd name="connsiteX469" fmla="*/ 581221 w 2051041"/>
              <a:gd name="connsiteY469" fmla="*/ 1127530 h 2084191"/>
              <a:gd name="connsiteX470" fmla="*/ 558910 w 2051041"/>
              <a:gd name="connsiteY470" fmla="*/ 1105219 h 2084191"/>
              <a:gd name="connsiteX471" fmla="*/ 580677 w 2051041"/>
              <a:gd name="connsiteY471" fmla="*/ 1083996 h 2084191"/>
              <a:gd name="connsiteX472" fmla="*/ 743386 w 2051041"/>
              <a:gd name="connsiteY472" fmla="*/ 1079099 h 2084191"/>
              <a:gd name="connsiteX473" fmla="*/ 770595 w 2051041"/>
              <a:gd name="connsiteY473" fmla="*/ 1105219 h 2084191"/>
              <a:gd name="connsiteX474" fmla="*/ 745019 w 2051041"/>
              <a:gd name="connsiteY474" fmla="*/ 1132428 h 2084191"/>
              <a:gd name="connsiteX475" fmla="*/ 717810 w 2051041"/>
              <a:gd name="connsiteY475" fmla="*/ 1106308 h 2084191"/>
              <a:gd name="connsiteX476" fmla="*/ 743386 w 2051041"/>
              <a:gd name="connsiteY476" fmla="*/ 1079099 h 2084191"/>
              <a:gd name="connsiteX477" fmla="*/ 907727 w 2051041"/>
              <a:gd name="connsiteY477" fmla="*/ 1076378 h 2084191"/>
              <a:gd name="connsiteX478" fmla="*/ 937112 w 2051041"/>
              <a:gd name="connsiteY478" fmla="*/ 1105219 h 2084191"/>
              <a:gd name="connsiteX479" fmla="*/ 908271 w 2051041"/>
              <a:gd name="connsiteY479" fmla="*/ 1134061 h 2084191"/>
              <a:gd name="connsiteX480" fmla="*/ 878885 w 2051041"/>
              <a:gd name="connsiteY480" fmla="*/ 1105764 h 2084191"/>
              <a:gd name="connsiteX481" fmla="*/ 907727 w 2051041"/>
              <a:gd name="connsiteY481" fmla="*/ 1076378 h 2084191"/>
              <a:gd name="connsiteX482" fmla="*/ 1071524 w 2051041"/>
              <a:gd name="connsiteY482" fmla="*/ 1072569 h 2084191"/>
              <a:gd name="connsiteX483" fmla="*/ 1104174 w 2051041"/>
              <a:gd name="connsiteY483" fmla="*/ 1105220 h 2084191"/>
              <a:gd name="connsiteX484" fmla="*/ 1070435 w 2051041"/>
              <a:gd name="connsiteY484" fmla="*/ 1137870 h 2084191"/>
              <a:gd name="connsiteX485" fmla="*/ 1038329 w 2051041"/>
              <a:gd name="connsiteY485" fmla="*/ 1105764 h 2084191"/>
              <a:gd name="connsiteX486" fmla="*/ 1071524 w 2051041"/>
              <a:gd name="connsiteY486" fmla="*/ 1072569 h 2084191"/>
              <a:gd name="connsiteX487" fmla="*/ 1235865 w 2051041"/>
              <a:gd name="connsiteY487" fmla="*/ 1068760 h 2084191"/>
              <a:gd name="connsiteX488" fmla="*/ 1271237 w 2051041"/>
              <a:gd name="connsiteY488" fmla="*/ 1106852 h 2084191"/>
              <a:gd name="connsiteX489" fmla="*/ 1234777 w 2051041"/>
              <a:gd name="connsiteY489" fmla="*/ 1142223 h 2084191"/>
              <a:gd name="connsiteX490" fmla="*/ 1198861 w 2051041"/>
              <a:gd name="connsiteY490" fmla="*/ 1105219 h 2084191"/>
              <a:gd name="connsiteX491" fmla="*/ 1235865 w 2051041"/>
              <a:gd name="connsiteY491" fmla="*/ 1068760 h 2084191"/>
              <a:gd name="connsiteX492" fmla="*/ 1396397 w 2051041"/>
              <a:gd name="connsiteY492" fmla="*/ 1067127 h 2084191"/>
              <a:gd name="connsiteX493" fmla="*/ 1435578 w 2051041"/>
              <a:gd name="connsiteY493" fmla="*/ 1105219 h 2084191"/>
              <a:gd name="connsiteX494" fmla="*/ 1396941 w 2051041"/>
              <a:gd name="connsiteY494" fmla="*/ 1143856 h 2084191"/>
              <a:gd name="connsiteX495" fmla="*/ 1358849 w 2051041"/>
              <a:gd name="connsiteY495" fmla="*/ 1105763 h 2084191"/>
              <a:gd name="connsiteX496" fmla="*/ 1396397 w 2051041"/>
              <a:gd name="connsiteY496" fmla="*/ 1067127 h 2084191"/>
              <a:gd name="connsiteX497" fmla="*/ 1560738 w 2051041"/>
              <a:gd name="connsiteY497" fmla="*/ 1066582 h 2084191"/>
              <a:gd name="connsiteX498" fmla="*/ 1599919 w 2051041"/>
              <a:gd name="connsiteY498" fmla="*/ 1105763 h 2084191"/>
              <a:gd name="connsiteX499" fmla="*/ 1560738 w 2051041"/>
              <a:gd name="connsiteY499" fmla="*/ 1144400 h 2084191"/>
              <a:gd name="connsiteX500" fmla="*/ 1521013 w 2051041"/>
              <a:gd name="connsiteY500" fmla="*/ 1105763 h 2084191"/>
              <a:gd name="connsiteX501" fmla="*/ 1560738 w 2051041"/>
              <a:gd name="connsiteY501" fmla="*/ 1066582 h 2084191"/>
              <a:gd name="connsiteX502" fmla="*/ 1723447 w 2051041"/>
              <a:gd name="connsiteY502" fmla="*/ 1064406 h 2084191"/>
              <a:gd name="connsiteX503" fmla="*/ 1764260 w 2051041"/>
              <a:gd name="connsiteY503" fmla="*/ 1104675 h 2084191"/>
              <a:gd name="connsiteX504" fmla="*/ 1724535 w 2051041"/>
              <a:gd name="connsiteY504" fmla="*/ 1146032 h 2084191"/>
              <a:gd name="connsiteX505" fmla="*/ 1683178 w 2051041"/>
              <a:gd name="connsiteY505" fmla="*/ 1105764 h 2084191"/>
              <a:gd name="connsiteX506" fmla="*/ 1723447 w 2051041"/>
              <a:gd name="connsiteY506" fmla="*/ 1064406 h 2084191"/>
              <a:gd name="connsiteX507" fmla="*/ 2051041 w 2051041"/>
              <a:gd name="connsiteY507" fmla="*/ 1063318 h 2084191"/>
              <a:gd name="connsiteX508" fmla="*/ 2051041 w 2051041"/>
              <a:gd name="connsiteY508" fmla="*/ 1147740 h 2084191"/>
              <a:gd name="connsiteX509" fmla="*/ 2049952 w 2051041"/>
              <a:gd name="connsiteY509" fmla="*/ 1148210 h 2084191"/>
              <a:gd name="connsiteX510" fmla="*/ 2008051 w 2051041"/>
              <a:gd name="connsiteY510" fmla="*/ 1105764 h 2084191"/>
              <a:gd name="connsiteX511" fmla="*/ 2051041 w 2051041"/>
              <a:gd name="connsiteY511" fmla="*/ 1063318 h 2084191"/>
              <a:gd name="connsiteX512" fmla="*/ 1887787 w 2051041"/>
              <a:gd name="connsiteY512" fmla="*/ 1062773 h 2084191"/>
              <a:gd name="connsiteX513" fmla="*/ 1929145 w 2051041"/>
              <a:gd name="connsiteY513" fmla="*/ 1105763 h 2084191"/>
              <a:gd name="connsiteX514" fmla="*/ 1886699 w 2051041"/>
              <a:gd name="connsiteY514" fmla="*/ 1147665 h 2084191"/>
              <a:gd name="connsiteX515" fmla="*/ 1844798 w 2051041"/>
              <a:gd name="connsiteY515" fmla="*/ 1105219 h 2084191"/>
              <a:gd name="connsiteX516" fmla="*/ 1887787 w 2051041"/>
              <a:gd name="connsiteY516" fmla="*/ 1062773 h 2084191"/>
              <a:gd name="connsiteX517" fmla="*/ 335798 w 2051041"/>
              <a:gd name="connsiteY517" fmla="*/ 1011621 h 2084191"/>
              <a:gd name="connsiteX518" fmla="*/ 348314 w 2051041"/>
              <a:gd name="connsiteY518" fmla="*/ 1023049 h 2084191"/>
              <a:gd name="connsiteX519" fmla="*/ 336886 w 2051041"/>
              <a:gd name="connsiteY519" fmla="*/ 1036109 h 2084191"/>
              <a:gd name="connsiteX520" fmla="*/ 324370 w 2051041"/>
              <a:gd name="connsiteY520" fmla="*/ 1024681 h 2084191"/>
              <a:gd name="connsiteX521" fmla="*/ 335798 w 2051041"/>
              <a:gd name="connsiteY521" fmla="*/ 1011621 h 2084191"/>
              <a:gd name="connsiteX522" fmla="*/ 499051 w 2051041"/>
              <a:gd name="connsiteY522" fmla="*/ 1002914 h 2084191"/>
              <a:gd name="connsiteX523" fmla="*/ 520818 w 2051041"/>
              <a:gd name="connsiteY523" fmla="*/ 1024137 h 2084191"/>
              <a:gd name="connsiteX524" fmla="*/ 499595 w 2051041"/>
              <a:gd name="connsiteY524" fmla="*/ 1045360 h 2084191"/>
              <a:gd name="connsiteX525" fmla="*/ 478372 w 2051041"/>
              <a:gd name="connsiteY525" fmla="*/ 1024137 h 2084191"/>
              <a:gd name="connsiteX526" fmla="*/ 499051 w 2051041"/>
              <a:gd name="connsiteY526" fmla="*/ 1002914 h 2084191"/>
              <a:gd name="connsiteX527" fmla="*/ 663392 w 2051041"/>
              <a:gd name="connsiteY527" fmla="*/ 997473 h 2084191"/>
              <a:gd name="connsiteX528" fmla="*/ 688424 w 2051041"/>
              <a:gd name="connsiteY528" fmla="*/ 1024138 h 2084191"/>
              <a:gd name="connsiteX529" fmla="*/ 661759 w 2051041"/>
              <a:gd name="connsiteY529" fmla="*/ 1050258 h 2084191"/>
              <a:gd name="connsiteX530" fmla="*/ 636727 w 2051041"/>
              <a:gd name="connsiteY530" fmla="*/ 1023593 h 2084191"/>
              <a:gd name="connsiteX531" fmla="*/ 663392 w 2051041"/>
              <a:gd name="connsiteY531" fmla="*/ 997473 h 2084191"/>
              <a:gd name="connsiteX532" fmla="*/ 826645 w 2051041"/>
              <a:gd name="connsiteY532" fmla="*/ 995840 h 2084191"/>
              <a:gd name="connsiteX533" fmla="*/ 854942 w 2051041"/>
              <a:gd name="connsiteY533" fmla="*/ 1024137 h 2084191"/>
              <a:gd name="connsiteX534" fmla="*/ 825557 w 2051041"/>
              <a:gd name="connsiteY534" fmla="*/ 1052978 h 2084191"/>
              <a:gd name="connsiteX535" fmla="*/ 797260 w 2051041"/>
              <a:gd name="connsiteY535" fmla="*/ 1023593 h 2084191"/>
              <a:gd name="connsiteX536" fmla="*/ 826645 w 2051041"/>
              <a:gd name="connsiteY536" fmla="*/ 995840 h 2084191"/>
              <a:gd name="connsiteX537" fmla="*/ 990441 w 2051041"/>
              <a:gd name="connsiteY537" fmla="*/ 990942 h 2084191"/>
              <a:gd name="connsiteX538" fmla="*/ 1022548 w 2051041"/>
              <a:gd name="connsiteY538" fmla="*/ 1025225 h 2084191"/>
              <a:gd name="connsiteX539" fmla="*/ 988809 w 2051041"/>
              <a:gd name="connsiteY539" fmla="*/ 1056787 h 2084191"/>
              <a:gd name="connsiteX540" fmla="*/ 956702 w 2051041"/>
              <a:gd name="connsiteY540" fmla="*/ 1023593 h 2084191"/>
              <a:gd name="connsiteX541" fmla="*/ 990441 w 2051041"/>
              <a:gd name="connsiteY541" fmla="*/ 990942 h 2084191"/>
              <a:gd name="connsiteX542" fmla="*/ 1150974 w 2051041"/>
              <a:gd name="connsiteY542" fmla="*/ 987678 h 2084191"/>
              <a:gd name="connsiteX543" fmla="*/ 1189610 w 2051041"/>
              <a:gd name="connsiteY543" fmla="*/ 1023593 h 2084191"/>
              <a:gd name="connsiteX544" fmla="*/ 1152062 w 2051041"/>
              <a:gd name="connsiteY544" fmla="*/ 1061685 h 2084191"/>
              <a:gd name="connsiteX545" fmla="*/ 1115058 w 2051041"/>
              <a:gd name="connsiteY545" fmla="*/ 1024682 h 2084191"/>
              <a:gd name="connsiteX546" fmla="*/ 1150974 w 2051041"/>
              <a:gd name="connsiteY546" fmla="*/ 987678 h 2084191"/>
              <a:gd name="connsiteX547" fmla="*/ 1315314 w 2051041"/>
              <a:gd name="connsiteY547" fmla="*/ 985501 h 2084191"/>
              <a:gd name="connsiteX548" fmla="*/ 1354495 w 2051041"/>
              <a:gd name="connsiteY548" fmla="*/ 1023593 h 2084191"/>
              <a:gd name="connsiteX549" fmla="*/ 1315858 w 2051041"/>
              <a:gd name="connsiteY549" fmla="*/ 1062230 h 2084191"/>
              <a:gd name="connsiteX550" fmla="*/ 1277222 w 2051041"/>
              <a:gd name="connsiteY550" fmla="*/ 1024137 h 2084191"/>
              <a:gd name="connsiteX551" fmla="*/ 1315314 w 2051041"/>
              <a:gd name="connsiteY551" fmla="*/ 985501 h 2084191"/>
              <a:gd name="connsiteX552" fmla="*/ 1479656 w 2051041"/>
              <a:gd name="connsiteY552" fmla="*/ 984412 h 2084191"/>
              <a:gd name="connsiteX553" fmla="*/ 1519380 w 2051041"/>
              <a:gd name="connsiteY553" fmla="*/ 1025225 h 2084191"/>
              <a:gd name="connsiteX554" fmla="*/ 1478567 w 2051041"/>
              <a:gd name="connsiteY554" fmla="*/ 1063318 h 2084191"/>
              <a:gd name="connsiteX555" fmla="*/ 1439387 w 2051041"/>
              <a:gd name="connsiteY555" fmla="*/ 1023593 h 2084191"/>
              <a:gd name="connsiteX556" fmla="*/ 1479656 w 2051041"/>
              <a:gd name="connsiteY556" fmla="*/ 984412 h 2084191"/>
              <a:gd name="connsiteX557" fmla="*/ 1641820 w 2051041"/>
              <a:gd name="connsiteY557" fmla="*/ 981691 h 2084191"/>
              <a:gd name="connsiteX558" fmla="*/ 1684810 w 2051041"/>
              <a:gd name="connsiteY558" fmla="*/ 1023592 h 2084191"/>
              <a:gd name="connsiteX559" fmla="*/ 1642909 w 2051041"/>
              <a:gd name="connsiteY559" fmla="*/ 1066038 h 2084191"/>
              <a:gd name="connsiteX560" fmla="*/ 1599919 w 2051041"/>
              <a:gd name="connsiteY560" fmla="*/ 1023592 h 2084191"/>
              <a:gd name="connsiteX561" fmla="*/ 1641820 w 2051041"/>
              <a:gd name="connsiteY561" fmla="*/ 981691 h 2084191"/>
              <a:gd name="connsiteX562" fmla="*/ 1806161 w 2051041"/>
              <a:gd name="connsiteY562" fmla="*/ 980603 h 2084191"/>
              <a:gd name="connsiteX563" fmla="*/ 1849151 w 2051041"/>
              <a:gd name="connsiteY563" fmla="*/ 1023592 h 2084191"/>
              <a:gd name="connsiteX564" fmla="*/ 1805617 w 2051041"/>
              <a:gd name="connsiteY564" fmla="*/ 1067127 h 2084191"/>
              <a:gd name="connsiteX565" fmla="*/ 1762083 w 2051041"/>
              <a:gd name="connsiteY565" fmla="*/ 1023592 h 2084191"/>
              <a:gd name="connsiteX566" fmla="*/ 1806161 w 2051041"/>
              <a:gd name="connsiteY566" fmla="*/ 980603 h 2084191"/>
              <a:gd name="connsiteX567" fmla="*/ 1969414 w 2051041"/>
              <a:gd name="connsiteY567" fmla="*/ 980059 h 2084191"/>
              <a:gd name="connsiteX568" fmla="*/ 2012404 w 2051041"/>
              <a:gd name="connsiteY568" fmla="*/ 1024137 h 2084191"/>
              <a:gd name="connsiteX569" fmla="*/ 1968870 w 2051041"/>
              <a:gd name="connsiteY569" fmla="*/ 1067127 h 2084191"/>
              <a:gd name="connsiteX570" fmla="*/ 1924792 w 2051041"/>
              <a:gd name="connsiteY570" fmla="*/ 1024137 h 2084191"/>
              <a:gd name="connsiteX571" fmla="*/ 1969414 w 2051041"/>
              <a:gd name="connsiteY571" fmla="*/ 980059 h 2084191"/>
              <a:gd name="connsiteX572" fmla="*/ 254171 w 2051041"/>
              <a:gd name="connsiteY572" fmla="*/ 931083 h 2084191"/>
              <a:gd name="connsiteX573" fmla="*/ 265599 w 2051041"/>
              <a:gd name="connsiteY573" fmla="*/ 941967 h 2084191"/>
              <a:gd name="connsiteX574" fmla="*/ 254171 w 2051041"/>
              <a:gd name="connsiteY574" fmla="*/ 952850 h 2084191"/>
              <a:gd name="connsiteX575" fmla="*/ 243832 w 2051041"/>
              <a:gd name="connsiteY575" fmla="*/ 941967 h 2084191"/>
              <a:gd name="connsiteX576" fmla="*/ 254171 w 2051041"/>
              <a:gd name="connsiteY576" fmla="*/ 931083 h 2084191"/>
              <a:gd name="connsiteX577" fmla="*/ 417968 w 2051041"/>
              <a:gd name="connsiteY577" fmla="*/ 922377 h 2084191"/>
              <a:gd name="connsiteX578" fmla="*/ 437559 w 2051041"/>
              <a:gd name="connsiteY578" fmla="*/ 942511 h 2084191"/>
              <a:gd name="connsiteX579" fmla="*/ 417968 w 2051041"/>
              <a:gd name="connsiteY579" fmla="*/ 961557 h 2084191"/>
              <a:gd name="connsiteX580" fmla="*/ 397834 w 2051041"/>
              <a:gd name="connsiteY580" fmla="*/ 941423 h 2084191"/>
              <a:gd name="connsiteX581" fmla="*/ 417968 w 2051041"/>
              <a:gd name="connsiteY581" fmla="*/ 922377 h 2084191"/>
              <a:gd name="connsiteX582" fmla="*/ 581222 w 2051041"/>
              <a:gd name="connsiteY582" fmla="*/ 916934 h 2084191"/>
              <a:gd name="connsiteX583" fmla="*/ 606798 w 2051041"/>
              <a:gd name="connsiteY583" fmla="*/ 943054 h 2084191"/>
              <a:gd name="connsiteX584" fmla="*/ 581222 w 2051041"/>
              <a:gd name="connsiteY584" fmla="*/ 967542 h 2084191"/>
              <a:gd name="connsiteX585" fmla="*/ 556190 w 2051041"/>
              <a:gd name="connsiteY585" fmla="*/ 943054 h 2084191"/>
              <a:gd name="connsiteX586" fmla="*/ 581222 w 2051041"/>
              <a:gd name="connsiteY586" fmla="*/ 916934 h 2084191"/>
              <a:gd name="connsiteX587" fmla="*/ 744474 w 2051041"/>
              <a:gd name="connsiteY587" fmla="*/ 913669 h 2084191"/>
              <a:gd name="connsiteX588" fmla="*/ 773315 w 2051041"/>
              <a:gd name="connsiteY588" fmla="*/ 942510 h 2084191"/>
              <a:gd name="connsiteX589" fmla="*/ 743930 w 2051041"/>
              <a:gd name="connsiteY589" fmla="*/ 970807 h 2084191"/>
              <a:gd name="connsiteX590" fmla="*/ 716177 w 2051041"/>
              <a:gd name="connsiteY590" fmla="*/ 941966 h 2084191"/>
              <a:gd name="connsiteX591" fmla="*/ 744474 w 2051041"/>
              <a:gd name="connsiteY591" fmla="*/ 913669 h 2084191"/>
              <a:gd name="connsiteX592" fmla="*/ 908271 w 2051041"/>
              <a:gd name="connsiteY592" fmla="*/ 908772 h 2084191"/>
              <a:gd name="connsiteX593" fmla="*/ 940377 w 2051041"/>
              <a:gd name="connsiteY593" fmla="*/ 944144 h 2084191"/>
              <a:gd name="connsiteX594" fmla="*/ 906094 w 2051041"/>
              <a:gd name="connsiteY594" fmla="*/ 975162 h 2084191"/>
              <a:gd name="connsiteX595" fmla="*/ 874532 w 2051041"/>
              <a:gd name="connsiteY595" fmla="*/ 940879 h 2084191"/>
              <a:gd name="connsiteX596" fmla="*/ 908271 w 2051041"/>
              <a:gd name="connsiteY596" fmla="*/ 908772 h 2084191"/>
              <a:gd name="connsiteX597" fmla="*/ 1072068 w 2051041"/>
              <a:gd name="connsiteY597" fmla="*/ 906051 h 2084191"/>
              <a:gd name="connsiteX598" fmla="*/ 1107984 w 2051041"/>
              <a:gd name="connsiteY598" fmla="*/ 942511 h 2084191"/>
              <a:gd name="connsiteX599" fmla="*/ 1070980 w 2051041"/>
              <a:gd name="connsiteY599" fmla="*/ 979515 h 2084191"/>
              <a:gd name="connsiteX600" fmla="*/ 1034520 w 2051041"/>
              <a:gd name="connsiteY600" fmla="*/ 942511 h 2084191"/>
              <a:gd name="connsiteX601" fmla="*/ 1072068 w 2051041"/>
              <a:gd name="connsiteY601" fmla="*/ 906051 h 2084191"/>
              <a:gd name="connsiteX602" fmla="*/ 1235321 w 2051041"/>
              <a:gd name="connsiteY602" fmla="*/ 903874 h 2084191"/>
              <a:gd name="connsiteX603" fmla="*/ 1272325 w 2051041"/>
              <a:gd name="connsiteY603" fmla="*/ 943054 h 2084191"/>
              <a:gd name="connsiteX604" fmla="*/ 1233688 w 2051041"/>
              <a:gd name="connsiteY604" fmla="*/ 981147 h 2084191"/>
              <a:gd name="connsiteX605" fmla="*/ 1195596 w 2051041"/>
              <a:gd name="connsiteY605" fmla="*/ 940878 h 2084191"/>
              <a:gd name="connsiteX606" fmla="*/ 1235321 w 2051041"/>
              <a:gd name="connsiteY606" fmla="*/ 903874 h 2084191"/>
              <a:gd name="connsiteX607" fmla="*/ 1397486 w 2051041"/>
              <a:gd name="connsiteY607" fmla="*/ 901153 h 2084191"/>
              <a:gd name="connsiteX608" fmla="*/ 1438299 w 2051041"/>
              <a:gd name="connsiteY608" fmla="*/ 942511 h 2084191"/>
              <a:gd name="connsiteX609" fmla="*/ 1396941 w 2051041"/>
              <a:gd name="connsiteY609" fmla="*/ 983324 h 2084191"/>
              <a:gd name="connsiteX610" fmla="*/ 1356128 w 2051041"/>
              <a:gd name="connsiteY610" fmla="*/ 941967 h 2084191"/>
              <a:gd name="connsiteX611" fmla="*/ 1397486 w 2051041"/>
              <a:gd name="connsiteY611" fmla="*/ 901153 h 2084191"/>
              <a:gd name="connsiteX612" fmla="*/ 1560738 w 2051041"/>
              <a:gd name="connsiteY612" fmla="*/ 898977 h 2084191"/>
              <a:gd name="connsiteX613" fmla="*/ 1603728 w 2051041"/>
              <a:gd name="connsiteY613" fmla="*/ 942511 h 2084191"/>
              <a:gd name="connsiteX614" fmla="*/ 1560738 w 2051041"/>
              <a:gd name="connsiteY614" fmla="*/ 985501 h 2084191"/>
              <a:gd name="connsiteX615" fmla="*/ 1517204 w 2051041"/>
              <a:gd name="connsiteY615" fmla="*/ 941423 h 2084191"/>
              <a:gd name="connsiteX616" fmla="*/ 1560738 w 2051041"/>
              <a:gd name="connsiteY616" fmla="*/ 898977 h 2084191"/>
              <a:gd name="connsiteX617" fmla="*/ 1723990 w 2051041"/>
              <a:gd name="connsiteY617" fmla="*/ 897888 h 2084191"/>
              <a:gd name="connsiteX618" fmla="*/ 1768069 w 2051041"/>
              <a:gd name="connsiteY618" fmla="*/ 942510 h 2084191"/>
              <a:gd name="connsiteX619" fmla="*/ 1723990 w 2051041"/>
              <a:gd name="connsiteY619" fmla="*/ 986589 h 2084191"/>
              <a:gd name="connsiteX620" fmla="*/ 1679912 w 2051041"/>
              <a:gd name="connsiteY620" fmla="*/ 941422 h 2084191"/>
              <a:gd name="connsiteX621" fmla="*/ 1723990 w 2051041"/>
              <a:gd name="connsiteY621" fmla="*/ 897888 h 2084191"/>
              <a:gd name="connsiteX622" fmla="*/ 2050497 w 2051041"/>
              <a:gd name="connsiteY622" fmla="*/ 897344 h 2084191"/>
              <a:gd name="connsiteX623" fmla="*/ 2051041 w 2051041"/>
              <a:gd name="connsiteY623" fmla="*/ 897453 h 2084191"/>
              <a:gd name="connsiteX624" fmla="*/ 2051041 w 2051041"/>
              <a:gd name="connsiteY624" fmla="*/ 986917 h 2084191"/>
              <a:gd name="connsiteX625" fmla="*/ 2049952 w 2051041"/>
              <a:gd name="connsiteY625" fmla="*/ 987133 h 2084191"/>
              <a:gd name="connsiteX626" fmla="*/ 2005330 w 2051041"/>
              <a:gd name="connsiteY626" fmla="*/ 941422 h 2084191"/>
              <a:gd name="connsiteX627" fmla="*/ 2050497 w 2051041"/>
              <a:gd name="connsiteY627" fmla="*/ 897344 h 2084191"/>
              <a:gd name="connsiteX628" fmla="*/ 1887243 w 2051041"/>
              <a:gd name="connsiteY628" fmla="*/ 897344 h 2084191"/>
              <a:gd name="connsiteX629" fmla="*/ 1931866 w 2051041"/>
              <a:gd name="connsiteY629" fmla="*/ 942511 h 2084191"/>
              <a:gd name="connsiteX630" fmla="*/ 1887243 w 2051041"/>
              <a:gd name="connsiteY630" fmla="*/ 986589 h 2084191"/>
              <a:gd name="connsiteX631" fmla="*/ 1843165 w 2051041"/>
              <a:gd name="connsiteY631" fmla="*/ 941422 h 2084191"/>
              <a:gd name="connsiteX632" fmla="*/ 1887243 w 2051041"/>
              <a:gd name="connsiteY632" fmla="*/ 897344 h 2084191"/>
              <a:gd name="connsiteX633" fmla="*/ 172545 w 2051041"/>
              <a:gd name="connsiteY633" fmla="*/ 854354 h 2084191"/>
              <a:gd name="connsiteX634" fmla="*/ 179619 w 2051041"/>
              <a:gd name="connsiteY634" fmla="*/ 860884 h 2084191"/>
              <a:gd name="connsiteX635" fmla="*/ 173634 w 2051041"/>
              <a:gd name="connsiteY635" fmla="*/ 866870 h 2084191"/>
              <a:gd name="connsiteX636" fmla="*/ 166015 w 2051041"/>
              <a:gd name="connsiteY636" fmla="*/ 861973 h 2084191"/>
              <a:gd name="connsiteX637" fmla="*/ 172545 w 2051041"/>
              <a:gd name="connsiteY637" fmla="*/ 854354 h 2084191"/>
              <a:gd name="connsiteX638" fmla="*/ 336342 w 2051041"/>
              <a:gd name="connsiteY638" fmla="*/ 843471 h 2084191"/>
              <a:gd name="connsiteX639" fmla="*/ 353211 w 2051041"/>
              <a:gd name="connsiteY639" fmla="*/ 860340 h 2084191"/>
              <a:gd name="connsiteX640" fmla="*/ 336886 w 2051041"/>
              <a:gd name="connsiteY640" fmla="*/ 877210 h 2084191"/>
              <a:gd name="connsiteX641" fmla="*/ 320017 w 2051041"/>
              <a:gd name="connsiteY641" fmla="*/ 860884 h 2084191"/>
              <a:gd name="connsiteX642" fmla="*/ 336342 w 2051041"/>
              <a:gd name="connsiteY642" fmla="*/ 843471 h 2084191"/>
              <a:gd name="connsiteX643" fmla="*/ 500139 w 2051041"/>
              <a:gd name="connsiteY643" fmla="*/ 837485 h 2084191"/>
              <a:gd name="connsiteX644" fmla="*/ 522994 w 2051041"/>
              <a:gd name="connsiteY644" fmla="*/ 861428 h 2084191"/>
              <a:gd name="connsiteX645" fmla="*/ 499595 w 2051041"/>
              <a:gd name="connsiteY645" fmla="*/ 884284 h 2084191"/>
              <a:gd name="connsiteX646" fmla="*/ 476739 w 2051041"/>
              <a:gd name="connsiteY646" fmla="*/ 860340 h 2084191"/>
              <a:gd name="connsiteX647" fmla="*/ 500139 w 2051041"/>
              <a:gd name="connsiteY647" fmla="*/ 837485 h 2084191"/>
              <a:gd name="connsiteX648" fmla="*/ 662848 w 2051041"/>
              <a:gd name="connsiteY648" fmla="*/ 832587 h 2084191"/>
              <a:gd name="connsiteX649" fmla="*/ 690057 w 2051041"/>
              <a:gd name="connsiteY649" fmla="*/ 860340 h 2084191"/>
              <a:gd name="connsiteX650" fmla="*/ 662848 w 2051041"/>
              <a:gd name="connsiteY650" fmla="*/ 888637 h 2084191"/>
              <a:gd name="connsiteX651" fmla="*/ 634551 w 2051041"/>
              <a:gd name="connsiteY651" fmla="*/ 861428 h 2084191"/>
              <a:gd name="connsiteX652" fmla="*/ 662848 w 2051041"/>
              <a:gd name="connsiteY652" fmla="*/ 832587 h 2084191"/>
              <a:gd name="connsiteX653" fmla="*/ 826101 w 2051041"/>
              <a:gd name="connsiteY653" fmla="*/ 827146 h 2084191"/>
              <a:gd name="connsiteX654" fmla="*/ 859295 w 2051041"/>
              <a:gd name="connsiteY654" fmla="*/ 860885 h 2084191"/>
              <a:gd name="connsiteX655" fmla="*/ 825556 w 2051041"/>
              <a:gd name="connsiteY655" fmla="*/ 892991 h 2084191"/>
              <a:gd name="connsiteX656" fmla="*/ 793450 w 2051041"/>
              <a:gd name="connsiteY656" fmla="*/ 860885 h 2084191"/>
              <a:gd name="connsiteX657" fmla="*/ 826101 w 2051041"/>
              <a:gd name="connsiteY657" fmla="*/ 827146 h 2084191"/>
              <a:gd name="connsiteX658" fmla="*/ 988809 w 2051041"/>
              <a:gd name="connsiteY658" fmla="*/ 824424 h 2084191"/>
              <a:gd name="connsiteX659" fmla="*/ 1025813 w 2051041"/>
              <a:gd name="connsiteY659" fmla="*/ 860339 h 2084191"/>
              <a:gd name="connsiteX660" fmla="*/ 989897 w 2051041"/>
              <a:gd name="connsiteY660" fmla="*/ 897344 h 2084191"/>
              <a:gd name="connsiteX661" fmla="*/ 953437 w 2051041"/>
              <a:gd name="connsiteY661" fmla="*/ 861972 h 2084191"/>
              <a:gd name="connsiteX662" fmla="*/ 988809 w 2051041"/>
              <a:gd name="connsiteY662" fmla="*/ 824424 h 2084191"/>
              <a:gd name="connsiteX663" fmla="*/ 1153695 w 2051041"/>
              <a:gd name="connsiteY663" fmla="*/ 821704 h 2084191"/>
              <a:gd name="connsiteX664" fmla="*/ 1191243 w 2051041"/>
              <a:gd name="connsiteY664" fmla="*/ 861429 h 2084191"/>
              <a:gd name="connsiteX665" fmla="*/ 1152606 w 2051041"/>
              <a:gd name="connsiteY665" fmla="*/ 899521 h 2084191"/>
              <a:gd name="connsiteX666" fmla="*/ 1114514 w 2051041"/>
              <a:gd name="connsiteY666" fmla="*/ 859252 h 2084191"/>
              <a:gd name="connsiteX667" fmla="*/ 1153695 w 2051041"/>
              <a:gd name="connsiteY667" fmla="*/ 821704 h 2084191"/>
              <a:gd name="connsiteX668" fmla="*/ 1316403 w 2051041"/>
              <a:gd name="connsiteY668" fmla="*/ 818982 h 2084191"/>
              <a:gd name="connsiteX669" fmla="*/ 1357216 w 2051041"/>
              <a:gd name="connsiteY669" fmla="*/ 860884 h 2084191"/>
              <a:gd name="connsiteX670" fmla="*/ 1315315 w 2051041"/>
              <a:gd name="connsiteY670" fmla="*/ 901697 h 2084191"/>
              <a:gd name="connsiteX671" fmla="*/ 1274501 w 2051041"/>
              <a:gd name="connsiteY671" fmla="*/ 860340 h 2084191"/>
              <a:gd name="connsiteX672" fmla="*/ 1316403 w 2051041"/>
              <a:gd name="connsiteY672" fmla="*/ 818982 h 2084191"/>
              <a:gd name="connsiteX673" fmla="*/ 1479112 w 2051041"/>
              <a:gd name="connsiteY673" fmla="*/ 816806 h 2084191"/>
              <a:gd name="connsiteX674" fmla="*/ 1522646 w 2051041"/>
              <a:gd name="connsiteY674" fmla="*/ 860340 h 2084191"/>
              <a:gd name="connsiteX675" fmla="*/ 1479656 w 2051041"/>
              <a:gd name="connsiteY675" fmla="*/ 904419 h 2084191"/>
              <a:gd name="connsiteX676" fmla="*/ 1435578 w 2051041"/>
              <a:gd name="connsiteY676" fmla="*/ 860884 h 2084191"/>
              <a:gd name="connsiteX677" fmla="*/ 1479112 w 2051041"/>
              <a:gd name="connsiteY677" fmla="*/ 816806 h 2084191"/>
              <a:gd name="connsiteX678" fmla="*/ 1642909 w 2051041"/>
              <a:gd name="connsiteY678" fmla="*/ 815718 h 2084191"/>
              <a:gd name="connsiteX679" fmla="*/ 1686987 w 2051041"/>
              <a:gd name="connsiteY679" fmla="*/ 860885 h 2084191"/>
              <a:gd name="connsiteX680" fmla="*/ 1641276 w 2051041"/>
              <a:gd name="connsiteY680" fmla="*/ 905507 h 2084191"/>
              <a:gd name="connsiteX681" fmla="*/ 1597742 w 2051041"/>
              <a:gd name="connsiteY681" fmla="*/ 860340 h 2084191"/>
              <a:gd name="connsiteX682" fmla="*/ 1642909 w 2051041"/>
              <a:gd name="connsiteY682" fmla="*/ 815718 h 2084191"/>
              <a:gd name="connsiteX683" fmla="*/ 1806161 w 2051041"/>
              <a:gd name="connsiteY683" fmla="*/ 815173 h 2084191"/>
              <a:gd name="connsiteX684" fmla="*/ 1852416 w 2051041"/>
              <a:gd name="connsiteY684" fmla="*/ 860884 h 2084191"/>
              <a:gd name="connsiteX685" fmla="*/ 1805617 w 2051041"/>
              <a:gd name="connsiteY685" fmla="*/ 906594 h 2084191"/>
              <a:gd name="connsiteX686" fmla="*/ 1759906 w 2051041"/>
              <a:gd name="connsiteY686" fmla="*/ 860884 h 2084191"/>
              <a:gd name="connsiteX687" fmla="*/ 1806161 w 2051041"/>
              <a:gd name="connsiteY687" fmla="*/ 815173 h 2084191"/>
              <a:gd name="connsiteX688" fmla="*/ 1968326 w 2051041"/>
              <a:gd name="connsiteY688" fmla="*/ 812453 h 2084191"/>
              <a:gd name="connsiteX689" fmla="*/ 2000977 w 2051041"/>
              <a:gd name="connsiteY689" fmla="*/ 826057 h 2084191"/>
              <a:gd name="connsiteX690" fmla="*/ 2015670 w 2051041"/>
              <a:gd name="connsiteY690" fmla="*/ 859796 h 2084191"/>
              <a:gd name="connsiteX691" fmla="*/ 1969415 w 2051041"/>
              <a:gd name="connsiteY691" fmla="*/ 907684 h 2084191"/>
              <a:gd name="connsiteX692" fmla="*/ 1922071 w 2051041"/>
              <a:gd name="connsiteY692" fmla="*/ 860885 h 2084191"/>
              <a:gd name="connsiteX693" fmla="*/ 1968326 w 2051041"/>
              <a:gd name="connsiteY693" fmla="*/ 812453 h 2084191"/>
              <a:gd name="connsiteX694" fmla="*/ 255260 w 2051041"/>
              <a:gd name="connsiteY694" fmla="*/ 762932 h 2084191"/>
              <a:gd name="connsiteX695" fmla="*/ 270497 w 2051041"/>
              <a:gd name="connsiteY695" fmla="*/ 779802 h 2084191"/>
              <a:gd name="connsiteX696" fmla="*/ 254172 w 2051041"/>
              <a:gd name="connsiteY696" fmla="*/ 795038 h 2084191"/>
              <a:gd name="connsiteX697" fmla="*/ 238935 w 2051041"/>
              <a:gd name="connsiteY697" fmla="*/ 778713 h 2084191"/>
              <a:gd name="connsiteX698" fmla="*/ 255260 w 2051041"/>
              <a:gd name="connsiteY698" fmla="*/ 762932 h 2084191"/>
              <a:gd name="connsiteX699" fmla="*/ 416881 w 2051041"/>
              <a:gd name="connsiteY699" fmla="*/ 756402 h 2084191"/>
              <a:gd name="connsiteX700" fmla="*/ 440280 w 2051041"/>
              <a:gd name="connsiteY700" fmla="*/ 778713 h 2084191"/>
              <a:gd name="connsiteX701" fmla="*/ 419057 w 2051041"/>
              <a:gd name="connsiteY701" fmla="*/ 801024 h 2084191"/>
              <a:gd name="connsiteX702" fmla="*/ 396202 w 2051041"/>
              <a:gd name="connsiteY702" fmla="*/ 779257 h 2084191"/>
              <a:gd name="connsiteX703" fmla="*/ 416881 w 2051041"/>
              <a:gd name="connsiteY703" fmla="*/ 756402 h 2084191"/>
              <a:gd name="connsiteX704" fmla="*/ 581766 w 2051041"/>
              <a:gd name="connsiteY704" fmla="*/ 751505 h 2084191"/>
              <a:gd name="connsiteX705" fmla="*/ 608975 w 2051041"/>
              <a:gd name="connsiteY705" fmla="*/ 779802 h 2084191"/>
              <a:gd name="connsiteX706" fmla="*/ 580678 w 2051041"/>
              <a:gd name="connsiteY706" fmla="*/ 806467 h 2084191"/>
              <a:gd name="connsiteX707" fmla="*/ 553469 w 2051041"/>
              <a:gd name="connsiteY707" fmla="*/ 778714 h 2084191"/>
              <a:gd name="connsiteX708" fmla="*/ 581766 w 2051041"/>
              <a:gd name="connsiteY708" fmla="*/ 751505 h 2084191"/>
              <a:gd name="connsiteX709" fmla="*/ 746107 w 2051041"/>
              <a:gd name="connsiteY709" fmla="*/ 746607 h 2084191"/>
              <a:gd name="connsiteX710" fmla="*/ 777125 w 2051041"/>
              <a:gd name="connsiteY710" fmla="*/ 780346 h 2084191"/>
              <a:gd name="connsiteX711" fmla="*/ 742842 w 2051041"/>
              <a:gd name="connsiteY711" fmla="*/ 811364 h 2084191"/>
              <a:gd name="connsiteX712" fmla="*/ 712368 w 2051041"/>
              <a:gd name="connsiteY712" fmla="*/ 778713 h 2084191"/>
              <a:gd name="connsiteX713" fmla="*/ 746107 w 2051041"/>
              <a:gd name="connsiteY713" fmla="*/ 746607 h 2084191"/>
              <a:gd name="connsiteX714" fmla="*/ 907727 w 2051041"/>
              <a:gd name="connsiteY714" fmla="*/ 741710 h 2084191"/>
              <a:gd name="connsiteX715" fmla="*/ 944187 w 2051041"/>
              <a:gd name="connsiteY715" fmla="*/ 778714 h 2084191"/>
              <a:gd name="connsiteX716" fmla="*/ 907727 w 2051041"/>
              <a:gd name="connsiteY716" fmla="*/ 815174 h 2084191"/>
              <a:gd name="connsiteX717" fmla="*/ 872355 w 2051041"/>
              <a:gd name="connsiteY717" fmla="*/ 779258 h 2084191"/>
              <a:gd name="connsiteX718" fmla="*/ 907727 w 2051041"/>
              <a:gd name="connsiteY718" fmla="*/ 741710 h 2084191"/>
              <a:gd name="connsiteX719" fmla="*/ 1070979 w 2051041"/>
              <a:gd name="connsiteY719" fmla="*/ 740621 h 2084191"/>
              <a:gd name="connsiteX720" fmla="*/ 1110160 w 2051041"/>
              <a:gd name="connsiteY720" fmla="*/ 779258 h 2084191"/>
              <a:gd name="connsiteX721" fmla="*/ 1070979 w 2051041"/>
              <a:gd name="connsiteY721" fmla="*/ 817894 h 2084191"/>
              <a:gd name="connsiteX722" fmla="*/ 1031799 w 2051041"/>
              <a:gd name="connsiteY722" fmla="*/ 778714 h 2084191"/>
              <a:gd name="connsiteX723" fmla="*/ 1070979 w 2051041"/>
              <a:gd name="connsiteY723" fmla="*/ 740621 h 2084191"/>
              <a:gd name="connsiteX724" fmla="*/ 1233688 w 2051041"/>
              <a:gd name="connsiteY724" fmla="*/ 736268 h 2084191"/>
              <a:gd name="connsiteX725" fmla="*/ 1276134 w 2051041"/>
              <a:gd name="connsiteY725" fmla="*/ 777625 h 2084191"/>
              <a:gd name="connsiteX726" fmla="*/ 1235320 w 2051041"/>
              <a:gd name="connsiteY726" fmla="*/ 820615 h 2084191"/>
              <a:gd name="connsiteX727" fmla="*/ 1192331 w 2051041"/>
              <a:gd name="connsiteY727" fmla="*/ 779258 h 2084191"/>
              <a:gd name="connsiteX728" fmla="*/ 1233688 w 2051041"/>
              <a:gd name="connsiteY728" fmla="*/ 736268 h 2084191"/>
              <a:gd name="connsiteX729" fmla="*/ 1397485 w 2051041"/>
              <a:gd name="connsiteY729" fmla="*/ 735724 h 2084191"/>
              <a:gd name="connsiteX730" fmla="*/ 1441019 w 2051041"/>
              <a:gd name="connsiteY730" fmla="*/ 779802 h 2084191"/>
              <a:gd name="connsiteX731" fmla="*/ 1396397 w 2051041"/>
              <a:gd name="connsiteY731" fmla="*/ 823336 h 2084191"/>
              <a:gd name="connsiteX732" fmla="*/ 1352863 w 2051041"/>
              <a:gd name="connsiteY732" fmla="*/ 779258 h 2084191"/>
              <a:gd name="connsiteX733" fmla="*/ 1397485 w 2051041"/>
              <a:gd name="connsiteY733" fmla="*/ 735724 h 2084191"/>
              <a:gd name="connsiteX734" fmla="*/ 1562371 w 2051041"/>
              <a:gd name="connsiteY734" fmla="*/ 734636 h 2084191"/>
              <a:gd name="connsiteX735" fmla="*/ 1605905 w 2051041"/>
              <a:gd name="connsiteY735" fmla="*/ 779802 h 2084191"/>
              <a:gd name="connsiteX736" fmla="*/ 1560194 w 2051041"/>
              <a:gd name="connsiteY736" fmla="*/ 823881 h 2084191"/>
              <a:gd name="connsiteX737" fmla="*/ 1515572 w 2051041"/>
              <a:gd name="connsiteY737" fmla="*/ 777626 h 2084191"/>
              <a:gd name="connsiteX738" fmla="*/ 1562371 w 2051041"/>
              <a:gd name="connsiteY738" fmla="*/ 734636 h 2084191"/>
              <a:gd name="connsiteX739" fmla="*/ 1724535 w 2051041"/>
              <a:gd name="connsiteY739" fmla="*/ 730827 h 2084191"/>
              <a:gd name="connsiteX740" fmla="*/ 1772422 w 2051041"/>
              <a:gd name="connsiteY740" fmla="*/ 779258 h 2084191"/>
              <a:gd name="connsiteX741" fmla="*/ 1723446 w 2051041"/>
              <a:gd name="connsiteY741" fmla="*/ 826602 h 2084191"/>
              <a:gd name="connsiteX742" fmla="*/ 1676647 w 2051041"/>
              <a:gd name="connsiteY742" fmla="*/ 778714 h 2084191"/>
              <a:gd name="connsiteX743" fmla="*/ 1724535 w 2051041"/>
              <a:gd name="connsiteY743" fmla="*/ 730827 h 2084191"/>
              <a:gd name="connsiteX744" fmla="*/ 1886699 w 2051041"/>
              <a:gd name="connsiteY744" fmla="*/ 730826 h 2084191"/>
              <a:gd name="connsiteX745" fmla="*/ 1935131 w 2051041"/>
              <a:gd name="connsiteY745" fmla="*/ 778713 h 2084191"/>
              <a:gd name="connsiteX746" fmla="*/ 1887244 w 2051041"/>
              <a:gd name="connsiteY746" fmla="*/ 827145 h 2084191"/>
              <a:gd name="connsiteX747" fmla="*/ 1838812 w 2051041"/>
              <a:gd name="connsiteY747" fmla="*/ 778713 h 2084191"/>
              <a:gd name="connsiteX748" fmla="*/ 1886699 w 2051041"/>
              <a:gd name="connsiteY748" fmla="*/ 730826 h 2084191"/>
              <a:gd name="connsiteX749" fmla="*/ 2050496 w 2051041"/>
              <a:gd name="connsiteY749" fmla="*/ 730282 h 2084191"/>
              <a:gd name="connsiteX750" fmla="*/ 2051041 w 2051041"/>
              <a:gd name="connsiteY750" fmla="*/ 730396 h 2084191"/>
              <a:gd name="connsiteX751" fmla="*/ 2051041 w 2051041"/>
              <a:gd name="connsiteY751" fmla="*/ 826942 h 2084191"/>
              <a:gd name="connsiteX752" fmla="*/ 2049952 w 2051041"/>
              <a:gd name="connsiteY752" fmla="*/ 827145 h 2084191"/>
              <a:gd name="connsiteX753" fmla="*/ 2002065 w 2051041"/>
              <a:gd name="connsiteY753" fmla="*/ 778169 h 2084191"/>
              <a:gd name="connsiteX754" fmla="*/ 2050496 w 2051041"/>
              <a:gd name="connsiteY754" fmla="*/ 730282 h 2084191"/>
              <a:gd name="connsiteX755" fmla="*/ 173634 w 2051041"/>
              <a:gd name="connsiteY755" fmla="*/ 685660 h 2084191"/>
              <a:gd name="connsiteX756" fmla="*/ 184518 w 2051041"/>
              <a:gd name="connsiteY756" fmla="*/ 698176 h 2084191"/>
              <a:gd name="connsiteX757" fmla="*/ 172546 w 2051041"/>
              <a:gd name="connsiteY757" fmla="*/ 709059 h 2084191"/>
              <a:gd name="connsiteX758" fmla="*/ 161118 w 2051041"/>
              <a:gd name="connsiteY758" fmla="*/ 697088 h 2084191"/>
              <a:gd name="connsiteX759" fmla="*/ 173634 w 2051041"/>
              <a:gd name="connsiteY759" fmla="*/ 685660 h 2084191"/>
              <a:gd name="connsiteX760" fmla="*/ 335798 w 2051041"/>
              <a:gd name="connsiteY760" fmla="*/ 675320 h 2084191"/>
              <a:gd name="connsiteX761" fmla="*/ 357565 w 2051041"/>
              <a:gd name="connsiteY761" fmla="*/ 696543 h 2084191"/>
              <a:gd name="connsiteX762" fmla="*/ 336342 w 2051041"/>
              <a:gd name="connsiteY762" fmla="*/ 718854 h 2084191"/>
              <a:gd name="connsiteX763" fmla="*/ 315120 w 2051041"/>
              <a:gd name="connsiteY763" fmla="*/ 697631 h 2084191"/>
              <a:gd name="connsiteX764" fmla="*/ 335798 w 2051041"/>
              <a:gd name="connsiteY764" fmla="*/ 675320 h 2084191"/>
              <a:gd name="connsiteX765" fmla="*/ 499051 w 2051041"/>
              <a:gd name="connsiteY765" fmla="*/ 670423 h 2084191"/>
              <a:gd name="connsiteX766" fmla="*/ 526804 w 2051041"/>
              <a:gd name="connsiteY766" fmla="*/ 697088 h 2084191"/>
              <a:gd name="connsiteX767" fmla="*/ 499595 w 2051041"/>
              <a:gd name="connsiteY767" fmla="*/ 724296 h 2084191"/>
              <a:gd name="connsiteX768" fmla="*/ 472930 w 2051041"/>
              <a:gd name="connsiteY768" fmla="*/ 697632 h 2084191"/>
              <a:gd name="connsiteX769" fmla="*/ 499051 w 2051041"/>
              <a:gd name="connsiteY769" fmla="*/ 670423 h 2084191"/>
              <a:gd name="connsiteX770" fmla="*/ 662848 w 2051041"/>
              <a:gd name="connsiteY770" fmla="*/ 665525 h 2084191"/>
              <a:gd name="connsiteX771" fmla="*/ 694954 w 2051041"/>
              <a:gd name="connsiteY771" fmla="*/ 697087 h 2084191"/>
              <a:gd name="connsiteX772" fmla="*/ 663392 w 2051041"/>
              <a:gd name="connsiteY772" fmla="*/ 729194 h 2084191"/>
              <a:gd name="connsiteX773" fmla="*/ 632374 w 2051041"/>
              <a:gd name="connsiteY773" fmla="*/ 698176 h 2084191"/>
              <a:gd name="connsiteX774" fmla="*/ 662848 w 2051041"/>
              <a:gd name="connsiteY774" fmla="*/ 665525 h 2084191"/>
              <a:gd name="connsiteX775" fmla="*/ 825013 w 2051041"/>
              <a:gd name="connsiteY775" fmla="*/ 663349 h 2084191"/>
              <a:gd name="connsiteX776" fmla="*/ 860384 w 2051041"/>
              <a:gd name="connsiteY776" fmla="*/ 697632 h 2084191"/>
              <a:gd name="connsiteX777" fmla="*/ 826101 w 2051041"/>
              <a:gd name="connsiteY777" fmla="*/ 731915 h 2084191"/>
              <a:gd name="connsiteX778" fmla="*/ 791818 w 2051041"/>
              <a:gd name="connsiteY778" fmla="*/ 698176 h 2084191"/>
              <a:gd name="connsiteX779" fmla="*/ 825013 w 2051041"/>
              <a:gd name="connsiteY779" fmla="*/ 663349 h 2084191"/>
              <a:gd name="connsiteX780" fmla="*/ 988809 w 2051041"/>
              <a:gd name="connsiteY780" fmla="*/ 658995 h 2084191"/>
              <a:gd name="connsiteX781" fmla="*/ 1027446 w 2051041"/>
              <a:gd name="connsiteY781" fmla="*/ 697087 h 2084191"/>
              <a:gd name="connsiteX782" fmla="*/ 989353 w 2051041"/>
              <a:gd name="connsiteY782" fmla="*/ 735723 h 2084191"/>
              <a:gd name="connsiteX783" fmla="*/ 950717 w 2051041"/>
              <a:gd name="connsiteY783" fmla="*/ 697631 h 2084191"/>
              <a:gd name="connsiteX784" fmla="*/ 988809 w 2051041"/>
              <a:gd name="connsiteY784" fmla="*/ 658995 h 2084191"/>
              <a:gd name="connsiteX785" fmla="*/ 1152607 w 2051041"/>
              <a:gd name="connsiteY785" fmla="*/ 655729 h 2084191"/>
              <a:gd name="connsiteX786" fmla="*/ 1195052 w 2051041"/>
              <a:gd name="connsiteY786" fmla="*/ 697087 h 2084191"/>
              <a:gd name="connsiteX787" fmla="*/ 1153151 w 2051041"/>
              <a:gd name="connsiteY787" fmla="*/ 739533 h 2084191"/>
              <a:gd name="connsiteX788" fmla="*/ 1110705 w 2051041"/>
              <a:gd name="connsiteY788" fmla="*/ 697631 h 2084191"/>
              <a:gd name="connsiteX789" fmla="*/ 1152607 w 2051041"/>
              <a:gd name="connsiteY789" fmla="*/ 655729 h 2084191"/>
              <a:gd name="connsiteX790" fmla="*/ 1316948 w 2051041"/>
              <a:gd name="connsiteY790" fmla="*/ 653554 h 2084191"/>
              <a:gd name="connsiteX791" fmla="*/ 1359937 w 2051041"/>
              <a:gd name="connsiteY791" fmla="*/ 697632 h 2084191"/>
              <a:gd name="connsiteX792" fmla="*/ 1315315 w 2051041"/>
              <a:gd name="connsiteY792" fmla="*/ 740622 h 2084191"/>
              <a:gd name="connsiteX793" fmla="*/ 1271781 w 2051041"/>
              <a:gd name="connsiteY793" fmla="*/ 696544 h 2084191"/>
              <a:gd name="connsiteX794" fmla="*/ 1316948 w 2051041"/>
              <a:gd name="connsiteY794" fmla="*/ 653554 h 2084191"/>
              <a:gd name="connsiteX795" fmla="*/ 1479112 w 2051041"/>
              <a:gd name="connsiteY795" fmla="*/ 651921 h 2084191"/>
              <a:gd name="connsiteX796" fmla="*/ 1524823 w 2051041"/>
              <a:gd name="connsiteY796" fmla="*/ 697088 h 2084191"/>
              <a:gd name="connsiteX797" fmla="*/ 1479112 w 2051041"/>
              <a:gd name="connsiteY797" fmla="*/ 742254 h 2084191"/>
              <a:gd name="connsiteX798" fmla="*/ 1433945 w 2051041"/>
              <a:gd name="connsiteY798" fmla="*/ 697088 h 2084191"/>
              <a:gd name="connsiteX799" fmla="*/ 1479112 w 2051041"/>
              <a:gd name="connsiteY799" fmla="*/ 651921 h 2084191"/>
              <a:gd name="connsiteX800" fmla="*/ 1642909 w 2051041"/>
              <a:gd name="connsiteY800" fmla="*/ 649744 h 2084191"/>
              <a:gd name="connsiteX801" fmla="*/ 1690796 w 2051041"/>
              <a:gd name="connsiteY801" fmla="*/ 697087 h 2084191"/>
              <a:gd name="connsiteX802" fmla="*/ 1642909 w 2051041"/>
              <a:gd name="connsiteY802" fmla="*/ 745519 h 2084191"/>
              <a:gd name="connsiteX803" fmla="*/ 1594477 w 2051041"/>
              <a:gd name="connsiteY803" fmla="*/ 697632 h 2084191"/>
              <a:gd name="connsiteX804" fmla="*/ 1642909 w 2051041"/>
              <a:gd name="connsiteY804" fmla="*/ 649744 h 2084191"/>
              <a:gd name="connsiteX805" fmla="*/ 1805617 w 2051041"/>
              <a:gd name="connsiteY805" fmla="*/ 648112 h 2084191"/>
              <a:gd name="connsiteX806" fmla="*/ 1854593 w 2051041"/>
              <a:gd name="connsiteY806" fmla="*/ 698176 h 2084191"/>
              <a:gd name="connsiteX807" fmla="*/ 1805073 w 2051041"/>
              <a:gd name="connsiteY807" fmla="*/ 746607 h 2084191"/>
              <a:gd name="connsiteX808" fmla="*/ 1756097 w 2051041"/>
              <a:gd name="connsiteY808" fmla="*/ 697087 h 2084191"/>
              <a:gd name="connsiteX809" fmla="*/ 1805617 w 2051041"/>
              <a:gd name="connsiteY809" fmla="*/ 648112 h 2084191"/>
              <a:gd name="connsiteX810" fmla="*/ 1969414 w 2051041"/>
              <a:gd name="connsiteY810" fmla="*/ 647023 h 2084191"/>
              <a:gd name="connsiteX811" fmla="*/ 2018934 w 2051041"/>
              <a:gd name="connsiteY811" fmla="*/ 698176 h 2084191"/>
              <a:gd name="connsiteX812" fmla="*/ 1968326 w 2051041"/>
              <a:gd name="connsiteY812" fmla="*/ 746063 h 2084191"/>
              <a:gd name="connsiteX813" fmla="*/ 1918806 w 2051041"/>
              <a:gd name="connsiteY813" fmla="*/ 697087 h 2084191"/>
              <a:gd name="connsiteX814" fmla="*/ 1969414 w 2051041"/>
              <a:gd name="connsiteY814" fmla="*/ 647023 h 2084191"/>
              <a:gd name="connsiteX815" fmla="*/ 90919 w 2051041"/>
              <a:gd name="connsiteY815" fmla="*/ 606754 h 2084191"/>
              <a:gd name="connsiteX816" fmla="*/ 99626 w 2051041"/>
              <a:gd name="connsiteY816" fmla="*/ 615460 h 2084191"/>
              <a:gd name="connsiteX817" fmla="*/ 92007 w 2051041"/>
              <a:gd name="connsiteY817" fmla="*/ 627976 h 2084191"/>
              <a:gd name="connsiteX818" fmla="*/ 82756 w 2051041"/>
              <a:gd name="connsiteY818" fmla="*/ 616005 h 2084191"/>
              <a:gd name="connsiteX819" fmla="*/ 90919 w 2051041"/>
              <a:gd name="connsiteY819" fmla="*/ 606754 h 2084191"/>
              <a:gd name="connsiteX820" fmla="*/ 254172 w 2051041"/>
              <a:gd name="connsiteY820" fmla="*/ 598047 h 2084191"/>
              <a:gd name="connsiteX821" fmla="*/ 272674 w 2051041"/>
              <a:gd name="connsiteY821" fmla="*/ 614917 h 2084191"/>
              <a:gd name="connsiteX822" fmla="*/ 255260 w 2051041"/>
              <a:gd name="connsiteY822" fmla="*/ 633419 h 2084191"/>
              <a:gd name="connsiteX823" fmla="*/ 236758 w 2051041"/>
              <a:gd name="connsiteY823" fmla="*/ 616005 h 2084191"/>
              <a:gd name="connsiteX824" fmla="*/ 254172 w 2051041"/>
              <a:gd name="connsiteY824" fmla="*/ 598047 h 2084191"/>
              <a:gd name="connsiteX825" fmla="*/ 418513 w 2051041"/>
              <a:gd name="connsiteY825" fmla="*/ 590429 h 2084191"/>
              <a:gd name="connsiteX826" fmla="*/ 443001 w 2051041"/>
              <a:gd name="connsiteY826" fmla="*/ 614917 h 2084191"/>
              <a:gd name="connsiteX827" fmla="*/ 419058 w 2051041"/>
              <a:gd name="connsiteY827" fmla="*/ 640493 h 2084191"/>
              <a:gd name="connsiteX828" fmla="*/ 392937 w 2051041"/>
              <a:gd name="connsiteY828" fmla="*/ 616005 h 2084191"/>
              <a:gd name="connsiteX829" fmla="*/ 418513 w 2051041"/>
              <a:gd name="connsiteY829" fmla="*/ 590429 h 2084191"/>
              <a:gd name="connsiteX830" fmla="*/ 581222 w 2051041"/>
              <a:gd name="connsiteY830" fmla="*/ 587163 h 2084191"/>
              <a:gd name="connsiteX831" fmla="*/ 610063 w 2051041"/>
              <a:gd name="connsiteY831" fmla="*/ 616549 h 2084191"/>
              <a:gd name="connsiteX832" fmla="*/ 580677 w 2051041"/>
              <a:gd name="connsiteY832" fmla="*/ 645390 h 2084191"/>
              <a:gd name="connsiteX833" fmla="*/ 551836 w 2051041"/>
              <a:gd name="connsiteY833" fmla="*/ 615461 h 2084191"/>
              <a:gd name="connsiteX834" fmla="*/ 581222 w 2051041"/>
              <a:gd name="connsiteY834" fmla="*/ 587163 h 2084191"/>
              <a:gd name="connsiteX835" fmla="*/ 743930 w 2051041"/>
              <a:gd name="connsiteY835" fmla="*/ 582266 h 2084191"/>
              <a:gd name="connsiteX836" fmla="*/ 779301 w 2051041"/>
              <a:gd name="connsiteY836" fmla="*/ 616005 h 2084191"/>
              <a:gd name="connsiteX837" fmla="*/ 745563 w 2051041"/>
              <a:gd name="connsiteY837" fmla="*/ 649744 h 2084191"/>
              <a:gd name="connsiteX838" fmla="*/ 711824 w 2051041"/>
              <a:gd name="connsiteY838" fmla="*/ 616549 h 2084191"/>
              <a:gd name="connsiteX839" fmla="*/ 743930 w 2051041"/>
              <a:gd name="connsiteY839" fmla="*/ 582266 h 2084191"/>
              <a:gd name="connsiteX840" fmla="*/ 907183 w 2051041"/>
              <a:gd name="connsiteY840" fmla="*/ 577913 h 2084191"/>
              <a:gd name="connsiteX841" fmla="*/ 945276 w 2051041"/>
              <a:gd name="connsiteY841" fmla="*/ 615461 h 2084191"/>
              <a:gd name="connsiteX842" fmla="*/ 907727 w 2051041"/>
              <a:gd name="connsiteY842" fmla="*/ 654098 h 2084191"/>
              <a:gd name="connsiteX843" fmla="*/ 869091 w 2051041"/>
              <a:gd name="connsiteY843" fmla="*/ 616006 h 2084191"/>
              <a:gd name="connsiteX844" fmla="*/ 907183 w 2051041"/>
              <a:gd name="connsiteY844" fmla="*/ 577913 h 2084191"/>
              <a:gd name="connsiteX845" fmla="*/ 1069891 w 2051041"/>
              <a:gd name="connsiteY845" fmla="*/ 574648 h 2084191"/>
              <a:gd name="connsiteX846" fmla="*/ 1111248 w 2051041"/>
              <a:gd name="connsiteY846" fmla="*/ 615461 h 2084191"/>
              <a:gd name="connsiteX847" fmla="*/ 1070435 w 2051041"/>
              <a:gd name="connsiteY847" fmla="*/ 656274 h 2084191"/>
              <a:gd name="connsiteX848" fmla="*/ 1029622 w 2051041"/>
              <a:gd name="connsiteY848" fmla="*/ 614917 h 2084191"/>
              <a:gd name="connsiteX849" fmla="*/ 1069891 w 2051041"/>
              <a:gd name="connsiteY849" fmla="*/ 574648 h 2084191"/>
              <a:gd name="connsiteX850" fmla="*/ 1235321 w 2051041"/>
              <a:gd name="connsiteY850" fmla="*/ 572472 h 2084191"/>
              <a:gd name="connsiteX851" fmla="*/ 1277222 w 2051041"/>
              <a:gd name="connsiteY851" fmla="*/ 616550 h 2084191"/>
              <a:gd name="connsiteX852" fmla="*/ 1233688 w 2051041"/>
              <a:gd name="connsiteY852" fmla="*/ 660084 h 2084191"/>
              <a:gd name="connsiteX853" fmla="*/ 1190154 w 2051041"/>
              <a:gd name="connsiteY853" fmla="*/ 614917 h 2084191"/>
              <a:gd name="connsiteX854" fmla="*/ 1235321 w 2051041"/>
              <a:gd name="connsiteY854" fmla="*/ 572472 h 2084191"/>
              <a:gd name="connsiteX855" fmla="*/ 1397485 w 2051041"/>
              <a:gd name="connsiteY855" fmla="*/ 569206 h 2084191"/>
              <a:gd name="connsiteX856" fmla="*/ 1443196 w 2051041"/>
              <a:gd name="connsiteY856" fmla="*/ 616005 h 2084191"/>
              <a:gd name="connsiteX857" fmla="*/ 1396941 w 2051041"/>
              <a:gd name="connsiteY857" fmla="*/ 661172 h 2084191"/>
              <a:gd name="connsiteX858" fmla="*/ 1351775 w 2051041"/>
              <a:gd name="connsiteY858" fmla="*/ 614373 h 2084191"/>
              <a:gd name="connsiteX859" fmla="*/ 1397485 w 2051041"/>
              <a:gd name="connsiteY859" fmla="*/ 569206 h 2084191"/>
              <a:gd name="connsiteX860" fmla="*/ 1560738 w 2051041"/>
              <a:gd name="connsiteY860" fmla="*/ 567029 h 2084191"/>
              <a:gd name="connsiteX861" fmla="*/ 1609714 w 2051041"/>
              <a:gd name="connsiteY861" fmla="*/ 615461 h 2084191"/>
              <a:gd name="connsiteX862" fmla="*/ 1561283 w 2051041"/>
              <a:gd name="connsiteY862" fmla="*/ 663892 h 2084191"/>
              <a:gd name="connsiteX863" fmla="*/ 1512851 w 2051041"/>
              <a:gd name="connsiteY863" fmla="*/ 616005 h 2084191"/>
              <a:gd name="connsiteX864" fmla="*/ 1560738 w 2051041"/>
              <a:gd name="connsiteY864" fmla="*/ 567029 h 2084191"/>
              <a:gd name="connsiteX865" fmla="*/ 1725624 w 2051041"/>
              <a:gd name="connsiteY865" fmla="*/ 565397 h 2084191"/>
              <a:gd name="connsiteX866" fmla="*/ 1774599 w 2051041"/>
              <a:gd name="connsiteY866" fmla="*/ 616005 h 2084191"/>
              <a:gd name="connsiteX867" fmla="*/ 1723447 w 2051041"/>
              <a:gd name="connsiteY867" fmla="*/ 664981 h 2084191"/>
              <a:gd name="connsiteX868" fmla="*/ 1674471 w 2051041"/>
              <a:gd name="connsiteY868" fmla="*/ 615461 h 2084191"/>
              <a:gd name="connsiteX869" fmla="*/ 1725624 w 2051041"/>
              <a:gd name="connsiteY869" fmla="*/ 565397 h 2084191"/>
              <a:gd name="connsiteX870" fmla="*/ 1886699 w 2051041"/>
              <a:gd name="connsiteY870" fmla="*/ 564853 h 2084191"/>
              <a:gd name="connsiteX871" fmla="*/ 1938396 w 2051041"/>
              <a:gd name="connsiteY871" fmla="*/ 614917 h 2084191"/>
              <a:gd name="connsiteX872" fmla="*/ 1887787 w 2051041"/>
              <a:gd name="connsiteY872" fmla="*/ 665525 h 2084191"/>
              <a:gd name="connsiteX873" fmla="*/ 1837179 w 2051041"/>
              <a:gd name="connsiteY873" fmla="*/ 615461 h 2084191"/>
              <a:gd name="connsiteX874" fmla="*/ 1886699 w 2051041"/>
              <a:gd name="connsiteY874" fmla="*/ 564853 h 2084191"/>
              <a:gd name="connsiteX875" fmla="*/ 2050496 w 2051041"/>
              <a:gd name="connsiteY875" fmla="*/ 564852 h 2084191"/>
              <a:gd name="connsiteX876" fmla="*/ 2051041 w 2051041"/>
              <a:gd name="connsiteY876" fmla="*/ 564962 h 2084191"/>
              <a:gd name="connsiteX877" fmla="*/ 2051041 w 2051041"/>
              <a:gd name="connsiteY877" fmla="*/ 665899 h 2084191"/>
              <a:gd name="connsiteX878" fmla="*/ 2049952 w 2051041"/>
              <a:gd name="connsiteY878" fmla="*/ 666069 h 2084191"/>
              <a:gd name="connsiteX879" fmla="*/ 1999344 w 2051041"/>
              <a:gd name="connsiteY879" fmla="*/ 615460 h 2084191"/>
              <a:gd name="connsiteX880" fmla="*/ 2050496 w 2051041"/>
              <a:gd name="connsiteY880" fmla="*/ 564852 h 2084191"/>
              <a:gd name="connsiteX881" fmla="*/ 173090 w 2051041"/>
              <a:gd name="connsiteY881" fmla="*/ 517509 h 2084191"/>
              <a:gd name="connsiteX882" fmla="*/ 189959 w 2051041"/>
              <a:gd name="connsiteY882" fmla="*/ 533834 h 2084191"/>
              <a:gd name="connsiteX883" fmla="*/ 173634 w 2051041"/>
              <a:gd name="connsiteY883" fmla="*/ 550160 h 2084191"/>
              <a:gd name="connsiteX884" fmla="*/ 157308 w 2051041"/>
              <a:gd name="connsiteY884" fmla="*/ 534923 h 2084191"/>
              <a:gd name="connsiteX885" fmla="*/ 173090 w 2051041"/>
              <a:gd name="connsiteY885" fmla="*/ 517509 h 2084191"/>
              <a:gd name="connsiteX886" fmla="*/ 335798 w 2051041"/>
              <a:gd name="connsiteY886" fmla="*/ 511523 h 2084191"/>
              <a:gd name="connsiteX887" fmla="*/ 358654 w 2051041"/>
              <a:gd name="connsiteY887" fmla="*/ 533834 h 2084191"/>
              <a:gd name="connsiteX888" fmla="*/ 336343 w 2051041"/>
              <a:gd name="connsiteY888" fmla="*/ 556689 h 2084191"/>
              <a:gd name="connsiteX889" fmla="*/ 312943 w 2051041"/>
              <a:gd name="connsiteY889" fmla="*/ 534378 h 2084191"/>
              <a:gd name="connsiteX890" fmla="*/ 335798 w 2051041"/>
              <a:gd name="connsiteY890" fmla="*/ 511523 h 2084191"/>
              <a:gd name="connsiteX891" fmla="*/ 500139 w 2051041"/>
              <a:gd name="connsiteY891" fmla="*/ 506626 h 2084191"/>
              <a:gd name="connsiteX892" fmla="*/ 527348 w 2051041"/>
              <a:gd name="connsiteY892" fmla="*/ 535467 h 2084191"/>
              <a:gd name="connsiteX893" fmla="*/ 497963 w 2051041"/>
              <a:gd name="connsiteY893" fmla="*/ 561587 h 2084191"/>
              <a:gd name="connsiteX894" fmla="*/ 471842 w 2051041"/>
              <a:gd name="connsiteY894" fmla="*/ 533290 h 2084191"/>
              <a:gd name="connsiteX895" fmla="*/ 500139 w 2051041"/>
              <a:gd name="connsiteY895" fmla="*/ 506626 h 2084191"/>
              <a:gd name="connsiteX896" fmla="*/ 662304 w 2051041"/>
              <a:gd name="connsiteY896" fmla="*/ 500639 h 2084191"/>
              <a:gd name="connsiteX897" fmla="*/ 696042 w 2051041"/>
              <a:gd name="connsiteY897" fmla="*/ 533290 h 2084191"/>
              <a:gd name="connsiteX898" fmla="*/ 663392 w 2051041"/>
              <a:gd name="connsiteY898" fmla="*/ 566485 h 2084191"/>
              <a:gd name="connsiteX899" fmla="*/ 630197 w 2051041"/>
              <a:gd name="connsiteY899" fmla="*/ 534378 h 2084191"/>
              <a:gd name="connsiteX900" fmla="*/ 662304 w 2051041"/>
              <a:gd name="connsiteY900" fmla="*/ 500639 h 2084191"/>
              <a:gd name="connsiteX901" fmla="*/ 825557 w 2051041"/>
              <a:gd name="connsiteY901" fmla="*/ 496830 h 2084191"/>
              <a:gd name="connsiteX902" fmla="*/ 863649 w 2051041"/>
              <a:gd name="connsiteY902" fmla="*/ 534923 h 2084191"/>
              <a:gd name="connsiteX903" fmla="*/ 825557 w 2051041"/>
              <a:gd name="connsiteY903" fmla="*/ 571383 h 2084191"/>
              <a:gd name="connsiteX904" fmla="*/ 788553 w 2051041"/>
              <a:gd name="connsiteY904" fmla="*/ 534379 h 2084191"/>
              <a:gd name="connsiteX905" fmla="*/ 825557 w 2051041"/>
              <a:gd name="connsiteY905" fmla="*/ 496830 h 2084191"/>
              <a:gd name="connsiteX906" fmla="*/ 989898 w 2051041"/>
              <a:gd name="connsiteY906" fmla="*/ 494110 h 2084191"/>
              <a:gd name="connsiteX907" fmla="*/ 1029078 w 2051041"/>
              <a:gd name="connsiteY907" fmla="*/ 534923 h 2084191"/>
              <a:gd name="connsiteX908" fmla="*/ 989353 w 2051041"/>
              <a:gd name="connsiteY908" fmla="*/ 574104 h 2084191"/>
              <a:gd name="connsiteX909" fmla="*/ 949629 w 2051041"/>
              <a:gd name="connsiteY909" fmla="*/ 533835 h 2084191"/>
              <a:gd name="connsiteX910" fmla="*/ 989898 w 2051041"/>
              <a:gd name="connsiteY910" fmla="*/ 494110 h 2084191"/>
              <a:gd name="connsiteX911" fmla="*/ 1152062 w 2051041"/>
              <a:gd name="connsiteY911" fmla="*/ 490301 h 2084191"/>
              <a:gd name="connsiteX912" fmla="*/ 1196140 w 2051041"/>
              <a:gd name="connsiteY912" fmla="*/ 533835 h 2084191"/>
              <a:gd name="connsiteX913" fmla="*/ 1152606 w 2051041"/>
              <a:gd name="connsiteY913" fmla="*/ 577369 h 2084191"/>
              <a:gd name="connsiteX914" fmla="*/ 1109072 w 2051041"/>
              <a:gd name="connsiteY914" fmla="*/ 534379 h 2084191"/>
              <a:gd name="connsiteX915" fmla="*/ 1152062 w 2051041"/>
              <a:gd name="connsiteY915" fmla="*/ 490301 h 2084191"/>
              <a:gd name="connsiteX916" fmla="*/ 1316947 w 2051041"/>
              <a:gd name="connsiteY916" fmla="*/ 489212 h 2084191"/>
              <a:gd name="connsiteX917" fmla="*/ 1361570 w 2051041"/>
              <a:gd name="connsiteY917" fmla="*/ 534923 h 2084191"/>
              <a:gd name="connsiteX918" fmla="*/ 1315859 w 2051041"/>
              <a:gd name="connsiteY918" fmla="*/ 580090 h 2084191"/>
              <a:gd name="connsiteX919" fmla="*/ 1270693 w 2051041"/>
              <a:gd name="connsiteY919" fmla="*/ 533835 h 2084191"/>
              <a:gd name="connsiteX920" fmla="*/ 1316947 w 2051041"/>
              <a:gd name="connsiteY920" fmla="*/ 489212 h 2084191"/>
              <a:gd name="connsiteX921" fmla="*/ 1479112 w 2051041"/>
              <a:gd name="connsiteY921" fmla="*/ 484315 h 2084191"/>
              <a:gd name="connsiteX922" fmla="*/ 1528087 w 2051041"/>
              <a:gd name="connsiteY922" fmla="*/ 533835 h 2084191"/>
              <a:gd name="connsiteX923" fmla="*/ 1479656 w 2051041"/>
              <a:gd name="connsiteY923" fmla="*/ 582267 h 2084191"/>
              <a:gd name="connsiteX924" fmla="*/ 1431224 w 2051041"/>
              <a:gd name="connsiteY924" fmla="*/ 533835 h 2084191"/>
              <a:gd name="connsiteX925" fmla="*/ 1479112 w 2051041"/>
              <a:gd name="connsiteY925" fmla="*/ 484315 h 2084191"/>
              <a:gd name="connsiteX926" fmla="*/ 1643452 w 2051041"/>
              <a:gd name="connsiteY926" fmla="*/ 484314 h 2084191"/>
              <a:gd name="connsiteX927" fmla="*/ 1692973 w 2051041"/>
              <a:gd name="connsiteY927" fmla="*/ 534923 h 2084191"/>
              <a:gd name="connsiteX928" fmla="*/ 1641276 w 2051041"/>
              <a:gd name="connsiteY928" fmla="*/ 583898 h 2084191"/>
              <a:gd name="connsiteX929" fmla="*/ 1592300 w 2051041"/>
              <a:gd name="connsiteY929" fmla="*/ 532202 h 2084191"/>
              <a:gd name="connsiteX930" fmla="*/ 1643452 w 2051041"/>
              <a:gd name="connsiteY930" fmla="*/ 484314 h 2084191"/>
              <a:gd name="connsiteX931" fmla="*/ 1806162 w 2051041"/>
              <a:gd name="connsiteY931" fmla="*/ 481594 h 2084191"/>
              <a:gd name="connsiteX932" fmla="*/ 1857858 w 2051041"/>
              <a:gd name="connsiteY932" fmla="*/ 536011 h 2084191"/>
              <a:gd name="connsiteX933" fmla="*/ 1803441 w 2051041"/>
              <a:gd name="connsiteY933" fmla="*/ 586075 h 2084191"/>
              <a:gd name="connsiteX934" fmla="*/ 1753377 w 2051041"/>
              <a:gd name="connsiteY934" fmla="*/ 533290 h 2084191"/>
              <a:gd name="connsiteX935" fmla="*/ 1806162 w 2051041"/>
              <a:gd name="connsiteY935" fmla="*/ 481594 h 2084191"/>
              <a:gd name="connsiteX936" fmla="*/ 1968326 w 2051041"/>
              <a:gd name="connsiteY936" fmla="*/ 480505 h 2084191"/>
              <a:gd name="connsiteX937" fmla="*/ 2022200 w 2051041"/>
              <a:gd name="connsiteY937" fmla="*/ 534379 h 2084191"/>
              <a:gd name="connsiteX938" fmla="*/ 1969415 w 2051041"/>
              <a:gd name="connsiteY938" fmla="*/ 588252 h 2084191"/>
              <a:gd name="connsiteX939" fmla="*/ 1915541 w 2051041"/>
              <a:gd name="connsiteY939" fmla="*/ 534923 h 2084191"/>
              <a:gd name="connsiteX940" fmla="*/ 1968326 w 2051041"/>
              <a:gd name="connsiteY940" fmla="*/ 480505 h 2084191"/>
              <a:gd name="connsiteX941" fmla="*/ 91464 w 2051041"/>
              <a:gd name="connsiteY941" fmla="*/ 440780 h 2084191"/>
              <a:gd name="connsiteX942" fmla="*/ 102891 w 2051041"/>
              <a:gd name="connsiteY942" fmla="*/ 451664 h 2084191"/>
              <a:gd name="connsiteX943" fmla="*/ 92008 w 2051041"/>
              <a:gd name="connsiteY943" fmla="*/ 464179 h 2084191"/>
              <a:gd name="connsiteX944" fmla="*/ 80036 w 2051041"/>
              <a:gd name="connsiteY944" fmla="*/ 452752 h 2084191"/>
              <a:gd name="connsiteX945" fmla="*/ 91464 w 2051041"/>
              <a:gd name="connsiteY945" fmla="*/ 440780 h 2084191"/>
              <a:gd name="connsiteX946" fmla="*/ 254172 w 2051041"/>
              <a:gd name="connsiteY946" fmla="*/ 430441 h 2084191"/>
              <a:gd name="connsiteX947" fmla="*/ 275939 w 2051041"/>
              <a:gd name="connsiteY947" fmla="*/ 452208 h 2084191"/>
              <a:gd name="connsiteX948" fmla="*/ 254716 w 2051041"/>
              <a:gd name="connsiteY948" fmla="*/ 473975 h 2084191"/>
              <a:gd name="connsiteX949" fmla="*/ 232405 w 2051041"/>
              <a:gd name="connsiteY949" fmla="*/ 452752 h 2084191"/>
              <a:gd name="connsiteX950" fmla="*/ 254172 w 2051041"/>
              <a:gd name="connsiteY950" fmla="*/ 430441 h 2084191"/>
              <a:gd name="connsiteX951" fmla="*/ 417969 w 2051041"/>
              <a:gd name="connsiteY951" fmla="*/ 424999 h 2084191"/>
              <a:gd name="connsiteX952" fmla="*/ 444634 w 2051041"/>
              <a:gd name="connsiteY952" fmla="*/ 452752 h 2084191"/>
              <a:gd name="connsiteX953" fmla="*/ 417425 w 2051041"/>
              <a:gd name="connsiteY953" fmla="*/ 479417 h 2084191"/>
              <a:gd name="connsiteX954" fmla="*/ 390760 w 2051041"/>
              <a:gd name="connsiteY954" fmla="*/ 452208 h 2084191"/>
              <a:gd name="connsiteX955" fmla="*/ 417969 w 2051041"/>
              <a:gd name="connsiteY955" fmla="*/ 424999 h 2084191"/>
              <a:gd name="connsiteX956" fmla="*/ 580677 w 2051041"/>
              <a:gd name="connsiteY956" fmla="*/ 419558 h 2084191"/>
              <a:gd name="connsiteX957" fmla="*/ 612783 w 2051041"/>
              <a:gd name="connsiteY957" fmla="*/ 452208 h 2084191"/>
              <a:gd name="connsiteX958" fmla="*/ 581221 w 2051041"/>
              <a:gd name="connsiteY958" fmla="*/ 484315 h 2084191"/>
              <a:gd name="connsiteX959" fmla="*/ 549115 w 2051041"/>
              <a:gd name="connsiteY959" fmla="*/ 452208 h 2084191"/>
              <a:gd name="connsiteX960" fmla="*/ 580677 w 2051041"/>
              <a:gd name="connsiteY960" fmla="*/ 419558 h 2084191"/>
              <a:gd name="connsiteX961" fmla="*/ 743931 w 2051041"/>
              <a:gd name="connsiteY961" fmla="*/ 415748 h 2084191"/>
              <a:gd name="connsiteX962" fmla="*/ 780390 w 2051041"/>
              <a:gd name="connsiteY962" fmla="*/ 452208 h 2084191"/>
              <a:gd name="connsiteX963" fmla="*/ 744475 w 2051041"/>
              <a:gd name="connsiteY963" fmla="*/ 489212 h 2084191"/>
              <a:gd name="connsiteX964" fmla="*/ 708559 w 2051041"/>
              <a:gd name="connsiteY964" fmla="*/ 453840 h 2084191"/>
              <a:gd name="connsiteX965" fmla="*/ 743931 w 2051041"/>
              <a:gd name="connsiteY965" fmla="*/ 415748 h 2084191"/>
              <a:gd name="connsiteX966" fmla="*/ 908271 w 2051041"/>
              <a:gd name="connsiteY966" fmla="*/ 414116 h 2084191"/>
              <a:gd name="connsiteX967" fmla="*/ 946363 w 2051041"/>
              <a:gd name="connsiteY967" fmla="*/ 453296 h 2084191"/>
              <a:gd name="connsiteX968" fmla="*/ 906638 w 2051041"/>
              <a:gd name="connsiteY968" fmla="*/ 491933 h 2084191"/>
              <a:gd name="connsiteX969" fmla="*/ 868546 w 2051041"/>
              <a:gd name="connsiteY969" fmla="*/ 452208 h 2084191"/>
              <a:gd name="connsiteX970" fmla="*/ 908271 w 2051041"/>
              <a:gd name="connsiteY970" fmla="*/ 414116 h 2084191"/>
              <a:gd name="connsiteX971" fmla="*/ 1072068 w 2051041"/>
              <a:gd name="connsiteY971" fmla="*/ 409218 h 2084191"/>
              <a:gd name="connsiteX972" fmla="*/ 1113970 w 2051041"/>
              <a:gd name="connsiteY972" fmla="*/ 452752 h 2084191"/>
              <a:gd name="connsiteX973" fmla="*/ 1070436 w 2051041"/>
              <a:gd name="connsiteY973" fmla="*/ 495198 h 2084191"/>
              <a:gd name="connsiteX974" fmla="*/ 1028534 w 2051041"/>
              <a:gd name="connsiteY974" fmla="*/ 451120 h 2084191"/>
              <a:gd name="connsiteX975" fmla="*/ 1072068 w 2051041"/>
              <a:gd name="connsiteY975" fmla="*/ 409218 h 2084191"/>
              <a:gd name="connsiteX976" fmla="*/ 1235865 w 2051041"/>
              <a:gd name="connsiteY976" fmla="*/ 408130 h 2084191"/>
              <a:gd name="connsiteX977" fmla="*/ 1279400 w 2051041"/>
              <a:gd name="connsiteY977" fmla="*/ 453296 h 2084191"/>
              <a:gd name="connsiteX978" fmla="*/ 1233689 w 2051041"/>
              <a:gd name="connsiteY978" fmla="*/ 497374 h 2084191"/>
              <a:gd name="connsiteX979" fmla="*/ 1189611 w 2051041"/>
              <a:gd name="connsiteY979" fmla="*/ 451664 h 2084191"/>
              <a:gd name="connsiteX980" fmla="*/ 1235865 w 2051041"/>
              <a:gd name="connsiteY980" fmla="*/ 408130 h 2084191"/>
              <a:gd name="connsiteX981" fmla="*/ 1396941 w 2051041"/>
              <a:gd name="connsiteY981" fmla="*/ 403776 h 2084191"/>
              <a:gd name="connsiteX982" fmla="*/ 1446461 w 2051041"/>
              <a:gd name="connsiteY982" fmla="*/ 450575 h 2084191"/>
              <a:gd name="connsiteX983" fmla="*/ 1399118 w 2051041"/>
              <a:gd name="connsiteY983" fmla="*/ 500640 h 2084191"/>
              <a:gd name="connsiteX984" fmla="*/ 1349598 w 2051041"/>
              <a:gd name="connsiteY984" fmla="*/ 453296 h 2084191"/>
              <a:gd name="connsiteX985" fmla="*/ 1396941 w 2051041"/>
              <a:gd name="connsiteY985" fmla="*/ 403776 h 2084191"/>
              <a:gd name="connsiteX986" fmla="*/ 1560738 w 2051041"/>
              <a:gd name="connsiteY986" fmla="*/ 402144 h 2084191"/>
              <a:gd name="connsiteX987" fmla="*/ 1611347 w 2051041"/>
              <a:gd name="connsiteY987" fmla="*/ 453297 h 2084191"/>
              <a:gd name="connsiteX988" fmla="*/ 1560194 w 2051041"/>
              <a:gd name="connsiteY988" fmla="*/ 502272 h 2084191"/>
              <a:gd name="connsiteX989" fmla="*/ 1511218 w 2051041"/>
              <a:gd name="connsiteY989" fmla="*/ 451664 h 2084191"/>
              <a:gd name="connsiteX990" fmla="*/ 1560738 w 2051041"/>
              <a:gd name="connsiteY990" fmla="*/ 402144 h 2084191"/>
              <a:gd name="connsiteX991" fmla="*/ 1723991 w 2051041"/>
              <a:gd name="connsiteY991" fmla="*/ 399423 h 2084191"/>
              <a:gd name="connsiteX992" fmla="*/ 1776776 w 2051041"/>
              <a:gd name="connsiteY992" fmla="*/ 452752 h 2084191"/>
              <a:gd name="connsiteX993" fmla="*/ 1725079 w 2051041"/>
              <a:gd name="connsiteY993" fmla="*/ 504993 h 2084191"/>
              <a:gd name="connsiteX994" fmla="*/ 1671750 w 2051041"/>
              <a:gd name="connsiteY994" fmla="*/ 452752 h 2084191"/>
              <a:gd name="connsiteX995" fmla="*/ 1723991 w 2051041"/>
              <a:gd name="connsiteY995" fmla="*/ 399423 h 2084191"/>
              <a:gd name="connsiteX996" fmla="*/ 2051040 w 2051041"/>
              <a:gd name="connsiteY996" fmla="*/ 398335 h 2084191"/>
              <a:gd name="connsiteX997" fmla="*/ 2051041 w 2051041"/>
              <a:gd name="connsiteY997" fmla="*/ 398335 h 2084191"/>
              <a:gd name="connsiteX998" fmla="*/ 2051041 w 2051041"/>
              <a:gd name="connsiteY998" fmla="*/ 506936 h 2084191"/>
              <a:gd name="connsiteX999" fmla="*/ 2049952 w 2051041"/>
              <a:gd name="connsiteY999" fmla="*/ 507170 h 2084191"/>
              <a:gd name="connsiteX1000" fmla="*/ 1995534 w 2051041"/>
              <a:gd name="connsiteY1000" fmla="*/ 452208 h 2084191"/>
              <a:gd name="connsiteX1001" fmla="*/ 2051040 w 2051041"/>
              <a:gd name="connsiteY1001" fmla="*/ 398335 h 2084191"/>
              <a:gd name="connsiteX1002" fmla="*/ 1888332 w 2051041"/>
              <a:gd name="connsiteY1002" fmla="*/ 398335 h 2084191"/>
              <a:gd name="connsiteX1003" fmla="*/ 1941661 w 2051041"/>
              <a:gd name="connsiteY1003" fmla="*/ 452208 h 2084191"/>
              <a:gd name="connsiteX1004" fmla="*/ 1886699 w 2051041"/>
              <a:gd name="connsiteY1004" fmla="*/ 506082 h 2084191"/>
              <a:gd name="connsiteX1005" fmla="*/ 1833370 w 2051041"/>
              <a:gd name="connsiteY1005" fmla="*/ 452208 h 2084191"/>
              <a:gd name="connsiteX1006" fmla="*/ 1888332 w 2051041"/>
              <a:gd name="connsiteY1006" fmla="*/ 398335 h 2084191"/>
              <a:gd name="connsiteX1007" fmla="*/ 12014 w 2051041"/>
              <a:gd name="connsiteY1007" fmla="*/ 364052 h 2084191"/>
              <a:gd name="connsiteX1008" fmla="*/ 15823 w 2051041"/>
              <a:gd name="connsiteY1008" fmla="*/ 370038 h 2084191"/>
              <a:gd name="connsiteX1009" fmla="*/ 9293 w 2051041"/>
              <a:gd name="connsiteY1009" fmla="*/ 377656 h 2084191"/>
              <a:gd name="connsiteX1010" fmla="*/ 3307 w 2051041"/>
              <a:gd name="connsiteY1010" fmla="*/ 371126 h 2084191"/>
              <a:gd name="connsiteX1011" fmla="*/ 12014 w 2051041"/>
              <a:gd name="connsiteY1011" fmla="*/ 364052 h 2084191"/>
              <a:gd name="connsiteX1012" fmla="*/ 172545 w 2051041"/>
              <a:gd name="connsiteY1012" fmla="*/ 353713 h 2084191"/>
              <a:gd name="connsiteX1013" fmla="*/ 190503 w 2051041"/>
              <a:gd name="connsiteY1013" fmla="*/ 370582 h 2084191"/>
              <a:gd name="connsiteX1014" fmla="*/ 173090 w 2051041"/>
              <a:gd name="connsiteY1014" fmla="*/ 387996 h 2084191"/>
              <a:gd name="connsiteX1015" fmla="*/ 155676 w 2051041"/>
              <a:gd name="connsiteY1015" fmla="*/ 371126 h 2084191"/>
              <a:gd name="connsiteX1016" fmla="*/ 172545 w 2051041"/>
              <a:gd name="connsiteY1016" fmla="*/ 353713 h 2084191"/>
              <a:gd name="connsiteX1017" fmla="*/ 336886 w 2051041"/>
              <a:gd name="connsiteY1017" fmla="*/ 345550 h 2084191"/>
              <a:gd name="connsiteX1018" fmla="*/ 361374 w 2051041"/>
              <a:gd name="connsiteY1018" fmla="*/ 371670 h 2084191"/>
              <a:gd name="connsiteX1019" fmla="*/ 335798 w 2051041"/>
              <a:gd name="connsiteY1019" fmla="*/ 395070 h 2084191"/>
              <a:gd name="connsiteX1020" fmla="*/ 311854 w 2051041"/>
              <a:gd name="connsiteY1020" fmla="*/ 370038 h 2084191"/>
              <a:gd name="connsiteX1021" fmla="*/ 336886 w 2051041"/>
              <a:gd name="connsiteY1021" fmla="*/ 345550 h 2084191"/>
              <a:gd name="connsiteX1022" fmla="*/ 499596 w 2051041"/>
              <a:gd name="connsiteY1022" fmla="*/ 342284 h 2084191"/>
              <a:gd name="connsiteX1023" fmla="*/ 528437 w 2051041"/>
              <a:gd name="connsiteY1023" fmla="*/ 370582 h 2084191"/>
              <a:gd name="connsiteX1024" fmla="*/ 499051 w 2051041"/>
              <a:gd name="connsiteY1024" fmla="*/ 399423 h 2084191"/>
              <a:gd name="connsiteX1025" fmla="*/ 470210 w 2051041"/>
              <a:gd name="connsiteY1025" fmla="*/ 370037 h 2084191"/>
              <a:gd name="connsiteX1026" fmla="*/ 499596 w 2051041"/>
              <a:gd name="connsiteY1026" fmla="*/ 342284 h 2084191"/>
              <a:gd name="connsiteX1027" fmla="*/ 663392 w 2051041"/>
              <a:gd name="connsiteY1027" fmla="*/ 337387 h 2084191"/>
              <a:gd name="connsiteX1028" fmla="*/ 697131 w 2051041"/>
              <a:gd name="connsiteY1028" fmla="*/ 371126 h 2084191"/>
              <a:gd name="connsiteX1029" fmla="*/ 662304 w 2051041"/>
              <a:gd name="connsiteY1029" fmla="*/ 404321 h 2084191"/>
              <a:gd name="connsiteX1030" fmla="*/ 629109 w 2051041"/>
              <a:gd name="connsiteY1030" fmla="*/ 371126 h 2084191"/>
              <a:gd name="connsiteX1031" fmla="*/ 663392 w 2051041"/>
              <a:gd name="connsiteY1031" fmla="*/ 337387 h 2084191"/>
              <a:gd name="connsiteX1032" fmla="*/ 825556 w 2051041"/>
              <a:gd name="connsiteY1032" fmla="*/ 332489 h 2084191"/>
              <a:gd name="connsiteX1033" fmla="*/ 864737 w 2051041"/>
              <a:gd name="connsiteY1033" fmla="*/ 370037 h 2084191"/>
              <a:gd name="connsiteX1034" fmla="*/ 826645 w 2051041"/>
              <a:gd name="connsiteY1034" fmla="*/ 409218 h 2084191"/>
              <a:gd name="connsiteX1035" fmla="*/ 787464 w 2051041"/>
              <a:gd name="connsiteY1035" fmla="*/ 371126 h 2084191"/>
              <a:gd name="connsiteX1036" fmla="*/ 825556 w 2051041"/>
              <a:gd name="connsiteY1036" fmla="*/ 332489 h 2084191"/>
              <a:gd name="connsiteX1037" fmla="*/ 989898 w 2051041"/>
              <a:gd name="connsiteY1037" fmla="*/ 328680 h 2084191"/>
              <a:gd name="connsiteX1038" fmla="*/ 1031255 w 2051041"/>
              <a:gd name="connsiteY1038" fmla="*/ 371126 h 2084191"/>
              <a:gd name="connsiteX1039" fmla="*/ 989354 w 2051041"/>
              <a:gd name="connsiteY1039" fmla="*/ 413027 h 2084191"/>
              <a:gd name="connsiteX1040" fmla="*/ 947452 w 2051041"/>
              <a:gd name="connsiteY1040" fmla="*/ 370037 h 2084191"/>
              <a:gd name="connsiteX1041" fmla="*/ 989898 w 2051041"/>
              <a:gd name="connsiteY1041" fmla="*/ 328680 h 2084191"/>
              <a:gd name="connsiteX1042" fmla="*/ 1153150 w 2051041"/>
              <a:gd name="connsiteY1042" fmla="*/ 326504 h 2084191"/>
              <a:gd name="connsiteX1043" fmla="*/ 1197228 w 2051041"/>
              <a:gd name="connsiteY1043" fmla="*/ 370582 h 2084191"/>
              <a:gd name="connsiteX1044" fmla="*/ 1152606 w 2051041"/>
              <a:gd name="connsiteY1044" fmla="*/ 414661 h 2084191"/>
              <a:gd name="connsiteX1045" fmla="*/ 1108528 w 2051041"/>
              <a:gd name="connsiteY1045" fmla="*/ 370038 h 2084191"/>
              <a:gd name="connsiteX1046" fmla="*/ 1153150 w 2051041"/>
              <a:gd name="connsiteY1046" fmla="*/ 326504 h 2084191"/>
              <a:gd name="connsiteX1047" fmla="*/ 1317492 w 2051041"/>
              <a:gd name="connsiteY1047" fmla="*/ 323239 h 2084191"/>
              <a:gd name="connsiteX1048" fmla="*/ 1364835 w 2051041"/>
              <a:gd name="connsiteY1048" fmla="*/ 372215 h 2084191"/>
              <a:gd name="connsiteX1049" fmla="*/ 1314771 w 2051041"/>
              <a:gd name="connsiteY1049" fmla="*/ 419014 h 2084191"/>
              <a:gd name="connsiteX1050" fmla="*/ 1268516 w 2051041"/>
              <a:gd name="connsiteY1050" fmla="*/ 370582 h 2084191"/>
              <a:gd name="connsiteX1051" fmla="*/ 1317492 w 2051041"/>
              <a:gd name="connsiteY1051" fmla="*/ 323239 h 2084191"/>
              <a:gd name="connsiteX1052" fmla="*/ 1479112 w 2051041"/>
              <a:gd name="connsiteY1052" fmla="*/ 320517 h 2084191"/>
              <a:gd name="connsiteX1053" fmla="*/ 1529720 w 2051041"/>
              <a:gd name="connsiteY1053" fmla="*/ 371670 h 2084191"/>
              <a:gd name="connsiteX1054" fmla="*/ 1478568 w 2051041"/>
              <a:gd name="connsiteY1054" fmla="*/ 420101 h 2084191"/>
              <a:gd name="connsiteX1055" fmla="*/ 1429592 w 2051041"/>
              <a:gd name="connsiteY1055" fmla="*/ 370037 h 2084191"/>
              <a:gd name="connsiteX1056" fmla="*/ 1479112 w 2051041"/>
              <a:gd name="connsiteY1056" fmla="*/ 320517 h 2084191"/>
              <a:gd name="connsiteX1057" fmla="*/ 1642364 w 2051041"/>
              <a:gd name="connsiteY1057" fmla="*/ 318341 h 2084191"/>
              <a:gd name="connsiteX1058" fmla="*/ 1695694 w 2051041"/>
              <a:gd name="connsiteY1058" fmla="*/ 370582 h 2084191"/>
              <a:gd name="connsiteX1059" fmla="*/ 1643453 w 2051041"/>
              <a:gd name="connsiteY1059" fmla="*/ 424455 h 2084191"/>
              <a:gd name="connsiteX1060" fmla="*/ 1589035 w 2051041"/>
              <a:gd name="connsiteY1060" fmla="*/ 371670 h 2084191"/>
              <a:gd name="connsiteX1061" fmla="*/ 1642364 w 2051041"/>
              <a:gd name="connsiteY1061" fmla="*/ 318341 h 2084191"/>
              <a:gd name="connsiteX1062" fmla="*/ 90919 w 2051041"/>
              <a:gd name="connsiteY1062" fmla="*/ 273718 h 2084191"/>
              <a:gd name="connsiteX1063" fmla="*/ 106700 w 2051041"/>
              <a:gd name="connsiteY1063" fmla="*/ 288411 h 2084191"/>
              <a:gd name="connsiteX1064" fmla="*/ 91463 w 2051041"/>
              <a:gd name="connsiteY1064" fmla="*/ 303648 h 2084191"/>
              <a:gd name="connsiteX1065" fmla="*/ 76770 w 2051041"/>
              <a:gd name="connsiteY1065" fmla="*/ 288411 h 2084191"/>
              <a:gd name="connsiteX1066" fmla="*/ 90919 w 2051041"/>
              <a:gd name="connsiteY1066" fmla="*/ 273718 h 2084191"/>
              <a:gd name="connsiteX1067" fmla="*/ 254716 w 2051041"/>
              <a:gd name="connsiteY1067" fmla="*/ 267733 h 2084191"/>
              <a:gd name="connsiteX1068" fmla="*/ 276483 w 2051041"/>
              <a:gd name="connsiteY1068" fmla="*/ 288956 h 2084191"/>
              <a:gd name="connsiteX1069" fmla="*/ 254172 w 2051041"/>
              <a:gd name="connsiteY1069" fmla="*/ 311811 h 2084191"/>
              <a:gd name="connsiteX1070" fmla="*/ 232405 w 2051041"/>
              <a:gd name="connsiteY1070" fmla="*/ 289500 h 2084191"/>
              <a:gd name="connsiteX1071" fmla="*/ 254716 w 2051041"/>
              <a:gd name="connsiteY1071" fmla="*/ 267733 h 2084191"/>
              <a:gd name="connsiteX1072" fmla="*/ 1941117 w 2051041"/>
              <a:gd name="connsiteY1072" fmla="*/ 263202 h 2084191"/>
              <a:gd name="connsiteX1073" fmla="*/ 1936219 w 2051041"/>
              <a:gd name="connsiteY1073" fmla="*/ 266467 h 2084191"/>
              <a:gd name="connsiteX1074" fmla="*/ 1938396 w 2051041"/>
              <a:gd name="connsiteY1074" fmla="*/ 272453 h 2084191"/>
              <a:gd name="connsiteX1075" fmla="*/ 1932954 w 2051041"/>
              <a:gd name="connsiteY1075" fmla="*/ 325782 h 2084191"/>
              <a:gd name="connsiteX1076" fmla="*/ 1930777 w 2051041"/>
              <a:gd name="connsiteY1076" fmla="*/ 331224 h 2084191"/>
              <a:gd name="connsiteX1077" fmla="*/ 1936219 w 2051041"/>
              <a:gd name="connsiteY1077" fmla="*/ 330136 h 2084191"/>
              <a:gd name="connsiteX1078" fmla="*/ 1966693 w 2051041"/>
              <a:gd name="connsiteY1078" fmla="*/ 320340 h 2084191"/>
              <a:gd name="connsiteX1079" fmla="*/ 1998799 w 2051041"/>
              <a:gd name="connsiteY1079" fmla="*/ 328503 h 2084191"/>
              <a:gd name="connsiteX1080" fmla="*/ 2003153 w 2051041"/>
              <a:gd name="connsiteY1080" fmla="*/ 330136 h 2084191"/>
              <a:gd name="connsiteX1081" fmla="*/ 2001520 w 2051041"/>
              <a:gd name="connsiteY1081" fmla="*/ 324694 h 2084191"/>
              <a:gd name="connsiteX1082" fmla="*/ 1994446 w 2051041"/>
              <a:gd name="connsiteY1082" fmla="*/ 309457 h 2084191"/>
              <a:gd name="connsiteX1083" fmla="*/ 1998255 w 2051041"/>
              <a:gd name="connsiteY1083" fmla="*/ 267555 h 2084191"/>
              <a:gd name="connsiteX1084" fmla="*/ 2000976 w 2051041"/>
              <a:gd name="connsiteY1084" fmla="*/ 263746 h 2084191"/>
              <a:gd name="connsiteX1085" fmla="*/ 1995534 w 2051041"/>
              <a:gd name="connsiteY1085" fmla="*/ 263746 h 2084191"/>
              <a:gd name="connsiteX1086" fmla="*/ 1941117 w 2051041"/>
              <a:gd name="connsiteY1086" fmla="*/ 263202 h 2084191"/>
              <a:gd name="connsiteX1087" fmla="*/ 417425 w 2051041"/>
              <a:gd name="connsiteY1087" fmla="*/ 262291 h 2084191"/>
              <a:gd name="connsiteX1088" fmla="*/ 445178 w 2051041"/>
              <a:gd name="connsiteY1088" fmla="*/ 288956 h 2084191"/>
              <a:gd name="connsiteX1089" fmla="*/ 417969 w 2051041"/>
              <a:gd name="connsiteY1089" fmla="*/ 317253 h 2084191"/>
              <a:gd name="connsiteX1090" fmla="*/ 390216 w 2051041"/>
              <a:gd name="connsiteY1090" fmla="*/ 290044 h 2084191"/>
              <a:gd name="connsiteX1091" fmla="*/ 417425 w 2051041"/>
              <a:gd name="connsiteY1091" fmla="*/ 262291 h 2084191"/>
              <a:gd name="connsiteX1092" fmla="*/ 580678 w 2051041"/>
              <a:gd name="connsiteY1092" fmla="*/ 256304 h 2084191"/>
              <a:gd name="connsiteX1093" fmla="*/ 613872 w 2051041"/>
              <a:gd name="connsiteY1093" fmla="*/ 288955 h 2084191"/>
              <a:gd name="connsiteX1094" fmla="*/ 581222 w 2051041"/>
              <a:gd name="connsiteY1094" fmla="*/ 322150 h 2084191"/>
              <a:gd name="connsiteX1095" fmla="*/ 548027 w 2051041"/>
              <a:gd name="connsiteY1095" fmla="*/ 289499 h 2084191"/>
              <a:gd name="connsiteX1096" fmla="*/ 580678 w 2051041"/>
              <a:gd name="connsiteY1096" fmla="*/ 256304 h 2084191"/>
              <a:gd name="connsiteX1097" fmla="*/ 743930 w 2051041"/>
              <a:gd name="connsiteY1097" fmla="*/ 251951 h 2084191"/>
              <a:gd name="connsiteX1098" fmla="*/ 782022 w 2051041"/>
              <a:gd name="connsiteY1098" fmla="*/ 289499 h 2084191"/>
              <a:gd name="connsiteX1099" fmla="*/ 744474 w 2051041"/>
              <a:gd name="connsiteY1099" fmla="*/ 326503 h 2084191"/>
              <a:gd name="connsiteX1100" fmla="*/ 707470 w 2051041"/>
              <a:gd name="connsiteY1100" fmla="*/ 289499 h 2084191"/>
              <a:gd name="connsiteX1101" fmla="*/ 743930 w 2051041"/>
              <a:gd name="connsiteY1101" fmla="*/ 251951 h 2084191"/>
              <a:gd name="connsiteX1102" fmla="*/ 907183 w 2051041"/>
              <a:gd name="connsiteY1102" fmla="*/ 249775 h 2084191"/>
              <a:gd name="connsiteX1103" fmla="*/ 947452 w 2051041"/>
              <a:gd name="connsiteY1103" fmla="*/ 289500 h 2084191"/>
              <a:gd name="connsiteX1104" fmla="*/ 908271 w 2051041"/>
              <a:gd name="connsiteY1104" fmla="*/ 329225 h 2084191"/>
              <a:gd name="connsiteX1105" fmla="*/ 867458 w 2051041"/>
              <a:gd name="connsiteY1105" fmla="*/ 290044 h 2084191"/>
              <a:gd name="connsiteX1106" fmla="*/ 907183 w 2051041"/>
              <a:gd name="connsiteY1106" fmla="*/ 249775 h 2084191"/>
              <a:gd name="connsiteX1107" fmla="*/ 1070435 w 2051041"/>
              <a:gd name="connsiteY1107" fmla="*/ 245965 h 2084191"/>
              <a:gd name="connsiteX1108" fmla="*/ 1114513 w 2051041"/>
              <a:gd name="connsiteY1108" fmla="*/ 290043 h 2084191"/>
              <a:gd name="connsiteX1109" fmla="*/ 1069347 w 2051041"/>
              <a:gd name="connsiteY1109" fmla="*/ 333578 h 2084191"/>
              <a:gd name="connsiteX1110" fmla="*/ 1026357 w 2051041"/>
              <a:gd name="connsiteY1110" fmla="*/ 288955 h 2084191"/>
              <a:gd name="connsiteX1111" fmla="*/ 1070435 w 2051041"/>
              <a:gd name="connsiteY1111" fmla="*/ 245965 h 2084191"/>
              <a:gd name="connsiteX1112" fmla="*/ 1233689 w 2051041"/>
              <a:gd name="connsiteY1112" fmla="*/ 241613 h 2084191"/>
              <a:gd name="connsiteX1113" fmla="*/ 1282120 w 2051041"/>
              <a:gd name="connsiteY1113" fmla="*/ 288412 h 2084191"/>
              <a:gd name="connsiteX1114" fmla="*/ 1235321 w 2051041"/>
              <a:gd name="connsiteY1114" fmla="*/ 335755 h 2084191"/>
              <a:gd name="connsiteX1115" fmla="*/ 1187434 w 2051041"/>
              <a:gd name="connsiteY1115" fmla="*/ 289500 h 2084191"/>
              <a:gd name="connsiteX1116" fmla="*/ 1233689 w 2051041"/>
              <a:gd name="connsiteY1116" fmla="*/ 241613 h 2084191"/>
              <a:gd name="connsiteX1117" fmla="*/ 1397485 w 2051041"/>
              <a:gd name="connsiteY1117" fmla="*/ 238891 h 2084191"/>
              <a:gd name="connsiteX1118" fmla="*/ 1448094 w 2051041"/>
              <a:gd name="connsiteY1118" fmla="*/ 288955 h 2084191"/>
              <a:gd name="connsiteX1119" fmla="*/ 1398029 w 2051041"/>
              <a:gd name="connsiteY1119" fmla="*/ 338475 h 2084191"/>
              <a:gd name="connsiteX1120" fmla="*/ 1348509 w 2051041"/>
              <a:gd name="connsiteY1120" fmla="*/ 289499 h 2084191"/>
              <a:gd name="connsiteX1121" fmla="*/ 1397485 w 2051041"/>
              <a:gd name="connsiteY1121" fmla="*/ 238891 h 2084191"/>
              <a:gd name="connsiteX1122" fmla="*/ 1559650 w 2051041"/>
              <a:gd name="connsiteY1122" fmla="*/ 237258 h 2084191"/>
              <a:gd name="connsiteX1123" fmla="*/ 1613523 w 2051041"/>
              <a:gd name="connsiteY1123" fmla="*/ 288955 h 2084191"/>
              <a:gd name="connsiteX1124" fmla="*/ 1560738 w 2051041"/>
              <a:gd name="connsiteY1124" fmla="*/ 342829 h 2084191"/>
              <a:gd name="connsiteX1125" fmla="*/ 1507953 w 2051041"/>
              <a:gd name="connsiteY1125" fmla="*/ 289499 h 2084191"/>
              <a:gd name="connsiteX1126" fmla="*/ 1559650 w 2051041"/>
              <a:gd name="connsiteY1126" fmla="*/ 237258 h 2084191"/>
              <a:gd name="connsiteX1127" fmla="*/ 9837 w 2051041"/>
              <a:gd name="connsiteY1127" fmla="*/ 198078 h 2084191"/>
              <a:gd name="connsiteX1128" fmla="*/ 19632 w 2051041"/>
              <a:gd name="connsiteY1128" fmla="*/ 207873 h 2084191"/>
              <a:gd name="connsiteX1129" fmla="*/ 10381 w 2051041"/>
              <a:gd name="connsiteY1129" fmla="*/ 218213 h 2084191"/>
              <a:gd name="connsiteX1130" fmla="*/ 42 w 2051041"/>
              <a:gd name="connsiteY1130" fmla="*/ 207873 h 2084191"/>
              <a:gd name="connsiteX1131" fmla="*/ 9837 w 2051041"/>
              <a:gd name="connsiteY1131" fmla="*/ 198078 h 2084191"/>
              <a:gd name="connsiteX1132" fmla="*/ 173090 w 2051041"/>
              <a:gd name="connsiteY1132" fmla="*/ 187739 h 2084191"/>
              <a:gd name="connsiteX1133" fmla="*/ 192136 w 2051041"/>
              <a:gd name="connsiteY1133" fmla="*/ 207329 h 2084191"/>
              <a:gd name="connsiteX1134" fmla="*/ 172546 w 2051041"/>
              <a:gd name="connsiteY1134" fmla="*/ 227464 h 2084191"/>
              <a:gd name="connsiteX1135" fmla="*/ 154044 w 2051041"/>
              <a:gd name="connsiteY1135" fmla="*/ 208418 h 2084191"/>
              <a:gd name="connsiteX1136" fmla="*/ 173090 w 2051041"/>
              <a:gd name="connsiteY1136" fmla="*/ 187739 h 2084191"/>
              <a:gd name="connsiteX1137" fmla="*/ 336887 w 2051041"/>
              <a:gd name="connsiteY1137" fmla="*/ 182297 h 2084191"/>
              <a:gd name="connsiteX1138" fmla="*/ 363007 w 2051041"/>
              <a:gd name="connsiteY1138" fmla="*/ 207329 h 2084191"/>
              <a:gd name="connsiteX1139" fmla="*/ 336887 w 2051041"/>
              <a:gd name="connsiteY1139" fmla="*/ 233994 h 2084191"/>
              <a:gd name="connsiteX1140" fmla="*/ 310766 w 2051041"/>
              <a:gd name="connsiteY1140" fmla="*/ 208961 h 2084191"/>
              <a:gd name="connsiteX1141" fmla="*/ 336887 w 2051041"/>
              <a:gd name="connsiteY1141" fmla="*/ 182297 h 2084191"/>
              <a:gd name="connsiteX1142" fmla="*/ 1856225 w 2051041"/>
              <a:gd name="connsiteY1142" fmla="*/ 180487 h 2084191"/>
              <a:gd name="connsiteX1143" fmla="*/ 1855681 w 2051041"/>
              <a:gd name="connsiteY1143" fmla="*/ 185929 h 2084191"/>
              <a:gd name="connsiteX1144" fmla="*/ 1851872 w 2051041"/>
              <a:gd name="connsiteY1144" fmla="*/ 244700 h 2084191"/>
              <a:gd name="connsiteX1145" fmla="*/ 1851328 w 2051041"/>
              <a:gd name="connsiteY1145" fmla="*/ 247965 h 2084191"/>
              <a:gd name="connsiteX1146" fmla="*/ 1854593 w 2051041"/>
              <a:gd name="connsiteY1146" fmla="*/ 247421 h 2084191"/>
              <a:gd name="connsiteX1147" fmla="*/ 1899215 w 2051041"/>
              <a:gd name="connsiteY1147" fmla="*/ 238714 h 2084191"/>
              <a:gd name="connsiteX1148" fmla="*/ 1913908 w 2051041"/>
              <a:gd name="connsiteY1148" fmla="*/ 243067 h 2084191"/>
              <a:gd name="connsiteX1149" fmla="*/ 1918806 w 2051041"/>
              <a:gd name="connsiteY1149" fmla="*/ 242523 h 2084191"/>
              <a:gd name="connsiteX1150" fmla="*/ 1918261 w 2051041"/>
              <a:gd name="connsiteY1150" fmla="*/ 238170 h 2084191"/>
              <a:gd name="connsiteX1151" fmla="*/ 1917173 w 2051041"/>
              <a:gd name="connsiteY1151" fmla="*/ 185929 h 2084191"/>
              <a:gd name="connsiteX1152" fmla="*/ 1918261 w 2051041"/>
              <a:gd name="connsiteY1152" fmla="*/ 181576 h 2084191"/>
              <a:gd name="connsiteX1153" fmla="*/ 1913908 w 2051041"/>
              <a:gd name="connsiteY1153" fmla="*/ 182664 h 2084191"/>
              <a:gd name="connsiteX1154" fmla="*/ 1860579 w 2051041"/>
              <a:gd name="connsiteY1154" fmla="*/ 180487 h 2084191"/>
              <a:gd name="connsiteX1155" fmla="*/ 1856225 w 2051041"/>
              <a:gd name="connsiteY1155" fmla="*/ 180487 h 2084191"/>
              <a:gd name="connsiteX1156" fmla="*/ 499595 w 2051041"/>
              <a:gd name="connsiteY1156" fmla="*/ 175767 h 2084191"/>
              <a:gd name="connsiteX1157" fmla="*/ 531158 w 2051041"/>
              <a:gd name="connsiteY1157" fmla="*/ 207874 h 2084191"/>
              <a:gd name="connsiteX1158" fmla="*/ 498507 w 2051041"/>
              <a:gd name="connsiteY1158" fmla="*/ 238347 h 2084191"/>
              <a:gd name="connsiteX1159" fmla="*/ 468033 w 2051041"/>
              <a:gd name="connsiteY1159" fmla="*/ 207329 h 2084191"/>
              <a:gd name="connsiteX1160" fmla="*/ 499595 w 2051041"/>
              <a:gd name="connsiteY1160" fmla="*/ 175767 h 2084191"/>
              <a:gd name="connsiteX1161" fmla="*/ 662304 w 2051041"/>
              <a:gd name="connsiteY1161" fmla="*/ 173046 h 2084191"/>
              <a:gd name="connsiteX1162" fmla="*/ 697676 w 2051041"/>
              <a:gd name="connsiteY1162" fmla="*/ 207873 h 2084191"/>
              <a:gd name="connsiteX1163" fmla="*/ 662304 w 2051041"/>
              <a:gd name="connsiteY1163" fmla="*/ 242156 h 2084191"/>
              <a:gd name="connsiteX1164" fmla="*/ 628021 w 2051041"/>
              <a:gd name="connsiteY1164" fmla="*/ 207873 h 2084191"/>
              <a:gd name="connsiteX1165" fmla="*/ 662304 w 2051041"/>
              <a:gd name="connsiteY1165" fmla="*/ 173046 h 2084191"/>
              <a:gd name="connsiteX1166" fmla="*/ 826645 w 2051041"/>
              <a:gd name="connsiteY1166" fmla="*/ 168148 h 2084191"/>
              <a:gd name="connsiteX1167" fmla="*/ 864737 w 2051041"/>
              <a:gd name="connsiteY1167" fmla="*/ 207329 h 2084191"/>
              <a:gd name="connsiteX1168" fmla="*/ 826100 w 2051041"/>
              <a:gd name="connsiteY1168" fmla="*/ 247054 h 2084191"/>
              <a:gd name="connsiteX1169" fmla="*/ 787464 w 2051041"/>
              <a:gd name="connsiteY1169" fmla="*/ 207873 h 2084191"/>
              <a:gd name="connsiteX1170" fmla="*/ 826645 w 2051041"/>
              <a:gd name="connsiteY1170" fmla="*/ 168148 h 2084191"/>
              <a:gd name="connsiteX1171" fmla="*/ 987721 w 2051041"/>
              <a:gd name="connsiteY1171" fmla="*/ 164883 h 2084191"/>
              <a:gd name="connsiteX1172" fmla="*/ 1031799 w 2051041"/>
              <a:gd name="connsiteY1172" fmla="*/ 207329 h 2084191"/>
              <a:gd name="connsiteX1173" fmla="*/ 988809 w 2051041"/>
              <a:gd name="connsiteY1173" fmla="*/ 250319 h 2084191"/>
              <a:gd name="connsiteX1174" fmla="*/ 945819 w 2051041"/>
              <a:gd name="connsiteY1174" fmla="*/ 208417 h 2084191"/>
              <a:gd name="connsiteX1175" fmla="*/ 987721 w 2051041"/>
              <a:gd name="connsiteY1175" fmla="*/ 164883 h 2084191"/>
              <a:gd name="connsiteX1176" fmla="*/ 1153150 w 2051041"/>
              <a:gd name="connsiteY1176" fmla="*/ 162707 h 2084191"/>
              <a:gd name="connsiteX1177" fmla="*/ 1197772 w 2051041"/>
              <a:gd name="connsiteY1177" fmla="*/ 207874 h 2084191"/>
              <a:gd name="connsiteX1178" fmla="*/ 1151517 w 2051041"/>
              <a:gd name="connsiteY1178" fmla="*/ 253584 h 2084191"/>
              <a:gd name="connsiteX1179" fmla="*/ 1107439 w 2051041"/>
              <a:gd name="connsiteY1179" fmla="*/ 207329 h 2084191"/>
              <a:gd name="connsiteX1180" fmla="*/ 1153150 w 2051041"/>
              <a:gd name="connsiteY1180" fmla="*/ 162707 h 2084191"/>
              <a:gd name="connsiteX1181" fmla="*/ 1315315 w 2051041"/>
              <a:gd name="connsiteY1181" fmla="*/ 158353 h 2084191"/>
              <a:gd name="connsiteX1182" fmla="*/ 1365379 w 2051041"/>
              <a:gd name="connsiteY1182" fmla="*/ 206785 h 2084191"/>
              <a:gd name="connsiteX1183" fmla="*/ 1315859 w 2051041"/>
              <a:gd name="connsiteY1183" fmla="*/ 256305 h 2084191"/>
              <a:gd name="connsiteX1184" fmla="*/ 1266883 w 2051041"/>
              <a:gd name="connsiteY1184" fmla="*/ 207873 h 2084191"/>
              <a:gd name="connsiteX1185" fmla="*/ 1315315 w 2051041"/>
              <a:gd name="connsiteY1185" fmla="*/ 158353 h 2084191"/>
              <a:gd name="connsiteX1186" fmla="*/ 1478567 w 2051041"/>
              <a:gd name="connsiteY1186" fmla="*/ 156721 h 2084191"/>
              <a:gd name="connsiteX1187" fmla="*/ 1529720 w 2051041"/>
              <a:gd name="connsiteY1187" fmla="*/ 207329 h 2084191"/>
              <a:gd name="connsiteX1188" fmla="*/ 1478567 w 2051041"/>
              <a:gd name="connsiteY1188" fmla="*/ 258482 h 2084191"/>
              <a:gd name="connsiteX1189" fmla="*/ 1427959 w 2051041"/>
              <a:gd name="connsiteY1189" fmla="*/ 207874 h 2084191"/>
              <a:gd name="connsiteX1190" fmla="*/ 1478567 w 2051041"/>
              <a:gd name="connsiteY1190" fmla="*/ 156721 h 2084191"/>
              <a:gd name="connsiteX1191" fmla="*/ 1644541 w 2051041"/>
              <a:gd name="connsiteY1191" fmla="*/ 153456 h 2084191"/>
              <a:gd name="connsiteX1192" fmla="*/ 1697326 w 2051041"/>
              <a:gd name="connsiteY1192" fmla="*/ 209506 h 2084191"/>
              <a:gd name="connsiteX1193" fmla="*/ 1641276 w 2051041"/>
              <a:gd name="connsiteY1193" fmla="*/ 262835 h 2084191"/>
              <a:gd name="connsiteX1194" fmla="*/ 1587947 w 2051041"/>
              <a:gd name="connsiteY1194" fmla="*/ 206785 h 2084191"/>
              <a:gd name="connsiteX1195" fmla="*/ 1644541 w 2051041"/>
              <a:gd name="connsiteY1195" fmla="*/ 153456 h 2084191"/>
              <a:gd name="connsiteX1196" fmla="*/ 91463 w 2051041"/>
              <a:gd name="connsiteY1196" fmla="*/ 109922 h 2084191"/>
              <a:gd name="connsiteX1197" fmla="*/ 107244 w 2051041"/>
              <a:gd name="connsiteY1197" fmla="*/ 126247 h 2084191"/>
              <a:gd name="connsiteX1198" fmla="*/ 91463 w 2051041"/>
              <a:gd name="connsiteY1198" fmla="*/ 142028 h 2084191"/>
              <a:gd name="connsiteX1199" fmla="*/ 75682 w 2051041"/>
              <a:gd name="connsiteY1199" fmla="*/ 126247 h 2084191"/>
              <a:gd name="connsiteX1200" fmla="*/ 91463 w 2051041"/>
              <a:gd name="connsiteY1200" fmla="*/ 109922 h 2084191"/>
              <a:gd name="connsiteX1201" fmla="*/ 1942341 w 2051041"/>
              <a:gd name="connsiteY1201" fmla="*/ 104915 h 2084191"/>
              <a:gd name="connsiteX1202" fmla="*/ 1942205 w 2051041"/>
              <a:gd name="connsiteY1202" fmla="*/ 111377 h 2084191"/>
              <a:gd name="connsiteX1203" fmla="*/ 1946559 w 2051041"/>
              <a:gd name="connsiteY1203" fmla="*/ 131511 h 2084191"/>
              <a:gd name="connsiteX1204" fmla="*/ 1939484 w 2051041"/>
              <a:gd name="connsiteY1204" fmla="*/ 157088 h 2084191"/>
              <a:gd name="connsiteX1205" fmla="*/ 1941117 w 2051041"/>
              <a:gd name="connsiteY1205" fmla="*/ 160353 h 2084191"/>
              <a:gd name="connsiteX1206" fmla="*/ 1986828 w 2051041"/>
              <a:gd name="connsiteY1206" fmla="*/ 157088 h 2084191"/>
              <a:gd name="connsiteX1207" fmla="*/ 1987916 w 2051041"/>
              <a:gd name="connsiteY1207" fmla="*/ 157088 h 2084191"/>
              <a:gd name="connsiteX1208" fmla="*/ 1993902 w 2051041"/>
              <a:gd name="connsiteY1208" fmla="*/ 150013 h 2084191"/>
              <a:gd name="connsiteX1209" fmla="*/ 1993902 w 2051041"/>
              <a:gd name="connsiteY1209" fmla="*/ 109744 h 2084191"/>
              <a:gd name="connsiteX1210" fmla="*/ 1989004 w 2051041"/>
              <a:gd name="connsiteY1210" fmla="*/ 105391 h 2084191"/>
              <a:gd name="connsiteX1211" fmla="*/ 1948191 w 2051041"/>
              <a:gd name="connsiteY1211" fmla="*/ 105391 h 2084191"/>
              <a:gd name="connsiteX1212" fmla="*/ 1942341 w 2051041"/>
              <a:gd name="connsiteY1212" fmla="*/ 104915 h 2084191"/>
              <a:gd name="connsiteX1213" fmla="*/ 255804 w 2051041"/>
              <a:gd name="connsiteY1213" fmla="*/ 103392 h 2084191"/>
              <a:gd name="connsiteX1214" fmla="*/ 277571 w 2051041"/>
              <a:gd name="connsiteY1214" fmla="*/ 126791 h 2084191"/>
              <a:gd name="connsiteX1215" fmla="*/ 254172 w 2051041"/>
              <a:gd name="connsiteY1215" fmla="*/ 148014 h 2084191"/>
              <a:gd name="connsiteX1216" fmla="*/ 232405 w 2051041"/>
              <a:gd name="connsiteY1216" fmla="*/ 125159 h 2084191"/>
              <a:gd name="connsiteX1217" fmla="*/ 255804 w 2051041"/>
              <a:gd name="connsiteY1217" fmla="*/ 103392 h 2084191"/>
              <a:gd name="connsiteX1218" fmla="*/ 1773511 w 2051041"/>
              <a:gd name="connsiteY1218" fmla="*/ 99405 h 2084191"/>
              <a:gd name="connsiteX1219" fmla="*/ 1773511 w 2051041"/>
              <a:gd name="connsiteY1219" fmla="*/ 107023 h 2084191"/>
              <a:gd name="connsiteX1220" fmla="*/ 1780585 w 2051041"/>
              <a:gd name="connsiteY1220" fmla="*/ 130423 h 2084191"/>
              <a:gd name="connsiteX1221" fmla="*/ 1773511 w 2051041"/>
              <a:gd name="connsiteY1221" fmla="*/ 155999 h 2084191"/>
              <a:gd name="connsiteX1222" fmla="*/ 1774055 w 2051041"/>
              <a:gd name="connsiteY1222" fmla="*/ 161985 h 2084191"/>
              <a:gd name="connsiteX1223" fmla="*/ 1780041 w 2051041"/>
              <a:gd name="connsiteY1223" fmla="*/ 162529 h 2084191"/>
              <a:gd name="connsiteX1224" fmla="*/ 1811059 w 2051041"/>
              <a:gd name="connsiteY1224" fmla="*/ 157632 h 2084191"/>
              <a:gd name="connsiteX1225" fmla="*/ 1829561 w 2051041"/>
              <a:gd name="connsiteY1225" fmla="*/ 161985 h 2084191"/>
              <a:gd name="connsiteX1226" fmla="*/ 1836635 w 2051041"/>
              <a:gd name="connsiteY1226" fmla="*/ 161985 h 2084191"/>
              <a:gd name="connsiteX1227" fmla="*/ 1833914 w 2051041"/>
              <a:gd name="connsiteY1227" fmla="*/ 157088 h 2084191"/>
              <a:gd name="connsiteX1228" fmla="*/ 1834458 w 2051041"/>
              <a:gd name="connsiteY1228" fmla="*/ 104303 h 2084191"/>
              <a:gd name="connsiteX1229" fmla="*/ 1835547 w 2051041"/>
              <a:gd name="connsiteY1229" fmla="*/ 99405 h 2084191"/>
              <a:gd name="connsiteX1230" fmla="*/ 1831193 w 2051041"/>
              <a:gd name="connsiteY1230" fmla="*/ 101038 h 2084191"/>
              <a:gd name="connsiteX1231" fmla="*/ 1780041 w 2051041"/>
              <a:gd name="connsiteY1231" fmla="*/ 101582 h 2084191"/>
              <a:gd name="connsiteX1232" fmla="*/ 1773511 w 2051041"/>
              <a:gd name="connsiteY1232" fmla="*/ 99405 h 2084191"/>
              <a:gd name="connsiteX1233" fmla="*/ 417424 w 2051041"/>
              <a:gd name="connsiteY1233" fmla="*/ 97950 h 2084191"/>
              <a:gd name="connsiteX1234" fmla="*/ 445721 w 2051041"/>
              <a:gd name="connsiteY1234" fmla="*/ 126247 h 2084191"/>
              <a:gd name="connsiteX1235" fmla="*/ 417424 w 2051041"/>
              <a:gd name="connsiteY1235" fmla="*/ 153456 h 2084191"/>
              <a:gd name="connsiteX1236" fmla="*/ 390215 w 2051041"/>
              <a:gd name="connsiteY1236" fmla="*/ 125159 h 2084191"/>
              <a:gd name="connsiteX1237" fmla="*/ 417424 w 2051041"/>
              <a:gd name="connsiteY1237" fmla="*/ 97950 h 2084191"/>
              <a:gd name="connsiteX1238" fmla="*/ 580677 w 2051041"/>
              <a:gd name="connsiteY1238" fmla="*/ 92508 h 2084191"/>
              <a:gd name="connsiteX1239" fmla="*/ 614960 w 2051041"/>
              <a:gd name="connsiteY1239" fmla="*/ 125159 h 2084191"/>
              <a:gd name="connsiteX1240" fmla="*/ 581766 w 2051041"/>
              <a:gd name="connsiteY1240" fmla="*/ 158353 h 2084191"/>
              <a:gd name="connsiteX1241" fmla="*/ 548571 w 2051041"/>
              <a:gd name="connsiteY1241" fmla="*/ 125703 h 2084191"/>
              <a:gd name="connsiteX1242" fmla="*/ 580677 w 2051041"/>
              <a:gd name="connsiteY1242" fmla="*/ 92508 h 2084191"/>
              <a:gd name="connsiteX1243" fmla="*/ 745019 w 2051041"/>
              <a:gd name="connsiteY1243" fmla="*/ 88154 h 2084191"/>
              <a:gd name="connsiteX1244" fmla="*/ 782567 w 2051041"/>
              <a:gd name="connsiteY1244" fmla="*/ 126791 h 2084191"/>
              <a:gd name="connsiteX1245" fmla="*/ 743930 w 2051041"/>
              <a:gd name="connsiteY1245" fmla="*/ 164339 h 2084191"/>
              <a:gd name="connsiteX1246" fmla="*/ 706382 w 2051041"/>
              <a:gd name="connsiteY1246" fmla="*/ 125702 h 2084191"/>
              <a:gd name="connsiteX1247" fmla="*/ 745019 w 2051041"/>
              <a:gd name="connsiteY1247" fmla="*/ 88154 h 2084191"/>
              <a:gd name="connsiteX1248" fmla="*/ 1685898 w 2051041"/>
              <a:gd name="connsiteY1248" fmla="*/ 84712 h 2084191"/>
              <a:gd name="connsiteX1249" fmla="*/ 1685681 w 2051041"/>
              <a:gd name="connsiteY1249" fmla="*/ 85147 h 2084191"/>
              <a:gd name="connsiteX1250" fmla="*/ 1685354 w 2051041"/>
              <a:gd name="connsiteY1250" fmla="*/ 85256 h 2084191"/>
              <a:gd name="connsiteX1251" fmla="*/ 1685898 w 2051041"/>
              <a:gd name="connsiteY1251" fmla="*/ 84712 h 2084191"/>
              <a:gd name="connsiteX1252" fmla="*/ 907183 w 2051041"/>
              <a:gd name="connsiteY1252" fmla="*/ 84345 h 2084191"/>
              <a:gd name="connsiteX1253" fmla="*/ 934935 w 2051041"/>
              <a:gd name="connsiteY1253" fmla="*/ 95228 h 2084191"/>
              <a:gd name="connsiteX1254" fmla="*/ 949628 w 2051041"/>
              <a:gd name="connsiteY1254" fmla="*/ 125158 h 2084191"/>
              <a:gd name="connsiteX1255" fmla="*/ 908271 w 2051041"/>
              <a:gd name="connsiteY1255" fmla="*/ 167060 h 2084191"/>
              <a:gd name="connsiteX1256" fmla="*/ 866369 w 2051041"/>
              <a:gd name="connsiteY1256" fmla="*/ 125702 h 2084191"/>
              <a:gd name="connsiteX1257" fmla="*/ 907183 w 2051041"/>
              <a:gd name="connsiteY1257" fmla="*/ 84345 h 2084191"/>
              <a:gd name="connsiteX1258" fmla="*/ 1070979 w 2051041"/>
              <a:gd name="connsiteY1258" fmla="*/ 82169 h 2084191"/>
              <a:gd name="connsiteX1259" fmla="*/ 1115602 w 2051041"/>
              <a:gd name="connsiteY1259" fmla="*/ 126247 h 2084191"/>
              <a:gd name="connsiteX1260" fmla="*/ 1071524 w 2051041"/>
              <a:gd name="connsiteY1260" fmla="*/ 170325 h 2084191"/>
              <a:gd name="connsiteX1261" fmla="*/ 1026357 w 2051041"/>
              <a:gd name="connsiteY1261" fmla="*/ 125703 h 2084191"/>
              <a:gd name="connsiteX1262" fmla="*/ 1070979 w 2051041"/>
              <a:gd name="connsiteY1262" fmla="*/ 82169 h 2084191"/>
              <a:gd name="connsiteX1263" fmla="*/ 1684811 w 2051041"/>
              <a:gd name="connsiteY1263" fmla="*/ 82168 h 2084191"/>
              <a:gd name="connsiteX1264" fmla="*/ 1684266 w 2051041"/>
              <a:gd name="connsiteY1264" fmla="*/ 82713 h 2084191"/>
              <a:gd name="connsiteX1265" fmla="*/ 1684469 w 2051041"/>
              <a:gd name="connsiteY1265" fmla="*/ 82365 h 2084191"/>
              <a:gd name="connsiteX1266" fmla="*/ 1234777 w 2051041"/>
              <a:gd name="connsiteY1266" fmla="*/ 78360 h 2084191"/>
              <a:gd name="connsiteX1267" fmla="*/ 1282664 w 2051041"/>
              <a:gd name="connsiteY1267" fmla="*/ 126791 h 2084191"/>
              <a:gd name="connsiteX1268" fmla="*/ 1234232 w 2051041"/>
              <a:gd name="connsiteY1268" fmla="*/ 174135 h 2084191"/>
              <a:gd name="connsiteX1269" fmla="*/ 1186889 w 2051041"/>
              <a:gd name="connsiteY1269" fmla="*/ 126791 h 2084191"/>
              <a:gd name="connsiteX1270" fmla="*/ 1234777 w 2051041"/>
              <a:gd name="connsiteY1270" fmla="*/ 78360 h 2084191"/>
              <a:gd name="connsiteX1271" fmla="*/ 1398574 w 2051041"/>
              <a:gd name="connsiteY1271" fmla="*/ 76182 h 2084191"/>
              <a:gd name="connsiteX1272" fmla="*/ 1448094 w 2051041"/>
              <a:gd name="connsiteY1272" fmla="*/ 127335 h 2084191"/>
              <a:gd name="connsiteX1273" fmla="*/ 1396941 w 2051041"/>
              <a:gd name="connsiteY1273" fmla="*/ 175766 h 2084191"/>
              <a:gd name="connsiteX1274" fmla="*/ 1347421 w 2051041"/>
              <a:gd name="connsiteY1274" fmla="*/ 125702 h 2084191"/>
              <a:gd name="connsiteX1275" fmla="*/ 1398574 w 2051041"/>
              <a:gd name="connsiteY1275" fmla="*/ 76182 h 2084191"/>
              <a:gd name="connsiteX1276" fmla="*/ 1561282 w 2051041"/>
              <a:gd name="connsiteY1276" fmla="*/ 72373 h 2084191"/>
              <a:gd name="connsiteX1277" fmla="*/ 1614611 w 2051041"/>
              <a:gd name="connsiteY1277" fmla="*/ 126247 h 2084191"/>
              <a:gd name="connsiteX1278" fmla="*/ 1560738 w 2051041"/>
              <a:gd name="connsiteY1278" fmla="*/ 179576 h 2084191"/>
              <a:gd name="connsiteX1279" fmla="*/ 1507409 w 2051041"/>
              <a:gd name="connsiteY1279" fmla="*/ 126247 h 2084191"/>
              <a:gd name="connsiteX1280" fmla="*/ 1561282 w 2051041"/>
              <a:gd name="connsiteY1280" fmla="*/ 72373 h 2084191"/>
              <a:gd name="connsiteX1281" fmla="*/ 10381 w 2051041"/>
              <a:gd name="connsiteY1281" fmla="*/ 33737 h 2084191"/>
              <a:gd name="connsiteX1282" fmla="*/ 20720 w 2051041"/>
              <a:gd name="connsiteY1282" fmla="*/ 45165 h 2084191"/>
              <a:gd name="connsiteX1283" fmla="*/ 9292 w 2051041"/>
              <a:gd name="connsiteY1283" fmla="*/ 54960 h 2084191"/>
              <a:gd name="connsiteX1284" fmla="*/ 41 w 2051041"/>
              <a:gd name="connsiteY1284" fmla="*/ 44621 h 2084191"/>
              <a:gd name="connsiteX1285" fmla="*/ 10381 w 2051041"/>
              <a:gd name="connsiteY1285" fmla="*/ 33737 h 2084191"/>
              <a:gd name="connsiteX1286" fmla="*/ 172546 w 2051041"/>
              <a:gd name="connsiteY1286" fmla="*/ 23942 h 2084191"/>
              <a:gd name="connsiteX1287" fmla="*/ 193224 w 2051041"/>
              <a:gd name="connsiteY1287" fmla="*/ 44621 h 2084191"/>
              <a:gd name="connsiteX1288" fmla="*/ 173090 w 2051041"/>
              <a:gd name="connsiteY1288" fmla="*/ 64755 h 2084191"/>
              <a:gd name="connsiteX1289" fmla="*/ 152411 w 2051041"/>
              <a:gd name="connsiteY1289" fmla="*/ 44621 h 2084191"/>
              <a:gd name="connsiteX1290" fmla="*/ 172546 w 2051041"/>
              <a:gd name="connsiteY1290" fmla="*/ 23942 h 2084191"/>
              <a:gd name="connsiteX1291" fmla="*/ 1861123 w 2051041"/>
              <a:gd name="connsiteY1291" fmla="*/ 22132 h 2084191"/>
              <a:gd name="connsiteX1292" fmla="*/ 1861123 w 2051041"/>
              <a:gd name="connsiteY1292" fmla="*/ 35737 h 2084191"/>
              <a:gd name="connsiteX1293" fmla="*/ 1861123 w 2051041"/>
              <a:gd name="connsiteY1293" fmla="*/ 61313 h 2084191"/>
              <a:gd name="connsiteX1294" fmla="*/ 1858946 w 2051041"/>
              <a:gd name="connsiteY1294" fmla="*/ 72740 h 2084191"/>
              <a:gd name="connsiteX1295" fmla="*/ 1866021 w 2051041"/>
              <a:gd name="connsiteY1295" fmla="*/ 76550 h 2084191"/>
              <a:gd name="connsiteX1296" fmla="*/ 1873639 w 2051041"/>
              <a:gd name="connsiteY1296" fmla="*/ 74917 h 2084191"/>
              <a:gd name="connsiteX1297" fmla="*/ 1900304 w 2051041"/>
              <a:gd name="connsiteY1297" fmla="*/ 74373 h 2084191"/>
              <a:gd name="connsiteX1298" fmla="*/ 1907922 w 2051041"/>
              <a:gd name="connsiteY1298" fmla="*/ 76006 h 2084191"/>
              <a:gd name="connsiteX1299" fmla="*/ 1912820 w 2051041"/>
              <a:gd name="connsiteY1299" fmla="*/ 70020 h 2084191"/>
              <a:gd name="connsiteX1300" fmla="*/ 1912820 w 2051041"/>
              <a:gd name="connsiteY1300" fmla="*/ 27030 h 2084191"/>
              <a:gd name="connsiteX1301" fmla="*/ 1908466 w 2051041"/>
              <a:gd name="connsiteY1301" fmla="*/ 22132 h 2084191"/>
              <a:gd name="connsiteX1302" fmla="*/ 1902480 w 2051041"/>
              <a:gd name="connsiteY1302" fmla="*/ 24309 h 2084191"/>
              <a:gd name="connsiteX1303" fmla="*/ 1873095 w 2051041"/>
              <a:gd name="connsiteY1303" fmla="*/ 24309 h 2084191"/>
              <a:gd name="connsiteX1304" fmla="*/ 1861123 w 2051041"/>
              <a:gd name="connsiteY1304" fmla="*/ 22132 h 2084191"/>
              <a:gd name="connsiteX1305" fmla="*/ 336886 w 2051041"/>
              <a:gd name="connsiteY1305" fmla="*/ 17412 h 2084191"/>
              <a:gd name="connsiteX1306" fmla="*/ 363007 w 2051041"/>
              <a:gd name="connsiteY1306" fmla="*/ 44077 h 2084191"/>
              <a:gd name="connsiteX1307" fmla="*/ 337431 w 2051041"/>
              <a:gd name="connsiteY1307" fmla="*/ 71285 h 2084191"/>
              <a:gd name="connsiteX1308" fmla="*/ 310222 w 2051041"/>
              <a:gd name="connsiteY1308" fmla="*/ 45165 h 2084191"/>
              <a:gd name="connsiteX1309" fmla="*/ 336886 w 2051041"/>
              <a:gd name="connsiteY1309" fmla="*/ 17412 h 2084191"/>
              <a:gd name="connsiteX1310" fmla="*/ 498507 w 2051041"/>
              <a:gd name="connsiteY1310" fmla="*/ 13059 h 2084191"/>
              <a:gd name="connsiteX1311" fmla="*/ 531702 w 2051041"/>
              <a:gd name="connsiteY1311" fmla="*/ 44621 h 2084191"/>
              <a:gd name="connsiteX1312" fmla="*/ 499595 w 2051041"/>
              <a:gd name="connsiteY1312" fmla="*/ 76727 h 2084191"/>
              <a:gd name="connsiteX1313" fmla="*/ 467489 w 2051041"/>
              <a:gd name="connsiteY1313" fmla="*/ 45165 h 2084191"/>
              <a:gd name="connsiteX1314" fmla="*/ 498507 w 2051041"/>
              <a:gd name="connsiteY1314" fmla="*/ 13059 h 2084191"/>
              <a:gd name="connsiteX1315" fmla="*/ 662303 w 2051041"/>
              <a:gd name="connsiteY1315" fmla="*/ 7616 h 2084191"/>
              <a:gd name="connsiteX1316" fmla="*/ 698763 w 2051041"/>
              <a:gd name="connsiteY1316" fmla="*/ 44076 h 2084191"/>
              <a:gd name="connsiteX1317" fmla="*/ 662303 w 2051041"/>
              <a:gd name="connsiteY1317" fmla="*/ 81080 h 2084191"/>
              <a:gd name="connsiteX1318" fmla="*/ 626932 w 2051041"/>
              <a:gd name="connsiteY1318" fmla="*/ 44076 h 2084191"/>
              <a:gd name="connsiteX1319" fmla="*/ 662303 w 2051041"/>
              <a:gd name="connsiteY1319" fmla="*/ 7616 h 2084191"/>
              <a:gd name="connsiteX1320" fmla="*/ 825557 w 2051041"/>
              <a:gd name="connsiteY1320" fmla="*/ 5440 h 2084191"/>
              <a:gd name="connsiteX1321" fmla="*/ 865281 w 2051041"/>
              <a:gd name="connsiteY1321" fmla="*/ 44621 h 2084191"/>
              <a:gd name="connsiteX1322" fmla="*/ 826101 w 2051041"/>
              <a:gd name="connsiteY1322" fmla="*/ 83257 h 2084191"/>
              <a:gd name="connsiteX1323" fmla="*/ 786920 w 2051041"/>
              <a:gd name="connsiteY1323" fmla="*/ 44621 h 2084191"/>
              <a:gd name="connsiteX1324" fmla="*/ 825557 w 2051041"/>
              <a:gd name="connsiteY1324" fmla="*/ 5440 h 2084191"/>
              <a:gd name="connsiteX1325" fmla="*/ 989353 w 2051041"/>
              <a:gd name="connsiteY1325" fmla="*/ 1086 h 2084191"/>
              <a:gd name="connsiteX1326" fmla="*/ 1032343 w 2051041"/>
              <a:gd name="connsiteY1326" fmla="*/ 43532 h 2084191"/>
              <a:gd name="connsiteX1327" fmla="*/ 989897 w 2051041"/>
              <a:gd name="connsiteY1327" fmla="*/ 87610 h 2084191"/>
              <a:gd name="connsiteX1328" fmla="*/ 945819 w 2051041"/>
              <a:gd name="connsiteY1328" fmla="*/ 44620 h 2084191"/>
              <a:gd name="connsiteX1329" fmla="*/ 989353 w 2051041"/>
              <a:gd name="connsiteY1329" fmla="*/ 1086 h 2084191"/>
              <a:gd name="connsiteX1330" fmla="*/ 1614056 w 2051041"/>
              <a:gd name="connsiteY1330" fmla="*/ 0 h 2084191"/>
              <a:gd name="connsiteX1331" fmla="*/ 1675529 w 2051041"/>
              <a:gd name="connsiteY1331" fmla="*/ 0 h 2084191"/>
              <a:gd name="connsiteX1332" fmla="*/ 1682905 w 2051041"/>
              <a:gd name="connsiteY1332" fmla="*/ 4720 h 2084191"/>
              <a:gd name="connsiteX1333" fmla="*/ 1933639 w 2051041"/>
              <a:gd name="connsiteY1333" fmla="*/ 4720 h 2084191"/>
              <a:gd name="connsiteX1334" fmla="*/ 2016655 w 2051041"/>
              <a:gd name="connsiteY1334" fmla="*/ 39107 h 2084191"/>
              <a:gd name="connsiteX1335" fmla="*/ 2028934 w 2051041"/>
              <a:gd name="connsiteY1335" fmla="*/ 57318 h 2084191"/>
              <a:gd name="connsiteX1336" fmla="*/ 2026008 w 2051041"/>
              <a:gd name="connsiteY1336" fmla="*/ 71108 h 2084191"/>
              <a:gd name="connsiteX1337" fmla="*/ 2030906 w 2051041"/>
              <a:gd name="connsiteY1337" fmla="*/ 75461 h 2084191"/>
              <a:gd name="connsiteX1338" fmla="*/ 2039929 w 2051041"/>
              <a:gd name="connsiteY1338" fmla="*/ 73627 h 2084191"/>
              <a:gd name="connsiteX1339" fmla="*/ 2041815 w 2051041"/>
              <a:gd name="connsiteY1339" fmla="*/ 76424 h 2084191"/>
              <a:gd name="connsiteX1340" fmla="*/ 2051041 w 2051041"/>
              <a:gd name="connsiteY1340" fmla="*/ 122122 h 2084191"/>
              <a:gd name="connsiteX1341" fmla="*/ 2051041 w 2051041"/>
              <a:gd name="connsiteY1341" fmla="*/ 186473 h 2084191"/>
              <a:gd name="connsiteX1342" fmla="*/ 2029818 w 2051041"/>
              <a:gd name="connsiteY1342" fmla="*/ 186473 h 2084191"/>
              <a:gd name="connsiteX1343" fmla="*/ 2023287 w 2051041"/>
              <a:gd name="connsiteY1343" fmla="*/ 192459 h 2084191"/>
              <a:gd name="connsiteX1344" fmla="*/ 2023832 w 2051041"/>
              <a:gd name="connsiteY1344" fmla="*/ 196268 h 2084191"/>
              <a:gd name="connsiteX1345" fmla="*/ 2019478 w 2051041"/>
              <a:gd name="connsiteY1345" fmla="*/ 239258 h 2084191"/>
              <a:gd name="connsiteX1346" fmla="*/ 2020022 w 2051041"/>
              <a:gd name="connsiteY1346" fmla="*/ 242523 h 2084191"/>
              <a:gd name="connsiteX1347" fmla="*/ 2023287 w 2051041"/>
              <a:gd name="connsiteY1347" fmla="*/ 243067 h 2084191"/>
              <a:gd name="connsiteX1348" fmla="*/ 2050224 w 2051041"/>
              <a:gd name="connsiteY1348" fmla="*/ 237150 h 2084191"/>
              <a:gd name="connsiteX1349" fmla="*/ 2051041 w 2051041"/>
              <a:gd name="connsiteY1349" fmla="*/ 237329 h 2084191"/>
              <a:gd name="connsiteX1350" fmla="*/ 2051041 w 2051041"/>
              <a:gd name="connsiteY1350" fmla="*/ 348996 h 2084191"/>
              <a:gd name="connsiteX1351" fmla="*/ 2036552 w 2051041"/>
              <a:gd name="connsiteY1351" fmla="*/ 347754 h 2084191"/>
              <a:gd name="connsiteX1352" fmla="*/ 2021111 w 2051041"/>
              <a:gd name="connsiteY1352" fmla="*/ 341019 h 2084191"/>
              <a:gd name="connsiteX1353" fmla="*/ 2016757 w 2051041"/>
              <a:gd name="connsiteY1353" fmla="*/ 338842 h 2084191"/>
              <a:gd name="connsiteX1354" fmla="*/ 2017301 w 2051041"/>
              <a:gd name="connsiteY1354" fmla="*/ 344284 h 2084191"/>
              <a:gd name="connsiteX1355" fmla="*/ 2025464 w 2051041"/>
              <a:gd name="connsiteY1355" fmla="*/ 376391 h 2084191"/>
              <a:gd name="connsiteX1356" fmla="*/ 1994446 w 2051041"/>
              <a:gd name="connsiteY1356" fmla="*/ 424278 h 2084191"/>
              <a:gd name="connsiteX1357" fmla="*/ 1933498 w 2051041"/>
              <a:gd name="connsiteY1357" fmla="*/ 416115 h 2084191"/>
              <a:gd name="connsiteX1358" fmla="*/ 1920438 w 2051041"/>
              <a:gd name="connsiteY1358" fmla="*/ 352447 h 2084191"/>
              <a:gd name="connsiteX1359" fmla="*/ 1925336 w 2051041"/>
              <a:gd name="connsiteY1359" fmla="*/ 338298 h 2084191"/>
              <a:gd name="connsiteX1360" fmla="*/ 1911731 w 2051041"/>
              <a:gd name="connsiteY1360" fmla="*/ 343196 h 2084191"/>
              <a:gd name="connsiteX1361" fmla="*/ 1898671 w 2051041"/>
              <a:gd name="connsiteY1361" fmla="*/ 347005 h 2084191"/>
              <a:gd name="connsiteX1362" fmla="*/ 1854593 w 2051041"/>
              <a:gd name="connsiteY1362" fmla="*/ 336666 h 2084191"/>
              <a:gd name="connsiteX1363" fmla="*/ 1847690 w 2051041"/>
              <a:gd name="connsiteY1363" fmla="*/ 333480 h 2084191"/>
              <a:gd name="connsiteX1364" fmla="*/ 1852961 w 2051041"/>
              <a:gd name="connsiteY1364" fmla="*/ 344461 h 2084191"/>
              <a:gd name="connsiteX1365" fmla="*/ 1826840 w 2051041"/>
              <a:gd name="connsiteY1365" fmla="*/ 420646 h 2084191"/>
              <a:gd name="connsiteX1366" fmla="*/ 1765893 w 2051041"/>
              <a:gd name="connsiteY1366" fmla="*/ 408130 h 2084191"/>
              <a:gd name="connsiteX1367" fmla="*/ 1759362 w 2051041"/>
              <a:gd name="connsiteY1367" fmla="*/ 342829 h 2084191"/>
              <a:gd name="connsiteX1368" fmla="*/ 1815991 w 2051041"/>
              <a:gd name="connsiteY1368" fmla="*/ 317193 h 2084191"/>
              <a:gd name="connsiteX1369" fmla="*/ 1834459 w 2051041"/>
              <a:gd name="connsiteY1369" fmla="*/ 325415 h 2084191"/>
              <a:gd name="connsiteX1370" fmla="*/ 1845023 w 2051041"/>
              <a:gd name="connsiteY1370" fmla="*/ 330169 h 2084191"/>
              <a:gd name="connsiteX1371" fmla="*/ 1840444 w 2051041"/>
              <a:gd name="connsiteY1371" fmla="*/ 321429 h 2084191"/>
              <a:gd name="connsiteX1372" fmla="*/ 1834458 w 2051041"/>
              <a:gd name="connsiteY1372" fmla="*/ 275174 h 2084191"/>
              <a:gd name="connsiteX1373" fmla="*/ 1840988 w 2051041"/>
              <a:gd name="connsiteY1373" fmla="*/ 259937 h 2084191"/>
              <a:gd name="connsiteX1374" fmla="*/ 1842077 w 2051041"/>
              <a:gd name="connsiteY1374" fmla="*/ 255584 h 2084191"/>
              <a:gd name="connsiteX1375" fmla="*/ 1837723 w 2051041"/>
              <a:gd name="connsiteY1375" fmla="*/ 257216 h 2084191"/>
              <a:gd name="connsiteX1376" fmla="*/ 1817589 w 2051041"/>
              <a:gd name="connsiteY1376" fmla="*/ 264834 h 2084191"/>
              <a:gd name="connsiteX1377" fmla="*/ 1768069 w 2051041"/>
              <a:gd name="connsiteY1377" fmla="*/ 251774 h 2084191"/>
              <a:gd name="connsiteX1378" fmla="*/ 1764740 w 2051041"/>
              <a:gd name="connsiteY1378" fmla="*/ 250110 h 2084191"/>
              <a:gd name="connsiteX1379" fmla="*/ 1773510 w 2051041"/>
              <a:gd name="connsiteY1379" fmla="*/ 267189 h 2084191"/>
              <a:gd name="connsiteX1380" fmla="*/ 1750655 w 2051041"/>
              <a:gd name="connsiteY1380" fmla="*/ 336843 h 2084191"/>
              <a:gd name="connsiteX1381" fmla="*/ 1673926 w 2051041"/>
              <a:gd name="connsiteY1381" fmla="*/ 310723 h 2084191"/>
              <a:gd name="connsiteX1382" fmla="*/ 1681545 w 2051041"/>
              <a:gd name="connsiteY1382" fmla="*/ 254673 h 2084191"/>
              <a:gd name="connsiteX1383" fmla="*/ 1733786 w 2051041"/>
              <a:gd name="connsiteY1383" fmla="*/ 235083 h 2084191"/>
              <a:gd name="connsiteX1384" fmla="*/ 1751743 w 2051041"/>
              <a:gd name="connsiteY1384" fmla="*/ 242157 h 2084191"/>
              <a:gd name="connsiteX1385" fmla="*/ 1762506 w 2051041"/>
              <a:gd name="connsiteY1385" fmla="*/ 246769 h 2084191"/>
              <a:gd name="connsiteX1386" fmla="*/ 1757185 w 2051041"/>
              <a:gd name="connsiteY1386" fmla="*/ 236537 h 2084191"/>
              <a:gd name="connsiteX1387" fmla="*/ 1756097 w 2051041"/>
              <a:gd name="connsiteY1387" fmla="*/ 185929 h 2084191"/>
              <a:gd name="connsiteX1388" fmla="*/ 1757185 w 2051041"/>
              <a:gd name="connsiteY1388" fmla="*/ 177766 h 2084191"/>
              <a:gd name="connsiteX1389" fmla="*/ 1749023 w 2051041"/>
              <a:gd name="connsiteY1389" fmla="*/ 178311 h 2084191"/>
              <a:gd name="connsiteX1390" fmla="*/ 1676103 w 2051041"/>
              <a:gd name="connsiteY1390" fmla="*/ 154911 h 2084191"/>
              <a:gd name="connsiteX1391" fmla="*/ 1681001 w 2051041"/>
              <a:gd name="connsiteY1391" fmla="*/ 94507 h 2084191"/>
              <a:gd name="connsiteX1392" fmla="*/ 1685681 w 2051041"/>
              <a:gd name="connsiteY1392" fmla="*/ 85147 h 2084191"/>
              <a:gd name="connsiteX1393" fmla="*/ 1693517 w 2051041"/>
              <a:gd name="connsiteY1393" fmla="*/ 82536 h 2084191"/>
              <a:gd name="connsiteX1394" fmla="*/ 1747934 w 2051041"/>
              <a:gd name="connsiteY1394" fmla="*/ 77638 h 2084191"/>
              <a:gd name="connsiteX1395" fmla="*/ 1756641 w 2051041"/>
              <a:gd name="connsiteY1395" fmla="*/ 79271 h 2084191"/>
              <a:gd name="connsiteX1396" fmla="*/ 1754464 w 2051041"/>
              <a:gd name="connsiteY1396" fmla="*/ 71652 h 2084191"/>
              <a:gd name="connsiteX1397" fmla="*/ 1752832 w 2051041"/>
              <a:gd name="connsiteY1397" fmla="*/ 68387 h 2084191"/>
              <a:gd name="connsiteX1398" fmla="*/ 1756097 w 2051041"/>
              <a:gd name="connsiteY1398" fmla="*/ 20500 h 2084191"/>
              <a:gd name="connsiteX1399" fmla="*/ 1756641 w 2051041"/>
              <a:gd name="connsiteY1399" fmla="*/ 16146 h 2084191"/>
              <a:gd name="connsiteX1400" fmla="*/ 1751744 w 2051041"/>
              <a:gd name="connsiteY1400" fmla="*/ 15058 h 2084191"/>
              <a:gd name="connsiteX1401" fmla="*/ 1741404 w 2051041"/>
              <a:gd name="connsiteY1401" fmla="*/ 19955 h 2084191"/>
              <a:gd name="connsiteX1402" fmla="*/ 1691884 w 2051041"/>
              <a:gd name="connsiteY1402" fmla="*/ 11249 h 2084191"/>
              <a:gd name="connsiteX1403" fmla="*/ 1685645 w 2051041"/>
              <a:gd name="connsiteY1403" fmla="*/ 8369 h 2084191"/>
              <a:gd name="connsiteX1404" fmla="*/ 1688620 w 2051041"/>
              <a:gd name="connsiteY1404" fmla="*/ 14691 h 2084191"/>
              <a:gd name="connsiteX1405" fmla="*/ 1691885 w 2051041"/>
              <a:gd name="connsiteY1405" fmla="*/ 69652 h 2084191"/>
              <a:gd name="connsiteX1406" fmla="*/ 1684469 w 2051041"/>
              <a:gd name="connsiteY1406" fmla="*/ 82365 h 2084191"/>
              <a:gd name="connsiteX1407" fmla="*/ 1663044 w 2051041"/>
              <a:gd name="connsiteY1407" fmla="*/ 94684 h 2084191"/>
              <a:gd name="connsiteX1408" fmla="*/ 1626584 w 2051041"/>
              <a:gd name="connsiteY1408" fmla="*/ 96861 h 2084191"/>
              <a:gd name="connsiteX1409" fmla="*/ 1590124 w 2051041"/>
              <a:gd name="connsiteY1409" fmla="*/ 60401 h 2084191"/>
              <a:gd name="connsiteX1410" fmla="*/ 1591757 w 2051041"/>
              <a:gd name="connsiteY1410" fmla="*/ 25030 h 2084191"/>
              <a:gd name="connsiteX1411" fmla="*/ 1460066 w 2051041"/>
              <a:gd name="connsiteY1411" fmla="*/ 0 h 2084191"/>
              <a:gd name="connsiteX1412" fmla="*/ 1498513 w 2051041"/>
              <a:gd name="connsiteY1412" fmla="*/ 0 h 2084191"/>
              <a:gd name="connsiteX1413" fmla="*/ 1517204 w 2051041"/>
              <a:gd name="connsiteY1413" fmla="*/ 8092 h 2084191"/>
              <a:gd name="connsiteX1414" fmla="*/ 1531896 w 2051041"/>
              <a:gd name="connsiteY1414" fmla="*/ 45164 h 2084191"/>
              <a:gd name="connsiteX1415" fmla="*/ 1479111 w 2051041"/>
              <a:gd name="connsiteY1415" fmla="*/ 97949 h 2084191"/>
              <a:gd name="connsiteX1416" fmla="*/ 1426870 w 2051041"/>
              <a:gd name="connsiteY1416" fmla="*/ 45164 h 2084191"/>
              <a:gd name="connsiteX1417" fmla="*/ 1441631 w 2051041"/>
              <a:gd name="connsiteY1417" fmla="*/ 7684 h 2084191"/>
              <a:gd name="connsiteX1418" fmla="*/ 1296749 w 2051041"/>
              <a:gd name="connsiteY1418" fmla="*/ 0 h 2084191"/>
              <a:gd name="connsiteX1419" fmla="*/ 1335755 w 2051041"/>
              <a:gd name="connsiteY1419" fmla="*/ 0 h 2084191"/>
              <a:gd name="connsiteX1420" fmla="*/ 1350278 w 2051041"/>
              <a:gd name="connsiteY1420" fmla="*/ 10270 h 2084191"/>
              <a:gd name="connsiteX1421" fmla="*/ 1365923 w 2051041"/>
              <a:gd name="connsiteY1421" fmla="*/ 45165 h 2084191"/>
              <a:gd name="connsiteX1422" fmla="*/ 1315315 w 2051041"/>
              <a:gd name="connsiteY1422" fmla="*/ 93052 h 2084191"/>
              <a:gd name="connsiteX1423" fmla="*/ 1266339 w 2051041"/>
              <a:gd name="connsiteY1423" fmla="*/ 44076 h 2084191"/>
              <a:gd name="connsiteX1424" fmla="*/ 1282732 w 2051041"/>
              <a:gd name="connsiteY1424" fmla="*/ 9317 h 2084191"/>
              <a:gd name="connsiteX1425" fmla="*/ 1148085 w 2051041"/>
              <a:gd name="connsiteY1425" fmla="*/ 0 h 2084191"/>
              <a:gd name="connsiteX1426" fmla="*/ 1161802 w 2051041"/>
              <a:gd name="connsiteY1426" fmla="*/ 0 h 2084191"/>
              <a:gd name="connsiteX1427" fmla="*/ 1169637 w 2051041"/>
              <a:gd name="connsiteY1427" fmla="*/ 1315 h 2084191"/>
              <a:gd name="connsiteX1428" fmla="*/ 1199405 w 2051041"/>
              <a:gd name="connsiteY1428" fmla="*/ 45164 h 2084191"/>
              <a:gd name="connsiteX1429" fmla="*/ 1151518 w 2051041"/>
              <a:gd name="connsiteY1429" fmla="*/ 91419 h 2084191"/>
              <a:gd name="connsiteX1430" fmla="*/ 1105807 w 2051041"/>
              <a:gd name="connsiteY1430" fmla="*/ 44620 h 2084191"/>
              <a:gd name="connsiteX1431" fmla="*/ 1119139 w 2051041"/>
              <a:gd name="connsiteY1431" fmla="*/ 11902 h 20841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Lst>
            <a:rect l="l" t="t" r="r" b="b"/>
            <a:pathLst>
              <a:path w="2051041" h="2084191">
                <a:moveTo>
                  <a:pt x="2051041" y="2080382"/>
                </a:moveTo>
                <a:lnTo>
                  <a:pt x="2051041" y="2083967"/>
                </a:lnTo>
                <a:lnTo>
                  <a:pt x="2047231" y="2084191"/>
                </a:lnTo>
                <a:cubicBezTo>
                  <a:pt x="2046687" y="2084191"/>
                  <a:pt x="2046143" y="2082559"/>
                  <a:pt x="2045599" y="2081470"/>
                </a:cubicBezTo>
                <a:close/>
                <a:moveTo>
                  <a:pt x="1478568" y="1997668"/>
                </a:moveTo>
                <a:cubicBezTo>
                  <a:pt x="1484010" y="1997668"/>
                  <a:pt x="1485642" y="2000933"/>
                  <a:pt x="1484554" y="2004743"/>
                </a:cubicBezTo>
                <a:cubicBezTo>
                  <a:pt x="1484010" y="2006919"/>
                  <a:pt x="1480745" y="2008551"/>
                  <a:pt x="1478568" y="2009096"/>
                </a:cubicBezTo>
                <a:cubicBezTo>
                  <a:pt x="1474759" y="2009640"/>
                  <a:pt x="1473126" y="2007463"/>
                  <a:pt x="1473126" y="2003654"/>
                </a:cubicBezTo>
                <a:cubicBezTo>
                  <a:pt x="1473126" y="1998756"/>
                  <a:pt x="1475303" y="1997124"/>
                  <a:pt x="1478568" y="1997668"/>
                </a:cubicBezTo>
                <a:close/>
                <a:moveTo>
                  <a:pt x="1641820" y="1993859"/>
                </a:moveTo>
                <a:cubicBezTo>
                  <a:pt x="1646718" y="1993314"/>
                  <a:pt x="1652160" y="1999300"/>
                  <a:pt x="1652160" y="2003654"/>
                </a:cubicBezTo>
                <a:cubicBezTo>
                  <a:pt x="1652160" y="2008551"/>
                  <a:pt x="1646718" y="2013449"/>
                  <a:pt x="1641820" y="2013449"/>
                </a:cubicBezTo>
                <a:cubicBezTo>
                  <a:pt x="1636923" y="2013449"/>
                  <a:pt x="1632025" y="2008007"/>
                  <a:pt x="1632025" y="2003654"/>
                </a:cubicBezTo>
                <a:cubicBezTo>
                  <a:pt x="1632025" y="1999300"/>
                  <a:pt x="1638011" y="1993859"/>
                  <a:pt x="1641820" y="1993859"/>
                </a:cubicBezTo>
                <a:close/>
                <a:moveTo>
                  <a:pt x="1969414" y="1992226"/>
                </a:moveTo>
                <a:cubicBezTo>
                  <a:pt x="1976488" y="1992226"/>
                  <a:pt x="1979753" y="1996035"/>
                  <a:pt x="1979753" y="2003654"/>
                </a:cubicBezTo>
                <a:cubicBezTo>
                  <a:pt x="1979753" y="2011272"/>
                  <a:pt x="1975944" y="2014537"/>
                  <a:pt x="1968325" y="2014537"/>
                </a:cubicBezTo>
                <a:cubicBezTo>
                  <a:pt x="1960707" y="2014537"/>
                  <a:pt x="1957442" y="2010728"/>
                  <a:pt x="1957986" y="2003110"/>
                </a:cubicBezTo>
                <a:cubicBezTo>
                  <a:pt x="1957986" y="1994947"/>
                  <a:pt x="1961251" y="1992226"/>
                  <a:pt x="1969414" y="1992226"/>
                </a:cubicBezTo>
                <a:close/>
                <a:moveTo>
                  <a:pt x="1805073" y="1992226"/>
                </a:moveTo>
                <a:cubicBezTo>
                  <a:pt x="1811058" y="1992226"/>
                  <a:pt x="1815956" y="1996035"/>
                  <a:pt x="1815956" y="2002565"/>
                </a:cubicBezTo>
                <a:cubicBezTo>
                  <a:pt x="1816500" y="2009096"/>
                  <a:pt x="1812147" y="2014537"/>
                  <a:pt x="1805073" y="2014537"/>
                </a:cubicBezTo>
                <a:cubicBezTo>
                  <a:pt x="1799087" y="2014537"/>
                  <a:pt x="1794189" y="2010184"/>
                  <a:pt x="1794189" y="2004198"/>
                </a:cubicBezTo>
                <a:cubicBezTo>
                  <a:pt x="1794189" y="1997668"/>
                  <a:pt x="1799087" y="1992770"/>
                  <a:pt x="1805073" y="1992226"/>
                </a:cubicBezTo>
                <a:close/>
                <a:moveTo>
                  <a:pt x="1234233" y="1916042"/>
                </a:moveTo>
                <a:cubicBezTo>
                  <a:pt x="1238586" y="1915497"/>
                  <a:pt x="1240763" y="1917674"/>
                  <a:pt x="1240219" y="1923660"/>
                </a:cubicBezTo>
                <a:cubicBezTo>
                  <a:pt x="1239674" y="1924204"/>
                  <a:pt x="1237498" y="1926381"/>
                  <a:pt x="1236953" y="1926381"/>
                </a:cubicBezTo>
                <a:cubicBezTo>
                  <a:pt x="1234233" y="1924204"/>
                  <a:pt x="1231512" y="1921483"/>
                  <a:pt x="1229335" y="1918762"/>
                </a:cubicBezTo>
                <a:cubicBezTo>
                  <a:pt x="1230968" y="1917674"/>
                  <a:pt x="1232600" y="1916586"/>
                  <a:pt x="1234233" y="1916042"/>
                </a:cubicBezTo>
                <a:close/>
                <a:moveTo>
                  <a:pt x="1397486" y="1911144"/>
                </a:moveTo>
                <a:cubicBezTo>
                  <a:pt x="1402927" y="1911144"/>
                  <a:pt x="1408369" y="1916041"/>
                  <a:pt x="1408369" y="1921483"/>
                </a:cubicBezTo>
                <a:cubicBezTo>
                  <a:pt x="1408369" y="1926925"/>
                  <a:pt x="1404016" y="1931279"/>
                  <a:pt x="1399118" y="1931823"/>
                </a:cubicBezTo>
                <a:cubicBezTo>
                  <a:pt x="1392588" y="1932367"/>
                  <a:pt x="1387146" y="1928013"/>
                  <a:pt x="1387146" y="1922028"/>
                </a:cubicBezTo>
                <a:cubicBezTo>
                  <a:pt x="1386602" y="1916586"/>
                  <a:pt x="1391500" y="1911144"/>
                  <a:pt x="1397486" y="1911144"/>
                </a:cubicBezTo>
                <a:close/>
                <a:moveTo>
                  <a:pt x="1560194" y="1906790"/>
                </a:moveTo>
                <a:cubicBezTo>
                  <a:pt x="1566180" y="1906790"/>
                  <a:pt x="1574342" y="1914953"/>
                  <a:pt x="1574342" y="1921482"/>
                </a:cubicBezTo>
                <a:cubicBezTo>
                  <a:pt x="1574342" y="1928013"/>
                  <a:pt x="1566724" y="1936175"/>
                  <a:pt x="1560738" y="1935631"/>
                </a:cubicBezTo>
                <a:cubicBezTo>
                  <a:pt x="1554752" y="1935631"/>
                  <a:pt x="1547678" y="1928557"/>
                  <a:pt x="1547134" y="1922027"/>
                </a:cubicBezTo>
                <a:cubicBezTo>
                  <a:pt x="1546589" y="1915497"/>
                  <a:pt x="1554208" y="1907334"/>
                  <a:pt x="1560194" y="1906790"/>
                </a:cubicBezTo>
                <a:close/>
                <a:moveTo>
                  <a:pt x="2049952" y="1905702"/>
                </a:moveTo>
                <a:lnTo>
                  <a:pt x="2051041" y="1906027"/>
                </a:lnTo>
                <a:lnTo>
                  <a:pt x="2051041" y="1938133"/>
                </a:lnTo>
                <a:lnTo>
                  <a:pt x="2050496" y="1938353"/>
                </a:lnTo>
                <a:cubicBezTo>
                  <a:pt x="2039613" y="1937808"/>
                  <a:pt x="2034715" y="1933455"/>
                  <a:pt x="2034171" y="1922572"/>
                </a:cubicBezTo>
                <a:cubicBezTo>
                  <a:pt x="2034171" y="1911144"/>
                  <a:pt x="2039069" y="1905702"/>
                  <a:pt x="2049952" y="1905702"/>
                </a:cubicBezTo>
                <a:close/>
                <a:moveTo>
                  <a:pt x="1723447" y="1905702"/>
                </a:moveTo>
                <a:cubicBezTo>
                  <a:pt x="1730521" y="1905702"/>
                  <a:pt x="1739772" y="1914409"/>
                  <a:pt x="1739772" y="1920939"/>
                </a:cubicBezTo>
                <a:cubicBezTo>
                  <a:pt x="1740316" y="1929101"/>
                  <a:pt x="1732698" y="1936720"/>
                  <a:pt x="1724535" y="1937264"/>
                </a:cubicBezTo>
                <a:cubicBezTo>
                  <a:pt x="1716373" y="1937264"/>
                  <a:pt x="1708754" y="1930190"/>
                  <a:pt x="1708210" y="1922027"/>
                </a:cubicBezTo>
                <a:cubicBezTo>
                  <a:pt x="1708210" y="1914953"/>
                  <a:pt x="1716373" y="1905702"/>
                  <a:pt x="1723447" y="1905702"/>
                </a:cubicBezTo>
                <a:close/>
                <a:moveTo>
                  <a:pt x="1887787" y="1905158"/>
                </a:moveTo>
                <a:cubicBezTo>
                  <a:pt x="1898671" y="1905158"/>
                  <a:pt x="1904113" y="1911144"/>
                  <a:pt x="1904113" y="1922028"/>
                </a:cubicBezTo>
                <a:cubicBezTo>
                  <a:pt x="1904113" y="1932367"/>
                  <a:pt x="1898127" y="1937809"/>
                  <a:pt x="1886699" y="1937809"/>
                </a:cubicBezTo>
                <a:cubicBezTo>
                  <a:pt x="1876360" y="1937809"/>
                  <a:pt x="1870918" y="1931823"/>
                  <a:pt x="1870918" y="1921483"/>
                </a:cubicBezTo>
                <a:cubicBezTo>
                  <a:pt x="1870918" y="1910600"/>
                  <a:pt x="1876904" y="1904614"/>
                  <a:pt x="1887787" y="1905158"/>
                </a:cubicBezTo>
                <a:close/>
                <a:moveTo>
                  <a:pt x="1152606" y="1831693"/>
                </a:moveTo>
                <a:cubicBezTo>
                  <a:pt x="1155871" y="1832782"/>
                  <a:pt x="1160769" y="1836591"/>
                  <a:pt x="1161313" y="1839312"/>
                </a:cubicBezTo>
                <a:cubicBezTo>
                  <a:pt x="1160769" y="1843121"/>
                  <a:pt x="1156959" y="1846931"/>
                  <a:pt x="1153694" y="1852916"/>
                </a:cubicBezTo>
                <a:cubicBezTo>
                  <a:pt x="1149341" y="1847475"/>
                  <a:pt x="1146076" y="1844754"/>
                  <a:pt x="1144988" y="1841489"/>
                </a:cubicBezTo>
                <a:cubicBezTo>
                  <a:pt x="1143355" y="1837135"/>
                  <a:pt x="1148797" y="1830605"/>
                  <a:pt x="1152606" y="1831693"/>
                </a:cubicBezTo>
                <a:close/>
                <a:moveTo>
                  <a:pt x="1315315" y="1825708"/>
                </a:moveTo>
                <a:cubicBezTo>
                  <a:pt x="1321301" y="1825164"/>
                  <a:pt x="1331096" y="1834415"/>
                  <a:pt x="1330552" y="1840401"/>
                </a:cubicBezTo>
                <a:cubicBezTo>
                  <a:pt x="1330552" y="1845298"/>
                  <a:pt x="1321301" y="1854549"/>
                  <a:pt x="1316404" y="1854549"/>
                </a:cubicBezTo>
                <a:cubicBezTo>
                  <a:pt x="1310962" y="1855094"/>
                  <a:pt x="1302255" y="1846387"/>
                  <a:pt x="1301711" y="1840945"/>
                </a:cubicBezTo>
                <a:cubicBezTo>
                  <a:pt x="1301167" y="1834959"/>
                  <a:pt x="1309329" y="1826252"/>
                  <a:pt x="1315315" y="1825708"/>
                </a:cubicBezTo>
                <a:close/>
                <a:moveTo>
                  <a:pt x="1479656" y="1822987"/>
                </a:moveTo>
                <a:cubicBezTo>
                  <a:pt x="1489995" y="1823531"/>
                  <a:pt x="1495981" y="1830061"/>
                  <a:pt x="1495981" y="1840401"/>
                </a:cubicBezTo>
                <a:cubicBezTo>
                  <a:pt x="1495981" y="1851284"/>
                  <a:pt x="1490539" y="1856726"/>
                  <a:pt x="1478567" y="1856182"/>
                </a:cubicBezTo>
                <a:cubicBezTo>
                  <a:pt x="1467140" y="1856182"/>
                  <a:pt x="1462242" y="1850740"/>
                  <a:pt x="1462242" y="1839312"/>
                </a:cubicBezTo>
                <a:cubicBezTo>
                  <a:pt x="1462242" y="1828429"/>
                  <a:pt x="1468772" y="1822443"/>
                  <a:pt x="1479656" y="1822987"/>
                </a:cubicBezTo>
                <a:close/>
                <a:moveTo>
                  <a:pt x="1642365" y="1821355"/>
                </a:moveTo>
                <a:cubicBezTo>
                  <a:pt x="1653248" y="1821355"/>
                  <a:pt x="1661955" y="1829518"/>
                  <a:pt x="1660867" y="1840401"/>
                </a:cubicBezTo>
                <a:cubicBezTo>
                  <a:pt x="1659778" y="1853461"/>
                  <a:pt x="1653792" y="1857270"/>
                  <a:pt x="1642365" y="1857270"/>
                </a:cubicBezTo>
                <a:cubicBezTo>
                  <a:pt x="1630937" y="1857270"/>
                  <a:pt x="1624407" y="1850740"/>
                  <a:pt x="1624407" y="1839857"/>
                </a:cubicBezTo>
                <a:cubicBezTo>
                  <a:pt x="1624407" y="1828973"/>
                  <a:pt x="1632025" y="1821355"/>
                  <a:pt x="1642365" y="1821355"/>
                </a:cubicBezTo>
                <a:close/>
                <a:moveTo>
                  <a:pt x="1806162" y="1819723"/>
                </a:moveTo>
                <a:cubicBezTo>
                  <a:pt x="1816501" y="1819723"/>
                  <a:pt x="1827385" y="1831150"/>
                  <a:pt x="1826840" y="1840945"/>
                </a:cubicBezTo>
                <a:cubicBezTo>
                  <a:pt x="1826296" y="1850740"/>
                  <a:pt x="1813780" y="1862168"/>
                  <a:pt x="1804529" y="1861080"/>
                </a:cubicBezTo>
                <a:cubicBezTo>
                  <a:pt x="1795278" y="1860536"/>
                  <a:pt x="1783851" y="1847476"/>
                  <a:pt x="1784395" y="1839313"/>
                </a:cubicBezTo>
                <a:cubicBezTo>
                  <a:pt x="1784939" y="1828973"/>
                  <a:pt x="1796367" y="1819178"/>
                  <a:pt x="1806162" y="1819723"/>
                </a:cubicBezTo>
                <a:close/>
                <a:moveTo>
                  <a:pt x="1968870" y="1819178"/>
                </a:moveTo>
                <a:cubicBezTo>
                  <a:pt x="1980298" y="1819178"/>
                  <a:pt x="1990093" y="1828973"/>
                  <a:pt x="1990093" y="1840401"/>
                </a:cubicBezTo>
                <a:cubicBezTo>
                  <a:pt x="1990093" y="1851285"/>
                  <a:pt x="1980298" y="1861624"/>
                  <a:pt x="1968870" y="1861624"/>
                </a:cubicBezTo>
                <a:cubicBezTo>
                  <a:pt x="1957986" y="1861624"/>
                  <a:pt x="1947647" y="1851285"/>
                  <a:pt x="1947647" y="1840401"/>
                </a:cubicBezTo>
                <a:cubicBezTo>
                  <a:pt x="1947647" y="1828973"/>
                  <a:pt x="1957986" y="1819178"/>
                  <a:pt x="1968870" y="1819178"/>
                </a:cubicBezTo>
                <a:close/>
                <a:moveTo>
                  <a:pt x="1070436" y="1747347"/>
                </a:moveTo>
                <a:cubicBezTo>
                  <a:pt x="1078598" y="1747347"/>
                  <a:pt x="1081863" y="1750612"/>
                  <a:pt x="1081863" y="1758231"/>
                </a:cubicBezTo>
                <a:cubicBezTo>
                  <a:pt x="1081863" y="1766393"/>
                  <a:pt x="1078598" y="1769658"/>
                  <a:pt x="1070980" y="1769658"/>
                </a:cubicBezTo>
                <a:cubicBezTo>
                  <a:pt x="1063361" y="1769658"/>
                  <a:pt x="1060096" y="1766393"/>
                  <a:pt x="1059552" y="1758775"/>
                </a:cubicBezTo>
                <a:cubicBezTo>
                  <a:pt x="1059552" y="1751156"/>
                  <a:pt x="1062817" y="1747347"/>
                  <a:pt x="1070436" y="1747347"/>
                </a:cubicBezTo>
                <a:close/>
                <a:moveTo>
                  <a:pt x="1233688" y="1742449"/>
                </a:moveTo>
                <a:cubicBezTo>
                  <a:pt x="1242939" y="1741904"/>
                  <a:pt x="1250558" y="1750067"/>
                  <a:pt x="1250558" y="1758774"/>
                </a:cubicBezTo>
                <a:cubicBezTo>
                  <a:pt x="1250558" y="1767481"/>
                  <a:pt x="1242939" y="1775099"/>
                  <a:pt x="1233688" y="1775099"/>
                </a:cubicBezTo>
                <a:cubicBezTo>
                  <a:pt x="1224981" y="1775099"/>
                  <a:pt x="1218451" y="1768025"/>
                  <a:pt x="1217907" y="1759318"/>
                </a:cubicBezTo>
                <a:cubicBezTo>
                  <a:pt x="1217907" y="1750067"/>
                  <a:pt x="1224981" y="1742449"/>
                  <a:pt x="1233688" y="1742449"/>
                </a:cubicBezTo>
                <a:close/>
                <a:moveTo>
                  <a:pt x="1399662" y="1739728"/>
                </a:moveTo>
                <a:cubicBezTo>
                  <a:pt x="1410002" y="1740817"/>
                  <a:pt x="1418164" y="1750068"/>
                  <a:pt x="1417076" y="1760407"/>
                </a:cubicBezTo>
                <a:cubicBezTo>
                  <a:pt x="1415988" y="1769114"/>
                  <a:pt x="1404560" y="1779997"/>
                  <a:pt x="1396941" y="1779453"/>
                </a:cubicBezTo>
                <a:cubicBezTo>
                  <a:pt x="1388779" y="1778909"/>
                  <a:pt x="1376807" y="1765305"/>
                  <a:pt x="1377895" y="1757686"/>
                </a:cubicBezTo>
                <a:cubicBezTo>
                  <a:pt x="1379528" y="1746803"/>
                  <a:pt x="1389867" y="1738640"/>
                  <a:pt x="1399662" y="1739728"/>
                </a:cubicBezTo>
                <a:close/>
                <a:moveTo>
                  <a:pt x="1723991" y="1735919"/>
                </a:moveTo>
                <a:cubicBezTo>
                  <a:pt x="1738140" y="1735919"/>
                  <a:pt x="1746847" y="1744626"/>
                  <a:pt x="1746847" y="1758774"/>
                </a:cubicBezTo>
                <a:cubicBezTo>
                  <a:pt x="1746847" y="1772379"/>
                  <a:pt x="1738140" y="1781086"/>
                  <a:pt x="1723991" y="1781086"/>
                </a:cubicBezTo>
                <a:cubicBezTo>
                  <a:pt x="1709299" y="1781086"/>
                  <a:pt x="1701680" y="1773467"/>
                  <a:pt x="1701680" y="1758774"/>
                </a:cubicBezTo>
                <a:cubicBezTo>
                  <a:pt x="1701680" y="1744626"/>
                  <a:pt x="1709843" y="1735919"/>
                  <a:pt x="1723991" y="1735919"/>
                </a:cubicBezTo>
                <a:close/>
                <a:moveTo>
                  <a:pt x="1560194" y="1735919"/>
                </a:moveTo>
                <a:cubicBezTo>
                  <a:pt x="1572710" y="1736463"/>
                  <a:pt x="1582505" y="1746258"/>
                  <a:pt x="1582505" y="1758230"/>
                </a:cubicBezTo>
                <a:cubicBezTo>
                  <a:pt x="1582505" y="1770202"/>
                  <a:pt x="1572710" y="1779997"/>
                  <a:pt x="1560738" y="1779997"/>
                </a:cubicBezTo>
                <a:cubicBezTo>
                  <a:pt x="1549855" y="1779997"/>
                  <a:pt x="1538427" y="1769114"/>
                  <a:pt x="1538427" y="1758230"/>
                </a:cubicBezTo>
                <a:cubicBezTo>
                  <a:pt x="1538427" y="1746803"/>
                  <a:pt x="1548766" y="1735919"/>
                  <a:pt x="1560194" y="1735919"/>
                </a:cubicBezTo>
                <a:close/>
                <a:moveTo>
                  <a:pt x="2051041" y="1734831"/>
                </a:moveTo>
                <a:lnTo>
                  <a:pt x="2051041" y="1781438"/>
                </a:lnTo>
                <a:lnTo>
                  <a:pt x="2050496" y="1781630"/>
                </a:lnTo>
                <a:cubicBezTo>
                  <a:pt x="2033627" y="1782174"/>
                  <a:pt x="2027097" y="1772379"/>
                  <a:pt x="2027097" y="1758775"/>
                </a:cubicBezTo>
                <a:cubicBezTo>
                  <a:pt x="2027097" y="1744082"/>
                  <a:pt x="2033627" y="1734831"/>
                  <a:pt x="2051041" y="1734831"/>
                </a:cubicBezTo>
                <a:close/>
                <a:moveTo>
                  <a:pt x="1887788" y="1734831"/>
                </a:moveTo>
                <a:cubicBezTo>
                  <a:pt x="1902481" y="1735375"/>
                  <a:pt x="1910099" y="1742994"/>
                  <a:pt x="1910099" y="1758775"/>
                </a:cubicBezTo>
                <a:cubicBezTo>
                  <a:pt x="1910099" y="1771835"/>
                  <a:pt x="1903025" y="1782718"/>
                  <a:pt x="1886699" y="1781086"/>
                </a:cubicBezTo>
                <a:cubicBezTo>
                  <a:pt x="1872551" y="1782174"/>
                  <a:pt x="1863844" y="1770203"/>
                  <a:pt x="1863844" y="1757687"/>
                </a:cubicBezTo>
                <a:cubicBezTo>
                  <a:pt x="1863844" y="1742994"/>
                  <a:pt x="1874728" y="1734287"/>
                  <a:pt x="1887788" y="1734831"/>
                </a:cubicBezTo>
                <a:close/>
                <a:moveTo>
                  <a:pt x="826100" y="1671706"/>
                </a:moveTo>
                <a:cubicBezTo>
                  <a:pt x="830454" y="1670618"/>
                  <a:pt x="832086" y="1673338"/>
                  <a:pt x="832086" y="1677692"/>
                </a:cubicBezTo>
                <a:cubicBezTo>
                  <a:pt x="832086" y="1681501"/>
                  <a:pt x="829365" y="1683134"/>
                  <a:pt x="825556" y="1683134"/>
                </a:cubicBezTo>
                <a:cubicBezTo>
                  <a:pt x="821203" y="1683134"/>
                  <a:pt x="819570" y="1679869"/>
                  <a:pt x="820658" y="1676603"/>
                </a:cubicBezTo>
                <a:cubicBezTo>
                  <a:pt x="821203" y="1674427"/>
                  <a:pt x="823924" y="1672250"/>
                  <a:pt x="826100" y="1671706"/>
                </a:cubicBezTo>
                <a:close/>
                <a:moveTo>
                  <a:pt x="989354" y="1661912"/>
                </a:moveTo>
                <a:cubicBezTo>
                  <a:pt x="994251" y="1661912"/>
                  <a:pt x="1004046" y="1671707"/>
                  <a:pt x="1004046" y="1676604"/>
                </a:cubicBezTo>
                <a:cubicBezTo>
                  <a:pt x="1004046" y="1682590"/>
                  <a:pt x="996428" y="1690209"/>
                  <a:pt x="989354" y="1690209"/>
                </a:cubicBezTo>
                <a:cubicBezTo>
                  <a:pt x="982823" y="1690209"/>
                  <a:pt x="975749" y="1683679"/>
                  <a:pt x="975205" y="1677693"/>
                </a:cubicBezTo>
                <a:cubicBezTo>
                  <a:pt x="974661" y="1671707"/>
                  <a:pt x="983912" y="1661367"/>
                  <a:pt x="989354" y="1661912"/>
                </a:cubicBezTo>
                <a:close/>
                <a:moveTo>
                  <a:pt x="1153151" y="1659734"/>
                </a:moveTo>
                <a:cubicBezTo>
                  <a:pt x="1162946" y="1658646"/>
                  <a:pt x="1171108" y="1667353"/>
                  <a:pt x="1170564" y="1677692"/>
                </a:cubicBezTo>
                <a:cubicBezTo>
                  <a:pt x="1170020" y="1688575"/>
                  <a:pt x="1162946" y="1694562"/>
                  <a:pt x="1152062" y="1694562"/>
                </a:cubicBezTo>
                <a:cubicBezTo>
                  <a:pt x="1141179" y="1694017"/>
                  <a:pt x="1135737" y="1688031"/>
                  <a:pt x="1135737" y="1677148"/>
                </a:cubicBezTo>
                <a:cubicBezTo>
                  <a:pt x="1135737" y="1664632"/>
                  <a:pt x="1141179" y="1659190"/>
                  <a:pt x="1153151" y="1659734"/>
                </a:cubicBezTo>
                <a:close/>
                <a:moveTo>
                  <a:pt x="1315315" y="1655381"/>
                </a:moveTo>
                <a:cubicBezTo>
                  <a:pt x="1327287" y="1654836"/>
                  <a:pt x="1337082" y="1664088"/>
                  <a:pt x="1337082" y="1676603"/>
                </a:cubicBezTo>
                <a:cubicBezTo>
                  <a:pt x="1337082" y="1688575"/>
                  <a:pt x="1326743" y="1698915"/>
                  <a:pt x="1315315" y="1698915"/>
                </a:cubicBezTo>
                <a:cubicBezTo>
                  <a:pt x="1304976" y="1698915"/>
                  <a:pt x="1294092" y="1687487"/>
                  <a:pt x="1294092" y="1677148"/>
                </a:cubicBezTo>
                <a:cubicBezTo>
                  <a:pt x="1294092" y="1666264"/>
                  <a:pt x="1304431" y="1655925"/>
                  <a:pt x="1315315" y="1655381"/>
                </a:cubicBezTo>
                <a:close/>
                <a:moveTo>
                  <a:pt x="1479111" y="1654293"/>
                </a:moveTo>
                <a:cubicBezTo>
                  <a:pt x="1495437" y="1653204"/>
                  <a:pt x="1501967" y="1664632"/>
                  <a:pt x="1501967" y="1677692"/>
                </a:cubicBezTo>
                <a:cubicBezTo>
                  <a:pt x="1501967" y="1689664"/>
                  <a:pt x="1492716" y="1700548"/>
                  <a:pt x="1479111" y="1700548"/>
                </a:cubicBezTo>
                <a:cubicBezTo>
                  <a:pt x="1466596" y="1700548"/>
                  <a:pt x="1455712" y="1690208"/>
                  <a:pt x="1455712" y="1676604"/>
                </a:cubicBezTo>
                <a:cubicBezTo>
                  <a:pt x="1456256" y="1663544"/>
                  <a:pt x="1464963" y="1653204"/>
                  <a:pt x="1479111" y="1654293"/>
                </a:cubicBezTo>
                <a:close/>
                <a:moveTo>
                  <a:pt x="1643452" y="1650483"/>
                </a:moveTo>
                <a:cubicBezTo>
                  <a:pt x="1654880" y="1651027"/>
                  <a:pt x="1667940" y="1664087"/>
                  <a:pt x="1668484" y="1676603"/>
                </a:cubicBezTo>
                <a:cubicBezTo>
                  <a:pt x="1669029" y="1689120"/>
                  <a:pt x="1655968" y="1702724"/>
                  <a:pt x="1643452" y="1703268"/>
                </a:cubicBezTo>
                <a:cubicBezTo>
                  <a:pt x="1631480" y="1703812"/>
                  <a:pt x="1617332" y="1690208"/>
                  <a:pt x="1617332" y="1677692"/>
                </a:cubicBezTo>
                <a:cubicBezTo>
                  <a:pt x="1616788" y="1664632"/>
                  <a:pt x="1630392" y="1650483"/>
                  <a:pt x="1643452" y="1650483"/>
                </a:cubicBezTo>
                <a:close/>
                <a:moveTo>
                  <a:pt x="1968326" y="1649940"/>
                </a:moveTo>
                <a:cubicBezTo>
                  <a:pt x="1983019" y="1649395"/>
                  <a:pt x="1997167" y="1664088"/>
                  <a:pt x="1995535" y="1676604"/>
                </a:cubicBezTo>
                <a:cubicBezTo>
                  <a:pt x="1997167" y="1689664"/>
                  <a:pt x="1982474" y="1704901"/>
                  <a:pt x="1968870" y="1704357"/>
                </a:cubicBezTo>
                <a:cubicBezTo>
                  <a:pt x="1954177" y="1703813"/>
                  <a:pt x="1942205" y="1691841"/>
                  <a:pt x="1941661" y="1677148"/>
                </a:cubicBezTo>
                <a:cubicBezTo>
                  <a:pt x="1941117" y="1662456"/>
                  <a:pt x="1956354" y="1649940"/>
                  <a:pt x="1968326" y="1649940"/>
                </a:cubicBezTo>
                <a:close/>
                <a:moveTo>
                  <a:pt x="1805617" y="1649939"/>
                </a:moveTo>
                <a:cubicBezTo>
                  <a:pt x="1819222" y="1648851"/>
                  <a:pt x="1832826" y="1664088"/>
                  <a:pt x="1832826" y="1677148"/>
                </a:cubicBezTo>
                <a:cubicBezTo>
                  <a:pt x="1832282" y="1690752"/>
                  <a:pt x="1819222" y="1703812"/>
                  <a:pt x="1805073" y="1704357"/>
                </a:cubicBezTo>
                <a:cubicBezTo>
                  <a:pt x="1792557" y="1704901"/>
                  <a:pt x="1777864" y="1688031"/>
                  <a:pt x="1778409" y="1677148"/>
                </a:cubicBezTo>
                <a:cubicBezTo>
                  <a:pt x="1779497" y="1662999"/>
                  <a:pt x="1791469" y="1649939"/>
                  <a:pt x="1805617" y="1649939"/>
                </a:cubicBezTo>
                <a:close/>
                <a:moveTo>
                  <a:pt x="744474" y="1588992"/>
                </a:moveTo>
                <a:cubicBezTo>
                  <a:pt x="748827" y="1588992"/>
                  <a:pt x="751004" y="1590624"/>
                  <a:pt x="751004" y="1594978"/>
                </a:cubicBezTo>
                <a:cubicBezTo>
                  <a:pt x="751004" y="1598787"/>
                  <a:pt x="749916" y="1601508"/>
                  <a:pt x="745562" y="1602052"/>
                </a:cubicBezTo>
                <a:cubicBezTo>
                  <a:pt x="740665" y="1602052"/>
                  <a:pt x="738488" y="1600420"/>
                  <a:pt x="738488" y="1594978"/>
                </a:cubicBezTo>
                <a:cubicBezTo>
                  <a:pt x="737944" y="1590624"/>
                  <a:pt x="740121" y="1588992"/>
                  <a:pt x="744474" y="1588992"/>
                </a:cubicBezTo>
                <a:close/>
                <a:moveTo>
                  <a:pt x="907183" y="1579741"/>
                </a:moveTo>
                <a:cubicBezTo>
                  <a:pt x="913169" y="1579197"/>
                  <a:pt x="923508" y="1588992"/>
                  <a:pt x="923508" y="1594978"/>
                </a:cubicBezTo>
                <a:cubicBezTo>
                  <a:pt x="923508" y="1600964"/>
                  <a:pt x="915345" y="1610215"/>
                  <a:pt x="908815" y="1610759"/>
                </a:cubicBezTo>
                <a:cubicBezTo>
                  <a:pt x="901197" y="1611303"/>
                  <a:pt x="892490" y="1603685"/>
                  <a:pt x="892490" y="1595522"/>
                </a:cubicBezTo>
                <a:cubicBezTo>
                  <a:pt x="892490" y="1588448"/>
                  <a:pt x="900653" y="1579741"/>
                  <a:pt x="907183" y="1579741"/>
                </a:cubicBezTo>
                <a:close/>
                <a:moveTo>
                  <a:pt x="1071524" y="1574843"/>
                </a:moveTo>
                <a:cubicBezTo>
                  <a:pt x="1081319" y="1575387"/>
                  <a:pt x="1091114" y="1585726"/>
                  <a:pt x="1091114" y="1595522"/>
                </a:cubicBezTo>
                <a:cubicBezTo>
                  <a:pt x="1091114" y="1605317"/>
                  <a:pt x="1080231" y="1615656"/>
                  <a:pt x="1070980" y="1615656"/>
                </a:cubicBezTo>
                <a:cubicBezTo>
                  <a:pt x="1062273" y="1615656"/>
                  <a:pt x="1050845" y="1604228"/>
                  <a:pt x="1050301" y="1595522"/>
                </a:cubicBezTo>
                <a:cubicBezTo>
                  <a:pt x="1050301" y="1586270"/>
                  <a:pt x="1062273" y="1574299"/>
                  <a:pt x="1071524" y="1574843"/>
                </a:cubicBezTo>
                <a:close/>
                <a:moveTo>
                  <a:pt x="1233688" y="1573210"/>
                </a:moveTo>
                <a:cubicBezTo>
                  <a:pt x="1247837" y="1573210"/>
                  <a:pt x="1256544" y="1581373"/>
                  <a:pt x="1256544" y="1595522"/>
                </a:cubicBezTo>
                <a:cubicBezTo>
                  <a:pt x="1256544" y="1609670"/>
                  <a:pt x="1247837" y="1618377"/>
                  <a:pt x="1233688" y="1618377"/>
                </a:cubicBezTo>
                <a:cubicBezTo>
                  <a:pt x="1221172" y="1618377"/>
                  <a:pt x="1212465" y="1608582"/>
                  <a:pt x="1211377" y="1596610"/>
                </a:cubicBezTo>
                <a:cubicBezTo>
                  <a:pt x="1210289" y="1584638"/>
                  <a:pt x="1222261" y="1571034"/>
                  <a:pt x="1233688" y="1573210"/>
                </a:cubicBezTo>
                <a:close/>
                <a:moveTo>
                  <a:pt x="1398030" y="1569402"/>
                </a:moveTo>
                <a:cubicBezTo>
                  <a:pt x="1411634" y="1569946"/>
                  <a:pt x="1423606" y="1582462"/>
                  <a:pt x="1423062" y="1595522"/>
                </a:cubicBezTo>
                <a:cubicBezTo>
                  <a:pt x="1423062" y="1608582"/>
                  <a:pt x="1410546" y="1621099"/>
                  <a:pt x="1397485" y="1621099"/>
                </a:cubicBezTo>
                <a:cubicBezTo>
                  <a:pt x="1384969" y="1621099"/>
                  <a:pt x="1371365" y="1608038"/>
                  <a:pt x="1371365" y="1595522"/>
                </a:cubicBezTo>
                <a:cubicBezTo>
                  <a:pt x="1371365" y="1582462"/>
                  <a:pt x="1384969" y="1568857"/>
                  <a:pt x="1398030" y="1569402"/>
                </a:cubicBezTo>
                <a:close/>
                <a:moveTo>
                  <a:pt x="1560194" y="1568313"/>
                </a:moveTo>
                <a:cubicBezTo>
                  <a:pt x="1574342" y="1566680"/>
                  <a:pt x="1587403" y="1581373"/>
                  <a:pt x="1587947" y="1594433"/>
                </a:cubicBezTo>
                <a:cubicBezTo>
                  <a:pt x="1588491" y="1608582"/>
                  <a:pt x="1574887" y="1622730"/>
                  <a:pt x="1560194" y="1622730"/>
                </a:cubicBezTo>
                <a:cubicBezTo>
                  <a:pt x="1547134" y="1622730"/>
                  <a:pt x="1532985" y="1608582"/>
                  <a:pt x="1532985" y="1594977"/>
                </a:cubicBezTo>
                <a:cubicBezTo>
                  <a:pt x="1532985" y="1581917"/>
                  <a:pt x="1547134" y="1566680"/>
                  <a:pt x="1560194" y="1568313"/>
                </a:cubicBezTo>
                <a:close/>
                <a:moveTo>
                  <a:pt x="1887244" y="1567225"/>
                </a:moveTo>
                <a:cubicBezTo>
                  <a:pt x="1905202" y="1567225"/>
                  <a:pt x="1915541" y="1578109"/>
                  <a:pt x="1915541" y="1594978"/>
                </a:cubicBezTo>
                <a:cubicBezTo>
                  <a:pt x="1915541" y="1612392"/>
                  <a:pt x="1903569" y="1624363"/>
                  <a:pt x="1886699" y="1623819"/>
                </a:cubicBezTo>
                <a:cubicBezTo>
                  <a:pt x="1872551" y="1623819"/>
                  <a:pt x="1857314" y="1613480"/>
                  <a:pt x="1858947" y="1594978"/>
                </a:cubicBezTo>
                <a:cubicBezTo>
                  <a:pt x="1857858" y="1577564"/>
                  <a:pt x="1870918" y="1567225"/>
                  <a:pt x="1887244" y="1567225"/>
                </a:cubicBezTo>
                <a:close/>
                <a:moveTo>
                  <a:pt x="1724535" y="1567225"/>
                </a:moveTo>
                <a:cubicBezTo>
                  <a:pt x="1743037" y="1567225"/>
                  <a:pt x="1752288" y="1581373"/>
                  <a:pt x="1752288" y="1594978"/>
                </a:cubicBezTo>
                <a:cubicBezTo>
                  <a:pt x="1752288" y="1609127"/>
                  <a:pt x="1741949" y="1623275"/>
                  <a:pt x="1724535" y="1623275"/>
                </a:cubicBezTo>
                <a:cubicBezTo>
                  <a:pt x="1710930" y="1623819"/>
                  <a:pt x="1694605" y="1613480"/>
                  <a:pt x="1696238" y="1594978"/>
                </a:cubicBezTo>
                <a:cubicBezTo>
                  <a:pt x="1694605" y="1577564"/>
                  <a:pt x="1708754" y="1567225"/>
                  <a:pt x="1724535" y="1567225"/>
                </a:cubicBezTo>
                <a:close/>
                <a:moveTo>
                  <a:pt x="2050496" y="1566680"/>
                </a:moveTo>
                <a:lnTo>
                  <a:pt x="2051041" y="1566888"/>
                </a:lnTo>
                <a:lnTo>
                  <a:pt x="2051041" y="1623794"/>
                </a:lnTo>
                <a:lnTo>
                  <a:pt x="2049408" y="1624363"/>
                </a:lnTo>
                <a:cubicBezTo>
                  <a:pt x="2033083" y="1623818"/>
                  <a:pt x="2021111" y="1611302"/>
                  <a:pt x="2021655" y="1594977"/>
                </a:cubicBezTo>
                <a:cubicBezTo>
                  <a:pt x="2022199" y="1575931"/>
                  <a:pt x="2033627" y="1567224"/>
                  <a:pt x="2050496" y="1566680"/>
                </a:cubicBezTo>
                <a:close/>
                <a:moveTo>
                  <a:pt x="663392" y="1505188"/>
                </a:moveTo>
                <a:cubicBezTo>
                  <a:pt x="666113" y="1505188"/>
                  <a:pt x="669922" y="1510086"/>
                  <a:pt x="674819" y="1513895"/>
                </a:cubicBezTo>
                <a:cubicBezTo>
                  <a:pt x="669378" y="1517704"/>
                  <a:pt x="665569" y="1522602"/>
                  <a:pt x="662848" y="1522058"/>
                </a:cubicBezTo>
                <a:cubicBezTo>
                  <a:pt x="659583" y="1521513"/>
                  <a:pt x="654685" y="1516072"/>
                  <a:pt x="654685" y="1513351"/>
                </a:cubicBezTo>
                <a:cubicBezTo>
                  <a:pt x="654685" y="1510086"/>
                  <a:pt x="660127" y="1505188"/>
                  <a:pt x="663392" y="1505188"/>
                </a:cubicBezTo>
                <a:close/>
                <a:moveTo>
                  <a:pt x="826101" y="1497570"/>
                </a:moveTo>
                <a:cubicBezTo>
                  <a:pt x="834263" y="1497025"/>
                  <a:pt x="842426" y="1505188"/>
                  <a:pt x="842970" y="1513351"/>
                </a:cubicBezTo>
                <a:cubicBezTo>
                  <a:pt x="842970" y="1522058"/>
                  <a:pt x="835352" y="1529676"/>
                  <a:pt x="826645" y="1529676"/>
                </a:cubicBezTo>
                <a:cubicBezTo>
                  <a:pt x="818482" y="1529676"/>
                  <a:pt x="810864" y="1523146"/>
                  <a:pt x="810319" y="1514983"/>
                </a:cubicBezTo>
                <a:cubicBezTo>
                  <a:pt x="809775" y="1506276"/>
                  <a:pt x="817394" y="1498114"/>
                  <a:pt x="826101" y="1497570"/>
                </a:cubicBezTo>
                <a:close/>
                <a:moveTo>
                  <a:pt x="988265" y="1492128"/>
                </a:moveTo>
                <a:cubicBezTo>
                  <a:pt x="998605" y="1492128"/>
                  <a:pt x="1010577" y="1501379"/>
                  <a:pt x="1010577" y="1513351"/>
                </a:cubicBezTo>
                <a:cubicBezTo>
                  <a:pt x="1010577" y="1524234"/>
                  <a:pt x="1000237" y="1534574"/>
                  <a:pt x="989354" y="1534574"/>
                </a:cubicBezTo>
                <a:cubicBezTo>
                  <a:pt x="979559" y="1534574"/>
                  <a:pt x="968675" y="1523690"/>
                  <a:pt x="968131" y="1513895"/>
                </a:cubicBezTo>
                <a:cubicBezTo>
                  <a:pt x="968131" y="1503556"/>
                  <a:pt x="977926" y="1492672"/>
                  <a:pt x="988265" y="1492128"/>
                </a:cubicBezTo>
                <a:close/>
                <a:moveTo>
                  <a:pt x="1152606" y="1490496"/>
                </a:moveTo>
                <a:cubicBezTo>
                  <a:pt x="1167299" y="1489407"/>
                  <a:pt x="1176006" y="1498658"/>
                  <a:pt x="1176006" y="1513351"/>
                </a:cubicBezTo>
                <a:cubicBezTo>
                  <a:pt x="1176006" y="1530764"/>
                  <a:pt x="1166755" y="1537295"/>
                  <a:pt x="1152606" y="1537839"/>
                </a:cubicBezTo>
                <a:cubicBezTo>
                  <a:pt x="1139546" y="1537839"/>
                  <a:pt x="1129207" y="1530764"/>
                  <a:pt x="1129207" y="1514984"/>
                </a:cubicBezTo>
                <a:cubicBezTo>
                  <a:pt x="1129207" y="1498114"/>
                  <a:pt x="1138458" y="1491040"/>
                  <a:pt x="1152606" y="1490496"/>
                </a:cubicBezTo>
                <a:close/>
                <a:moveTo>
                  <a:pt x="1316403" y="1487231"/>
                </a:moveTo>
                <a:cubicBezTo>
                  <a:pt x="1331095" y="1487775"/>
                  <a:pt x="1342523" y="1499203"/>
                  <a:pt x="1342523" y="1513896"/>
                </a:cubicBezTo>
                <a:cubicBezTo>
                  <a:pt x="1342523" y="1528588"/>
                  <a:pt x="1330551" y="1540560"/>
                  <a:pt x="1315314" y="1540560"/>
                </a:cubicBezTo>
                <a:cubicBezTo>
                  <a:pt x="1303887" y="1542193"/>
                  <a:pt x="1288106" y="1527500"/>
                  <a:pt x="1288650" y="1513896"/>
                </a:cubicBezTo>
                <a:cubicBezTo>
                  <a:pt x="1289194" y="1498659"/>
                  <a:pt x="1301166" y="1486687"/>
                  <a:pt x="1316403" y="1487231"/>
                </a:cubicBezTo>
                <a:close/>
                <a:moveTo>
                  <a:pt x="1479656" y="1485054"/>
                </a:moveTo>
                <a:cubicBezTo>
                  <a:pt x="1495437" y="1485598"/>
                  <a:pt x="1508497" y="1496482"/>
                  <a:pt x="1507409" y="1513895"/>
                </a:cubicBezTo>
                <a:cubicBezTo>
                  <a:pt x="1508497" y="1527500"/>
                  <a:pt x="1498158" y="1542192"/>
                  <a:pt x="1479112" y="1541648"/>
                </a:cubicBezTo>
                <a:cubicBezTo>
                  <a:pt x="1462787" y="1541648"/>
                  <a:pt x="1451359" y="1529676"/>
                  <a:pt x="1451359" y="1513351"/>
                </a:cubicBezTo>
                <a:cubicBezTo>
                  <a:pt x="1451359" y="1493761"/>
                  <a:pt x="1466596" y="1485054"/>
                  <a:pt x="1479656" y="1485054"/>
                </a:cubicBezTo>
                <a:close/>
                <a:moveTo>
                  <a:pt x="1641820" y="1482334"/>
                </a:moveTo>
                <a:cubicBezTo>
                  <a:pt x="1657057" y="1481789"/>
                  <a:pt x="1672838" y="1496482"/>
                  <a:pt x="1673382" y="1512807"/>
                </a:cubicBezTo>
                <a:cubicBezTo>
                  <a:pt x="1673927" y="1528044"/>
                  <a:pt x="1658145" y="1544370"/>
                  <a:pt x="1642909" y="1544370"/>
                </a:cubicBezTo>
                <a:cubicBezTo>
                  <a:pt x="1626039" y="1542193"/>
                  <a:pt x="1612979" y="1532942"/>
                  <a:pt x="1612435" y="1513351"/>
                </a:cubicBezTo>
                <a:cubicBezTo>
                  <a:pt x="1611890" y="1497571"/>
                  <a:pt x="1626583" y="1483422"/>
                  <a:pt x="1641820" y="1482334"/>
                </a:cubicBezTo>
                <a:close/>
                <a:moveTo>
                  <a:pt x="1804529" y="1481788"/>
                </a:moveTo>
                <a:cubicBezTo>
                  <a:pt x="1820855" y="1481244"/>
                  <a:pt x="1836091" y="1494304"/>
                  <a:pt x="1837180" y="1513351"/>
                </a:cubicBezTo>
                <a:cubicBezTo>
                  <a:pt x="1838812" y="1528043"/>
                  <a:pt x="1825208" y="1544913"/>
                  <a:pt x="1805617" y="1545457"/>
                </a:cubicBezTo>
                <a:cubicBezTo>
                  <a:pt x="1787660" y="1544913"/>
                  <a:pt x="1774055" y="1532397"/>
                  <a:pt x="1773511" y="1514983"/>
                </a:cubicBezTo>
                <a:cubicBezTo>
                  <a:pt x="1772967" y="1494849"/>
                  <a:pt x="1788204" y="1482333"/>
                  <a:pt x="1804529" y="1481788"/>
                </a:cubicBezTo>
                <a:close/>
                <a:moveTo>
                  <a:pt x="1968870" y="1480700"/>
                </a:moveTo>
                <a:cubicBezTo>
                  <a:pt x="1984651" y="1480700"/>
                  <a:pt x="2000977" y="1495937"/>
                  <a:pt x="2000977" y="1513351"/>
                </a:cubicBezTo>
                <a:cubicBezTo>
                  <a:pt x="2001521" y="1529132"/>
                  <a:pt x="1987916" y="1546001"/>
                  <a:pt x="1968870" y="1545457"/>
                </a:cubicBezTo>
                <a:cubicBezTo>
                  <a:pt x="1949824" y="1545457"/>
                  <a:pt x="1936764" y="1530764"/>
                  <a:pt x="1936764" y="1513351"/>
                </a:cubicBezTo>
                <a:cubicBezTo>
                  <a:pt x="1936764" y="1493760"/>
                  <a:pt x="1953633" y="1480700"/>
                  <a:pt x="1968870" y="1480700"/>
                </a:cubicBezTo>
                <a:close/>
                <a:moveTo>
                  <a:pt x="581221" y="1423562"/>
                </a:moveTo>
                <a:cubicBezTo>
                  <a:pt x="586663" y="1423562"/>
                  <a:pt x="589384" y="1427371"/>
                  <a:pt x="588840" y="1431725"/>
                </a:cubicBezTo>
                <a:cubicBezTo>
                  <a:pt x="588840" y="1434990"/>
                  <a:pt x="585030" y="1438255"/>
                  <a:pt x="581765" y="1443153"/>
                </a:cubicBezTo>
                <a:cubicBezTo>
                  <a:pt x="577412" y="1438255"/>
                  <a:pt x="574147" y="1436078"/>
                  <a:pt x="573059" y="1432813"/>
                </a:cubicBezTo>
                <a:cubicBezTo>
                  <a:pt x="571426" y="1429004"/>
                  <a:pt x="576868" y="1423562"/>
                  <a:pt x="581221" y="1423562"/>
                </a:cubicBezTo>
                <a:close/>
                <a:moveTo>
                  <a:pt x="745562" y="1414855"/>
                </a:moveTo>
                <a:cubicBezTo>
                  <a:pt x="754269" y="1415399"/>
                  <a:pt x="761344" y="1423018"/>
                  <a:pt x="761344" y="1432269"/>
                </a:cubicBezTo>
                <a:cubicBezTo>
                  <a:pt x="761344" y="1442064"/>
                  <a:pt x="754813" y="1448050"/>
                  <a:pt x="745018" y="1448050"/>
                </a:cubicBezTo>
                <a:cubicBezTo>
                  <a:pt x="734679" y="1448050"/>
                  <a:pt x="728693" y="1442064"/>
                  <a:pt x="728693" y="1431725"/>
                </a:cubicBezTo>
                <a:cubicBezTo>
                  <a:pt x="728693" y="1421386"/>
                  <a:pt x="735223" y="1414311"/>
                  <a:pt x="745562" y="1414855"/>
                </a:cubicBezTo>
                <a:close/>
                <a:moveTo>
                  <a:pt x="908815" y="1409958"/>
                </a:moveTo>
                <a:cubicBezTo>
                  <a:pt x="920243" y="1410502"/>
                  <a:pt x="930038" y="1420297"/>
                  <a:pt x="930038" y="1431725"/>
                </a:cubicBezTo>
                <a:cubicBezTo>
                  <a:pt x="929494" y="1443697"/>
                  <a:pt x="919155" y="1454036"/>
                  <a:pt x="907183" y="1453492"/>
                </a:cubicBezTo>
                <a:cubicBezTo>
                  <a:pt x="896844" y="1453492"/>
                  <a:pt x="885960" y="1442064"/>
                  <a:pt x="885960" y="1431725"/>
                </a:cubicBezTo>
                <a:cubicBezTo>
                  <a:pt x="885960" y="1420297"/>
                  <a:pt x="897388" y="1409414"/>
                  <a:pt x="908815" y="1409958"/>
                </a:cubicBezTo>
                <a:close/>
                <a:moveTo>
                  <a:pt x="1070436" y="1406693"/>
                </a:moveTo>
                <a:cubicBezTo>
                  <a:pt x="1084584" y="1406693"/>
                  <a:pt x="1096012" y="1418121"/>
                  <a:pt x="1096012" y="1432269"/>
                </a:cubicBezTo>
                <a:cubicBezTo>
                  <a:pt x="1096012" y="1445329"/>
                  <a:pt x="1082952" y="1458390"/>
                  <a:pt x="1070436" y="1457846"/>
                </a:cubicBezTo>
                <a:cubicBezTo>
                  <a:pt x="1058464" y="1457301"/>
                  <a:pt x="1044860" y="1443153"/>
                  <a:pt x="1045404" y="1431181"/>
                </a:cubicBezTo>
                <a:cubicBezTo>
                  <a:pt x="1045948" y="1418665"/>
                  <a:pt x="1057920" y="1406693"/>
                  <a:pt x="1070436" y="1406693"/>
                </a:cubicBezTo>
                <a:close/>
                <a:moveTo>
                  <a:pt x="1235865" y="1404516"/>
                </a:moveTo>
                <a:cubicBezTo>
                  <a:pt x="1252191" y="1405605"/>
                  <a:pt x="1262530" y="1415944"/>
                  <a:pt x="1261986" y="1433358"/>
                </a:cubicBezTo>
                <a:cubicBezTo>
                  <a:pt x="1261442" y="1449683"/>
                  <a:pt x="1251102" y="1459478"/>
                  <a:pt x="1233689" y="1459478"/>
                </a:cubicBezTo>
                <a:cubicBezTo>
                  <a:pt x="1218452" y="1461655"/>
                  <a:pt x="1206480" y="1445329"/>
                  <a:pt x="1206480" y="1432269"/>
                </a:cubicBezTo>
                <a:cubicBezTo>
                  <a:pt x="1206480" y="1417032"/>
                  <a:pt x="1220084" y="1403428"/>
                  <a:pt x="1235865" y="1404516"/>
                </a:cubicBezTo>
                <a:close/>
                <a:moveTo>
                  <a:pt x="1397485" y="1400162"/>
                </a:moveTo>
                <a:cubicBezTo>
                  <a:pt x="1412178" y="1400162"/>
                  <a:pt x="1427959" y="1416487"/>
                  <a:pt x="1427959" y="1431724"/>
                </a:cubicBezTo>
                <a:cubicBezTo>
                  <a:pt x="1428503" y="1446961"/>
                  <a:pt x="1413810" y="1462198"/>
                  <a:pt x="1398029" y="1463287"/>
                </a:cubicBezTo>
                <a:cubicBezTo>
                  <a:pt x="1384425" y="1464375"/>
                  <a:pt x="1367555" y="1448049"/>
                  <a:pt x="1366467" y="1432813"/>
                </a:cubicBezTo>
                <a:cubicBezTo>
                  <a:pt x="1365923" y="1418120"/>
                  <a:pt x="1382792" y="1400162"/>
                  <a:pt x="1397485" y="1400162"/>
                </a:cubicBezTo>
                <a:close/>
                <a:moveTo>
                  <a:pt x="1561282" y="1399618"/>
                </a:moveTo>
                <a:cubicBezTo>
                  <a:pt x="1575975" y="1399618"/>
                  <a:pt x="1593388" y="1415943"/>
                  <a:pt x="1593388" y="1432269"/>
                </a:cubicBezTo>
                <a:cubicBezTo>
                  <a:pt x="1593388" y="1446961"/>
                  <a:pt x="1578696" y="1464919"/>
                  <a:pt x="1560738" y="1464375"/>
                </a:cubicBezTo>
                <a:cubicBezTo>
                  <a:pt x="1542236" y="1463831"/>
                  <a:pt x="1529176" y="1450226"/>
                  <a:pt x="1528631" y="1432813"/>
                </a:cubicBezTo>
                <a:cubicBezTo>
                  <a:pt x="1528087" y="1414311"/>
                  <a:pt x="1545501" y="1399618"/>
                  <a:pt x="1561282" y="1399618"/>
                </a:cubicBezTo>
                <a:close/>
                <a:moveTo>
                  <a:pt x="1723446" y="1399074"/>
                </a:moveTo>
                <a:cubicBezTo>
                  <a:pt x="1741948" y="1399074"/>
                  <a:pt x="1757185" y="1413767"/>
                  <a:pt x="1757185" y="1432269"/>
                </a:cubicBezTo>
                <a:cubicBezTo>
                  <a:pt x="1757185" y="1451315"/>
                  <a:pt x="1743037" y="1463831"/>
                  <a:pt x="1723991" y="1465464"/>
                </a:cubicBezTo>
                <a:cubicBezTo>
                  <a:pt x="1707121" y="1466552"/>
                  <a:pt x="1690252" y="1448594"/>
                  <a:pt x="1691340" y="1433357"/>
                </a:cubicBezTo>
                <a:cubicBezTo>
                  <a:pt x="1692428" y="1412678"/>
                  <a:pt x="1704400" y="1399074"/>
                  <a:pt x="1723446" y="1399074"/>
                </a:cubicBezTo>
                <a:close/>
                <a:moveTo>
                  <a:pt x="1886700" y="1398530"/>
                </a:moveTo>
                <a:cubicBezTo>
                  <a:pt x="1904113" y="1396898"/>
                  <a:pt x="1922071" y="1415944"/>
                  <a:pt x="1920439" y="1432269"/>
                </a:cubicBezTo>
                <a:cubicBezTo>
                  <a:pt x="1919350" y="1451315"/>
                  <a:pt x="1907378" y="1464920"/>
                  <a:pt x="1887788" y="1464920"/>
                </a:cubicBezTo>
                <a:cubicBezTo>
                  <a:pt x="1867109" y="1464920"/>
                  <a:pt x="1854049" y="1452948"/>
                  <a:pt x="1854049" y="1433358"/>
                </a:cubicBezTo>
                <a:cubicBezTo>
                  <a:pt x="1854049" y="1412679"/>
                  <a:pt x="1867109" y="1400163"/>
                  <a:pt x="1886700" y="1398530"/>
                </a:cubicBezTo>
                <a:close/>
                <a:moveTo>
                  <a:pt x="2051041" y="1398217"/>
                </a:moveTo>
                <a:lnTo>
                  <a:pt x="2051041" y="1464535"/>
                </a:lnTo>
                <a:lnTo>
                  <a:pt x="2049953" y="1464920"/>
                </a:lnTo>
                <a:cubicBezTo>
                  <a:pt x="2032539" y="1467096"/>
                  <a:pt x="2017302" y="1450771"/>
                  <a:pt x="2017302" y="1431725"/>
                </a:cubicBezTo>
                <a:cubicBezTo>
                  <a:pt x="2017302" y="1422746"/>
                  <a:pt x="2021383" y="1414311"/>
                  <a:pt x="2027709" y="1408121"/>
                </a:cubicBezTo>
                <a:close/>
                <a:moveTo>
                  <a:pt x="500139" y="1341936"/>
                </a:moveTo>
                <a:cubicBezTo>
                  <a:pt x="503404" y="1343568"/>
                  <a:pt x="506125" y="1346833"/>
                  <a:pt x="511023" y="1350643"/>
                </a:cubicBezTo>
                <a:cubicBezTo>
                  <a:pt x="506125" y="1354452"/>
                  <a:pt x="502860" y="1357717"/>
                  <a:pt x="499595" y="1358261"/>
                </a:cubicBezTo>
                <a:cubicBezTo>
                  <a:pt x="495241" y="1359349"/>
                  <a:pt x="490888" y="1353908"/>
                  <a:pt x="491432" y="1349010"/>
                </a:cubicBezTo>
                <a:cubicBezTo>
                  <a:pt x="491976" y="1344112"/>
                  <a:pt x="495241" y="1340848"/>
                  <a:pt x="500139" y="1341936"/>
                </a:cubicBezTo>
                <a:close/>
                <a:moveTo>
                  <a:pt x="662848" y="1333773"/>
                </a:moveTo>
                <a:cubicBezTo>
                  <a:pt x="673187" y="1333773"/>
                  <a:pt x="679173" y="1340303"/>
                  <a:pt x="679173" y="1350643"/>
                </a:cubicBezTo>
                <a:cubicBezTo>
                  <a:pt x="679173" y="1359894"/>
                  <a:pt x="672099" y="1366424"/>
                  <a:pt x="662848" y="1366424"/>
                </a:cubicBezTo>
                <a:cubicBezTo>
                  <a:pt x="653053" y="1366424"/>
                  <a:pt x="647067" y="1359894"/>
                  <a:pt x="647067" y="1350098"/>
                </a:cubicBezTo>
                <a:cubicBezTo>
                  <a:pt x="647067" y="1339759"/>
                  <a:pt x="653053" y="1333773"/>
                  <a:pt x="662848" y="1333773"/>
                </a:cubicBezTo>
                <a:close/>
                <a:moveTo>
                  <a:pt x="826645" y="1328331"/>
                </a:moveTo>
                <a:cubicBezTo>
                  <a:pt x="838617" y="1328331"/>
                  <a:pt x="848412" y="1338670"/>
                  <a:pt x="847868" y="1350642"/>
                </a:cubicBezTo>
                <a:cubicBezTo>
                  <a:pt x="847868" y="1362070"/>
                  <a:pt x="836984" y="1372409"/>
                  <a:pt x="825556" y="1372409"/>
                </a:cubicBezTo>
                <a:cubicBezTo>
                  <a:pt x="814673" y="1372409"/>
                  <a:pt x="803789" y="1360982"/>
                  <a:pt x="804334" y="1349554"/>
                </a:cubicBezTo>
                <a:cubicBezTo>
                  <a:pt x="804334" y="1337582"/>
                  <a:pt x="814673" y="1328331"/>
                  <a:pt x="826645" y="1328331"/>
                </a:cubicBezTo>
                <a:close/>
                <a:moveTo>
                  <a:pt x="989353" y="1323978"/>
                </a:moveTo>
                <a:cubicBezTo>
                  <a:pt x="1002957" y="1324522"/>
                  <a:pt x="1014385" y="1334861"/>
                  <a:pt x="1015473" y="1350098"/>
                </a:cubicBezTo>
                <a:cubicBezTo>
                  <a:pt x="1014929" y="1363702"/>
                  <a:pt x="1004046" y="1376219"/>
                  <a:pt x="989353" y="1376763"/>
                </a:cubicBezTo>
                <a:cubicBezTo>
                  <a:pt x="976293" y="1376763"/>
                  <a:pt x="963777" y="1364791"/>
                  <a:pt x="963777" y="1350642"/>
                </a:cubicBezTo>
                <a:cubicBezTo>
                  <a:pt x="963233" y="1334861"/>
                  <a:pt x="977925" y="1323434"/>
                  <a:pt x="989353" y="1323978"/>
                </a:cubicBezTo>
                <a:close/>
                <a:moveTo>
                  <a:pt x="1152606" y="1322889"/>
                </a:moveTo>
                <a:cubicBezTo>
                  <a:pt x="1170564" y="1320712"/>
                  <a:pt x="1180903" y="1335405"/>
                  <a:pt x="1181447" y="1350098"/>
                </a:cubicBezTo>
                <a:cubicBezTo>
                  <a:pt x="1181447" y="1364791"/>
                  <a:pt x="1171108" y="1379483"/>
                  <a:pt x="1152606" y="1379483"/>
                </a:cubicBezTo>
                <a:cubicBezTo>
                  <a:pt x="1137913" y="1379483"/>
                  <a:pt x="1124853" y="1367511"/>
                  <a:pt x="1124853" y="1350642"/>
                </a:cubicBezTo>
                <a:cubicBezTo>
                  <a:pt x="1124309" y="1333228"/>
                  <a:pt x="1137913" y="1320712"/>
                  <a:pt x="1152606" y="1322889"/>
                </a:cubicBezTo>
                <a:close/>
                <a:moveTo>
                  <a:pt x="1315315" y="1318536"/>
                </a:moveTo>
                <a:cubicBezTo>
                  <a:pt x="1334361" y="1318536"/>
                  <a:pt x="1345789" y="1331596"/>
                  <a:pt x="1347966" y="1350098"/>
                </a:cubicBezTo>
                <a:cubicBezTo>
                  <a:pt x="1345245" y="1369144"/>
                  <a:pt x="1334905" y="1382205"/>
                  <a:pt x="1315315" y="1381661"/>
                </a:cubicBezTo>
                <a:cubicBezTo>
                  <a:pt x="1296813" y="1381116"/>
                  <a:pt x="1284841" y="1369144"/>
                  <a:pt x="1284297" y="1350098"/>
                </a:cubicBezTo>
                <a:cubicBezTo>
                  <a:pt x="1284297" y="1331052"/>
                  <a:pt x="1297357" y="1319080"/>
                  <a:pt x="1315315" y="1318536"/>
                </a:cubicBezTo>
                <a:close/>
                <a:moveTo>
                  <a:pt x="1480744" y="1317448"/>
                </a:moveTo>
                <a:cubicBezTo>
                  <a:pt x="1499246" y="1317992"/>
                  <a:pt x="1512851" y="1332140"/>
                  <a:pt x="1512306" y="1351731"/>
                </a:cubicBezTo>
                <a:cubicBezTo>
                  <a:pt x="1511762" y="1370233"/>
                  <a:pt x="1497070" y="1383837"/>
                  <a:pt x="1477479" y="1383293"/>
                </a:cubicBezTo>
                <a:cubicBezTo>
                  <a:pt x="1458977" y="1382749"/>
                  <a:pt x="1447550" y="1368600"/>
                  <a:pt x="1446461" y="1349554"/>
                </a:cubicBezTo>
                <a:cubicBezTo>
                  <a:pt x="1445373" y="1333773"/>
                  <a:pt x="1463331" y="1314727"/>
                  <a:pt x="1480744" y="1317448"/>
                </a:cubicBezTo>
                <a:close/>
                <a:moveTo>
                  <a:pt x="1642908" y="1315815"/>
                </a:moveTo>
                <a:cubicBezTo>
                  <a:pt x="1663043" y="1315815"/>
                  <a:pt x="1677735" y="1333229"/>
                  <a:pt x="1676647" y="1351731"/>
                </a:cubicBezTo>
                <a:cubicBezTo>
                  <a:pt x="1675559" y="1371865"/>
                  <a:pt x="1661954" y="1384381"/>
                  <a:pt x="1640732" y="1383837"/>
                </a:cubicBezTo>
                <a:cubicBezTo>
                  <a:pt x="1620597" y="1384381"/>
                  <a:pt x="1608081" y="1368056"/>
                  <a:pt x="1608081" y="1349554"/>
                </a:cubicBezTo>
                <a:cubicBezTo>
                  <a:pt x="1608081" y="1329964"/>
                  <a:pt x="1623318" y="1315815"/>
                  <a:pt x="1642908" y="1315815"/>
                </a:cubicBezTo>
                <a:close/>
                <a:moveTo>
                  <a:pt x="1968870" y="1314183"/>
                </a:moveTo>
                <a:cubicBezTo>
                  <a:pt x="1989548" y="1314727"/>
                  <a:pt x="2004785" y="1329420"/>
                  <a:pt x="2005329" y="1351187"/>
                </a:cubicBezTo>
                <a:cubicBezTo>
                  <a:pt x="2004785" y="1370233"/>
                  <a:pt x="1985739" y="1388735"/>
                  <a:pt x="1967781" y="1388191"/>
                </a:cubicBezTo>
                <a:cubicBezTo>
                  <a:pt x="1949823" y="1387647"/>
                  <a:pt x="1931322" y="1367512"/>
                  <a:pt x="1931866" y="1350098"/>
                </a:cubicBezTo>
                <a:cubicBezTo>
                  <a:pt x="1932410" y="1331596"/>
                  <a:pt x="1950912" y="1313094"/>
                  <a:pt x="1968870" y="1314183"/>
                </a:cubicBezTo>
                <a:close/>
                <a:moveTo>
                  <a:pt x="1806161" y="1313639"/>
                </a:moveTo>
                <a:cubicBezTo>
                  <a:pt x="1825207" y="1314183"/>
                  <a:pt x="1843165" y="1332141"/>
                  <a:pt x="1841533" y="1351187"/>
                </a:cubicBezTo>
                <a:cubicBezTo>
                  <a:pt x="1840988" y="1360438"/>
                  <a:pt x="1838267" y="1370233"/>
                  <a:pt x="1830105" y="1376763"/>
                </a:cubicBezTo>
                <a:cubicBezTo>
                  <a:pt x="1822486" y="1383293"/>
                  <a:pt x="1813235" y="1387102"/>
                  <a:pt x="1803984" y="1387102"/>
                </a:cubicBezTo>
                <a:cubicBezTo>
                  <a:pt x="1786027" y="1387102"/>
                  <a:pt x="1768613" y="1367512"/>
                  <a:pt x="1768613" y="1350098"/>
                </a:cubicBezTo>
                <a:cubicBezTo>
                  <a:pt x="1769157" y="1331596"/>
                  <a:pt x="1788203" y="1313094"/>
                  <a:pt x="1806161" y="1313639"/>
                </a:cubicBezTo>
                <a:close/>
                <a:moveTo>
                  <a:pt x="419057" y="1262486"/>
                </a:moveTo>
                <a:cubicBezTo>
                  <a:pt x="423410" y="1262486"/>
                  <a:pt x="425587" y="1265207"/>
                  <a:pt x="424499" y="1269016"/>
                </a:cubicBezTo>
                <a:cubicBezTo>
                  <a:pt x="423410" y="1271737"/>
                  <a:pt x="421234" y="1273914"/>
                  <a:pt x="417969" y="1278811"/>
                </a:cubicBezTo>
                <a:cubicBezTo>
                  <a:pt x="414704" y="1273914"/>
                  <a:pt x="412527" y="1271737"/>
                  <a:pt x="411983" y="1269016"/>
                </a:cubicBezTo>
                <a:cubicBezTo>
                  <a:pt x="410894" y="1264118"/>
                  <a:pt x="414159" y="1262486"/>
                  <a:pt x="419057" y="1262486"/>
                </a:cubicBezTo>
                <a:close/>
                <a:moveTo>
                  <a:pt x="581221" y="1252147"/>
                </a:moveTo>
                <a:cubicBezTo>
                  <a:pt x="591016" y="1252691"/>
                  <a:pt x="598091" y="1260310"/>
                  <a:pt x="597547" y="1269017"/>
                </a:cubicBezTo>
                <a:cubicBezTo>
                  <a:pt x="597547" y="1278268"/>
                  <a:pt x="589928" y="1284798"/>
                  <a:pt x="580133" y="1284254"/>
                </a:cubicBezTo>
                <a:cubicBezTo>
                  <a:pt x="570882" y="1283709"/>
                  <a:pt x="564896" y="1277179"/>
                  <a:pt x="564896" y="1268472"/>
                </a:cubicBezTo>
                <a:cubicBezTo>
                  <a:pt x="564896" y="1259222"/>
                  <a:pt x="571970" y="1252147"/>
                  <a:pt x="581221" y="1252147"/>
                </a:cubicBezTo>
                <a:close/>
                <a:moveTo>
                  <a:pt x="745018" y="1246705"/>
                </a:moveTo>
                <a:cubicBezTo>
                  <a:pt x="757534" y="1246705"/>
                  <a:pt x="766785" y="1257044"/>
                  <a:pt x="766241" y="1269560"/>
                </a:cubicBezTo>
                <a:cubicBezTo>
                  <a:pt x="765697" y="1280988"/>
                  <a:pt x="755358" y="1290783"/>
                  <a:pt x="744474" y="1290783"/>
                </a:cubicBezTo>
                <a:cubicBezTo>
                  <a:pt x="733046" y="1290783"/>
                  <a:pt x="722707" y="1279900"/>
                  <a:pt x="722707" y="1267928"/>
                </a:cubicBezTo>
                <a:cubicBezTo>
                  <a:pt x="722707" y="1255956"/>
                  <a:pt x="733046" y="1246705"/>
                  <a:pt x="745018" y="1246705"/>
                </a:cubicBezTo>
                <a:close/>
                <a:moveTo>
                  <a:pt x="907727" y="1241807"/>
                </a:moveTo>
                <a:cubicBezTo>
                  <a:pt x="921331" y="1241807"/>
                  <a:pt x="934391" y="1257044"/>
                  <a:pt x="933847" y="1269016"/>
                </a:cubicBezTo>
                <a:cubicBezTo>
                  <a:pt x="933847" y="1282620"/>
                  <a:pt x="920787" y="1295680"/>
                  <a:pt x="907183" y="1295136"/>
                </a:cubicBezTo>
                <a:cubicBezTo>
                  <a:pt x="893578" y="1294592"/>
                  <a:pt x="880518" y="1280988"/>
                  <a:pt x="880518" y="1267927"/>
                </a:cubicBezTo>
                <a:cubicBezTo>
                  <a:pt x="881062" y="1254323"/>
                  <a:pt x="894122" y="1242351"/>
                  <a:pt x="907727" y="1241807"/>
                </a:cubicBezTo>
                <a:close/>
                <a:moveTo>
                  <a:pt x="1070979" y="1240719"/>
                </a:moveTo>
                <a:cubicBezTo>
                  <a:pt x="1091114" y="1240175"/>
                  <a:pt x="1099276" y="1252691"/>
                  <a:pt x="1099821" y="1268472"/>
                </a:cubicBezTo>
                <a:cubicBezTo>
                  <a:pt x="1099821" y="1285886"/>
                  <a:pt x="1088393" y="1297858"/>
                  <a:pt x="1070435" y="1297858"/>
                </a:cubicBezTo>
                <a:cubicBezTo>
                  <a:pt x="1053566" y="1297858"/>
                  <a:pt x="1042138" y="1286430"/>
                  <a:pt x="1042138" y="1269560"/>
                </a:cubicBezTo>
                <a:cubicBezTo>
                  <a:pt x="1042138" y="1250514"/>
                  <a:pt x="1053566" y="1240719"/>
                  <a:pt x="1070979" y="1240719"/>
                </a:cubicBezTo>
                <a:close/>
                <a:moveTo>
                  <a:pt x="1234233" y="1235821"/>
                </a:moveTo>
                <a:cubicBezTo>
                  <a:pt x="1250558" y="1235821"/>
                  <a:pt x="1267972" y="1252691"/>
                  <a:pt x="1266883" y="1269016"/>
                </a:cubicBezTo>
                <a:cubicBezTo>
                  <a:pt x="1266339" y="1285885"/>
                  <a:pt x="1251646" y="1301122"/>
                  <a:pt x="1234233" y="1300578"/>
                </a:cubicBezTo>
                <a:cubicBezTo>
                  <a:pt x="1216275" y="1300578"/>
                  <a:pt x="1201582" y="1286430"/>
                  <a:pt x="1201582" y="1267383"/>
                </a:cubicBezTo>
                <a:cubicBezTo>
                  <a:pt x="1201582" y="1249425"/>
                  <a:pt x="1217907" y="1235821"/>
                  <a:pt x="1234233" y="1235821"/>
                </a:cubicBezTo>
                <a:close/>
                <a:moveTo>
                  <a:pt x="1396397" y="1234733"/>
                </a:moveTo>
                <a:cubicBezTo>
                  <a:pt x="1413810" y="1233645"/>
                  <a:pt x="1433945" y="1250514"/>
                  <a:pt x="1431224" y="1268472"/>
                </a:cubicBezTo>
                <a:cubicBezTo>
                  <a:pt x="1433401" y="1286430"/>
                  <a:pt x="1415443" y="1303299"/>
                  <a:pt x="1396941" y="1302755"/>
                </a:cubicBezTo>
                <a:cubicBezTo>
                  <a:pt x="1381160" y="1302211"/>
                  <a:pt x="1363202" y="1290783"/>
                  <a:pt x="1363746" y="1269016"/>
                </a:cubicBezTo>
                <a:cubicBezTo>
                  <a:pt x="1364290" y="1248881"/>
                  <a:pt x="1376806" y="1235821"/>
                  <a:pt x="1396397" y="1234733"/>
                </a:cubicBezTo>
                <a:close/>
                <a:moveTo>
                  <a:pt x="1559649" y="1232557"/>
                </a:moveTo>
                <a:cubicBezTo>
                  <a:pt x="1580328" y="1232013"/>
                  <a:pt x="1595021" y="1246705"/>
                  <a:pt x="1597742" y="1268472"/>
                </a:cubicBezTo>
                <a:cubicBezTo>
                  <a:pt x="1598286" y="1286974"/>
                  <a:pt x="1580872" y="1304932"/>
                  <a:pt x="1561826" y="1305476"/>
                </a:cubicBezTo>
                <a:cubicBezTo>
                  <a:pt x="1543868" y="1306564"/>
                  <a:pt x="1524822" y="1288063"/>
                  <a:pt x="1523734" y="1269561"/>
                </a:cubicBezTo>
                <a:cubicBezTo>
                  <a:pt x="1522645" y="1252147"/>
                  <a:pt x="1541147" y="1232557"/>
                  <a:pt x="1559649" y="1232557"/>
                </a:cubicBezTo>
                <a:close/>
                <a:moveTo>
                  <a:pt x="1723990" y="1231468"/>
                </a:moveTo>
                <a:cubicBezTo>
                  <a:pt x="1743037" y="1231468"/>
                  <a:pt x="1761539" y="1249426"/>
                  <a:pt x="1762083" y="1268472"/>
                </a:cubicBezTo>
                <a:cubicBezTo>
                  <a:pt x="1762627" y="1290239"/>
                  <a:pt x="1741404" y="1306020"/>
                  <a:pt x="1724535" y="1307109"/>
                </a:cubicBezTo>
                <a:cubicBezTo>
                  <a:pt x="1706033" y="1306564"/>
                  <a:pt x="1687531" y="1290239"/>
                  <a:pt x="1686442" y="1270105"/>
                </a:cubicBezTo>
                <a:cubicBezTo>
                  <a:pt x="1685354" y="1254323"/>
                  <a:pt x="1701679" y="1231468"/>
                  <a:pt x="1723990" y="1231468"/>
                </a:cubicBezTo>
                <a:close/>
                <a:moveTo>
                  <a:pt x="1888332" y="1230924"/>
                </a:moveTo>
                <a:cubicBezTo>
                  <a:pt x="1905745" y="1229836"/>
                  <a:pt x="1928056" y="1250514"/>
                  <a:pt x="1925336" y="1269561"/>
                </a:cubicBezTo>
                <a:cubicBezTo>
                  <a:pt x="1925336" y="1289695"/>
                  <a:pt x="1907378" y="1306564"/>
                  <a:pt x="1887243" y="1307653"/>
                </a:cubicBezTo>
                <a:cubicBezTo>
                  <a:pt x="1870918" y="1308197"/>
                  <a:pt x="1847519" y="1288063"/>
                  <a:pt x="1849151" y="1267928"/>
                </a:cubicBezTo>
                <a:cubicBezTo>
                  <a:pt x="1850239" y="1247794"/>
                  <a:pt x="1867653" y="1231468"/>
                  <a:pt x="1888332" y="1230924"/>
                </a:cubicBezTo>
                <a:close/>
                <a:moveTo>
                  <a:pt x="2049952" y="1230380"/>
                </a:moveTo>
                <a:lnTo>
                  <a:pt x="2051041" y="1230805"/>
                </a:lnTo>
                <a:lnTo>
                  <a:pt x="2051041" y="1307109"/>
                </a:lnTo>
                <a:cubicBezTo>
                  <a:pt x="2033627" y="1309830"/>
                  <a:pt x="2011316" y="1286974"/>
                  <a:pt x="2012404" y="1268472"/>
                </a:cubicBezTo>
                <a:cubicBezTo>
                  <a:pt x="2013493" y="1247794"/>
                  <a:pt x="2029274" y="1230380"/>
                  <a:pt x="2049952" y="1230380"/>
                </a:cubicBezTo>
                <a:close/>
                <a:moveTo>
                  <a:pt x="337431" y="1181404"/>
                </a:moveTo>
                <a:cubicBezTo>
                  <a:pt x="339608" y="1182493"/>
                  <a:pt x="341240" y="1184669"/>
                  <a:pt x="345050" y="1187934"/>
                </a:cubicBezTo>
                <a:cubicBezTo>
                  <a:pt x="340696" y="1190111"/>
                  <a:pt x="338519" y="1192288"/>
                  <a:pt x="336343" y="1192288"/>
                </a:cubicBezTo>
                <a:cubicBezTo>
                  <a:pt x="331445" y="1192832"/>
                  <a:pt x="330901" y="1189567"/>
                  <a:pt x="330901" y="1185758"/>
                </a:cubicBezTo>
                <a:cubicBezTo>
                  <a:pt x="330901" y="1181404"/>
                  <a:pt x="334166" y="1180860"/>
                  <a:pt x="337431" y="1181404"/>
                </a:cubicBezTo>
                <a:close/>
                <a:moveTo>
                  <a:pt x="499051" y="1171065"/>
                </a:moveTo>
                <a:cubicBezTo>
                  <a:pt x="506125" y="1170521"/>
                  <a:pt x="516465" y="1179772"/>
                  <a:pt x="516465" y="1187390"/>
                </a:cubicBezTo>
                <a:cubicBezTo>
                  <a:pt x="515921" y="1193920"/>
                  <a:pt x="507214" y="1202627"/>
                  <a:pt x="500140" y="1202627"/>
                </a:cubicBezTo>
                <a:cubicBezTo>
                  <a:pt x="493065" y="1202627"/>
                  <a:pt x="484358" y="1195008"/>
                  <a:pt x="483814" y="1187390"/>
                </a:cubicBezTo>
                <a:cubicBezTo>
                  <a:pt x="483270" y="1180316"/>
                  <a:pt x="491977" y="1171065"/>
                  <a:pt x="499051" y="1171065"/>
                </a:cubicBezTo>
                <a:close/>
                <a:moveTo>
                  <a:pt x="662848" y="1165623"/>
                </a:moveTo>
                <a:cubicBezTo>
                  <a:pt x="675364" y="1165623"/>
                  <a:pt x="684615" y="1174874"/>
                  <a:pt x="684615" y="1187390"/>
                </a:cubicBezTo>
                <a:cubicBezTo>
                  <a:pt x="684615" y="1199362"/>
                  <a:pt x="674820" y="1209157"/>
                  <a:pt x="662848" y="1209157"/>
                </a:cubicBezTo>
                <a:cubicBezTo>
                  <a:pt x="651420" y="1209157"/>
                  <a:pt x="641081" y="1198274"/>
                  <a:pt x="641081" y="1186846"/>
                </a:cubicBezTo>
                <a:cubicBezTo>
                  <a:pt x="641081" y="1175418"/>
                  <a:pt x="651420" y="1165623"/>
                  <a:pt x="662848" y="1165623"/>
                </a:cubicBezTo>
                <a:close/>
                <a:moveTo>
                  <a:pt x="825556" y="1160725"/>
                </a:moveTo>
                <a:cubicBezTo>
                  <a:pt x="840249" y="1161270"/>
                  <a:pt x="851677" y="1171609"/>
                  <a:pt x="852765" y="1186846"/>
                </a:cubicBezTo>
                <a:cubicBezTo>
                  <a:pt x="853309" y="1199906"/>
                  <a:pt x="840249" y="1213511"/>
                  <a:pt x="826645" y="1213511"/>
                </a:cubicBezTo>
                <a:cubicBezTo>
                  <a:pt x="813585" y="1214055"/>
                  <a:pt x="799980" y="1200995"/>
                  <a:pt x="798892" y="1188479"/>
                </a:cubicBezTo>
                <a:cubicBezTo>
                  <a:pt x="797803" y="1173241"/>
                  <a:pt x="814129" y="1160181"/>
                  <a:pt x="825556" y="1160725"/>
                </a:cubicBezTo>
                <a:close/>
                <a:moveTo>
                  <a:pt x="989353" y="1158004"/>
                </a:moveTo>
                <a:cubicBezTo>
                  <a:pt x="1007855" y="1159092"/>
                  <a:pt x="1018739" y="1168888"/>
                  <a:pt x="1018195" y="1187934"/>
                </a:cubicBezTo>
                <a:cubicBezTo>
                  <a:pt x="1017651" y="1206436"/>
                  <a:pt x="1007311" y="1216231"/>
                  <a:pt x="988809" y="1216775"/>
                </a:cubicBezTo>
                <a:cubicBezTo>
                  <a:pt x="972484" y="1217319"/>
                  <a:pt x="960512" y="1203715"/>
                  <a:pt x="959968" y="1187934"/>
                </a:cubicBezTo>
                <a:cubicBezTo>
                  <a:pt x="959968" y="1170520"/>
                  <a:pt x="972484" y="1158004"/>
                  <a:pt x="989353" y="1158004"/>
                </a:cubicBezTo>
                <a:close/>
                <a:moveTo>
                  <a:pt x="1152062" y="1153651"/>
                </a:moveTo>
                <a:cubicBezTo>
                  <a:pt x="1166755" y="1152562"/>
                  <a:pt x="1186345" y="1171065"/>
                  <a:pt x="1185801" y="1186301"/>
                </a:cubicBezTo>
                <a:cubicBezTo>
                  <a:pt x="1184713" y="1205348"/>
                  <a:pt x="1171652" y="1218952"/>
                  <a:pt x="1153150" y="1219496"/>
                </a:cubicBezTo>
                <a:cubicBezTo>
                  <a:pt x="1135193" y="1221129"/>
                  <a:pt x="1119412" y="1204259"/>
                  <a:pt x="1119956" y="1187390"/>
                </a:cubicBezTo>
                <a:cubicBezTo>
                  <a:pt x="1120500" y="1168888"/>
                  <a:pt x="1134648" y="1154739"/>
                  <a:pt x="1152062" y="1153651"/>
                </a:cubicBezTo>
                <a:close/>
                <a:moveTo>
                  <a:pt x="1315315" y="1152018"/>
                </a:moveTo>
                <a:cubicBezTo>
                  <a:pt x="1336537" y="1151474"/>
                  <a:pt x="1351230" y="1169432"/>
                  <a:pt x="1351230" y="1186845"/>
                </a:cubicBezTo>
                <a:cubicBezTo>
                  <a:pt x="1350686" y="1205891"/>
                  <a:pt x="1338714" y="1222217"/>
                  <a:pt x="1315859" y="1221673"/>
                </a:cubicBezTo>
                <a:cubicBezTo>
                  <a:pt x="1294092" y="1221128"/>
                  <a:pt x="1282120" y="1209157"/>
                  <a:pt x="1281576" y="1187390"/>
                </a:cubicBezTo>
                <a:cubicBezTo>
                  <a:pt x="1281031" y="1167255"/>
                  <a:pt x="1295724" y="1152562"/>
                  <a:pt x="1315315" y="1152018"/>
                </a:cubicBezTo>
                <a:close/>
                <a:moveTo>
                  <a:pt x="1479656" y="1149298"/>
                </a:moveTo>
                <a:cubicBezTo>
                  <a:pt x="1500878" y="1149842"/>
                  <a:pt x="1517204" y="1168888"/>
                  <a:pt x="1516660" y="1188479"/>
                </a:cubicBezTo>
                <a:cubicBezTo>
                  <a:pt x="1515027" y="1210246"/>
                  <a:pt x="1495981" y="1224938"/>
                  <a:pt x="1478023" y="1224394"/>
                </a:cubicBezTo>
                <a:cubicBezTo>
                  <a:pt x="1457889" y="1223850"/>
                  <a:pt x="1439931" y="1205892"/>
                  <a:pt x="1441563" y="1185758"/>
                </a:cubicBezTo>
                <a:cubicBezTo>
                  <a:pt x="1442652" y="1166167"/>
                  <a:pt x="1458977" y="1149298"/>
                  <a:pt x="1479656" y="1149298"/>
                </a:cubicBezTo>
                <a:close/>
                <a:moveTo>
                  <a:pt x="1642365" y="1148209"/>
                </a:moveTo>
                <a:cubicBezTo>
                  <a:pt x="1659779" y="1147121"/>
                  <a:pt x="1681001" y="1166711"/>
                  <a:pt x="1681001" y="1187390"/>
                </a:cubicBezTo>
                <a:cubicBezTo>
                  <a:pt x="1681001" y="1208613"/>
                  <a:pt x="1658690" y="1226026"/>
                  <a:pt x="1641821" y="1226026"/>
                </a:cubicBezTo>
                <a:cubicBezTo>
                  <a:pt x="1624407" y="1226026"/>
                  <a:pt x="1601007" y="1205348"/>
                  <a:pt x="1603728" y="1186846"/>
                </a:cubicBezTo>
                <a:cubicBezTo>
                  <a:pt x="1603728" y="1165623"/>
                  <a:pt x="1621686" y="1149298"/>
                  <a:pt x="1642365" y="1148209"/>
                </a:cubicBezTo>
                <a:close/>
                <a:moveTo>
                  <a:pt x="1969414" y="1147665"/>
                </a:moveTo>
                <a:cubicBezTo>
                  <a:pt x="1991725" y="1146032"/>
                  <a:pt x="2009139" y="1165623"/>
                  <a:pt x="2009139" y="1187934"/>
                </a:cubicBezTo>
                <a:cubicBezTo>
                  <a:pt x="2008595" y="1209157"/>
                  <a:pt x="1990093" y="1227114"/>
                  <a:pt x="1968870" y="1227114"/>
                </a:cubicBezTo>
                <a:cubicBezTo>
                  <a:pt x="1949824" y="1227114"/>
                  <a:pt x="1928601" y="1209701"/>
                  <a:pt x="1929145" y="1186301"/>
                </a:cubicBezTo>
                <a:cubicBezTo>
                  <a:pt x="1929145" y="1165623"/>
                  <a:pt x="1948191" y="1145488"/>
                  <a:pt x="1969414" y="1147665"/>
                </a:cubicBezTo>
                <a:close/>
                <a:moveTo>
                  <a:pt x="1805617" y="1147665"/>
                </a:moveTo>
                <a:cubicBezTo>
                  <a:pt x="1825752" y="1147665"/>
                  <a:pt x="1845342" y="1165078"/>
                  <a:pt x="1844798" y="1187934"/>
                </a:cubicBezTo>
                <a:cubicBezTo>
                  <a:pt x="1844254" y="1208612"/>
                  <a:pt x="1824664" y="1227115"/>
                  <a:pt x="1805073" y="1226571"/>
                </a:cubicBezTo>
                <a:cubicBezTo>
                  <a:pt x="1787115" y="1226571"/>
                  <a:pt x="1764260" y="1209701"/>
                  <a:pt x="1766981" y="1186845"/>
                </a:cubicBezTo>
                <a:cubicBezTo>
                  <a:pt x="1764804" y="1165623"/>
                  <a:pt x="1786027" y="1147665"/>
                  <a:pt x="1805617" y="1147665"/>
                </a:cubicBezTo>
                <a:close/>
                <a:moveTo>
                  <a:pt x="417425" y="1090527"/>
                </a:moveTo>
                <a:cubicBezTo>
                  <a:pt x="423955" y="1090527"/>
                  <a:pt x="433206" y="1099234"/>
                  <a:pt x="432662" y="1105764"/>
                </a:cubicBezTo>
                <a:cubicBezTo>
                  <a:pt x="432662" y="1111206"/>
                  <a:pt x="423955" y="1119912"/>
                  <a:pt x="417969" y="1120457"/>
                </a:cubicBezTo>
                <a:cubicBezTo>
                  <a:pt x="411439" y="1121001"/>
                  <a:pt x="402188" y="1111750"/>
                  <a:pt x="402732" y="1105219"/>
                </a:cubicBezTo>
                <a:cubicBezTo>
                  <a:pt x="402732" y="1099234"/>
                  <a:pt x="411439" y="1090527"/>
                  <a:pt x="417425" y="1090527"/>
                </a:cubicBezTo>
                <a:close/>
                <a:moveTo>
                  <a:pt x="580677" y="1083996"/>
                </a:moveTo>
                <a:cubicBezTo>
                  <a:pt x="592105" y="1083996"/>
                  <a:pt x="601900" y="1093791"/>
                  <a:pt x="602444" y="1105219"/>
                </a:cubicBezTo>
                <a:cubicBezTo>
                  <a:pt x="602988" y="1116647"/>
                  <a:pt x="593193" y="1126986"/>
                  <a:pt x="581221" y="1127530"/>
                </a:cubicBezTo>
                <a:cubicBezTo>
                  <a:pt x="570338" y="1127530"/>
                  <a:pt x="558910" y="1116102"/>
                  <a:pt x="558910" y="1105219"/>
                </a:cubicBezTo>
                <a:cubicBezTo>
                  <a:pt x="558910" y="1094880"/>
                  <a:pt x="570338" y="1083996"/>
                  <a:pt x="580677" y="1083996"/>
                </a:cubicBezTo>
                <a:close/>
                <a:moveTo>
                  <a:pt x="743386" y="1079099"/>
                </a:moveTo>
                <a:cubicBezTo>
                  <a:pt x="756991" y="1079099"/>
                  <a:pt x="769507" y="1088894"/>
                  <a:pt x="770595" y="1105219"/>
                </a:cubicBezTo>
                <a:cubicBezTo>
                  <a:pt x="771683" y="1116103"/>
                  <a:pt x="760800" y="1131340"/>
                  <a:pt x="745019" y="1132428"/>
                </a:cubicBezTo>
                <a:cubicBezTo>
                  <a:pt x="734135" y="1134061"/>
                  <a:pt x="717810" y="1118280"/>
                  <a:pt x="717810" y="1106308"/>
                </a:cubicBezTo>
                <a:cubicBezTo>
                  <a:pt x="717810" y="1091071"/>
                  <a:pt x="731414" y="1079099"/>
                  <a:pt x="743386" y="1079099"/>
                </a:cubicBezTo>
                <a:close/>
                <a:moveTo>
                  <a:pt x="907727" y="1076378"/>
                </a:moveTo>
                <a:cubicBezTo>
                  <a:pt x="926773" y="1076378"/>
                  <a:pt x="937112" y="1087262"/>
                  <a:pt x="937112" y="1105219"/>
                </a:cubicBezTo>
                <a:cubicBezTo>
                  <a:pt x="937112" y="1121545"/>
                  <a:pt x="928950" y="1134061"/>
                  <a:pt x="908271" y="1134061"/>
                </a:cubicBezTo>
                <a:cubicBezTo>
                  <a:pt x="888681" y="1134605"/>
                  <a:pt x="878341" y="1122633"/>
                  <a:pt x="878885" y="1105764"/>
                </a:cubicBezTo>
                <a:cubicBezTo>
                  <a:pt x="878341" y="1086173"/>
                  <a:pt x="892490" y="1076378"/>
                  <a:pt x="907727" y="1076378"/>
                </a:cubicBezTo>
                <a:close/>
                <a:moveTo>
                  <a:pt x="1071524" y="1072569"/>
                </a:moveTo>
                <a:cubicBezTo>
                  <a:pt x="1089482" y="1072569"/>
                  <a:pt x="1104174" y="1087806"/>
                  <a:pt x="1104174" y="1105220"/>
                </a:cubicBezTo>
                <a:cubicBezTo>
                  <a:pt x="1104174" y="1123722"/>
                  <a:pt x="1090026" y="1137870"/>
                  <a:pt x="1070435" y="1137870"/>
                </a:cubicBezTo>
                <a:cubicBezTo>
                  <a:pt x="1054110" y="1140047"/>
                  <a:pt x="1037241" y="1121545"/>
                  <a:pt x="1038329" y="1105764"/>
                </a:cubicBezTo>
                <a:cubicBezTo>
                  <a:pt x="1039417" y="1086173"/>
                  <a:pt x="1052478" y="1072569"/>
                  <a:pt x="1071524" y="1072569"/>
                </a:cubicBezTo>
                <a:close/>
                <a:moveTo>
                  <a:pt x="1235865" y="1068760"/>
                </a:moveTo>
                <a:cubicBezTo>
                  <a:pt x="1254912" y="1070392"/>
                  <a:pt x="1272325" y="1088894"/>
                  <a:pt x="1271237" y="1106852"/>
                </a:cubicBezTo>
                <a:cubicBezTo>
                  <a:pt x="1270149" y="1124810"/>
                  <a:pt x="1252735" y="1142223"/>
                  <a:pt x="1234777" y="1142223"/>
                </a:cubicBezTo>
                <a:cubicBezTo>
                  <a:pt x="1215187" y="1142223"/>
                  <a:pt x="1197773" y="1124265"/>
                  <a:pt x="1198861" y="1105219"/>
                </a:cubicBezTo>
                <a:cubicBezTo>
                  <a:pt x="1199406" y="1085629"/>
                  <a:pt x="1217908" y="1067127"/>
                  <a:pt x="1235865" y="1068760"/>
                </a:cubicBezTo>
                <a:close/>
                <a:moveTo>
                  <a:pt x="1396397" y="1067127"/>
                </a:moveTo>
                <a:cubicBezTo>
                  <a:pt x="1416532" y="1065494"/>
                  <a:pt x="1437755" y="1087806"/>
                  <a:pt x="1435578" y="1105219"/>
                </a:cubicBezTo>
                <a:cubicBezTo>
                  <a:pt x="1437210" y="1125898"/>
                  <a:pt x="1413267" y="1144400"/>
                  <a:pt x="1396941" y="1143856"/>
                </a:cubicBezTo>
                <a:cubicBezTo>
                  <a:pt x="1377895" y="1143856"/>
                  <a:pt x="1358305" y="1122633"/>
                  <a:pt x="1358849" y="1105763"/>
                </a:cubicBezTo>
                <a:cubicBezTo>
                  <a:pt x="1359393" y="1085629"/>
                  <a:pt x="1376807" y="1068759"/>
                  <a:pt x="1396397" y="1067127"/>
                </a:cubicBezTo>
                <a:close/>
                <a:moveTo>
                  <a:pt x="1560738" y="1066582"/>
                </a:moveTo>
                <a:cubicBezTo>
                  <a:pt x="1581961" y="1063862"/>
                  <a:pt x="1599919" y="1083452"/>
                  <a:pt x="1599919" y="1105763"/>
                </a:cubicBezTo>
                <a:cubicBezTo>
                  <a:pt x="1599919" y="1127530"/>
                  <a:pt x="1581417" y="1144400"/>
                  <a:pt x="1560738" y="1144400"/>
                </a:cubicBezTo>
                <a:cubicBezTo>
                  <a:pt x="1538971" y="1144400"/>
                  <a:pt x="1521557" y="1125898"/>
                  <a:pt x="1521013" y="1105763"/>
                </a:cubicBezTo>
                <a:cubicBezTo>
                  <a:pt x="1521013" y="1085629"/>
                  <a:pt x="1538971" y="1063862"/>
                  <a:pt x="1560738" y="1066582"/>
                </a:cubicBezTo>
                <a:close/>
                <a:moveTo>
                  <a:pt x="1723447" y="1064406"/>
                </a:moveTo>
                <a:cubicBezTo>
                  <a:pt x="1744126" y="1063862"/>
                  <a:pt x="1763716" y="1076378"/>
                  <a:pt x="1764260" y="1104675"/>
                </a:cubicBezTo>
                <a:cubicBezTo>
                  <a:pt x="1764804" y="1130796"/>
                  <a:pt x="1745758" y="1145488"/>
                  <a:pt x="1724535" y="1146032"/>
                </a:cubicBezTo>
                <a:cubicBezTo>
                  <a:pt x="1703313" y="1147121"/>
                  <a:pt x="1683722" y="1130796"/>
                  <a:pt x="1683178" y="1105764"/>
                </a:cubicBezTo>
                <a:cubicBezTo>
                  <a:pt x="1684266" y="1082364"/>
                  <a:pt x="1698415" y="1064950"/>
                  <a:pt x="1723447" y="1064406"/>
                </a:cubicBezTo>
                <a:close/>
                <a:moveTo>
                  <a:pt x="2051041" y="1063318"/>
                </a:moveTo>
                <a:lnTo>
                  <a:pt x="2051041" y="1147740"/>
                </a:lnTo>
                <a:lnTo>
                  <a:pt x="2049952" y="1148210"/>
                </a:lnTo>
                <a:cubicBezTo>
                  <a:pt x="2028730" y="1147121"/>
                  <a:pt x="2008051" y="1128619"/>
                  <a:pt x="2008051" y="1105764"/>
                </a:cubicBezTo>
                <a:cubicBezTo>
                  <a:pt x="2008595" y="1081276"/>
                  <a:pt x="2027641" y="1063862"/>
                  <a:pt x="2051041" y="1063318"/>
                </a:cubicBezTo>
                <a:close/>
                <a:moveTo>
                  <a:pt x="1887787" y="1062773"/>
                </a:moveTo>
                <a:cubicBezTo>
                  <a:pt x="1909554" y="1063862"/>
                  <a:pt x="1930233" y="1084540"/>
                  <a:pt x="1929145" y="1105763"/>
                </a:cubicBezTo>
                <a:cubicBezTo>
                  <a:pt x="1928056" y="1130251"/>
                  <a:pt x="1908466" y="1147121"/>
                  <a:pt x="1886699" y="1147665"/>
                </a:cubicBezTo>
                <a:cubicBezTo>
                  <a:pt x="1862755" y="1145488"/>
                  <a:pt x="1845886" y="1127530"/>
                  <a:pt x="1844798" y="1105219"/>
                </a:cubicBezTo>
                <a:cubicBezTo>
                  <a:pt x="1844253" y="1083996"/>
                  <a:pt x="1867109" y="1061685"/>
                  <a:pt x="1887787" y="1062773"/>
                </a:cubicBezTo>
                <a:close/>
                <a:moveTo>
                  <a:pt x="335798" y="1011621"/>
                </a:moveTo>
                <a:cubicBezTo>
                  <a:pt x="343960" y="1011621"/>
                  <a:pt x="347770" y="1014886"/>
                  <a:pt x="348314" y="1023049"/>
                </a:cubicBezTo>
                <a:cubicBezTo>
                  <a:pt x="348314" y="1031755"/>
                  <a:pt x="344505" y="1036109"/>
                  <a:pt x="336886" y="1036109"/>
                </a:cubicBezTo>
                <a:cubicBezTo>
                  <a:pt x="329268" y="1036109"/>
                  <a:pt x="324914" y="1032300"/>
                  <a:pt x="324370" y="1024681"/>
                </a:cubicBezTo>
                <a:cubicBezTo>
                  <a:pt x="323826" y="1015974"/>
                  <a:pt x="327635" y="1011621"/>
                  <a:pt x="335798" y="1011621"/>
                </a:cubicBezTo>
                <a:close/>
                <a:moveTo>
                  <a:pt x="499051" y="1002914"/>
                </a:moveTo>
                <a:cubicBezTo>
                  <a:pt x="508846" y="1002370"/>
                  <a:pt x="520818" y="1014342"/>
                  <a:pt x="520818" y="1024137"/>
                </a:cubicBezTo>
                <a:cubicBezTo>
                  <a:pt x="520818" y="1032844"/>
                  <a:pt x="508846" y="1045360"/>
                  <a:pt x="499595" y="1045360"/>
                </a:cubicBezTo>
                <a:cubicBezTo>
                  <a:pt x="490888" y="1045360"/>
                  <a:pt x="478372" y="1032844"/>
                  <a:pt x="478372" y="1024137"/>
                </a:cubicBezTo>
                <a:cubicBezTo>
                  <a:pt x="478372" y="1014886"/>
                  <a:pt x="489800" y="1002914"/>
                  <a:pt x="499051" y="1002914"/>
                </a:cubicBezTo>
                <a:close/>
                <a:moveTo>
                  <a:pt x="663392" y="997473"/>
                </a:moveTo>
                <a:cubicBezTo>
                  <a:pt x="675908" y="998561"/>
                  <a:pt x="688968" y="1011622"/>
                  <a:pt x="688424" y="1024138"/>
                </a:cubicBezTo>
                <a:cubicBezTo>
                  <a:pt x="687880" y="1039374"/>
                  <a:pt x="676452" y="1050802"/>
                  <a:pt x="661759" y="1050258"/>
                </a:cubicBezTo>
                <a:cubicBezTo>
                  <a:pt x="647066" y="1049170"/>
                  <a:pt x="637271" y="1036109"/>
                  <a:pt x="636727" y="1023593"/>
                </a:cubicBezTo>
                <a:cubicBezTo>
                  <a:pt x="637271" y="1010533"/>
                  <a:pt x="651420" y="996929"/>
                  <a:pt x="663392" y="997473"/>
                </a:cubicBezTo>
                <a:close/>
                <a:moveTo>
                  <a:pt x="826645" y="995840"/>
                </a:moveTo>
                <a:cubicBezTo>
                  <a:pt x="845147" y="995296"/>
                  <a:pt x="855486" y="1007267"/>
                  <a:pt x="854942" y="1024137"/>
                </a:cubicBezTo>
                <a:cubicBezTo>
                  <a:pt x="855486" y="1039374"/>
                  <a:pt x="845147" y="1052978"/>
                  <a:pt x="825557" y="1052978"/>
                </a:cubicBezTo>
                <a:cubicBezTo>
                  <a:pt x="808143" y="1052434"/>
                  <a:pt x="796715" y="1041006"/>
                  <a:pt x="797260" y="1023593"/>
                </a:cubicBezTo>
                <a:cubicBezTo>
                  <a:pt x="797260" y="1005635"/>
                  <a:pt x="808687" y="995840"/>
                  <a:pt x="826645" y="995840"/>
                </a:cubicBezTo>
                <a:close/>
                <a:moveTo>
                  <a:pt x="990441" y="990942"/>
                </a:moveTo>
                <a:cubicBezTo>
                  <a:pt x="1008943" y="990942"/>
                  <a:pt x="1023092" y="1006179"/>
                  <a:pt x="1022548" y="1025225"/>
                </a:cubicBezTo>
                <a:cubicBezTo>
                  <a:pt x="1022004" y="1043183"/>
                  <a:pt x="1007311" y="1056243"/>
                  <a:pt x="988809" y="1056787"/>
                </a:cubicBezTo>
                <a:cubicBezTo>
                  <a:pt x="973028" y="1057332"/>
                  <a:pt x="956702" y="1041551"/>
                  <a:pt x="956702" y="1023593"/>
                </a:cubicBezTo>
                <a:cubicBezTo>
                  <a:pt x="956158" y="1006723"/>
                  <a:pt x="973572" y="988221"/>
                  <a:pt x="990441" y="990942"/>
                </a:cubicBezTo>
                <a:close/>
                <a:moveTo>
                  <a:pt x="1150974" y="987678"/>
                </a:moveTo>
                <a:cubicBezTo>
                  <a:pt x="1170020" y="986045"/>
                  <a:pt x="1189066" y="1004547"/>
                  <a:pt x="1189610" y="1023593"/>
                </a:cubicBezTo>
                <a:cubicBezTo>
                  <a:pt x="1190154" y="1042095"/>
                  <a:pt x="1170564" y="1061685"/>
                  <a:pt x="1152062" y="1061685"/>
                </a:cubicBezTo>
                <a:cubicBezTo>
                  <a:pt x="1134104" y="1061685"/>
                  <a:pt x="1115602" y="1042639"/>
                  <a:pt x="1115058" y="1024682"/>
                </a:cubicBezTo>
                <a:cubicBezTo>
                  <a:pt x="1115058" y="1006724"/>
                  <a:pt x="1133016" y="988222"/>
                  <a:pt x="1150974" y="987678"/>
                </a:cubicBezTo>
                <a:close/>
                <a:moveTo>
                  <a:pt x="1315314" y="985501"/>
                </a:moveTo>
                <a:cubicBezTo>
                  <a:pt x="1335993" y="983868"/>
                  <a:pt x="1354495" y="1005635"/>
                  <a:pt x="1354495" y="1023593"/>
                </a:cubicBezTo>
                <a:cubicBezTo>
                  <a:pt x="1355039" y="1042639"/>
                  <a:pt x="1333816" y="1065495"/>
                  <a:pt x="1315858" y="1062230"/>
                </a:cubicBezTo>
                <a:cubicBezTo>
                  <a:pt x="1294636" y="1062230"/>
                  <a:pt x="1277222" y="1045360"/>
                  <a:pt x="1277222" y="1024137"/>
                </a:cubicBezTo>
                <a:cubicBezTo>
                  <a:pt x="1277222" y="1002914"/>
                  <a:pt x="1294091" y="986589"/>
                  <a:pt x="1315314" y="985501"/>
                </a:cubicBezTo>
                <a:close/>
                <a:moveTo>
                  <a:pt x="1479656" y="984412"/>
                </a:moveTo>
                <a:cubicBezTo>
                  <a:pt x="1503055" y="984412"/>
                  <a:pt x="1519925" y="1000737"/>
                  <a:pt x="1519380" y="1025225"/>
                </a:cubicBezTo>
                <a:cubicBezTo>
                  <a:pt x="1518836" y="1045904"/>
                  <a:pt x="1502511" y="1065494"/>
                  <a:pt x="1478567" y="1063318"/>
                </a:cubicBezTo>
                <a:cubicBezTo>
                  <a:pt x="1454624" y="1064950"/>
                  <a:pt x="1438842" y="1044816"/>
                  <a:pt x="1439387" y="1023593"/>
                </a:cubicBezTo>
                <a:cubicBezTo>
                  <a:pt x="1439931" y="1000193"/>
                  <a:pt x="1455712" y="983868"/>
                  <a:pt x="1479656" y="984412"/>
                </a:cubicBezTo>
                <a:close/>
                <a:moveTo>
                  <a:pt x="1641820" y="981691"/>
                </a:moveTo>
                <a:cubicBezTo>
                  <a:pt x="1665220" y="981691"/>
                  <a:pt x="1683178" y="999649"/>
                  <a:pt x="1684810" y="1023592"/>
                </a:cubicBezTo>
                <a:cubicBezTo>
                  <a:pt x="1683722" y="1048625"/>
                  <a:pt x="1665220" y="1066038"/>
                  <a:pt x="1642909" y="1066038"/>
                </a:cubicBezTo>
                <a:cubicBezTo>
                  <a:pt x="1618421" y="1066038"/>
                  <a:pt x="1599919" y="1047536"/>
                  <a:pt x="1599919" y="1023592"/>
                </a:cubicBezTo>
                <a:cubicBezTo>
                  <a:pt x="1599919" y="1001281"/>
                  <a:pt x="1616788" y="982235"/>
                  <a:pt x="1641820" y="981691"/>
                </a:cubicBezTo>
                <a:close/>
                <a:moveTo>
                  <a:pt x="1806161" y="980603"/>
                </a:moveTo>
                <a:cubicBezTo>
                  <a:pt x="1829561" y="980603"/>
                  <a:pt x="1848607" y="1000737"/>
                  <a:pt x="1849151" y="1023592"/>
                </a:cubicBezTo>
                <a:cubicBezTo>
                  <a:pt x="1849151" y="1046992"/>
                  <a:pt x="1827928" y="1068215"/>
                  <a:pt x="1805617" y="1067127"/>
                </a:cubicBezTo>
                <a:cubicBezTo>
                  <a:pt x="1781673" y="1068215"/>
                  <a:pt x="1762083" y="1044815"/>
                  <a:pt x="1762083" y="1023592"/>
                </a:cubicBezTo>
                <a:cubicBezTo>
                  <a:pt x="1762083" y="1002370"/>
                  <a:pt x="1781673" y="980058"/>
                  <a:pt x="1806161" y="980603"/>
                </a:cubicBezTo>
                <a:close/>
                <a:moveTo>
                  <a:pt x="1969414" y="980059"/>
                </a:moveTo>
                <a:cubicBezTo>
                  <a:pt x="1993358" y="980603"/>
                  <a:pt x="2012404" y="1001282"/>
                  <a:pt x="2012404" y="1024137"/>
                </a:cubicBezTo>
                <a:cubicBezTo>
                  <a:pt x="2012404" y="1046449"/>
                  <a:pt x="1991726" y="1069304"/>
                  <a:pt x="1968870" y="1067127"/>
                </a:cubicBezTo>
                <a:cubicBezTo>
                  <a:pt x="1946015" y="1068760"/>
                  <a:pt x="1925336" y="1044272"/>
                  <a:pt x="1924792" y="1024137"/>
                </a:cubicBezTo>
                <a:cubicBezTo>
                  <a:pt x="1924792" y="1002914"/>
                  <a:pt x="1944382" y="980059"/>
                  <a:pt x="1969414" y="980059"/>
                </a:cubicBezTo>
                <a:close/>
                <a:moveTo>
                  <a:pt x="254171" y="931083"/>
                </a:moveTo>
                <a:cubicBezTo>
                  <a:pt x="260701" y="931083"/>
                  <a:pt x="265599" y="935437"/>
                  <a:pt x="265599" y="941967"/>
                </a:cubicBezTo>
                <a:cubicBezTo>
                  <a:pt x="265599" y="948497"/>
                  <a:pt x="260701" y="952850"/>
                  <a:pt x="254171" y="952850"/>
                </a:cubicBezTo>
                <a:cubicBezTo>
                  <a:pt x="247641" y="952850"/>
                  <a:pt x="243832" y="948497"/>
                  <a:pt x="243832" y="941967"/>
                </a:cubicBezTo>
                <a:cubicBezTo>
                  <a:pt x="243832" y="935437"/>
                  <a:pt x="247641" y="931627"/>
                  <a:pt x="254171" y="931083"/>
                </a:cubicBezTo>
                <a:close/>
                <a:moveTo>
                  <a:pt x="417968" y="922377"/>
                </a:moveTo>
                <a:cubicBezTo>
                  <a:pt x="427219" y="921833"/>
                  <a:pt x="437559" y="932716"/>
                  <a:pt x="437559" y="942511"/>
                </a:cubicBezTo>
                <a:cubicBezTo>
                  <a:pt x="437559" y="951762"/>
                  <a:pt x="427219" y="961557"/>
                  <a:pt x="417968" y="961557"/>
                </a:cubicBezTo>
                <a:cubicBezTo>
                  <a:pt x="409262" y="961557"/>
                  <a:pt x="397290" y="949585"/>
                  <a:pt x="397834" y="941423"/>
                </a:cubicBezTo>
                <a:cubicBezTo>
                  <a:pt x="398378" y="933260"/>
                  <a:pt x="409806" y="922377"/>
                  <a:pt x="417968" y="922377"/>
                </a:cubicBezTo>
                <a:close/>
                <a:moveTo>
                  <a:pt x="581222" y="916934"/>
                </a:moveTo>
                <a:cubicBezTo>
                  <a:pt x="593738" y="916934"/>
                  <a:pt x="607342" y="931082"/>
                  <a:pt x="606798" y="943054"/>
                </a:cubicBezTo>
                <a:cubicBezTo>
                  <a:pt x="606254" y="955570"/>
                  <a:pt x="593738" y="967542"/>
                  <a:pt x="581222" y="967542"/>
                </a:cubicBezTo>
                <a:cubicBezTo>
                  <a:pt x="567617" y="966454"/>
                  <a:pt x="557278" y="958291"/>
                  <a:pt x="556190" y="943054"/>
                </a:cubicBezTo>
                <a:cubicBezTo>
                  <a:pt x="555101" y="929994"/>
                  <a:pt x="568161" y="916934"/>
                  <a:pt x="581222" y="916934"/>
                </a:cubicBezTo>
                <a:close/>
                <a:moveTo>
                  <a:pt x="744474" y="913669"/>
                </a:moveTo>
                <a:cubicBezTo>
                  <a:pt x="765153" y="913669"/>
                  <a:pt x="773860" y="927273"/>
                  <a:pt x="773315" y="942510"/>
                </a:cubicBezTo>
                <a:cubicBezTo>
                  <a:pt x="772771" y="959924"/>
                  <a:pt x="761344" y="971352"/>
                  <a:pt x="743930" y="970807"/>
                </a:cubicBezTo>
                <a:cubicBezTo>
                  <a:pt x="727061" y="970807"/>
                  <a:pt x="716177" y="959380"/>
                  <a:pt x="716177" y="941966"/>
                </a:cubicBezTo>
                <a:cubicBezTo>
                  <a:pt x="716177" y="923464"/>
                  <a:pt x="727605" y="914213"/>
                  <a:pt x="744474" y="913669"/>
                </a:cubicBezTo>
                <a:close/>
                <a:moveTo>
                  <a:pt x="908271" y="908772"/>
                </a:moveTo>
                <a:cubicBezTo>
                  <a:pt x="927317" y="910405"/>
                  <a:pt x="940922" y="924553"/>
                  <a:pt x="940377" y="944144"/>
                </a:cubicBezTo>
                <a:cubicBezTo>
                  <a:pt x="939833" y="962101"/>
                  <a:pt x="925141" y="975162"/>
                  <a:pt x="906094" y="975162"/>
                </a:cubicBezTo>
                <a:cubicBezTo>
                  <a:pt x="890313" y="975162"/>
                  <a:pt x="873988" y="959925"/>
                  <a:pt x="874532" y="940879"/>
                </a:cubicBezTo>
                <a:cubicBezTo>
                  <a:pt x="874532" y="925641"/>
                  <a:pt x="891402" y="907684"/>
                  <a:pt x="908271" y="908772"/>
                </a:cubicBezTo>
                <a:close/>
                <a:moveTo>
                  <a:pt x="1072068" y="906051"/>
                </a:moveTo>
                <a:cubicBezTo>
                  <a:pt x="1093291" y="907683"/>
                  <a:pt x="1105807" y="921832"/>
                  <a:pt x="1107984" y="942511"/>
                </a:cubicBezTo>
                <a:cubicBezTo>
                  <a:pt x="1107984" y="961013"/>
                  <a:pt x="1088938" y="979515"/>
                  <a:pt x="1070980" y="979515"/>
                </a:cubicBezTo>
                <a:cubicBezTo>
                  <a:pt x="1053022" y="979515"/>
                  <a:pt x="1034520" y="960469"/>
                  <a:pt x="1034520" y="942511"/>
                </a:cubicBezTo>
                <a:cubicBezTo>
                  <a:pt x="1034520" y="923465"/>
                  <a:pt x="1053566" y="904419"/>
                  <a:pt x="1072068" y="906051"/>
                </a:cubicBezTo>
                <a:close/>
                <a:moveTo>
                  <a:pt x="1235321" y="903874"/>
                </a:moveTo>
                <a:cubicBezTo>
                  <a:pt x="1257088" y="903874"/>
                  <a:pt x="1272325" y="920199"/>
                  <a:pt x="1272325" y="943054"/>
                </a:cubicBezTo>
                <a:cubicBezTo>
                  <a:pt x="1275045" y="962645"/>
                  <a:pt x="1251646" y="982779"/>
                  <a:pt x="1233688" y="981147"/>
                </a:cubicBezTo>
                <a:cubicBezTo>
                  <a:pt x="1211921" y="979514"/>
                  <a:pt x="1195052" y="963189"/>
                  <a:pt x="1195596" y="940878"/>
                </a:cubicBezTo>
                <a:cubicBezTo>
                  <a:pt x="1196140" y="919111"/>
                  <a:pt x="1212465" y="903330"/>
                  <a:pt x="1235321" y="903874"/>
                </a:cubicBezTo>
                <a:close/>
                <a:moveTo>
                  <a:pt x="1397486" y="901153"/>
                </a:moveTo>
                <a:cubicBezTo>
                  <a:pt x="1420885" y="901698"/>
                  <a:pt x="1437755" y="917479"/>
                  <a:pt x="1438299" y="942511"/>
                </a:cubicBezTo>
                <a:cubicBezTo>
                  <a:pt x="1437210" y="966999"/>
                  <a:pt x="1420341" y="983324"/>
                  <a:pt x="1396941" y="983324"/>
                </a:cubicBezTo>
                <a:cubicBezTo>
                  <a:pt x="1371909" y="983324"/>
                  <a:pt x="1355584" y="963190"/>
                  <a:pt x="1356128" y="941967"/>
                </a:cubicBezTo>
                <a:cubicBezTo>
                  <a:pt x="1356128" y="919655"/>
                  <a:pt x="1373542" y="900609"/>
                  <a:pt x="1397486" y="901153"/>
                </a:cubicBezTo>
                <a:close/>
                <a:moveTo>
                  <a:pt x="1560738" y="898977"/>
                </a:moveTo>
                <a:cubicBezTo>
                  <a:pt x="1584138" y="899521"/>
                  <a:pt x="1603728" y="917479"/>
                  <a:pt x="1603728" y="942511"/>
                </a:cubicBezTo>
                <a:cubicBezTo>
                  <a:pt x="1603728" y="966999"/>
                  <a:pt x="1581961" y="985501"/>
                  <a:pt x="1560738" y="985501"/>
                </a:cubicBezTo>
                <a:cubicBezTo>
                  <a:pt x="1537883" y="985501"/>
                  <a:pt x="1516660" y="963734"/>
                  <a:pt x="1517204" y="941423"/>
                </a:cubicBezTo>
                <a:cubicBezTo>
                  <a:pt x="1517748" y="919656"/>
                  <a:pt x="1535706" y="898977"/>
                  <a:pt x="1560738" y="898977"/>
                </a:cubicBezTo>
                <a:close/>
                <a:moveTo>
                  <a:pt x="1723990" y="897888"/>
                </a:moveTo>
                <a:cubicBezTo>
                  <a:pt x="1747934" y="897888"/>
                  <a:pt x="1769701" y="919111"/>
                  <a:pt x="1768069" y="942510"/>
                </a:cubicBezTo>
                <a:cubicBezTo>
                  <a:pt x="1770245" y="965366"/>
                  <a:pt x="1746302" y="987133"/>
                  <a:pt x="1723990" y="986589"/>
                </a:cubicBezTo>
                <a:cubicBezTo>
                  <a:pt x="1701679" y="986589"/>
                  <a:pt x="1679912" y="964278"/>
                  <a:pt x="1679912" y="941422"/>
                </a:cubicBezTo>
                <a:cubicBezTo>
                  <a:pt x="1680456" y="919655"/>
                  <a:pt x="1700047" y="897888"/>
                  <a:pt x="1723990" y="897888"/>
                </a:cubicBezTo>
                <a:close/>
                <a:moveTo>
                  <a:pt x="2050497" y="897344"/>
                </a:moveTo>
                <a:lnTo>
                  <a:pt x="2051041" y="897453"/>
                </a:lnTo>
                <a:lnTo>
                  <a:pt x="2051041" y="986917"/>
                </a:lnTo>
                <a:lnTo>
                  <a:pt x="2049952" y="987133"/>
                </a:lnTo>
                <a:cubicBezTo>
                  <a:pt x="2026553" y="987133"/>
                  <a:pt x="2004786" y="965366"/>
                  <a:pt x="2005330" y="941422"/>
                </a:cubicBezTo>
                <a:cubicBezTo>
                  <a:pt x="2005874" y="918023"/>
                  <a:pt x="2026009" y="897344"/>
                  <a:pt x="2050497" y="897344"/>
                </a:cubicBezTo>
                <a:close/>
                <a:moveTo>
                  <a:pt x="1887243" y="897344"/>
                </a:moveTo>
                <a:cubicBezTo>
                  <a:pt x="1910099" y="897344"/>
                  <a:pt x="1931866" y="916390"/>
                  <a:pt x="1931866" y="942511"/>
                </a:cubicBezTo>
                <a:cubicBezTo>
                  <a:pt x="1931866" y="965910"/>
                  <a:pt x="1910099" y="986589"/>
                  <a:pt x="1887243" y="986589"/>
                </a:cubicBezTo>
                <a:cubicBezTo>
                  <a:pt x="1864932" y="987133"/>
                  <a:pt x="1839900" y="965910"/>
                  <a:pt x="1843165" y="941422"/>
                </a:cubicBezTo>
                <a:cubicBezTo>
                  <a:pt x="1840444" y="918567"/>
                  <a:pt x="1863299" y="897344"/>
                  <a:pt x="1887243" y="897344"/>
                </a:cubicBezTo>
                <a:close/>
                <a:moveTo>
                  <a:pt x="172545" y="854354"/>
                </a:moveTo>
                <a:cubicBezTo>
                  <a:pt x="176899" y="854354"/>
                  <a:pt x="179619" y="855442"/>
                  <a:pt x="179619" y="860884"/>
                </a:cubicBezTo>
                <a:cubicBezTo>
                  <a:pt x="180164" y="864693"/>
                  <a:pt x="177987" y="866870"/>
                  <a:pt x="173634" y="866870"/>
                </a:cubicBezTo>
                <a:cubicBezTo>
                  <a:pt x="169824" y="866870"/>
                  <a:pt x="166559" y="866870"/>
                  <a:pt x="166015" y="861973"/>
                </a:cubicBezTo>
                <a:cubicBezTo>
                  <a:pt x="165471" y="857075"/>
                  <a:pt x="167103" y="854354"/>
                  <a:pt x="172545" y="854354"/>
                </a:cubicBezTo>
                <a:close/>
                <a:moveTo>
                  <a:pt x="336342" y="843471"/>
                </a:moveTo>
                <a:cubicBezTo>
                  <a:pt x="346681" y="844015"/>
                  <a:pt x="353211" y="849457"/>
                  <a:pt x="353211" y="860340"/>
                </a:cubicBezTo>
                <a:cubicBezTo>
                  <a:pt x="353211" y="872312"/>
                  <a:pt x="348858" y="876665"/>
                  <a:pt x="336886" y="877210"/>
                </a:cubicBezTo>
                <a:cubicBezTo>
                  <a:pt x="324370" y="877210"/>
                  <a:pt x="320561" y="872856"/>
                  <a:pt x="320017" y="860884"/>
                </a:cubicBezTo>
                <a:cubicBezTo>
                  <a:pt x="319473" y="851089"/>
                  <a:pt x="327635" y="842927"/>
                  <a:pt x="336342" y="843471"/>
                </a:cubicBezTo>
                <a:close/>
                <a:moveTo>
                  <a:pt x="500139" y="837485"/>
                </a:moveTo>
                <a:cubicBezTo>
                  <a:pt x="514832" y="837485"/>
                  <a:pt x="522994" y="846735"/>
                  <a:pt x="522994" y="861428"/>
                </a:cubicBezTo>
                <a:cubicBezTo>
                  <a:pt x="522994" y="876121"/>
                  <a:pt x="513743" y="884284"/>
                  <a:pt x="499595" y="884284"/>
                </a:cubicBezTo>
                <a:cubicBezTo>
                  <a:pt x="485446" y="883740"/>
                  <a:pt x="475651" y="875033"/>
                  <a:pt x="476739" y="860340"/>
                </a:cubicBezTo>
                <a:cubicBezTo>
                  <a:pt x="476195" y="842926"/>
                  <a:pt x="489256" y="836940"/>
                  <a:pt x="500139" y="837485"/>
                </a:cubicBezTo>
                <a:close/>
                <a:moveTo>
                  <a:pt x="662848" y="832587"/>
                </a:moveTo>
                <a:cubicBezTo>
                  <a:pt x="677541" y="832587"/>
                  <a:pt x="691689" y="842926"/>
                  <a:pt x="690057" y="860340"/>
                </a:cubicBezTo>
                <a:cubicBezTo>
                  <a:pt x="691689" y="876121"/>
                  <a:pt x="679718" y="888637"/>
                  <a:pt x="662848" y="888637"/>
                </a:cubicBezTo>
                <a:cubicBezTo>
                  <a:pt x="644890" y="888637"/>
                  <a:pt x="634551" y="874489"/>
                  <a:pt x="634551" y="861428"/>
                </a:cubicBezTo>
                <a:cubicBezTo>
                  <a:pt x="634551" y="842926"/>
                  <a:pt x="647611" y="832587"/>
                  <a:pt x="662848" y="832587"/>
                </a:cubicBezTo>
                <a:close/>
                <a:moveTo>
                  <a:pt x="826101" y="827146"/>
                </a:moveTo>
                <a:cubicBezTo>
                  <a:pt x="840249" y="826602"/>
                  <a:pt x="859840" y="843471"/>
                  <a:pt x="859295" y="860885"/>
                </a:cubicBezTo>
                <a:cubicBezTo>
                  <a:pt x="858751" y="875033"/>
                  <a:pt x="844603" y="894624"/>
                  <a:pt x="825556" y="892991"/>
                </a:cubicBezTo>
                <a:cubicBezTo>
                  <a:pt x="808687" y="894079"/>
                  <a:pt x="793450" y="877754"/>
                  <a:pt x="793450" y="860885"/>
                </a:cubicBezTo>
                <a:cubicBezTo>
                  <a:pt x="793994" y="842927"/>
                  <a:pt x="808143" y="828234"/>
                  <a:pt x="826101" y="827146"/>
                </a:cubicBezTo>
                <a:close/>
                <a:moveTo>
                  <a:pt x="988809" y="824424"/>
                </a:moveTo>
                <a:cubicBezTo>
                  <a:pt x="1010576" y="825512"/>
                  <a:pt x="1024180" y="839661"/>
                  <a:pt x="1025813" y="860339"/>
                </a:cubicBezTo>
                <a:cubicBezTo>
                  <a:pt x="1026901" y="878842"/>
                  <a:pt x="1008399" y="896799"/>
                  <a:pt x="989897" y="897344"/>
                </a:cubicBezTo>
                <a:cubicBezTo>
                  <a:pt x="971939" y="897344"/>
                  <a:pt x="953982" y="880474"/>
                  <a:pt x="953437" y="861972"/>
                </a:cubicBezTo>
                <a:cubicBezTo>
                  <a:pt x="951805" y="842926"/>
                  <a:pt x="969763" y="824968"/>
                  <a:pt x="988809" y="824424"/>
                </a:cubicBezTo>
                <a:close/>
                <a:moveTo>
                  <a:pt x="1153695" y="821704"/>
                </a:moveTo>
                <a:cubicBezTo>
                  <a:pt x="1175462" y="822248"/>
                  <a:pt x="1191243" y="839118"/>
                  <a:pt x="1191243" y="861429"/>
                </a:cubicBezTo>
                <a:cubicBezTo>
                  <a:pt x="1193964" y="882107"/>
                  <a:pt x="1169476" y="900610"/>
                  <a:pt x="1152606" y="899521"/>
                </a:cubicBezTo>
                <a:cubicBezTo>
                  <a:pt x="1130839" y="898433"/>
                  <a:pt x="1114514" y="882107"/>
                  <a:pt x="1114514" y="859252"/>
                </a:cubicBezTo>
                <a:cubicBezTo>
                  <a:pt x="1115058" y="837485"/>
                  <a:pt x="1131928" y="821704"/>
                  <a:pt x="1153695" y="821704"/>
                </a:cubicBezTo>
                <a:close/>
                <a:moveTo>
                  <a:pt x="1316403" y="818982"/>
                </a:moveTo>
                <a:cubicBezTo>
                  <a:pt x="1341979" y="820071"/>
                  <a:pt x="1356128" y="838573"/>
                  <a:pt x="1357216" y="860884"/>
                </a:cubicBezTo>
                <a:cubicBezTo>
                  <a:pt x="1356128" y="884828"/>
                  <a:pt x="1337626" y="901697"/>
                  <a:pt x="1315315" y="901697"/>
                </a:cubicBezTo>
                <a:cubicBezTo>
                  <a:pt x="1293003" y="901697"/>
                  <a:pt x="1273957" y="884284"/>
                  <a:pt x="1274501" y="860340"/>
                </a:cubicBezTo>
                <a:cubicBezTo>
                  <a:pt x="1275046" y="835852"/>
                  <a:pt x="1291915" y="818438"/>
                  <a:pt x="1316403" y="818982"/>
                </a:cubicBezTo>
                <a:close/>
                <a:moveTo>
                  <a:pt x="1479112" y="816806"/>
                </a:moveTo>
                <a:cubicBezTo>
                  <a:pt x="1501423" y="816806"/>
                  <a:pt x="1523190" y="835852"/>
                  <a:pt x="1522646" y="860340"/>
                </a:cubicBezTo>
                <a:cubicBezTo>
                  <a:pt x="1523735" y="885372"/>
                  <a:pt x="1499791" y="904419"/>
                  <a:pt x="1479656" y="904419"/>
                </a:cubicBezTo>
                <a:cubicBezTo>
                  <a:pt x="1457889" y="904419"/>
                  <a:pt x="1436122" y="883740"/>
                  <a:pt x="1435578" y="860884"/>
                </a:cubicBezTo>
                <a:cubicBezTo>
                  <a:pt x="1435578" y="838573"/>
                  <a:pt x="1455713" y="816806"/>
                  <a:pt x="1479112" y="816806"/>
                </a:cubicBezTo>
                <a:close/>
                <a:moveTo>
                  <a:pt x="1642909" y="815718"/>
                </a:moveTo>
                <a:cubicBezTo>
                  <a:pt x="1665764" y="816262"/>
                  <a:pt x="1686987" y="835852"/>
                  <a:pt x="1686987" y="860885"/>
                </a:cubicBezTo>
                <a:cubicBezTo>
                  <a:pt x="1686987" y="884284"/>
                  <a:pt x="1666308" y="906051"/>
                  <a:pt x="1641276" y="905507"/>
                </a:cubicBezTo>
                <a:cubicBezTo>
                  <a:pt x="1619509" y="905507"/>
                  <a:pt x="1595021" y="884284"/>
                  <a:pt x="1597742" y="860340"/>
                </a:cubicBezTo>
                <a:cubicBezTo>
                  <a:pt x="1595021" y="836941"/>
                  <a:pt x="1619509" y="815174"/>
                  <a:pt x="1642909" y="815718"/>
                </a:cubicBezTo>
                <a:close/>
                <a:moveTo>
                  <a:pt x="1806161" y="815173"/>
                </a:moveTo>
                <a:cubicBezTo>
                  <a:pt x="1832282" y="815717"/>
                  <a:pt x="1854593" y="836396"/>
                  <a:pt x="1852416" y="860884"/>
                </a:cubicBezTo>
                <a:cubicBezTo>
                  <a:pt x="1850240" y="885372"/>
                  <a:pt x="1837179" y="906050"/>
                  <a:pt x="1805617" y="906594"/>
                </a:cubicBezTo>
                <a:cubicBezTo>
                  <a:pt x="1776776" y="906594"/>
                  <a:pt x="1759362" y="885916"/>
                  <a:pt x="1759906" y="860884"/>
                </a:cubicBezTo>
                <a:cubicBezTo>
                  <a:pt x="1759906" y="834219"/>
                  <a:pt x="1776776" y="815717"/>
                  <a:pt x="1806161" y="815173"/>
                </a:cubicBezTo>
                <a:close/>
                <a:moveTo>
                  <a:pt x="1968326" y="812453"/>
                </a:moveTo>
                <a:cubicBezTo>
                  <a:pt x="1979754" y="812453"/>
                  <a:pt x="1991726" y="817351"/>
                  <a:pt x="2000977" y="826057"/>
                </a:cubicBezTo>
                <a:cubicBezTo>
                  <a:pt x="2010772" y="835308"/>
                  <a:pt x="2016214" y="847280"/>
                  <a:pt x="2015670" y="859796"/>
                </a:cubicBezTo>
                <a:cubicBezTo>
                  <a:pt x="2014581" y="884828"/>
                  <a:pt x="2000977" y="904963"/>
                  <a:pt x="1969415" y="907684"/>
                </a:cubicBezTo>
                <a:cubicBezTo>
                  <a:pt x="1942206" y="906051"/>
                  <a:pt x="1923704" y="890270"/>
                  <a:pt x="1922071" y="860885"/>
                </a:cubicBezTo>
                <a:cubicBezTo>
                  <a:pt x="1920983" y="836397"/>
                  <a:pt x="1943294" y="812453"/>
                  <a:pt x="1968326" y="812453"/>
                </a:cubicBezTo>
                <a:close/>
                <a:moveTo>
                  <a:pt x="255260" y="762932"/>
                </a:moveTo>
                <a:cubicBezTo>
                  <a:pt x="261790" y="763476"/>
                  <a:pt x="271041" y="773271"/>
                  <a:pt x="270497" y="779802"/>
                </a:cubicBezTo>
                <a:cubicBezTo>
                  <a:pt x="270497" y="786332"/>
                  <a:pt x="261246" y="795038"/>
                  <a:pt x="254172" y="795038"/>
                </a:cubicBezTo>
                <a:cubicBezTo>
                  <a:pt x="246553" y="795038"/>
                  <a:pt x="238391" y="786332"/>
                  <a:pt x="238935" y="778713"/>
                </a:cubicBezTo>
                <a:cubicBezTo>
                  <a:pt x="239479" y="771095"/>
                  <a:pt x="248186" y="762388"/>
                  <a:pt x="255260" y="762932"/>
                </a:cubicBezTo>
                <a:close/>
                <a:moveTo>
                  <a:pt x="416881" y="756402"/>
                </a:moveTo>
                <a:cubicBezTo>
                  <a:pt x="430485" y="756402"/>
                  <a:pt x="439736" y="765109"/>
                  <a:pt x="440280" y="778713"/>
                </a:cubicBezTo>
                <a:cubicBezTo>
                  <a:pt x="440280" y="791229"/>
                  <a:pt x="431573" y="801024"/>
                  <a:pt x="419057" y="801024"/>
                </a:cubicBezTo>
                <a:cubicBezTo>
                  <a:pt x="405997" y="801569"/>
                  <a:pt x="396202" y="792317"/>
                  <a:pt x="396202" y="779257"/>
                </a:cubicBezTo>
                <a:cubicBezTo>
                  <a:pt x="396202" y="766741"/>
                  <a:pt x="404909" y="756946"/>
                  <a:pt x="416881" y="756402"/>
                </a:cubicBezTo>
                <a:close/>
                <a:moveTo>
                  <a:pt x="581766" y="751505"/>
                </a:moveTo>
                <a:cubicBezTo>
                  <a:pt x="598091" y="752594"/>
                  <a:pt x="607887" y="762933"/>
                  <a:pt x="608975" y="779802"/>
                </a:cubicBezTo>
                <a:cubicBezTo>
                  <a:pt x="608975" y="792318"/>
                  <a:pt x="596459" y="808644"/>
                  <a:pt x="580678" y="806467"/>
                </a:cubicBezTo>
                <a:cubicBezTo>
                  <a:pt x="565985" y="808100"/>
                  <a:pt x="553469" y="792318"/>
                  <a:pt x="553469" y="778714"/>
                </a:cubicBezTo>
                <a:cubicBezTo>
                  <a:pt x="553469" y="764021"/>
                  <a:pt x="567618" y="750417"/>
                  <a:pt x="581766" y="751505"/>
                </a:cubicBezTo>
                <a:close/>
                <a:moveTo>
                  <a:pt x="746107" y="746607"/>
                </a:moveTo>
                <a:cubicBezTo>
                  <a:pt x="762432" y="747695"/>
                  <a:pt x="778213" y="765653"/>
                  <a:pt x="777125" y="780346"/>
                </a:cubicBezTo>
                <a:cubicBezTo>
                  <a:pt x="776581" y="795038"/>
                  <a:pt x="762432" y="811908"/>
                  <a:pt x="742842" y="811364"/>
                </a:cubicBezTo>
                <a:cubicBezTo>
                  <a:pt x="725428" y="810276"/>
                  <a:pt x="712368" y="795583"/>
                  <a:pt x="712368" y="778713"/>
                </a:cubicBezTo>
                <a:cubicBezTo>
                  <a:pt x="712368" y="760755"/>
                  <a:pt x="730870" y="745519"/>
                  <a:pt x="746107" y="746607"/>
                </a:cubicBezTo>
                <a:close/>
                <a:moveTo>
                  <a:pt x="907727" y="741710"/>
                </a:moveTo>
                <a:cubicBezTo>
                  <a:pt x="925684" y="741710"/>
                  <a:pt x="944187" y="760756"/>
                  <a:pt x="944187" y="778714"/>
                </a:cubicBezTo>
                <a:cubicBezTo>
                  <a:pt x="944187" y="796672"/>
                  <a:pt x="926229" y="815174"/>
                  <a:pt x="907727" y="815174"/>
                </a:cubicBezTo>
                <a:cubicBezTo>
                  <a:pt x="889225" y="815174"/>
                  <a:pt x="872899" y="798848"/>
                  <a:pt x="872355" y="779258"/>
                </a:cubicBezTo>
                <a:cubicBezTo>
                  <a:pt x="871811" y="759668"/>
                  <a:pt x="888136" y="742254"/>
                  <a:pt x="907727" y="741710"/>
                </a:cubicBezTo>
                <a:close/>
                <a:moveTo>
                  <a:pt x="1070979" y="740621"/>
                </a:moveTo>
                <a:cubicBezTo>
                  <a:pt x="1091114" y="737357"/>
                  <a:pt x="1110704" y="761300"/>
                  <a:pt x="1110160" y="779258"/>
                </a:cubicBezTo>
                <a:cubicBezTo>
                  <a:pt x="1110160" y="798304"/>
                  <a:pt x="1089481" y="817894"/>
                  <a:pt x="1070979" y="817894"/>
                </a:cubicBezTo>
                <a:cubicBezTo>
                  <a:pt x="1049757" y="817894"/>
                  <a:pt x="1031255" y="797216"/>
                  <a:pt x="1031799" y="778714"/>
                </a:cubicBezTo>
                <a:cubicBezTo>
                  <a:pt x="1033431" y="756947"/>
                  <a:pt x="1049212" y="740621"/>
                  <a:pt x="1070979" y="740621"/>
                </a:cubicBezTo>
                <a:close/>
                <a:moveTo>
                  <a:pt x="1233688" y="736268"/>
                </a:moveTo>
                <a:cubicBezTo>
                  <a:pt x="1254367" y="735723"/>
                  <a:pt x="1276134" y="756402"/>
                  <a:pt x="1276134" y="777625"/>
                </a:cubicBezTo>
                <a:cubicBezTo>
                  <a:pt x="1276134" y="801025"/>
                  <a:pt x="1258720" y="819526"/>
                  <a:pt x="1235320" y="820615"/>
                </a:cubicBezTo>
                <a:cubicBezTo>
                  <a:pt x="1211377" y="821159"/>
                  <a:pt x="1193419" y="802657"/>
                  <a:pt x="1192331" y="779258"/>
                </a:cubicBezTo>
                <a:cubicBezTo>
                  <a:pt x="1190698" y="758579"/>
                  <a:pt x="1213009" y="736812"/>
                  <a:pt x="1233688" y="736268"/>
                </a:cubicBezTo>
                <a:close/>
                <a:moveTo>
                  <a:pt x="1397485" y="735724"/>
                </a:moveTo>
                <a:cubicBezTo>
                  <a:pt x="1421973" y="734091"/>
                  <a:pt x="1441564" y="757491"/>
                  <a:pt x="1441019" y="779802"/>
                </a:cubicBezTo>
                <a:cubicBezTo>
                  <a:pt x="1441019" y="803746"/>
                  <a:pt x="1418708" y="823336"/>
                  <a:pt x="1396397" y="823336"/>
                </a:cubicBezTo>
                <a:cubicBezTo>
                  <a:pt x="1374630" y="823336"/>
                  <a:pt x="1352863" y="802113"/>
                  <a:pt x="1352863" y="779258"/>
                </a:cubicBezTo>
                <a:cubicBezTo>
                  <a:pt x="1353407" y="758579"/>
                  <a:pt x="1372453" y="733547"/>
                  <a:pt x="1397485" y="735724"/>
                </a:cubicBezTo>
                <a:close/>
                <a:moveTo>
                  <a:pt x="1562371" y="734636"/>
                </a:moveTo>
                <a:cubicBezTo>
                  <a:pt x="1586314" y="732459"/>
                  <a:pt x="1605905" y="754226"/>
                  <a:pt x="1605905" y="779802"/>
                </a:cubicBezTo>
                <a:cubicBezTo>
                  <a:pt x="1605361" y="805923"/>
                  <a:pt x="1585226" y="823881"/>
                  <a:pt x="1560194" y="823881"/>
                </a:cubicBezTo>
                <a:cubicBezTo>
                  <a:pt x="1535706" y="823881"/>
                  <a:pt x="1515027" y="803202"/>
                  <a:pt x="1515572" y="777626"/>
                </a:cubicBezTo>
                <a:cubicBezTo>
                  <a:pt x="1516116" y="755859"/>
                  <a:pt x="1535162" y="731371"/>
                  <a:pt x="1562371" y="734636"/>
                </a:cubicBezTo>
                <a:close/>
                <a:moveTo>
                  <a:pt x="1724535" y="730827"/>
                </a:moveTo>
                <a:cubicBezTo>
                  <a:pt x="1748478" y="731371"/>
                  <a:pt x="1772422" y="755314"/>
                  <a:pt x="1772422" y="779258"/>
                </a:cubicBezTo>
                <a:cubicBezTo>
                  <a:pt x="1771878" y="804290"/>
                  <a:pt x="1748478" y="826602"/>
                  <a:pt x="1723446" y="826602"/>
                </a:cubicBezTo>
                <a:cubicBezTo>
                  <a:pt x="1696238" y="823881"/>
                  <a:pt x="1677736" y="807011"/>
                  <a:pt x="1676647" y="778714"/>
                </a:cubicBezTo>
                <a:cubicBezTo>
                  <a:pt x="1676103" y="753138"/>
                  <a:pt x="1699503" y="730282"/>
                  <a:pt x="1724535" y="730827"/>
                </a:cubicBezTo>
                <a:close/>
                <a:moveTo>
                  <a:pt x="1886699" y="730826"/>
                </a:moveTo>
                <a:cubicBezTo>
                  <a:pt x="1914452" y="730826"/>
                  <a:pt x="1934587" y="749872"/>
                  <a:pt x="1935131" y="778713"/>
                </a:cubicBezTo>
                <a:cubicBezTo>
                  <a:pt x="1936219" y="804834"/>
                  <a:pt x="1916085" y="826601"/>
                  <a:pt x="1887244" y="827145"/>
                </a:cubicBezTo>
                <a:cubicBezTo>
                  <a:pt x="1860579" y="826601"/>
                  <a:pt x="1838812" y="805922"/>
                  <a:pt x="1838812" y="778713"/>
                </a:cubicBezTo>
                <a:cubicBezTo>
                  <a:pt x="1839356" y="750416"/>
                  <a:pt x="1860035" y="730282"/>
                  <a:pt x="1886699" y="730826"/>
                </a:cubicBezTo>
                <a:close/>
                <a:moveTo>
                  <a:pt x="2050496" y="730282"/>
                </a:moveTo>
                <a:lnTo>
                  <a:pt x="2051041" y="730396"/>
                </a:lnTo>
                <a:lnTo>
                  <a:pt x="2051041" y="826942"/>
                </a:lnTo>
                <a:lnTo>
                  <a:pt x="2049952" y="827145"/>
                </a:lnTo>
                <a:cubicBezTo>
                  <a:pt x="2023832" y="827145"/>
                  <a:pt x="2001521" y="804290"/>
                  <a:pt x="2002065" y="778169"/>
                </a:cubicBezTo>
                <a:cubicBezTo>
                  <a:pt x="2002609" y="751505"/>
                  <a:pt x="2024376" y="730282"/>
                  <a:pt x="2050496" y="730282"/>
                </a:cubicBezTo>
                <a:close/>
                <a:moveTo>
                  <a:pt x="173634" y="685660"/>
                </a:moveTo>
                <a:cubicBezTo>
                  <a:pt x="181253" y="685660"/>
                  <a:pt x="185062" y="690013"/>
                  <a:pt x="184518" y="698176"/>
                </a:cubicBezTo>
                <a:cubicBezTo>
                  <a:pt x="183973" y="705250"/>
                  <a:pt x="180164" y="709059"/>
                  <a:pt x="172546" y="709059"/>
                </a:cubicBezTo>
                <a:cubicBezTo>
                  <a:pt x="164383" y="709059"/>
                  <a:pt x="160574" y="705250"/>
                  <a:pt x="161118" y="697088"/>
                </a:cubicBezTo>
                <a:cubicBezTo>
                  <a:pt x="161662" y="688925"/>
                  <a:pt x="164927" y="685660"/>
                  <a:pt x="173634" y="685660"/>
                </a:cubicBezTo>
                <a:close/>
                <a:moveTo>
                  <a:pt x="335798" y="675320"/>
                </a:moveTo>
                <a:cubicBezTo>
                  <a:pt x="345593" y="675320"/>
                  <a:pt x="357565" y="685115"/>
                  <a:pt x="357565" y="696543"/>
                </a:cubicBezTo>
                <a:cubicBezTo>
                  <a:pt x="357565" y="707426"/>
                  <a:pt x="346682" y="718854"/>
                  <a:pt x="336342" y="718854"/>
                </a:cubicBezTo>
                <a:cubicBezTo>
                  <a:pt x="327091" y="718854"/>
                  <a:pt x="315664" y="707426"/>
                  <a:pt x="315120" y="697631"/>
                </a:cubicBezTo>
                <a:cubicBezTo>
                  <a:pt x="314575" y="687292"/>
                  <a:pt x="325459" y="675864"/>
                  <a:pt x="335798" y="675320"/>
                </a:cubicBezTo>
                <a:close/>
                <a:moveTo>
                  <a:pt x="499051" y="670423"/>
                </a:moveTo>
                <a:cubicBezTo>
                  <a:pt x="512111" y="669335"/>
                  <a:pt x="526804" y="684027"/>
                  <a:pt x="526804" y="697088"/>
                </a:cubicBezTo>
                <a:cubicBezTo>
                  <a:pt x="526804" y="711236"/>
                  <a:pt x="513744" y="724296"/>
                  <a:pt x="499595" y="724296"/>
                </a:cubicBezTo>
                <a:cubicBezTo>
                  <a:pt x="486535" y="724296"/>
                  <a:pt x="472930" y="711236"/>
                  <a:pt x="472930" y="697632"/>
                </a:cubicBezTo>
                <a:cubicBezTo>
                  <a:pt x="472386" y="684027"/>
                  <a:pt x="485446" y="670423"/>
                  <a:pt x="499051" y="670423"/>
                </a:cubicBezTo>
                <a:close/>
                <a:moveTo>
                  <a:pt x="662848" y="665525"/>
                </a:moveTo>
                <a:cubicBezTo>
                  <a:pt x="678629" y="665525"/>
                  <a:pt x="694410" y="681306"/>
                  <a:pt x="694954" y="697087"/>
                </a:cubicBezTo>
                <a:cubicBezTo>
                  <a:pt x="695499" y="712868"/>
                  <a:pt x="679173" y="729194"/>
                  <a:pt x="663392" y="729194"/>
                </a:cubicBezTo>
                <a:cubicBezTo>
                  <a:pt x="647611" y="729194"/>
                  <a:pt x="632374" y="713957"/>
                  <a:pt x="632374" y="698176"/>
                </a:cubicBezTo>
                <a:cubicBezTo>
                  <a:pt x="631286" y="681850"/>
                  <a:pt x="647067" y="665525"/>
                  <a:pt x="662848" y="665525"/>
                </a:cubicBezTo>
                <a:close/>
                <a:moveTo>
                  <a:pt x="825013" y="663349"/>
                </a:moveTo>
                <a:cubicBezTo>
                  <a:pt x="844603" y="662260"/>
                  <a:pt x="861472" y="676953"/>
                  <a:pt x="860384" y="697632"/>
                </a:cubicBezTo>
                <a:cubicBezTo>
                  <a:pt x="861472" y="716134"/>
                  <a:pt x="846780" y="731915"/>
                  <a:pt x="826101" y="731915"/>
                </a:cubicBezTo>
                <a:cubicBezTo>
                  <a:pt x="806511" y="731915"/>
                  <a:pt x="791818" y="719399"/>
                  <a:pt x="791818" y="698176"/>
                </a:cubicBezTo>
                <a:cubicBezTo>
                  <a:pt x="791818" y="676409"/>
                  <a:pt x="805967" y="663893"/>
                  <a:pt x="825013" y="663349"/>
                </a:cubicBezTo>
                <a:close/>
                <a:moveTo>
                  <a:pt x="988809" y="658995"/>
                </a:moveTo>
                <a:cubicBezTo>
                  <a:pt x="1008400" y="657362"/>
                  <a:pt x="1028534" y="679129"/>
                  <a:pt x="1027446" y="697087"/>
                </a:cubicBezTo>
                <a:cubicBezTo>
                  <a:pt x="1026902" y="718310"/>
                  <a:pt x="1010576" y="735723"/>
                  <a:pt x="989353" y="735723"/>
                </a:cubicBezTo>
                <a:cubicBezTo>
                  <a:pt x="968675" y="735723"/>
                  <a:pt x="950717" y="718310"/>
                  <a:pt x="950717" y="697631"/>
                </a:cubicBezTo>
                <a:cubicBezTo>
                  <a:pt x="950717" y="676408"/>
                  <a:pt x="968131" y="660627"/>
                  <a:pt x="988809" y="658995"/>
                </a:cubicBezTo>
                <a:close/>
                <a:moveTo>
                  <a:pt x="1152607" y="655729"/>
                </a:moveTo>
                <a:cubicBezTo>
                  <a:pt x="1173829" y="654097"/>
                  <a:pt x="1194508" y="675864"/>
                  <a:pt x="1195052" y="697087"/>
                </a:cubicBezTo>
                <a:cubicBezTo>
                  <a:pt x="1195596" y="717766"/>
                  <a:pt x="1173829" y="739533"/>
                  <a:pt x="1153151" y="739533"/>
                </a:cubicBezTo>
                <a:cubicBezTo>
                  <a:pt x="1132472" y="740077"/>
                  <a:pt x="1110705" y="718310"/>
                  <a:pt x="1110705" y="697631"/>
                </a:cubicBezTo>
                <a:cubicBezTo>
                  <a:pt x="1112882" y="674231"/>
                  <a:pt x="1127574" y="657362"/>
                  <a:pt x="1152607" y="655729"/>
                </a:cubicBezTo>
                <a:close/>
                <a:moveTo>
                  <a:pt x="1316948" y="653554"/>
                </a:moveTo>
                <a:cubicBezTo>
                  <a:pt x="1340347" y="654098"/>
                  <a:pt x="1359937" y="674777"/>
                  <a:pt x="1359937" y="697632"/>
                </a:cubicBezTo>
                <a:cubicBezTo>
                  <a:pt x="1359937" y="718855"/>
                  <a:pt x="1339803" y="743343"/>
                  <a:pt x="1315315" y="740622"/>
                </a:cubicBezTo>
                <a:cubicBezTo>
                  <a:pt x="1293004" y="742799"/>
                  <a:pt x="1271237" y="718311"/>
                  <a:pt x="1271781" y="696544"/>
                </a:cubicBezTo>
                <a:cubicBezTo>
                  <a:pt x="1271781" y="675321"/>
                  <a:pt x="1292460" y="653010"/>
                  <a:pt x="1316948" y="653554"/>
                </a:cubicBezTo>
                <a:close/>
                <a:moveTo>
                  <a:pt x="1479112" y="651921"/>
                </a:moveTo>
                <a:cubicBezTo>
                  <a:pt x="1506321" y="651377"/>
                  <a:pt x="1524823" y="669335"/>
                  <a:pt x="1524823" y="697088"/>
                </a:cubicBezTo>
                <a:cubicBezTo>
                  <a:pt x="1524823" y="722664"/>
                  <a:pt x="1506865" y="743343"/>
                  <a:pt x="1479112" y="742254"/>
                </a:cubicBezTo>
                <a:cubicBezTo>
                  <a:pt x="1450815" y="743343"/>
                  <a:pt x="1433401" y="721031"/>
                  <a:pt x="1433945" y="697088"/>
                </a:cubicBezTo>
                <a:cubicBezTo>
                  <a:pt x="1434490" y="670423"/>
                  <a:pt x="1451903" y="652465"/>
                  <a:pt x="1479112" y="651921"/>
                </a:cubicBezTo>
                <a:close/>
                <a:moveTo>
                  <a:pt x="1642909" y="649744"/>
                </a:moveTo>
                <a:cubicBezTo>
                  <a:pt x="1671750" y="650288"/>
                  <a:pt x="1690252" y="668790"/>
                  <a:pt x="1690796" y="697087"/>
                </a:cubicBezTo>
                <a:cubicBezTo>
                  <a:pt x="1691340" y="723752"/>
                  <a:pt x="1672294" y="743342"/>
                  <a:pt x="1642909" y="745519"/>
                </a:cubicBezTo>
                <a:cubicBezTo>
                  <a:pt x="1614067" y="743887"/>
                  <a:pt x="1594477" y="725384"/>
                  <a:pt x="1594477" y="697632"/>
                </a:cubicBezTo>
                <a:cubicBezTo>
                  <a:pt x="1594477" y="668790"/>
                  <a:pt x="1614611" y="649200"/>
                  <a:pt x="1642909" y="649744"/>
                </a:cubicBezTo>
                <a:close/>
                <a:moveTo>
                  <a:pt x="1805617" y="648112"/>
                </a:moveTo>
                <a:cubicBezTo>
                  <a:pt x="1829561" y="648112"/>
                  <a:pt x="1857314" y="672055"/>
                  <a:pt x="1854593" y="698176"/>
                </a:cubicBezTo>
                <a:cubicBezTo>
                  <a:pt x="1856770" y="719399"/>
                  <a:pt x="1832826" y="747151"/>
                  <a:pt x="1805073" y="746607"/>
                </a:cubicBezTo>
                <a:cubicBezTo>
                  <a:pt x="1779497" y="746063"/>
                  <a:pt x="1756097" y="721575"/>
                  <a:pt x="1756097" y="697087"/>
                </a:cubicBezTo>
                <a:cubicBezTo>
                  <a:pt x="1756097" y="670423"/>
                  <a:pt x="1782218" y="647567"/>
                  <a:pt x="1805617" y="648112"/>
                </a:cubicBezTo>
                <a:close/>
                <a:moveTo>
                  <a:pt x="1969414" y="647023"/>
                </a:moveTo>
                <a:cubicBezTo>
                  <a:pt x="1992814" y="647023"/>
                  <a:pt x="2020567" y="672055"/>
                  <a:pt x="2018934" y="698176"/>
                </a:cubicBezTo>
                <a:cubicBezTo>
                  <a:pt x="2017302" y="725384"/>
                  <a:pt x="1996623" y="746063"/>
                  <a:pt x="1968326" y="746063"/>
                </a:cubicBezTo>
                <a:cubicBezTo>
                  <a:pt x="1941661" y="748784"/>
                  <a:pt x="1919350" y="721031"/>
                  <a:pt x="1918806" y="697087"/>
                </a:cubicBezTo>
                <a:cubicBezTo>
                  <a:pt x="1918806" y="669878"/>
                  <a:pt x="1945471" y="647023"/>
                  <a:pt x="1969414" y="647023"/>
                </a:cubicBezTo>
                <a:close/>
                <a:moveTo>
                  <a:pt x="90919" y="606754"/>
                </a:moveTo>
                <a:cubicBezTo>
                  <a:pt x="94728" y="608386"/>
                  <a:pt x="99626" y="612195"/>
                  <a:pt x="99626" y="615460"/>
                </a:cubicBezTo>
                <a:cubicBezTo>
                  <a:pt x="100170" y="618181"/>
                  <a:pt x="95816" y="621990"/>
                  <a:pt x="92007" y="627976"/>
                </a:cubicBezTo>
                <a:cubicBezTo>
                  <a:pt x="87654" y="623079"/>
                  <a:pt x="84389" y="619814"/>
                  <a:pt x="82756" y="616005"/>
                </a:cubicBezTo>
                <a:cubicBezTo>
                  <a:pt x="81668" y="613284"/>
                  <a:pt x="88198" y="605665"/>
                  <a:pt x="90919" y="606754"/>
                </a:cubicBezTo>
                <a:close/>
                <a:moveTo>
                  <a:pt x="254172" y="598047"/>
                </a:moveTo>
                <a:cubicBezTo>
                  <a:pt x="265599" y="597503"/>
                  <a:pt x="273218" y="606210"/>
                  <a:pt x="272674" y="614917"/>
                </a:cubicBezTo>
                <a:cubicBezTo>
                  <a:pt x="272674" y="625800"/>
                  <a:pt x="266688" y="632874"/>
                  <a:pt x="255260" y="633419"/>
                </a:cubicBezTo>
                <a:cubicBezTo>
                  <a:pt x="244376" y="633963"/>
                  <a:pt x="237302" y="626889"/>
                  <a:pt x="236758" y="616005"/>
                </a:cubicBezTo>
                <a:cubicBezTo>
                  <a:pt x="236758" y="605122"/>
                  <a:pt x="243832" y="598047"/>
                  <a:pt x="254172" y="598047"/>
                </a:cubicBezTo>
                <a:close/>
                <a:moveTo>
                  <a:pt x="418513" y="590429"/>
                </a:moveTo>
                <a:cubicBezTo>
                  <a:pt x="431029" y="590429"/>
                  <a:pt x="442457" y="601857"/>
                  <a:pt x="443001" y="614917"/>
                </a:cubicBezTo>
                <a:cubicBezTo>
                  <a:pt x="443545" y="627977"/>
                  <a:pt x="432118" y="640493"/>
                  <a:pt x="419058" y="640493"/>
                </a:cubicBezTo>
                <a:cubicBezTo>
                  <a:pt x="404365" y="640493"/>
                  <a:pt x="394570" y="630698"/>
                  <a:pt x="392937" y="616005"/>
                </a:cubicBezTo>
                <a:cubicBezTo>
                  <a:pt x="391849" y="604033"/>
                  <a:pt x="405997" y="590429"/>
                  <a:pt x="418513" y="590429"/>
                </a:cubicBezTo>
                <a:close/>
                <a:moveTo>
                  <a:pt x="581222" y="587163"/>
                </a:moveTo>
                <a:cubicBezTo>
                  <a:pt x="600812" y="588252"/>
                  <a:pt x="610063" y="598047"/>
                  <a:pt x="610063" y="616549"/>
                </a:cubicBezTo>
                <a:cubicBezTo>
                  <a:pt x="610063" y="634507"/>
                  <a:pt x="599179" y="644846"/>
                  <a:pt x="580677" y="645390"/>
                </a:cubicBezTo>
                <a:cubicBezTo>
                  <a:pt x="565440" y="644846"/>
                  <a:pt x="551836" y="634507"/>
                  <a:pt x="551836" y="615461"/>
                </a:cubicBezTo>
                <a:cubicBezTo>
                  <a:pt x="551836" y="594782"/>
                  <a:pt x="567073" y="586075"/>
                  <a:pt x="581222" y="587163"/>
                </a:cubicBezTo>
                <a:close/>
                <a:moveTo>
                  <a:pt x="743930" y="582266"/>
                </a:moveTo>
                <a:cubicBezTo>
                  <a:pt x="761344" y="581178"/>
                  <a:pt x="779301" y="599136"/>
                  <a:pt x="779301" y="616005"/>
                </a:cubicBezTo>
                <a:cubicBezTo>
                  <a:pt x="779301" y="632874"/>
                  <a:pt x="762976" y="649744"/>
                  <a:pt x="745563" y="649744"/>
                </a:cubicBezTo>
                <a:cubicBezTo>
                  <a:pt x="728149" y="649200"/>
                  <a:pt x="710191" y="635595"/>
                  <a:pt x="711824" y="616549"/>
                </a:cubicBezTo>
                <a:cubicBezTo>
                  <a:pt x="711824" y="596415"/>
                  <a:pt x="724340" y="583355"/>
                  <a:pt x="743930" y="582266"/>
                </a:cubicBezTo>
                <a:close/>
                <a:moveTo>
                  <a:pt x="907183" y="577913"/>
                </a:moveTo>
                <a:cubicBezTo>
                  <a:pt x="927318" y="576825"/>
                  <a:pt x="947452" y="598592"/>
                  <a:pt x="945276" y="615461"/>
                </a:cubicBezTo>
                <a:cubicBezTo>
                  <a:pt x="945276" y="635596"/>
                  <a:pt x="927318" y="653554"/>
                  <a:pt x="907727" y="654098"/>
                </a:cubicBezTo>
                <a:cubicBezTo>
                  <a:pt x="890314" y="654642"/>
                  <a:pt x="869091" y="635052"/>
                  <a:pt x="869091" y="616006"/>
                </a:cubicBezTo>
                <a:cubicBezTo>
                  <a:pt x="869635" y="595871"/>
                  <a:pt x="887049" y="578457"/>
                  <a:pt x="907183" y="577913"/>
                </a:cubicBezTo>
                <a:close/>
                <a:moveTo>
                  <a:pt x="1069891" y="574648"/>
                </a:moveTo>
                <a:cubicBezTo>
                  <a:pt x="1092202" y="574648"/>
                  <a:pt x="1111793" y="589885"/>
                  <a:pt x="1111248" y="615461"/>
                </a:cubicBezTo>
                <a:cubicBezTo>
                  <a:pt x="1111793" y="639405"/>
                  <a:pt x="1093835" y="656274"/>
                  <a:pt x="1070435" y="656274"/>
                </a:cubicBezTo>
                <a:cubicBezTo>
                  <a:pt x="1045403" y="656274"/>
                  <a:pt x="1029622" y="635052"/>
                  <a:pt x="1029622" y="614917"/>
                </a:cubicBezTo>
                <a:cubicBezTo>
                  <a:pt x="1030166" y="593150"/>
                  <a:pt x="1046491" y="574648"/>
                  <a:pt x="1069891" y="574648"/>
                </a:cubicBezTo>
                <a:close/>
                <a:moveTo>
                  <a:pt x="1235321" y="572472"/>
                </a:moveTo>
                <a:cubicBezTo>
                  <a:pt x="1256543" y="572472"/>
                  <a:pt x="1279399" y="590973"/>
                  <a:pt x="1277222" y="616550"/>
                </a:cubicBezTo>
                <a:cubicBezTo>
                  <a:pt x="1278855" y="639949"/>
                  <a:pt x="1255455" y="660084"/>
                  <a:pt x="1233688" y="660084"/>
                </a:cubicBezTo>
                <a:cubicBezTo>
                  <a:pt x="1211377" y="660084"/>
                  <a:pt x="1189610" y="637773"/>
                  <a:pt x="1190154" y="614917"/>
                </a:cubicBezTo>
                <a:cubicBezTo>
                  <a:pt x="1190698" y="594783"/>
                  <a:pt x="1209200" y="571927"/>
                  <a:pt x="1235321" y="572472"/>
                </a:cubicBezTo>
                <a:close/>
                <a:moveTo>
                  <a:pt x="1397485" y="569206"/>
                </a:moveTo>
                <a:cubicBezTo>
                  <a:pt x="1423606" y="569750"/>
                  <a:pt x="1443196" y="587708"/>
                  <a:pt x="1443196" y="616005"/>
                </a:cubicBezTo>
                <a:cubicBezTo>
                  <a:pt x="1443196" y="642670"/>
                  <a:pt x="1424150" y="661716"/>
                  <a:pt x="1396941" y="661172"/>
                </a:cubicBezTo>
                <a:cubicBezTo>
                  <a:pt x="1369188" y="661172"/>
                  <a:pt x="1350686" y="638860"/>
                  <a:pt x="1351775" y="614373"/>
                </a:cubicBezTo>
                <a:cubicBezTo>
                  <a:pt x="1352319" y="587164"/>
                  <a:pt x="1371365" y="569206"/>
                  <a:pt x="1397485" y="569206"/>
                </a:cubicBezTo>
                <a:close/>
                <a:moveTo>
                  <a:pt x="1560738" y="567029"/>
                </a:moveTo>
                <a:cubicBezTo>
                  <a:pt x="1586859" y="567029"/>
                  <a:pt x="1608082" y="587708"/>
                  <a:pt x="1609714" y="615461"/>
                </a:cubicBezTo>
                <a:cubicBezTo>
                  <a:pt x="1608082" y="641581"/>
                  <a:pt x="1589580" y="663892"/>
                  <a:pt x="1561283" y="663892"/>
                </a:cubicBezTo>
                <a:cubicBezTo>
                  <a:pt x="1534074" y="663892"/>
                  <a:pt x="1512851" y="642669"/>
                  <a:pt x="1512851" y="616005"/>
                </a:cubicBezTo>
                <a:cubicBezTo>
                  <a:pt x="1512851" y="587163"/>
                  <a:pt x="1535706" y="567029"/>
                  <a:pt x="1560738" y="567029"/>
                </a:cubicBezTo>
                <a:close/>
                <a:moveTo>
                  <a:pt x="1725624" y="565397"/>
                </a:moveTo>
                <a:cubicBezTo>
                  <a:pt x="1747935" y="565941"/>
                  <a:pt x="1775144" y="590429"/>
                  <a:pt x="1774599" y="616005"/>
                </a:cubicBezTo>
                <a:cubicBezTo>
                  <a:pt x="1774055" y="638317"/>
                  <a:pt x="1751744" y="668246"/>
                  <a:pt x="1723447" y="664981"/>
                </a:cubicBezTo>
                <a:cubicBezTo>
                  <a:pt x="1700592" y="667158"/>
                  <a:pt x="1674471" y="643758"/>
                  <a:pt x="1674471" y="615461"/>
                </a:cubicBezTo>
                <a:cubicBezTo>
                  <a:pt x="1674471" y="588797"/>
                  <a:pt x="1700592" y="565397"/>
                  <a:pt x="1725624" y="565397"/>
                </a:cubicBezTo>
                <a:close/>
                <a:moveTo>
                  <a:pt x="1886699" y="564853"/>
                </a:moveTo>
                <a:cubicBezTo>
                  <a:pt x="1914996" y="564309"/>
                  <a:pt x="1938396" y="589341"/>
                  <a:pt x="1938396" y="614917"/>
                </a:cubicBezTo>
                <a:cubicBezTo>
                  <a:pt x="1938396" y="640493"/>
                  <a:pt x="1917717" y="667702"/>
                  <a:pt x="1887787" y="665525"/>
                </a:cubicBezTo>
                <a:cubicBezTo>
                  <a:pt x="1860034" y="667702"/>
                  <a:pt x="1837723" y="644302"/>
                  <a:pt x="1837179" y="615461"/>
                </a:cubicBezTo>
                <a:cubicBezTo>
                  <a:pt x="1837179" y="586620"/>
                  <a:pt x="1861667" y="565397"/>
                  <a:pt x="1886699" y="564853"/>
                </a:cubicBezTo>
                <a:close/>
                <a:moveTo>
                  <a:pt x="2050496" y="564852"/>
                </a:moveTo>
                <a:lnTo>
                  <a:pt x="2051041" y="564962"/>
                </a:lnTo>
                <a:lnTo>
                  <a:pt x="2051041" y="665899"/>
                </a:lnTo>
                <a:lnTo>
                  <a:pt x="2049952" y="666069"/>
                </a:lnTo>
                <a:cubicBezTo>
                  <a:pt x="2018934" y="667157"/>
                  <a:pt x="1999344" y="642669"/>
                  <a:pt x="1999344" y="615460"/>
                </a:cubicBezTo>
                <a:cubicBezTo>
                  <a:pt x="1999344" y="587163"/>
                  <a:pt x="2021655" y="564852"/>
                  <a:pt x="2050496" y="564852"/>
                </a:cubicBezTo>
                <a:close/>
                <a:moveTo>
                  <a:pt x="173090" y="517509"/>
                </a:moveTo>
                <a:cubicBezTo>
                  <a:pt x="181252" y="517509"/>
                  <a:pt x="189415" y="525672"/>
                  <a:pt x="189959" y="533834"/>
                </a:cubicBezTo>
                <a:cubicBezTo>
                  <a:pt x="189959" y="542541"/>
                  <a:pt x="182341" y="550160"/>
                  <a:pt x="173634" y="550160"/>
                </a:cubicBezTo>
                <a:cubicBezTo>
                  <a:pt x="165471" y="550160"/>
                  <a:pt x="157853" y="543085"/>
                  <a:pt x="157308" y="534923"/>
                </a:cubicBezTo>
                <a:cubicBezTo>
                  <a:pt x="156764" y="526216"/>
                  <a:pt x="164383" y="518053"/>
                  <a:pt x="173090" y="517509"/>
                </a:cubicBezTo>
                <a:close/>
                <a:moveTo>
                  <a:pt x="335798" y="511523"/>
                </a:moveTo>
                <a:cubicBezTo>
                  <a:pt x="349947" y="512067"/>
                  <a:pt x="357565" y="519686"/>
                  <a:pt x="358654" y="533834"/>
                </a:cubicBezTo>
                <a:cubicBezTo>
                  <a:pt x="359742" y="547439"/>
                  <a:pt x="348314" y="557778"/>
                  <a:pt x="336343" y="556689"/>
                </a:cubicBezTo>
                <a:cubicBezTo>
                  <a:pt x="324371" y="558322"/>
                  <a:pt x="312943" y="545806"/>
                  <a:pt x="312943" y="534378"/>
                </a:cubicBezTo>
                <a:cubicBezTo>
                  <a:pt x="312943" y="522951"/>
                  <a:pt x="322738" y="510979"/>
                  <a:pt x="335798" y="511523"/>
                </a:cubicBezTo>
                <a:close/>
                <a:moveTo>
                  <a:pt x="500139" y="506626"/>
                </a:moveTo>
                <a:cubicBezTo>
                  <a:pt x="517553" y="507170"/>
                  <a:pt x="527892" y="517509"/>
                  <a:pt x="527348" y="535467"/>
                </a:cubicBezTo>
                <a:cubicBezTo>
                  <a:pt x="526804" y="552880"/>
                  <a:pt x="515920" y="562131"/>
                  <a:pt x="497963" y="561587"/>
                </a:cubicBezTo>
                <a:cubicBezTo>
                  <a:pt x="481093" y="561043"/>
                  <a:pt x="472386" y="550704"/>
                  <a:pt x="471842" y="533290"/>
                </a:cubicBezTo>
                <a:cubicBezTo>
                  <a:pt x="471298" y="516965"/>
                  <a:pt x="485447" y="506081"/>
                  <a:pt x="500139" y="506626"/>
                </a:cubicBezTo>
                <a:close/>
                <a:moveTo>
                  <a:pt x="662304" y="500639"/>
                </a:moveTo>
                <a:cubicBezTo>
                  <a:pt x="677540" y="497919"/>
                  <a:pt x="696587" y="518597"/>
                  <a:pt x="696042" y="533290"/>
                </a:cubicBezTo>
                <a:cubicBezTo>
                  <a:pt x="694954" y="551792"/>
                  <a:pt x="681894" y="565396"/>
                  <a:pt x="663392" y="566485"/>
                </a:cubicBezTo>
                <a:cubicBezTo>
                  <a:pt x="643802" y="567573"/>
                  <a:pt x="629653" y="549615"/>
                  <a:pt x="630197" y="534378"/>
                </a:cubicBezTo>
                <a:cubicBezTo>
                  <a:pt x="630741" y="515876"/>
                  <a:pt x="644346" y="501184"/>
                  <a:pt x="662304" y="500639"/>
                </a:cubicBezTo>
                <a:close/>
                <a:moveTo>
                  <a:pt x="825557" y="496830"/>
                </a:moveTo>
                <a:cubicBezTo>
                  <a:pt x="846780" y="496286"/>
                  <a:pt x="862561" y="513700"/>
                  <a:pt x="863649" y="534923"/>
                </a:cubicBezTo>
                <a:cubicBezTo>
                  <a:pt x="862017" y="556690"/>
                  <a:pt x="845147" y="571927"/>
                  <a:pt x="825557" y="571383"/>
                </a:cubicBezTo>
                <a:cubicBezTo>
                  <a:pt x="805422" y="570838"/>
                  <a:pt x="788553" y="555057"/>
                  <a:pt x="788553" y="534379"/>
                </a:cubicBezTo>
                <a:cubicBezTo>
                  <a:pt x="788553" y="514244"/>
                  <a:pt x="804334" y="497375"/>
                  <a:pt x="825557" y="496830"/>
                </a:cubicBezTo>
                <a:close/>
                <a:moveTo>
                  <a:pt x="989898" y="494110"/>
                </a:moveTo>
                <a:cubicBezTo>
                  <a:pt x="1012209" y="494654"/>
                  <a:pt x="1029622" y="513156"/>
                  <a:pt x="1029078" y="534923"/>
                </a:cubicBezTo>
                <a:cubicBezTo>
                  <a:pt x="1028534" y="556146"/>
                  <a:pt x="1010576" y="574104"/>
                  <a:pt x="989353" y="574104"/>
                </a:cubicBezTo>
                <a:cubicBezTo>
                  <a:pt x="969763" y="574648"/>
                  <a:pt x="947452" y="556690"/>
                  <a:pt x="949629" y="533835"/>
                </a:cubicBezTo>
                <a:cubicBezTo>
                  <a:pt x="947996" y="512068"/>
                  <a:pt x="968675" y="494110"/>
                  <a:pt x="989898" y="494110"/>
                </a:cubicBezTo>
                <a:close/>
                <a:moveTo>
                  <a:pt x="1152062" y="490301"/>
                </a:moveTo>
                <a:cubicBezTo>
                  <a:pt x="1174917" y="490301"/>
                  <a:pt x="1196140" y="509347"/>
                  <a:pt x="1196140" y="533835"/>
                </a:cubicBezTo>
                <a:cubicBezTo>
                  <a:pt x="1197228" y="558867"/>
                  <a:pt x="1173829" y="577913"/>
                  <a:pt x="1152606" y="577369"/>
                </a:cubicBezTo>
                <a:cubicBezTo>
                  <a:pt x="1130839" y="577369"/>
                  <a:pt x="1109616" y="556690"/>
                  <a:pt x="1109072" y="534379"/>
                </a:cubicBezTo>
                <a:cubicBezTo>
                  <a:pt x="1108528" y="510980"/>
                  <a:pt x="1128662" y="490301"/>
                  <a:pt x="1152062" y="490301"/>
                </a:cubicBezTo>
                <a:close/>
                <a:moveTo>
                  <a:pt x="1316947" y="489212"/>
                </a:moveTo>
                <a:cubicBezTo>
                  <a:pt x="1343612" y="489756"/>
                  <a:pt x="1361570" y="510435"/>
                  <a:pt x="1361570" y="534923"/>
                </a:cubicBezTo>
                <a:cubicBezTo>
                  <a:pt x="1361570" y="560499"/>
                  <a:pt x="1341980" y="580090"/>
                  <a:pt x="1315859" y="580090"/>
                </a:cubicBezTo>
                <a:cubicBezTo>
                  <a:pt x="1291915" y="580090"/>
                  <a:pt x="1269060" y="560499"/>
                  <a:pt x="1270693" y="533835"/>
                </a:cubicBezTo>
                <a:cubicBezTo>
                  <a:pt x="1269604" y="508258"/>
                  <a:pt x="1291371" y="488124"/>
                  <a:pt x="1316947" y="489212"/>
                </a:cubicBezTo>
                <a:close/>
                <a:moveTo>
                  <a:pt x="1479112" y="484315"/>
                </a:moveTo>
                <a:cubicBezTo>
                  <a:pt x="1503599" y="484315"/>
                  <a:pt x="1528087" y="508259"/>
                  <a:pt x="1528087" y="533835"/>
                </a:cubicBezTo>
                <a:cubicBezTo>
                  <a:pt x="1528087" y="558867"/>
                  <a:pt x="1506865" y="582267"/>
                  <a:pt x="1479656" y="582267"/>
                </a:cubicBezTo>
                <a:cubicBezTo>
                  <a:pt x="1453535" y="582267"/>
                  <a:pt x="1431224" y="560500"/>
                  <a:pt x="1431224" y="533835"/>
                </a:cubicBezTo>
                <a:cubicBezTo>
                  <a:pt x="1430680" y="506626"/>
                  <a:pt x="1454624" y="485403"/>
                  <a:pt x="1479112" y="484315"/>
                </a:cubicBezTo>
                <a:close/>
                <a:moveTo>
                  <a:pt x="1643452" y="484314"/>
                </a:moveTo>
                <a:cubicBezTo>
                  <a:pt x="1667396" y="481049"/>
                  <a:pt x="1693517" y="509891"/>
                  <a:pt x="1692973" y="534923"/>
                </a:cubicBezTo>
                <a:cubicBezTo>
                  <a:pt x="1692428" y="558867"/>
                  <a:pt x="1669573" y="584987"/>
                  <a:pt x="1641276" y="583898"/>
                </a:cubicBezTo>
                <a:cubicBezTo>
                  <a:pt x="1616788" y="583354"/>
                  <a:pt x="1592300" y="562676"/>
                  <a:pt x="1592300" y="532202"/>
                </a:cubicBezTo>
                <a:cubicBezTo>
                  <a:pt x="1592300" y="509891"/>
                  <a:pt x="1615155" y="481049"/>
                  <a:pt x="1643452" y="484314"/>
                </a:cubicBezTo>
                <a:close/>
                <a:moveTo>
                  <a:pt x="1806162" y="481594"/>
                </a:moveTo>
                <a:cubicBezTo>
                  <a:pt x="1839901" y="484859"/>
                  <a:pt x="1858947" y="504993"/>
                  <a:pt x="1857858" y="536011"/>
                </a:cubicBezTo>
                <a:cubicBezTo>
                  <a:pt x="1855682" y="568662"/>
                  <a:pt x="1834459" y="584987"/>
                  <a:pt x="1803441" y="586075"/>
                </a:cubicBezTo>
                <a:cubicBezTo>
                  <a:pt x="1775144" y="584443"/>
                  <a:pt x="1751744" y="559955"/>
                  <a:pt x="1753377" y="533290"/>
                </a:cubicBezTo>
                <a:cubicBezTo>
                  <a:pt x="1755009" y="504993"/>
                  <a:pt x="1780041" y="479417"/>
                  <a:pt x="1806162" y="481594"/>
                </a:cubicBezTo>
                <a:close/>
                <a:moveTo>
                  <a:pt x="1968326" y="480505"/>
                </a:moveTo>
                <a:cubicBezTo>
                  <a:pt x="1998256" y="483226"/>
                  <a:pt x="2020023" y="501728"/>
                  <a:pt x="2022200" y="534379"/>
                </a:cubicBezTo>
                <a:cubicBezTo>
                  <a:pt x="2023832" y="560499"/>
                  <a:pt x="1996079" y="588252"/>
                  <a:pt x="1969415" y="588252"/>
                </a:cubicBezTo>
                <a:cubicBezTo>
                  <a:pt x="1943294" y="588796"/>
                  <a:pt x="1916085" y="561587"/>
                  <a:pt x="1915541" y="534923"/>
                </a:cubicBezTo>
                <a:cubicBezTo>
                  <a:pt x="1914453" y="508258"/>
                  <a:pt x="1941117" y="480505"/>
                  <a:pt x="1968326" y="480505"/>
                </a:cubicBezTo>
                <a:close/>
                <a:moveTo>
                  <a:pt x="91464" y="440780"/>
                </a:moveTo>
                <a:cubicBezTo>
                  <a:pt x="99082" y="440780"/>
                  <a:pt x="102347" y="443501"/>
                  <a:pt x="102891" y="451664"/>
                </a:cubicBezTo>
                <a:cubicBezTo>
                  <a:pt x="102891" y="460915"/>
                  <a:pt x="100171" y="464179"/>
                  <a:pt x="92008" y="464179"/>
                </a:cubicBezTo>
                <a:cubicBezTo>
                  <a:pt x="83301" y="464179"/>
                  <a:pt x="80036" y="461459"/>
                  <a:pt x="80036" y="452752"/>
                </a:cubicBezTo>
                <a:cubicBezTo>
                  <a:pt x="80036" y="444045"/>
                  <a:pt x="83301" y="440780"/>
                  <a:pt x="91464" y="440780"/>
                </a:cubicBezTo>
                <a:close/>
                <a:moveTo>
                  <a:pt x="254172" y="430441"/>
                </a:moveTo>
                <a:cubicBezTo>
                  <a:pt x="263967" y="430441"/>
                  <a:pt x="276483" y="440236"/>
                  <a:pt x="275939" y="452208"/>
                </a:cubicBezTo>
                <a:cubicBezTo>
                  <a:pt x="275939" y="463092"/>
                  <a:pt x="265600" y="473975"/>
                  <a:pt x="254716" y="473975"/>
                </a:cubicBezTo>
                <a:cubicBezTo>
                  <a:pt x="244377" y="473975"/>
                  <a:pt x="232949" y="463092"/>
                  <a:pt x="232405" y="452752"/>
                </a:cubicBezTo>
                <a:cubicBezTo>
                  <a:pt x="232405" y="442413"/>
                  <a:pt x="243833" y="430985"/>
                  <a:pt x="254172" y="430441"/>
                </a:cubicBezTo>
                <a:close/>
                <a:moveTo>
                  <a:pt x="417969" y="424999"/>
                </a:moveTo>
                <a:cubicBezTo>
                  <a:pt x="432118" y="424999"/>
                  <a:pt x="444634" y="438059"/>
                  <a:pt x="444634" y="452752"/>
                </a:cubicBezTo>
                <a:cubicBezTo>
                  <a:pt x="445178" y="464180"/>
                  <a:pt x="432662" y="481049"/>
                  <a:pt x="417425" y="479417"/>
                </a:cubicBezTo>
                <a:cubicBezTo>
                  <a:pt x="405453" y="481049"/>
                  <a:pt x="389672" y="465268"/>
                  <a:pt x="390760" y="452208"/>
                </a:cubicBezTo>
                <a:cubicBezTo>
                  <a:pt x="391849" y="437515"/>
                  <a:pt x="403276" y="424999"/>
                  <a:pt x="417969" y="424999"/>
                </a:cubicBezTo>
                <a:close/>
                <a:moveTo>
                  <a:pt x="580677" y="419558"/>
                </a:moveTo>
                <a:cubicBezTo>
                  <a:pt x="596458" y="419013"/>
                  <a:pt x="612783" y="434795"/>
                  <a:pt x="612783" y="452208"/>
                </a:cubicBezTo>
                <a:cubicBezTo>
                  <a:pt x="612783" y="469622"/>
                  <a:pt x="599723" y="483226"/>
                  <a:pt x="581221" y="484315"/>
                </a:cubicBezTo>
                <a:cubicBezTo>
                  <a:pt x="561087" y="482138"/>
                  <a:pt x="549659" y="470710"/>
                  <a:pt x="549115" y="452208"/>
                </a:cubicBezTo>
                <a:cubicBezTo>
                  <a:pt x="548571" y="433162"/>
                  <a:pt x="564352" y="420102"/>
                  <a:pt x="580677" y="419558"/>
                </a:cubicBezTo>
                <a:close/>
                <a:moveTo>
                  <a:pt x="743931" y="415748"/>
                </a:moveTo>
                <a:cubicBezTo>
                  <a:pt x="761888" y="414660"/>
                  <a:pt x="779846" y="432618"/>
                  <a:pt x="780390" y="452208"/>
                </a:cubicBezTo>
                <a:cubicBezTo>
                  <a:pt x="780934" y="471254"/>
                  <a:pt x="764065" y="488668"/>
                  <a:pt x="744475" y="489212"/>
                </a:cubicBezTo>
                <a:cubicBezTo>
                  <a:pt x="727061" y="489212"/>
                  <a:pt x="709103" y="472342"/>
                  <a:pt x="708559" y="453840"/>
                </a:cubicBezTo>
                <a:cubicBezTo>
                  <a:pt x="707471" y="435883"/>
                  <a:pt x="725428" y="416836"/>
                  <a:pt x="743931" y="415748"/>
                </a:cubicBezTo>
                <a:close/>
                <a:moveTo>
                  <a:pt x="908271" y="414116"/>
                </a:moveTo>
                <a:cubicBezTo>
                  <a:pt x="927861" y="411395"/>
                  <a:pt x="946907" y="431529"/>
                  <a:pt x="946363" y="453296"/>
                </a:cubicBezTo>
                <a:cubicBezTo>
                  <a:pt x="946363" y="473975"/>
                  <a:pt x="927317" y="491933"/>
                  <a:pt x="906638" y="491933"/>
                </a:cubicBezTo>
                <a:cubicBezTo>
                  <a:pt x="887048" y="491933"/>
                  <a:pt x="866913" y="473431"/>
                  <a:pt x="868546" y="452208"/>
                </a:cubicBezTo>
                <a:cubicBezTo>
                  <a:pt x="870179" y="428808"/>
                  <a:pt x="884871" y="413571"/>
                  <a:pt x="908271" y="414116"/>
                </a:cubicBezTo>
                <a:close/>
                <a:moveTo>
                  <a:pt x="1072068" y="409218"/>
                </a:moveTo>
                <a:cubicBezTo>
                  <a:pt x="1097100" y="410307"/>
                  <a:pt x="1113970" y="427720"/>
                  <a:pt x="1113970" y="452752"/>
                </a:cubicBezTo>
                <a:cubicBezTo>
                  <a:pt x="1113970" y="478329"/>
                  <a:pt x="1092203" y="495198"/>
                  <a:pt x="1070436" y="495198"/>
                </a:cubicBezTo>
                <a:cubicBezTo>
                  <a:pt x="1048124" y="494654"/>
                  <a:pt x="1027446" y="475063"/>
                  <a:pt x="1028534" y="451120"/>
                </a:cubicBezTo>
                <a:cubicBezTo>
                  <a:pt x="1029622" y="427720"/>
                  <a:pt x="1048669" y="408130"/>
                  <a:pt x="1072068" y="409218"/>
                </a:cubicBezTo>
                <a:close/>
                <a:moveTo>
                  <a:pt x="1235865" y="408130"/>
                </a:moveTo>
                <a:cubicBezTo>
                  <a:pt x="1258721" y="405953"/>
                  <a:pt x="1279400" y="427176"/>
                  <a:pt x="1279400" y="453296"/>
                </a:cubicBezTo>
                <a:cubicBezTo>
                  <a:pt x="1278855" y="478328"/>
                  <a:pt x="1258177" y="497374"/>
                  <a:pt x="1233689" y="497374"/>
                </a:cubicBezTo>
                <a:cubicBezTo>
                  <a:pt x="1209745" y="496830"/>
                  <a:pt x="1189066" y="476151"/>
                  <a:pt x="1189611" y="451664"/>
                </a:cubicBezTo>
                <a:cubicBezTo>
                  <a:pt x="1189611" y="429352"/>
                  <a:pt x="1209201" y="404864"/>
                  <a:pt x="1235865" y="408130"/>
                </a:cubicBezTo>
                <a:close/>
                <a:moveTo>
                  <a:pt x="1396941" y="403776"/>
                </a:moveTo>
                <a:cubicBezTo>
                  <a:pt x="1425238" y="403232"/>
                  <a:pt x="1445373" y="423911"/>
                  <a:pt x="1446461" y="450575"/>
                </a:cubicBezTo>
                <a:cubicBezTo>
                  <a:pt x="1447005" y="476696"/>
                  <a:pt x="1426327" y="500096"/>
                  <a:pt x="1399118" y="500640"/>
                </a:cubicBezTo>
                <a:cubicBezTo>
                  <a:pt x="1372453" y="501184"/>
                  <a:pt x="1349598" y="479961"/>
                  <a:pt x="1349598" y="453296"/>
                </a:cubicBezTo>
                <a:cubicBezTo>
                  <a:pt x="1349598" y="424999"/>
                  <a:pt x="1370277" y="404865"/>
                  <a:pt x="1396941" y="403776"/>
                </a:cubicBezTo>
                <a:close/>
                <a:moveTo>
                  <a:pt x="1560738" y="402144"/>
                </a:moveTo>
                <a:cubicBezTo>
                  <a:pt x="1588491" y="402144"/>
                  <a:pt x="1611347" y="427176"/>
                  <a:pt x="1611347" y="453297"/>
                </a:cubicBezTo>
                <a:cubicBezTo>
                  <a:pt x="1610803" y="476152"/>
                  <a:pt x="1590668" y="502817"/>
                  <a:pt x="1560194" y="502272"/>
                </a:cubicBezTo>
                <a:cubicBezTo>
                  <a:pt x="1534074" y="501728"/>
                  <a:pt x="1508498" y="479961"/>
                  <a:pt x="1511218" y="451664"/>
                </a:cubicBezTo>
                <a:cubicBezTo>
                  <a:pt x="1508498" y="425544"/>
                  <a:pt x="1534618" y="402144"/>
                  <a:pt x="1560738" y="402144"/>
                </a:cubicBezTo>
                <a:close/>
                <a:moveTo>
                  <a:pt x="1723991" y="399423"/>
                </a:moveTo>
                <a:cubicBezTo>
                  <a:pt x="1756097" y="402688"/>
                  <a:pt x="1777320" y="422278"/>
                  <a:pt x="1776776" y="452752"/>
                </a:cubicBezTo>
                <a:cubicBezTo>
                  <a:pt x="1776232" y="483226"/>
                  <a:pt x="1757730" y="501728"/>
                  <a:pt x="1725079" y="504993"/>
                </a:cubicBezTo>
                <a:cubicBezTo>
                  <a:pt x="1697870" y="507714"/>
                  <a:pt x="1670117" y="479961"/>
                  <a:pt x="1671750" y="452752"/>
                </a:cubicBezTo>
                <a:cubicBezTo>
                  <a:pt x="1673382" y="420102"/>
                  <a:pt x="1692428" y="403232"/>
                  <a:pt x="1723991" y="399423"/>
                </a:cubicBezTo>
                <a:close/>
                <a:moveTo>
                  <a:pt x="2051040" y="398335"/>
                </a:moveTo>
                <a:lnTo>
                  <a:pt x="2051041" y="398335"/>
                </a:lnTo>
                <a:lnTo>
                  <a:pt x="2051041" y="506936"/>
                </a:lnTo>
                <a:lnTo>
                  <a:pt x="2049952" y="507170"/>
                </a:lnTo>
                <a:cubicBezTo>
                  <a:pt x="2020566" y="506626"/>
                  <a:pt x="1995534" y="481593"/>
                  <a:pt x="1995534" y="452208"/>
                </a:cubicBezTo>
                <a:cubicBezTo>
                  <a:pt x="1996078" y="424455"/>
                  <a:pt x="2021655" y="397246"/>
                  <a:pt x="2051040" y="398335"/>
                </a:cubicBezTo>
                <a:close/>
                <a:moveTo>
                  <a:pt x="1888332" y="398335"/>
                </a:moveTo>
                <a:cubicBezTo>
                  <a:pt x="1915541" y="398879"/>
                  <a:pt x="1941661" y="423911"/>
                  <a:pt x="1941661" y="452208"/>
                </a:cubicBezTo>
                <a:cubicBezTo>
                  <a:pt x="1941661" y="481594"/>
                  <a:pt x="1916085" y="507170"/>
                  <a:pt x="1886699" y="506082"/>
                </a:cubicBezTo>
                <a:cubicBezTo>
                  <a:pt x="1857314" y="505538"/>
                  <a:pt x="1833914" y="481594"/>
                  <a:pt x="1833370" y="452208"/>
                </a:cubicBezTo>
                <a:cubicBezTo>
                  <a:pt x="1833370" y="423911"/>
                  <a:pt x="1860035" y="398335"/>
                  <a:pt x="1888332" y="398335"/>
                </a:cubicBezTo>
                <a:close/>
                <a:moveTo>
                  <a:pt x="12014" y="364052"/>
                </a:moveTo>
                <a:cubicBezTo>
                  <a:pt x="13102" y="365140"/>
                  <a:pt x="15279" y="367317"/>
                  <a:pt x="15823" y="370038"/>
                </a:cubicBezTo>
                <a:cubicBezTo>
                  <a:pt x="16911" y="374391"/>
                  <a:pt x="14191" y="377656"/>
                  <a:pt x="9293" y="377656"/>
                </a:cubicBezTo>
                <a:cubicBezTo>
                  <a:pt x="4940" y="377656"/>
                  <a:pt x="3307" y="374936"/>
                  <a:pt x="3307" y="371126"/>
                </a:cubicBezTo>
                <a:cubicBezTo>
                  <a:pt x="3307" y="367317"/>
                  <a:pt x="4940" y="364052"/>
                  <a:pt x="12014" y="364052"/>
                </a:cubicBezTo>
                <a:close/>
                <a:moveTo>
                  <a:pt x="172545" y="353713"/>
                </a:moveTo>
                <a:cubicBezTo>
                  <a:pt x="184517" y="353713"/>
                  <a:pt x="190503" y="359154"/>
                  <a:pt x="190503" y="370582"/>
                </a:cubicBezTo>
                <a:cubicBezTo>
                  <a:pt x="190503" y="381466"/>
                  <a:pt x="184517" y="387996"/>
                  <a:pt x="173090" y="387996"/>
                </a:cubicBezTo>
                <a:cubicBezTo>
                  <a:pt x="163839" y="388540"/>
                  <a:pt x="155676" y="381466"/>
                  <a:pt x="155676" y="371126"/>
                </a:cubicBezTo>
                <a:cubicBezTo>
                  <a:pt x="155676" y="362419"/>
                  <a:pt x="161662" y="352080"/>
                  <a:pt x="172545" y="353713"/>
                </a:cubicBezTo>
                <a:close/>
                <a:moveTo>
                  <a:pt x="336886" y="345550"/>
                </a:moveTo>
                <a:cubicBezTo>
                  <a:pt x="350490" y="346094"/>
                  <a:pt x="362462" y="358610"/>
                  <a:pt x="361374" y="371670"/>
                </a:cubicBezTo>
                <a:cubicBezTo>
                  <a:pt x="360286" y="385275"/>
                  <a:pt x="348858" y="395614"/>
                  <a:pt x="335798" y="395070"/>
                </a:cubicBezTo>
                <a:cubicBezTo>
                  <a:pt x="319472" y="394526"/>
                  <a:pt x="311854" y="381466"/>
                  <a:pt x="311854" y="370038"/>
                </a:cubicBezTo>
                <a:cubicBezTo>
                  <a:pt x="311854" y="356978"/>
                  <a:pt x="324370" y="345550"/>
                  <a:pt x="336886" y="345550"/>
                </a:cubicBezTo>
                <a:close/>
                <a:moveTo>
                  <a:pt x="499596" y="342284"/>
                </a:moveTo>
                <a:cubicBezTo>
                  <a:pt x="518642" y="341196"/>
                  <a:pt x="528437" y="354256"/>
                  <a:pt x="528437" y="370582"/>
                </a:cubicBezTo>
                <a:cubicBezTo>
                  <a:pt x="528437" y="386363"/>
                  <a:pt x="518642" y="399967"/>
                  <a:pt x="499051" y="399423"/>
                </a:cubicBezTo>
                <a:cubicBezTo>
                  <a:pt x="481094" y="399423"/>
                  <a:pt x="470210" y="387995"/>
                  <a:pt x="470210" y="370037"/>
                </a:cubicBezTo>
                <a:cubicBezTo>
                  <a:pt x="470754" y="352624"/>
                  <a:pt x="481638" y="341740"/>
                  <a:pt x="499596" y="342284"/>
                </a:cubicBezTo>
                <a:close/>
                <a:moveTo>
                  <a:pt x="663392" y="337387"/>
                </a:moveTo>
                <a:cubicBezTo>
                  <a:pt x="680262" y="337387"/>
                  <a:pt x="697675" y="354801"/>
                  <a:pt x="697131" y="371126"/>
                </a:cubicBezTo>
                <a:cubicBezTo>
                  <a:pt x="696043" y="390172"/>
                  <a:pt x="682982" y="404321"/>
                  <a:pt x="662304" y="404321"/>
                </a:cubicBezTo>
                <a:cubicBezTo>
                  <a:pt x="643258" y="405953"/>
                  <a:pt x="629109" y="389084"/>
                  <a:pt x="629109" y="371126"/>
                </a:cubicBezTo>
                <a:cubicBezTo>
                  <a:pt x="629109" y="352624"/>
                  <a:pt x="645434" y="337387"/>
                  <a:pt x="663392" y="337387"/>
                </a:cubicBezTo>
                <a:close/>
                <a:moveTo>
                  <a:pt x="825556" y="332489"/>
                </a:moveTo>
                <a:cubicBezTo>
                  <a:pt x="847323" y="333577"/>
                  <a:pt x="864193" y="349358"/>
                  <a:pt x="864737" y="370037"/>
                </a:cubicBezTo>
                <a:cubicBezTo>
                  <a:pt x="864193" y="391260"/>
                  <a:pt x="847323" y="409218"/>
                  <a:pt x="826645" y="409218"/>
                </a:cubicBezTo>
                <a:cubicBezTo>
                  <a:pt x="808687" y="412483"/>
                  <a:pt x="788008" y="387995"/>
                  <a:pt x="787464" y="371126"/>
                </a:cubicBezTo>
                <a:cubicBezTo>
                  <a:pt x="787464" y="353712"/>
                  <a:pt x="808687" y="331945"/>
                  <a:pt x="825556" y="332489"/>
                </a:cubicBezTo>
                <a:close/>
                <a:moveTo>
                  <a:pt x="989898" y="328680"/>
                </a:moveTo>
                <a:cubicBezTo>
                  <a:pt x="1013297" y="329224"/>
                  <a:pt x="1030167" y="347182"/>
                  <a:pt x="1031255" y="371126"/>
                </a:cubicBezTo>
                <a:cubicBezTo>
                  <a:pt x="1029623" y="396702"/>
                  <a:pt x="1010576" y="413027"/>
                  <a:pt x="989354" y="413027"/>
                </a:cubicBezTo>
                <a:cubicBezTo>
                  <a:pt x="964866" y="412483"/>
                  <a:pt x="946908" y="393981"/>
                  <a:pt x="947452" y="370037"/>
                </a:cubicBezTo>
                <a:cubicBezTo>
                  <a:pt x="947996" y="346094"/>
                  <a:pt x="964866" y="328680"/>
                  <a:pt x="989898" y="328680"/>
                </a:cubicBezTo>
                <a:close/>
                <a:moveTo>
                  <a:pt x="1153150" y="326504"/>
                </a:moveTo>
                <a:cubicBezTo>
                  <a:pt x="1177094" y="326504"/>
                  <a:pt x="1197228" y="347727"/>
                  <a:pt x="1197228" y="370582"/>
                </a:cubicBezTo>
                <a:cubicBezTo>
                  <a:pt x="1197228" y="392894"/>
                  <a:pt x="1176550" y="417925"/>
                  <a:pt x="1152606" y="414661"/>
                </a:cubicBezTo>
                <a:cubicBezTo>
                  <a:pt x="1130295" y="417925"/>
                  <a:pt x="1107984" y="393982"/>
                  <a:pt x="1108528" y="370038"/>
                </a:cubicBezTo>
                <a:cubicBezTo>
                  <a:pt x="1109072" y="347727"/>
                  <a:pt x="1129751" y="326504"/>
                  <a:pt x="1153150" y="326504"/>
                </a:cubicBezTo>
                <a:close/>
                <a:moveTo>
                  <a:pt x="1317492" y="323239"/>
                </a:moveTo>
                <a:cubicBezTo>
                  <a:pt x="1341979" y="322151"/>
                  <a:pt x="1367012" y="348271"/>
                  <a:pt x="1364835" y="372215"/>
                </a:cubicBezTo>
                <a:cubicBezTo>
                  <a:pt x="1361026" y="399968"/>
                  <a:pt x="1344700" y="416837"/>
                  <a:pt x="1314771" y="419014"/>
                </a:cubicBezTo>
                <a:cubicBezTo>
                  <a:pt x="1286474" y="415205"/>
                  <a:pt x="1267972" y="398879"/>
                  <a:pt x="1268516" y="370582"/>
                </a:cubicBezTo>
                <a:cubicBezTo>
                  <a:pt x="1268516" y="341197"/>
                  <a:pt x="1288650" y="324327"/>
                  <a:pt x="1317492" y="323239"/>
                </a:cubicBezTo>
                <a:close/>
                <a:moveTo>
                  <a:pt x="1479112" y="320517"/>
                </a:moveTo>
                <a:cubicBezTo>
                  <a:pt x="1503600" y="319973"/>
                  <a:pt x="1530265" y="343917"/>
                  <a:pt x="1529720" y="371670"/>
                </a:cubicBezTo>
                <a:cubicBezTo>
                  <a:pt x="1528632" y="395069"/>
                  <a:pt x="1506321" y="423366"/>
                  <a:pt x="1478568" y="420101"/>
                </a:cubicBezTo>
                <a:cubicBezTo>
                  <a:pt x="1452447" y="422822"/>
                  <a:pt x="1429592" y="397246"/>
                  <a:pt x="1429592" y="370037"/>
                </a:cubicBezTo>
                <a:cubicBezTo>
                  <a:pt x="1429592" y="342284"/>
                  <a:pt x="1455713" y="320517"/>
                  <a:pt x="1479112" y="320517"/>
                </a:cubicBezTo>
                <a:close/>
                <a:moveTo>
                  <a:pt x="1642364" y="318341"/>
                </a:moveTo>
                <a:cubicBezTo>
                  <a:pt x="1670661" y="318341"/>
                  <a:pt x="1692973" y="339020"/>
                  <a:pt x="1695694" y="370582"/>
                </a:cubicBezTo>
                <a:cubicBezTo>
                  <a:pt x="1696238" y="397791"/>
                  <a:pt x="1671206" y="423367"/>
                  <a:pt x="1643453" y="424455"/>
                </a:cubicBezTo>
                <a:cubicBezTo>
                  <a:pt x="1616788" y="425544"/>
                  <a:pt x="1589035" y="398335"/>
                  <a:pt x="1589035" y="371670"/>
                </a:cubicBezTo>
                <a:cubicBezTo>
                  <a:pt x="1589035" y="345006"/>
                  <a:pt x="1615155" y="317797"/>
                  <a:pt x="1642364" y="318341"/>
                </a:cubicBezTo>
                <a:close/>
                <a:moveTo>
                  <a:pt x="90919" y="273718"/>
                </a:moveTo>
                <a:cubicBezTo>
                  <a:pt x="96361" y="273174"/>
                  <a:pt x="106156" y="282425"/>
                  <a:pt x="106700" y="288411"/>
                </a:cubicBezTo>
                <a:cubicBezTo>
                  <a:pt x="106700" y="294941"/>
                  <a:pt x="97993" y="303648"/>
                  <a:pt x="91463" y="303648"/>
                </a:cubicBezTo>
                <a:cubicBezTo>
                  <a:pt x="84933" y="303648"/>
                  <a:pt x="76226" y="294941"/>
                  <a:pt x="76770" y="288411"/>
                </a:cubicBezTo>
                <a:cubicBezTo>
                  <a:pt x="76770" y="283513"/>
                  <a:pt x="86021" y="274262"/>
                  <a:pt x="90919" y="273718"/>
                </a:cubicBezTo>
                <a:close/>
                <a:moveTo>
                  <a:pt x="254716" y="267733"/>
                </a:moveTo>
                <a:cubicBezTo>
                  <a:pt x="267776" y="267733"/>
                  <a:pt x="276483" y="276440"/>
                  <a:pt x="276483" y="288956"/>
                </a:cubicBezTo>
                <a:cubicBezTo>
                  <a:pt x="276483" y="301472"/>
                  <a:pt x="266688" y="311811"/>
                  <a:pt x="254172" y="311811"/>
                </a:cubicBezTo>
                <a:cubicBezTo>
                  <a:pt x="243289" y="311811"/>
                  <a:pt x="232405" y="300384"/>
                  <a:pt x="232405" y="289500"/>
                </a:cubicBezTo>
                <a:cubicBezTo>
                  <a:pt x="232405" y="276984"/>
                  <a:pt x="242744" y="267733"/>
                  <a:pt x="254716" y="267733"/>
                </a:cubicBezTo>
                <a:close/>
                <a:moveTo>
                  <a:pt x="1941117" y="263202"/>
                </a:moveTo>
                <a:cubicBezTo>
                  <a:pt x="1937852" y="261570"/>
                  <a:pt x="1936219" y="263202"/>
                  <a:pt x="1936219" y="266467"/>
                </a:cubicBezTo>
                <a:cubicBezTo>
                  <a:pt x="1936763" y="268644"/>
                  <a:pt x="1937852" y="270276"/>
                  <a:pt x="1938396" y="272453"/>
                </a:cubicBezTo>
                <a:cubicBezTo>
                  <a:pt x="1944382" y="290955"/>
                  <a:pt x="1943838" y="308913"/>
                  <a:pt x="1932954" y="325782"/>
                </a:cubicBezTo>
                <a:cubicBezTo>
                  <a:pt x="1931866" y="327415"/>
                  <a:pt x="1931866" y="329047"/>
                  <a:pt x="1930777" y="331224"/>
                </a:cubicBezTo>
                <a:cubicBezTo>
                  <a:pt x="1932410" y="331224"/>
                  <a:pt x="1935131" y="331224"/>
                  <a:pt x="1936219" y="330136"/>
                </a:cubicBezTo>
                <a:cubicBezTo>
                  <a:pt x="1945470" y="323061"/>
                  <a:pt x="1955265" y="320885"/>
                  <a:pt x="1966693" y="320340"/>
                </a:cubicBezTo>
                <a:cubicBezTo>
                  <a:pt x="1978121" y="319796"/>
                  <a:pt x="1989004" y="323061"/>
                  <a:pt x="1998799" y="328503"/>
                </a:cubicBezTo>
                <a:cubicBezTo>
                  <a:pt x="2000432" y="329047"/>
                  <a:pt x="2001520" y="329592"/>
                  <a:pt x="2003153" y="330136"/>
                </a:cubicBezTo>
                <a:cubicBezTo>
                  <a:pt x="2002609" y="328503"/>
                  <a:pt x="2002609" y="326326"/>
                  <a:pt x="2001520" y="324694"/>
                </a:cubicBezTo>
                <a:cubicBezTo>
                  <a:pt x="1999344" y="319796"/>
                  <a:pt x="1995534" y="314899"/>
                  <a:pt x="1994446" y="309457"/>
                </a:cubicBezTo>
                <a:cubicBezTo>
                  <a:pt x="1992269" y="295308"/>
                  <a:pt x="1990093" y="281160"/>
                  <a:pt x="1998255" y="267555"/>
                </a:cubicBezTo>
                <a:cubicBezTo>
                  <a:pt x="2000432" y="267555"/>
                  <a:pt x="2000432" y="265923"/>
                  <a:pt x="2000976" y="263746"/>
                </a:cubicBezTo>
                <a:cubicBezTo>
                  <a:pt x="1998799" y="263746"/>
                  <a:pt x="1996623" y="262658"/>
                  <a:pt x="1995534" y="263746"/>
                </a:cubicBezTo>
                <a:cubicBezTo>
                  <a:pt x="1977577" y="272997"/>
                  <a:pt x="1959075" y="272997"/>
                  <a:pt x="1941117" y="263202"/>
                </a:cubicBezTo>
                <a:close/>
                <a:moveTo>
                  <a:pt x="417425" y="262291"/>
                </a:moveTo>
                <a:cubicBezTo>
                  <a:pt x="434839" y="262291"/>
                  <a:pt x="445178" y="272086"/>
                  <a:pt x="445178" y="288956"/>
                </a:cubicBezTo>
                <a:cubicBezTo>
                  <a:pt x="445178" y="305825"/>
                  <a:pt x="434839" y="316164"/>
                  <a:pt x="417969" y="317253"/>
                </a:cubicBezTo>
                <a:cubicBezTo>
                  <a:pt x="404909" y="317797"/>
                  <a:pt x="389672" y="306369"/>
                  <a:pt x="390216" y="290044"/>
                </a:cubicBezTo>
                <a:cubicBezTo>
                  <a:pt x="391305" y="272086"/>
                  <a:pt x="400011" y="262291"/>
                  <a:pt x="417425" y="262291"/>
                </a:cubicBezTo>
                <a:close/>
                <a:moveTo>
                  <a:pt x="580678" y="256304"/>
                </a:moveTo>
                <a:cubicBezTo>
                  <a:pt x="596459" y="255760"/>
                  <a:pt x="616049" y="273174"/>
                  <a:pt x="613872" y="288955"/>
                </a:cubicBezTo>
                <a:cubicBezTo>
                  <a:pt x="615505" y="304736"/>
                  <a:pt x="598635" y="322150"/>
                  <a:pt x="581222" y="322150"/>
                </a:cubicBezTo>
                <a:cubicBezTo>
                  <a:pt x="564352" y="322150"/>
                  <a:pt x="548571" y="308001"/>
                  <a:pt x="548027" y="289499"/>
                </a:cubicBezTo>
                <a:cubicBezTo>
                  <a:pt x="547483" y="272086"/>
                  <a:pt x="565441" y="256849"/>
                  <a:pt x="580678" y="256304"/>
                </a:cubicBezTo>
                <a:close/>
                <a:moveTo>
                  <a:pt x="743930" y="251951"/>
                </a:moveTo>
                <a:cubicBezTo>
                  <a:pt x="764609" y="251951"/>
                  <a:pt x="782566" y="268820"/>
                  <a:pt x="782022" y="289499"/>
                </a:cubicBezTo>
                <a:cubicBezTo>
                  <a:pt x="781478" y="311266"/>
                  <a:pt x="765153" y="326503"/>
                  <a:pt x="744474" y="326503"/>
                </a:cubicBezTo>
                <a:cubicBezTo>
                  <a:pt x="723795" y="326503"/>
                  <a:pt x="708014" y="311266"/>
                  <a:pt x="707470" y="289499"/>
                </a:cubicBezTo>
                <a:cubicBezTo>
                  <a:pt x="706926" y="271541"/>
                  <a:pt x="722163" y="252495"/>
                  <a:pt x="743930" y="251951"/>
                </a:cubicBezTo>
                <a:close/>
                <a:moveTo>
                  <a:pt x="907183" y="249775"/>
                </a:moveTo>
                <a:cubicBezTo>
                  <a:pt x="929494" y="249775"/>
                  <a:pt x="946908" y="263924"/>
                  <a:pt x="947452" y="289500"/>
                </a:cubicBezTo>
                <a:cubicBezTo>
                  <a:pt x="947996" y="311811"/>
                  <a:pt x="931127" y="330313"/>
                  <a:pt x="908271" y="329225"/>
                </a:cubicBezTo>
                <a:cubicBezTo>
                  <a:pt x="885960" y="330857"/>
                  <a:pt x="868002" y="312355"/>
                  <a:pt x="867458" y="290044"/>
                </a:cubicBezTo>
                <a:cubicBezTo>
                  <a:pt x="867458" y="266100"/>
                  <a:pt x="884872" y="249775"/>
                  <a:pt x="907183" y="249775"/>
                </a:cubicBezTo>
                <a:close/>
                <a:moveTo>
                  <a:pt x="1070435" y="245965"/>
                </a:moveTo>
                <a:cubicBezTo>
                  <a:pt x="1093291" y="245421"/>
                  <a:pt x="1116146" y="264467"/>
                  <a:pt x="1114513" y="290043"/>
                </a:cubicBezTo>
                <a:cubicBezTo>
                  <a:pt x="1115602" y="312899"/>
                  <a:pt x="1092202" y="334122"/>
                  <a:pt x="1069347" y="333578"/>
                </a:cubicBezTo>
                <a:cubicBezTo>
                  <a:pt x="1047036" y="333034"/>
                  <a:pt x="1026357" y="311266"/>
                  <a:pt x="1026357" y="288955"/>
                </a:cubicBezTo>
                <a:cubicBezTo>
                  <a:pt x="1026901" y="268276"/>
                  <a:pt x="1045403" y="245965"/>
                  <a:pt x="1070435" y="245965"/>
                </a:cubicBezTo>
                <a:close/>
                <a:moveTo>
                  <a:pt x="1233689" y="241613"/>
                </a:moveTo>
                <a:cubicBezTo>
                  <a:pt x="1257632" y="241068"/>
                  <a:pt x="1281032" y="263924"/>
                  <a:pt x="1282120" y="288412"/>
                </a:cubicBezTo>
                <a:cubicBezTo>
                  <a:pt x="1282665" y="312900"/>
                  <a:pt x="1260898" y="336299"/>
                  <a:pt x="1235321" y="335755"/>
                </a:cubicBezTo>
                <a:cubicBezTo>
                  <a:pt x="1206480" y="335211"/>
                  <a:pt x="1190155" y="318886"/>
                  <a:pt x="1187434" y="289500"/>
                </a:cubicBezTo>
                <a:cubicBezTo>
                  <a:pt x="1184713" y="266100"/>
                  <a:pt x="1208657" y="242701"/>
                  <a:pt x="1233689" y="241613"/>
                </a:cubicBezTo>
                <a:close/>
                <a:moveTo>
                  <a:pt x="1397485" y="238891"/>
                </a:moveTo>
                <a:cubicBezTo>
                  <a:pt x="1421973" y="237259"/>
                  <a:pt x="1448638" y="264467"/>
                  <a:pt x="1448094" y="288955"/>
                </a:cubicBezTo>
                <a:cubicBezTo>
                  <a:pt x="1447005" y="312355"/>
                  <a:pt x="1424150" y="341196"/>
                  <a:pt x="1398029" y="338475"/>
                </a:cubicBezTo>
                <a:cubicBezTo>
                  <a:pt x="1372453" y="340652"/>
                  <a:pt x="1347421" y="315620"/>
                  <a:pt x="1348509" y="289499"/>
                </a:cubicBezTo>
                <a:cubicBezTo>
                  <a:pt x="1349598" y="261202"/>
                  <a:pt x="1369732" y="240524"/>
                  <a:pt x="1397485" y="238891"/>
                </a:cubicBezTo>
                <a:close/>
                <a:moveTo>
                  <a:pt x="1559650" y="237258"/>
                </a:moveTo>
                <a:cubicBezTo>
                  <a:pt x="1590668" y="236170"/>
                  <a:pt x="1611891" y="259570"/>
                  <a:pt x="1613523" y="288955"/>
                </a:cubicBezTo>
                <a:cubicBezTo>
                  <a:pt x="1613523" y="316164"/>
                  <a:pt x="1587403" y="342829"/>
                  <a:pt x="1560738" y="342829"/>
                </a:cubicBezTo>
                <a:cubicBezTo>
                  <a:pt x="1534618" y="342829"/>
                  <a:pt x="1505776" y="315620"/>
                  <a:pt x="1507953" y="289499"/>
                </a:cubicBezTo>
                <a:cubicBezTo>
                  <a:pt x="1510130" y="261202"/>
                  <a:pt x="1526455" y="238347"/>
                  <a:pt x="1559650" y="237258"/>
                </a:cubicBezTo>
                <a:close/>
                <a:moveTo>
                  <a:pt x="9837" y="198078"/>
                </a:moveTo>
                <a:cubicBezTo>
                  <a:pt x="14190" y="198078"/>
                  <a:pt x="19632" y="202976"/>
                  <a:pt x="19632" y="207873"/>
                </a:cubicBezTo>
                <a:cubicBezTo>
                  <a:pt x="19632" y="212227"/>
                  <a:pt x="14190" y="217668"/>
                  <a:pt x="10381" y="218213"/>
                </a:cubicBezTo>
                <a:cubicBezTo>
                  <a:pt x="5483" y="218757"/>
                  <a:pt x="-503" y="212771"/>
                  <a:pt x="42" y="207873"/>
                </a:cubicBezTo>
                <a:cubicBezTo>
                  <a:pt x="42" y="202976"/>
                  <a:pt x="5483" y="198078"/>
                  <a:pt x="9837" y="198078"/>
                </a:cubicBezTo>
                <a:close/>
                <a:moveTo>
                  <a:pt x="173090" y="187739"/>
                </a:moveTo>
                <a:cubicBezTo>
                  <a:pt x="183429" y="188283"/>
                  <a:pt x="192136" y="196990"/>
                  <a:pt x="192136" y="207329"/>
                </a:cubicBezTo>
                <a:cubicBezTo>
                  <a:pt x="192136" y="217669"/>
                  <a:pt x="182341" y="228008"/>
                  <a:pt x="172546" y="227464"/>
                </a:cubicBezTo>
                <a:cubicBezTo>
                  <a:pt x="163839" y="226920"/>
                  <a:pt x="154588" y="217669"/>
                  <a:pt x="154044" y="208418"/>
                </a:cubicBezTo>
                <a:cubicBezTo>
                  <a:pt x="153500" y="198078"/>
                  <a:pt x="162751" y="187739"/>
                  <a:pt x="173090" y="187739"/>
                </a:cubicBezTo>
                <a:close/>
                <a:moveTo>
                  <a:pt x="336887" y="182297"/>
                </a:moveTo>
                <a:cubicBezTo>
                  <a:pt x="350491" y="182841"/>
                  <a:pt x="361919" y="191548"/>
                  <a:pt x="363007" y="207329"/>
                </a:cubicBezTo>
                <a:cubicBezTo>
                  <a:pt x="363551" y="219845"/>
                  <a:pt x="349947" y="233449"/>
                  <a:pt x="336887" y="233994"/>
                </a:cubicBezTo>
                <a:cubicBezTo>
                  <a:pt x="324371" y="233994"/>
                  <a:pt x="311311" y="221478"/>
                  <a:pt x="310766" y="208961"/>
                </a:cubicBezTo>
                <a:cubicBezTo>
                  <a:pt x="310222" y="195357"/>
                  <a:pt x="323282" y="181753"/>
                  <a:pt x="336887" y="182297"/>
                </a:cubicBezTo>
                <a:close/>
                <a:moveTo>
                  <a:pt x="1856225" y="180487"/>
                </a:moveTo>
                <a:cubicBezTo>
                  <a:pt x="1856225" y="182664"/>
                  <a:pt x="1855137" y="184841"/>
                  <a:pt x="1855681" y="185929"/>
                </a:cubicBezTo>
                <a:cubicBezTo>
                  <a:pt x="1863844" y="206064"/>
                  <a:pt x="1863844" y="226198"/>
                  <a:pt x="1851872" y="244700"/>
                </a:cubicBezTo>
                <a:cubicBezTo>
                  <a:pt x="1851328" y="245788"/>
                  <a:pt x="1851328" y="246877"/>
                  <a:pt x="1851328" y="247965"/>
                </a:cubicBezTo>
                <a:cubicBezTo>
                  <a:pt x="1852416" y="247965"/>
                  <a:pt x="1854049" y="247965"/>
                  <a:pt x="1854593" y="247421"/>
                </a:cubicBezTo>
                <a:cubicBezTo>
                  <a:pt x="1868197" y="237082"/>
                  <a:pt x="1883434" y="237082"/>
                  <a:pt x="1899215" y="238714"/>
                </a:cubicBezTo>
                <a:cubicBezTo>
                  <a:pt x="1904113" y="239258"/>
                  <a:pt x="1909010" y="241979"/>
                  <a:pt x="1913908" y="243067"/>
                </a:cubicBezTo>
                <a:cubicBezTo>
                  <a:pt x="1915541" y="243612"/>
                  <a:pt x="1917173" y="242523"/>
                  <a:pt x="1918806" y="242523"/>
                </a:cubicBezTo>
                <a:cubicBezTo>
                  <a:pt x="1918806" y="240891"/>
                  <a:pt x="1918806" y="239258"/>
                  <a:pt x="1918261" y="238170"/>
                </a:cubicBezTo>
                <a:cubicBezTo>
                  <a:pt x="1908466" y="220756"/>
                  <a:pt x="1910099" y="203887"/>
                  <a:pt x="1917173" y="185929"/>
                </a:cubicBezTo>
                <a:cubicBezTo>
                  <a:pt x="1917717" y="184297"/>
                  <a:pt x="1917717" y="183208"/>
                  <a:pt x="1918261" y="181576"/>
                </a:cubicBezTo>
                <a:cubicBezTo>
                  <a:pt x="1916629" y="182120"/>
                  <a:pt x="1914996" y="182120"/>
                  <a:pt x="1913908" y="182664"/>
                </a:cubicBezTo>
                <a:cubicBezTo>
                  <a:pt x="1895950" y="189738"/>
                  <a:pt x="1877992" y="190827"/>
                  <a:pt x="1860579" y="180487"/>
                </a:cubicBezTo>
                <a:cubicBezTo>
                  <a:pt x="1858946" y="181031"/>
                  <a:pt x="1857858" y="181031"/>
                  <a:pt x="1856225" y="180487"/>
                </a:cubicBezTo>
                <a:close/>
                <a:moveTo>
                  <a:pt x="499595" y="175767"/>
                </a:moveTo>
                <a:cubicBezTo>
                  <a:pt x="514832" y="175767"/>
                  <a:pt x="531702" y="193181"/>
                  <a:pt x="531158" y="207874"/>
                </a:cubicBezTo>
                <a:cubicBezTo>
                  <a:pt x="530613" y="223110"/>
                  <a:pt x="513744" y="239980"/>
                  <a:pt x="498507" y="238347"/>
                </a:cubicBezTo>
                <a:cubicBezTo>
                  <a:pt x="479461" y="236715"/>
                  <a:pt x="469666" y="224743"/>
                  <a:pt x="468033" y="207329"/>
                </a:cubicBezTo>
                <a:cubicBezTo>
                  <a:pt x="466945" y="192636"/>
                  <a:pt x="484903" y="175767"/>
                  <a:pt x="499595" y="175767"/>
                </a:cubicBezTo>
                <a:close/>
                <a:moveTo>
                  <a:pt x="662304" y="173046"/>
                </a:moveTo>
                <a:cubicBezTo>
                  <a:pt x="683527" y="171958"/>
                  <a:pt x="698220" y="189916"/>
                  <a:pt x="697676" y="207873"/>
                </a:cubicBezTo>
                <a:cubicBezTo>
                  <a:pt x="697131" y="227464"/>
                  <a:pt x="684615" y="243245"/>
                  <a:pt x="662304" y="242156"/>
                </a:cubicBezTo>
                <a:cubicBezTo>
                  <a:pt x="639993" y="241612"/>
                  <a:pt x="628565" y="229096"/>
                  <a:pt x="628021" y="207873"/>
                </a:cubicBezTo>
                <a:cubicBezTo>
                  <a:pt x="628021" y="187739"/>
                  <a:pt x="642714" y="172502"/>
                  <a:pt x="662304" y="173046"/>
                </a:cubicBezTo>
                <a:close/>
                <a:moveTo>
                  <a:pt x="826645" y="168148"/>
                </a:moveTo>
                <a:cubicBezTo>
                  <a:pt x="844602" y="168148"/>
                  <a:pt x="867458" y="187194"/>
                  <a:pt x="864737" y="207329"/>
                </a:cubicBezTo>
                <a:cubicBezTo>
                  <a:pt x="867458" y="229096"/>
                  <a:pt x="844058" y="247054"/>
                  <a:pt x="826100" y="247054"/>
                </a:cubicBezTo>
                <a:cubicBezTo>
                  <a:pt x="808687" y="247054"/>
                  <a:pt x="787464" y="228552"/>
                  <a:pt x="787464" y="207873"/>
                </a:cubicBezTo>
                <a:cubicBezTo>
                  <a:pt x="787464" y="187194"/>
                  <a:pt x="807054" y="168148"/>
                  <a:pt x="826645" y="168148"/>
                </a:cubicBezTo>
                <a:close/>
                <a:moveTo>
                  <a:pt x="987721" y="164883"/>
                </a:moveTo>
                <a:cubicBezTo>
                  <a:pt x="1012209" y="164339"/>
                  <a:pt x="1030711" y="181753"/>
                  <a:pt x="1031799" y="207329"/>
                </a:cubicBezTo>
                <a:cubicBezTo>
                  <a:pt x="1031255" y="232361"/>
                  <a:pt x="1011665" y="250319"/>
                  <a:pt x="988809" y="250319"/>
                </a:cubicBezTo>
                <a:cubicBezTo>
                  <a:pt x="965954" y="250319"/>
                  <a:pt x="946364" y="231273"/>
                  <a:pt x="945819" y="208417"/>
                </a:cubicBezTo>
                <a:cubicBezTo>
                  <a:pt x="945275" y="185018"/>
                  <a:pt x="962689" y="165428"/>
                  <a:pt x="987721" y="164883"/>
                </a:cubicBezTo>
                <a:close/>
                <a:moveTo>
                  <a:pt x="1153150" y="162707"/>
                </a:moveTo>
                <a:cubicBezTo>
                  <a:pt x="1177638" y="161619"/>
                  <a:pt x="1197772" y="180665"/>
                  <a:pt x="1197772" y="207874"/>
                </a:cubicBezTo>
                <a:cubicBezTo>
                  <a:pt x="1197772" y="235083"/>
                  <a:pt x="1176005" y="253584"/>
                  <a:pt x="1151517" y="253584"/>
                </a:cubicBezTo>
                <a:cubicBezTo>
                  <a:pt x="1128118" y="253040"/>
                  <a:pt x="1106895" y="234538"/>
                  <a:pt x="1107439" y="207329"/>
                </a:cubicBezTo>
                <a:cubicBezTo>
                  <a:pt x="1107983" y="179576"/>
                  <a:pt x="1129206" y="161075"/>
                  <a:pt x="1153150" y="162707"/>
                </a:cubicBezTo>
                <a:close/>
                <a:moveTo>
                  <a:pt x="1315315" y="158353"/>
                </a:moveTo>
                <a:cubicBezTo>
                  <a:pt x="1341435" y="156177"/>
                  <a:pt x="1365923" y="184474"/>
                  <a:pt x="1365379" y="206785"/>
                </a:cubicBezTo>
                <a:cubicBezTo>
                  <a:pt x="1365379" y="229640"/>
                  <a:pt x="1344156" y="256849"/>
                  <a:pt x="1315859" y="256305"/>
                </a:cubicBezTo>
                <a:cubicBezTo>
                  <a:pt x="1290283" y="256305"/>
                  <a:pt x="1267427" y="233994"/>
                  <a:pt x="1266883" y="207873"/>
                </a:cubicBezTo>
                <a:cubicBezTo>
                  <a:pt x="1265795" y="181209"/>
                  <a:pt x="1292460" y="157265"/>
                  <a:pt x="1315315" y="158353"/>
                </a:cubicBezTo>
                <a:close/>
                <a:moveTo>
                  <a:pt x="1478567" y="156721"/>
                </a:moveTo>
                <a:cubicBezTo>
                  <a:pt x="1510129" y="156721"/>
                  <a:pt x="1530264" y="180665"/>
                  <a:pt x="1529720" y="207329"/>
                </a:cubicBezTo>
                <a:cubicBezTo>
                  <a:pt x="1530264" y="236715"/>
                  <a:pt x="1510129" y="258482"/>
                  <a:pt x="1478567" y="258482"/>
                </a:cubicBezTo>
                <a:cubicBezTo>
                  <a:pt x="1449182" y="257938"/>
                  <a:pt x="1428503" y="238892"/>
                  <a:pt x="1427959" y="207874"/>
                </a:cubicBezTo>
                <a:cubicBezTo>
                  <a:pt x="1427415" y="179576"/>
                  <a:pt x="1447549" y="156721"/>
                  <a:pt x="1478567" y="156721"/>
                </a:cubicBezTo>
                <a:close/>
                <a:moveTo>
                  <a:pt x="1644541" y="153456"/>
                </a:moveTo>
                <a:cubicBezTo>
                  <a:pt x="1672294" y="154544"/>
                  <a:pt x="1697870" y="180665"/>
                  <a:pt x="1697326" y="209506"/>
                </a:cubicBezTo>
                <a:cubicBezTo>
                  <a:pt x="1696782" y="238347"/>
                  <a:pt x="1669573" y="263924"/>
                  <a:pt x="1641276" y="262835"/>
                </a:cubicBezTo>
                <a:cubicBezTo>
                  <a:pt x="1612979" y="261203"/>
                  <a:pt x="1587402" y="236715"/>
                  <a:pt x="1587947" y="206785"/>
                </a:cubicBezTo>
                <a:cubicBezTo>
                  <a:pt x="1587947" y="180121"/>
                  <a:pt x="1613523" y="152368"/>
                  <a:pt x="1644541" y="153456"/>
                </a:cubicBezTo>
                <a:close/>
                <a:moveTo>
                  <a:pt x="91463" y="109922"/>
                </a:moveTo>
                <a:cubicBezTo>
                  <a:pt x="97993" y="109922"/>
                  <a:pt x="107244" y="119173"/>
                  <a:pt x="107244" y="126247"/>
                </a:cubicBezTo>
                <a:cubicBezTo>
                  <a:pt x="107788" y="132777"/>
                  <a:pt x="98537" y="142028"/>
                  <a:pt x="91463" y="142028"/>
                </a:cubicBezTo>
                <a:cubicBezTo>
                  <a:pt x="83845" y="142028"/>
                  <a:pt x="75682" y="133866"/>
                  <a:pt x="75682" y="126247"/>
                </a:cubicBezTo>
                <a:cubicBezTo>
                  <a:pt x="75682" y="118629"/>
                  <a:pt x="84389" y="109922"/>
                  <a:pt x="91463" y="109922"/>
                </a:cubicBezTo>
                <a:close/>
                <a:moveTo>
                  <a:pt x="1942341" y="104915"/>
                </a:moveTo>
                <a:cubicBezTo>
                  <a:pt x="1941389" y="105799"/>
                  <a:pt x="1941389" y="107840"/>
                  <a:pt x="1942205" y="111377"/>
                </a:cubicBezTo>
                <a:cubicBezTo>
                  <a:pt x="1943294" y="118451"/>
                  <a:pt x="1944926" y="124437"/>
                  <a:pt x="1946559" y="131511"/>
                </a:cubicBezTo>
                <a:cubicBezTo>
                  <a:pt x="1944382" y="139674"/>
                  <a:pt x="1941661" y="148381"/>
                  <a:pt x="1939484" y="157088"/>
                </a:cubicBezTo>
                <a:cubicBezTo>
                  <a:pt x="1939484" y="158176"/>
                  <a:pt x="1941117" y="160353"/>
                  <a:pt x="1941117" y="160353"/>
                </a:cubicBezTo>
                <a:cubicBezTo>
                  <a:pt x="1955810" y="154367"/>
                  <a:pt x="1971046" y="150558"/>
                  <a:pt x="1986828" y="157088"/>
                </a:cubicBezTo>
                <a:cubicBezTo>
                  <a:pt x="1987372" y="157088"/>
                  <a:pt x="1987916" y="157088"/>
                  <a:pt x="1987916" y="157088"/>
                </a:cubicBezTo>
                <a:cubicBezTo>
                  <a:pt x="1994990" y="157632"/>
                  <a:pt x="1996623" y="155999"/>
                  <a:pt x="1993902" y="150013"/>
                </a:cubicBezTo>
                <a:cubicBezTo>
                  <a:pt x="1988460" y="136409"/>
                  <a:pt x="1988460" y="123349"/>
                  <a:pt x="1993902" y="109744"/>
                </a:cubicBezTo>
                <a:cubicBezTo>
                  <a:pt x="1995534" y="105935"/>
                  <a:pt x="1994446" y="103214"/>
                  <a:pt x="1989004" y="105391"/>
                </a:cubicBezTo>
                <a:cubicBezTo>
                  <a:pt x="1975400" y="109744"/>
                  <a:pt x="1961796" y="109744"/>
                  <a:pt x="1948191" y="105391"/>
                </a:cubicBezTo>
                <a:cubicBezTo>
                  <a:pt x="1945198" y="104303"/>
                  <a:pt x="1943294" y="104031"/>
                  <a:pt x="1942341" y="104915"/>
                </a:cubicBezTo>
                <a:close/>
                <a:moveTo>
                  <a:pt x="255804" y="103392"/>
                </a:moveTo>
                <a:cubicBezTo>
                  <a:pt x="269409" y="103392"/>
                  <a:pt x="277571" y="112643"/>
                  <a:pt x="277571" y="126791"/>
                </a:cubicBezTo>
                <a:cubicBezTo>
                  <a:pt x="277027" y="139852"/>
                  <a:pt x="267776" y="148558"/>
                  <a:pt x="254172" y="148014"/>
                </a:cubicBezTo>
                <a:cubicBezTo>
                  <a:pt x="241112" y="148014"/>
                  <a:pt x="231861" y="138763"/>
                  <a:pt x="232405" y="125159"/>
                </a:cubicBezTo>
                <a:cubicBezTo>
                  <a:pt x="232405" y="112099"/>
                  <a:pt x="242200" y="102848"/>
                  <a:pt x="255804" y="103392"/>
                </a:cubicBezTo>
                <a:close/>
                <a:moveTo>
                  <a:pt x="1773511" y="99405"/>
                </a:moveTo>
                <a:cubicBezTo>
                  <a:pt x="1773511" y="102126"/>
                  <a:pt x="1772966" y="104303"/>
                  <a:pt x="1773511" y="107023"/>
                </a:cubicBezTo>
                <a:cubicBezTo>
                  <a:pt x="1776232" y="114098"/>
                  <a:pt x="1778408" y="121716"/>
                  <a:pt x="1780585" y="130423"/>
                </a:cubicBezTo>
                <a:cubicBezTo>
                  <a:pt x="1778408" y="139130"/>
                  <a:pt x="1775687" y="147293"/>
                  <a:pt x="1773511" y="155999"/>
                </a:cubicBezTo>
                <a:cubicBezTo>
                  <a:pt x="1772966" y="157632"/>
                  <a:pt x="1772966" y="160897"/>
                  <a:pt x="1774055" y="161985"/>
                </a:cubicBezTo>
                <a:cubicBezTo>
                  <a:pt x="1775143" y="163074"/>
                  <a:pt x="1778408" y="163074"/>
                  <a:pt x="1780041" y="162529"/>
                </a:cubicBezTo>
                <a:cubicBezTo>
                  <a:pt x="1789836" y="155455"/>
                  <a:pt x="1800719" y="157632"/>
                  <a:pt x="1811059" y="157632"/>
                </a:cubicBezTo>
                <a:cubicBezTo>
                  <a:pt x="1817589" y="157632"/>
                  <a:pt x="1824119" y="156543"/>
                  <a:pt x="1829561" y="161985"/>
                </a:cubicBezTo>
                <a:cubicBezTo>
                  <a:pt x="1830649" y="163074"/>
                  <a:pt x="1834458" y="161985"/>
                  <a:pt x="1836635" y="161985"/>
                </a:cubicBezTo>
                <a:cubicBezTo>
                  <a:pt x="1835547" y="160353"/>
                  <a:pt x="1835002" y="158720"/>
                  <a:pt x="1833914" y="157088"/>
                </a:cubicBezTo>
                <a:cubicBezTo>
                  <a:pt x="1826840" y="139674"/>
                  <a:pt x="1826296" y="121716"/>
                  <a:pt x="1834458" y="104303"/>
                </a:cubicBezTo>
                <a:cubicBezTo>
                  <a:pt x="1835002" y="102670"/>
                  <a:pt x="1835547" y="101038"/>
                  <a:pt x="1835547" y="99405"/>
                </a:cubicBezTo>
                <a:cubicBezTo>
                  <a:pt x="1833914" y="99949"/>
                  <a:pt x="1832282" y="99949"/>
                  <a:pt x="1831193" y="101038"/>
                </a:cubicBezTo>
                <a:cubicBezTo>
                  <a:pt x="1814324" y="109200"/>
                  <a:pt x="1797454" y="109200"/>
                  <a:pt x="1780041" y="101582"/>
                </a:cubicBezTo>
                <a:cubicBezTo>
                  <a:pt x="1777864" y="100493"/>
                  <a:pt x="1775687" y="100493"/>
                  <a:pt x="1773511" y="99405"/>
                </a:cubicBezTo>
                <a:close/>
                <a:moveTo>
                  <a:pt x="417424" y="97950"/>
                </a:moveTo>
                <a:cubicBezTo>
                  <a:pt x="435382" y="97950"/>
                  <a:pt x="445721" y="108289"/>
                  <a:pt x="445721" y="126247"/>
                </a:cubicBezTo>
                <a:cubicBezTo>
                  <a:pt x="445721" y="143661"/>
                  <a:pt x="435382" y="153456"/>
                  <a:pt x="417424" y="153456"/>
                </a:cubicBezTo>
                <a:cubicBezTo>
                  <a:pt x="402187" y="155088"/>
                  <a:pt x="389127" y="141484"/>
                  <a:pt x="390215" y="125159"/>
                </a:cubicBezTo>
                <a:cubicBezTo>
                  <a:pt x="391304" y="107745"/>
                  <a:pt x="400555" y="97950"/>
                  <a:pt x="417424" y="97950"/>
                </a:cubicBezTo>
                <a:close/>
                <a:moveTo>
                  <a:pt x="580677" y="92508"/>
                </a:moveTo>
                <a:cubicBezTo>
                  <a:pt x="599724" y="92508"/>
                  <a:pt x="613328" y="106112"/>
                  <a:pt x="614960" y="125159"/>
                </a:cubicBezTo>
                <a:cubicBezTo>
                  <a:pt x="616049" y="141484"/>
                  <a:pt x="598091" y="161618"/>
                  <a:pt x="581766" y="158353"/>
                </a:cubicBezTo>
                <a:cubicBezTo>
                  <a:pt x="561631" y="158353"/>
                  <a:pt x="548571" y="145293"/>
                  <a:pt x="548571" y="125703"/>
                </a:cubicBezTo>
                <a:cubicBezTo>
                  <a:pt x="548571" y="106657"/>
                  <a:pt x="562175" y="92508"/>
                  <a:pt x="580677" y="92508"/>
                </a:cubicBezTo>
                <a:close/>
                <a:moveTo>
                  <a:pt x="745019" y="88154"/>
                </a:moveTo>
                <a:cubicBezTo>
                  <a:pt x="763521" y="87610"/>
                  <a:pt x="783111" y="107745"/>
                  <a:pt x="782567" y="126791"/>
                </a:cubicBezTo>
                <a:cubicBezTo>
                  <a:pt x="782023" y="147469"/>
                  <a:pt x="761344" y="164339"/>
                  <a:pt x="743930" y="164339"/>
                </a:cubicBezTo>
                <a:cubicBezTo>
                  <a:pt x="723796" y="163795"/>
                  <a:pt x="705838" y="144204"/>
                  <a:pt x="706382" y="125702"/>
                </a:cubicBezTo>
                <a:cubicBezTo>
                  <a:pt x="706926" y="109377"/>
                  <a:pt x="723252" y="87066"/>
                  <a:pt x="745019" y="88154"/>
                </a:cubicBezTo>
                <a:close/>
                <a:moveTo>
                  <a:pt x="1685898" y="84712"/>
                </a:moveTo>
                <a:lnTo>
                  <a:pt x="1685681" y="85147"/>
                </a:lnTo>
                <a:lnTo>
                  <a:pt x="1685354" y="85256"/>
                </a:lnTo>
                <a:cubicBezTo>
                  <a:pt x="1685354" y="85256"/>
                  <a:pt x="1685898" y="84712"/>
                  <a:pt x="1685898" y="84712"/>
                </a:cubicBezTo>
                <a:close/>
                <a:moveTo>
                  <a:pt x="907183" y="84345"/>
                </a:moveTo>
                <a:cubicBezTo>
                  <a:pt x="916978" y="84345"/>
                  <a:pt x="926773" y="87610"/>
                  <a:pt x="934935" y="95228"/>
                </a:cubicBezTo>
                <a:cubicBezTo>
                  <a:pt x="944187" y="103935"/>
                  <a:pt x="946907" y="114819"/>
                  <a:pt x="949628" y="125158"/>
                </a:cubicBezTo>
                <a:cubicBezTo>
                  <a:pt x="946907" y="150190"/>
                  <a:pt x="932759" y="166515"/>
                  <a:pt x="908271" y="167060"/>
                </a:cubicBezTo>
                <a:cubicBezTo>
                  <a:pt x="884871" y="167604"/>
                  <a:pt x="867458" y="150734"/>
                  <a:pt x="866369" y="125702"/>
                </a:cubicBezTo>
                <a:cubicBezTo>
                  <a:pt x="865825" y="103935"/>
                  <a:pt x="884871" y="83801"/>
                  <a:pt x="907183" y="84345"/>
                </a:cubicBezTo>
                <a:close/>
                <a:moveTo>
                  <a:pt x="1070979" y="82169"/>
                </a:moveTo>
                <a:cubicBezTo>
                  <a:pt x="1095467" y="79448"/>
                  <a:pt x="1115602" y="103936"/>
                  <a:pt x="1115602" y="126247"/>
                </a:cubicBezTo>
                <a:cubicBezTo>
                  <a:pt x="1115602" y="148014"/>
                  <a:pt x="1094923" y="170325"/>
                  <a:pt x="1071524" y="170325"/>
                </a:cubicBezTo>
                <a:cubicBezTo>
                  <a:pt x="1047580" y="170325"/>
                  <a:pt x="1026357" y="148558"/>
                  <a:pt x="1026357" y="125703"/>
                </a:cubicBezTo>
                <a:cubicBezTo>
                  <a:pt x="1026357" y="103936"/>
                  <a:pt x="1047036" y="79448"/>
                  <a:pt x="1070979" y="82169"/>
                </a:cubicBezTo>
                <a:close/>
                <a:moveTo>
                  <a:pt x="1684811" y="82168"/>
                </a:moveTo>
                <a:cubicBezTo>
                  <a:pt x="1684811" y="82168"/>
                  <a:pt x="1684266" y="82713"/>
                  <a:pt x="1684266" y="82713"/>
                </a:cubicBezTo>
                <a:lnTo>
                  <a:pt x="1684469" y="82365"/>
                </a:lnTo>
                <a:close/>
                <a:moveTo>
                  <a:pt x="1234777" y="78360"/>
                </a:moveTo>
                <a:cubicBezTo>
                  <a:pt x="1259809" y="76727"/>
                  <a:pt x="1284297" y="101759"/>
                  <a:pt x="1282664" y="126791"/>
                </a:cubicBezTo>
                <a:cubicBezTo>
                  <a:pt x="1280487" y="152912"/>
                  <a:pt x="1264162" y="171958"/>
                  <a:pt x="1234232" y="174135"/>
                </a:cubicBezTo>
                <a:cubicBezTo>
                  <a:pt x="1205935" y="172502"/>
                  <a:pt x="1186345" y="153456"/>
                  <a:pt x="1186889" y="126791"/>
                </a:cubicBezTo>
                <a:cubicBezTo>
                  <a:pt x="1187433" y="96318"/>
                  <a:pt x="1207024" y="79992"/>
                  <a:pt x="1234777" y="78360"/>
                </a:cubicBezTo>
                <a:close/>
                <a:moveTo>
                  <a:pt x="1398574" y="76182"/>
                </a:moveTo>
                <a:cubicBezTo>
                  <a:pt x="1424150" y="74006"/>
                  <a:pt x="1448638" y="99582"/>
                  <a:pt x="1448094" y="127335"/>
                </a:cubicBezTo>
                <a:cubicBezTo>
                  <a:pt x="1447549" y="151823"/>
                  <a:pt x="1426327" y="176311"/>
                  <a:pt x="1396941" y="175766"/>
                </a:cubicBezTo>
                <a:cubicBezTo>
                  <a:pt x="1367011" y="175222"/>
                  <a:pt x="1347421" y="151278"/>
                  <a:pt x="1347421" y="125702"/>
                </a:cubicBezTo>
                <a:cubicBezTo>
                  <a:pt x="1347421" y="99038"/>
                  <a:pt x="1369732" y="74006"/>
                  <a:pt x="1398574" y="76182"/>
                </a:cubicBezTo>
                <a:close/>
                <a:moveTo>
                  <a:pt x="1561282" y="72373"/>
                </a:moveTo>
                <a:cubicBezTo>
                  <a:pt x="1588491" y="72373"/>
                  <a:pt x="1614611" y="96861"/>
                  <a:pt x="1614611" y="126247"/>
                </a:cubicBezTo>
                <a:cubicBezTo>
                  <a:pt x="1614067" y="155632"/>
                  <a:pt x="1590667" y="180120"/>
                  <a:pt x="1560738" y="179576"/>
                </a:cubicBezTo>
                <a:cubicBezTo>
                  <a:pt x="1530808" y="179576"/>
                  <a:pt x="1507953" y="156176"/>
                  <a:pt x="1507409" y="126247"/>
                </a:cubicBezTo>
                <a:cubicBezTo>
                  <a:pt x="1506864" y="96861"/>
                  <a:pt x="1532441" y="72373"/>
                  <a:pt x="1561282" y="72373"/>
                </a:cubicBezTo>
                <a:close/>
                <a:moveTo>
                  <a:pt x="10381" y="33737"/>
                </a:moveTo>
                <a:cubicBezTo>
                  <a:pt x="15822" y="33737"/>
                  <a:pt x="20720" y="39179"/>
                  <a:pt x="20720" y="45165"/>
                </a:cubicBezTo>
                <a:cubicBezTo>
                  <a:pt x="20176" y="50606"/>
                  <a:pt x="14734" y="55504"/>
                  <a:pt x="9292" y="54960"/>
                </a:cubicBezTo>
                <a:cubicBezTo>
                  <a:pt x="4395" y="54416"/>
                  <a:pt x="41" y="49518"/>
                  <a:pt x="41" y="44621"/>
                </a:cubicBezTo>
                <a:cubicBezTo>
                  <a:pt x="-503" y="38635"/>
                  <a:pt x="4395" y="33737"/>
                  <a:pt x="10381" y="33737"/>
                </a:cubicBezTo>
                <a:close/>
                <a:moveTo>
                  <a:pt x="172546" y="23942"/>
                </a:moveTo>
                <a:cubicBezTo>
                  <a:pt x="181796" y="22854"/>
                  <a:pt x="193224" y="34826"/>
                  <a:pt x="193224" y="44621"/>
                </a:cubicBezTo>
                <a:cubicBezTo>
                  <a:pt x="193224" y="53872"/>
                  <a:pt x="182341" y="64755"/>
                  <a:pt x="173090" y="64755"/>
                </a:cubicBezTo>
                <a:cubicBezTo>
                  <a:pt x="164383" y="64755"/>
                  <a:pt x="152411" y="52784"/>
                  <a:pt x="152411" y="44621"/>
                </a:cubicBezTo>
                <a:cubicBezTo>
                  <a:pt x="152411" y="36458"/>
                  <a:pt x="164927" y="24486"/>
                  <a:pt x="172546" y="23942"/>
                </a:cubicBezTo>
                <a:close/>
                <a:moveTo>
                  <a:pt x="1861123" y="22132"/>
                </a:moveTo>
                <a:cubicBezTo>
                  <a:pt x="1861123" y="26485"/>
                  <a:pt x="1860035" y="31383"/>
                  <a:pt x="1861123" y="35737"/>
                </a:cubicBezTo>
                <a:cubicBezTo>
                  <a:pt x="1863844" y="44443"/>
                  <a:pt x="1864932" y="52606"/>
                  <a:pt x="1861123" y="61313"/>
                </a:cubicBezTo>
                <a:cubicBezTo>
                  <a:pt x="1860035" y="64034"/>
                  <a:pt x="1860035" y="67299"/>
                  <a:pt x="1858946" y="72740"/>
                </a:cubicBezTo>
                <a:cubicBezTo>
                  <a:pt x="1858402" y="76550"/>
                  <a:pt x="1861123" y="77638"/>
                  <a:pt x="1866021" y="76550"/>
                </a:cubicBezTo>
                <a:cubicBezTo>
                  <a:pt x="1868741" y="76006"/>
                  <a:pt x="1871462" y="76006"/>
                  <a:pt x="1873639" y="74917"/>
                </a:cubicBezTo>
                <a:cubicBezTo>
                  <a:pt x="1882346" y="71108"/>
                  <a:pt x="1891053" y="71108"/>
                  <a:pt x="1900304" y="74373"/>
                </a:cubicBezTo>
                <a:cubicBezTo>
                  <a:pt x="1902480" y="75461"/>
                  <a:pt x="1905201" y="76006"/>
                  <a:pt x="1907922" y="76006"/>
                </a:cubicBezTo>
                <a:cubicBezTo>
                  <a:pt x="1912276" y="76550"/>
                  <a:pt x="1914996" y="75461"/>
                  <a:pt x="1912820" y="70020"/>
                </a:cubicBezTo>
                <a:cubicBezTo>
                  <a:pt x="1907378" y="55871"/>
                  <a:pt x="1906834" y="41178"/>
                  <a:pt x="1912820" y="27030"/>
                </a:cubicBezTo>
                <a:cubicBezTo>
                  <a:pt x="1914996" y="22132"/>
                  <a:pt x="1911731" y="21588"/>
                  <a:pt x="1908466" y="22132"/>
                </a:cubicBezTo>
                <a:cubicBezTo>
                  <a:pt x="1906290" y="22676"/>
                  <a:pt x="1904657" y="24309"/>
                  <a:pt x="1902480" y="24309"/>
                </a:cubicBezTo>
                <a:cubicBezTo>
                  <a:pt x="1892685" y="24309"/>
                  <a:pt x="1882890" y="24853"/>
                  <a:pt x="1873095" y="24309"/>
                </a:cubicBezTo>
                <a:cubicBezTo>
                  <a:pt x="1868741" y="24309"/>
                  <a:pt x="1864932" y="22676"/>
                  <a:pt x="1861123" y="22132"/>
                </a:cubicBezTo>
                <a:close/>
                <a:moveTo>
                  <a:pt x="336886" y="17412"/>
                </a:moveTo>
                <a:cubicBezTo>
                  <a:pt x="347770" y="17412"/>
                  <a:pt x="363551" y="31016"/>
                  <a:pt x="363007" y="44077"/>
                </a:cubicBezTo>
                <a:cubicBezTo>
                  <a:pt x="363007" y="57681"/>
                  <a:pt x="350491" y="70741"/>
                  <a:pt x="337431" y="71285"/>
                </a:cubicBezTo>
                <a:cubicBezTo>
                  <a:pt x="324370" y="71830"/>
                  <a:pt x="310766" y="58769"/>
                  <a:pt x="310222" y="45165"/>
                </a:cubicBezTo>
                <a:cubicBezTo>
                  <a:pt x="309678" y="31016"/>
                  <a:pt x="323282" y="17956"/>
                  <a:pt x="336886" y="17412"/>
                </a:cubicBezTo>
                <a:close/>
                <a:moveTo>
                  <a:pt x="498507" y="13059"/>
                </a:moveTo>
                <a:cubicBezTo>
                  <a:pt x="514832" y="11970"/>
                  <a:pt x="531702" y="28296"/>
                  <a:pt x="531702" y="44621"/>
                </a:cubicBezTo>
                <a:cubicBezTo>
                  <a:pt x="531702" y="60402"/>
                  <a:pt x="515376" y="76183"/>
                  <a:pt x="499595" y="76727"/>
                </a:cubicBezTo>
                <a:cubicBezTo>
                  <a:pt x="483270" y="76727"/>
                  <a:pt x="467489" y="61490"/>
                  <a:pt x="467489" y="45165"/>
                </a:cubicBezTo>
                <a:cubicBezTo>
                  <a:pt x="467489" y="28840"/>
                  <a:pt x="482182" y="13059"/>
                  <a:pt x="498507" y="13059"/>
                </a:cubicBezTo>
                <a:close/>
                <a:moveTo>
                  <a:pt x="662303" y="7616"/>
                </a:moveTo>
                <a:cubicBezTo>
                  <a:pt x="680805" y="7072"/>
                  <a:pt x="698763" y="25030"/>
                  <a:pt x="698763" y="44076"/>
                </a:cubicBezTo>
                <a:cubicBezTo>
                  <a:pt x="698763" y="62578"/>
                  <a:pt x="680261" y="81624"/>
                  <a:pt x="662303" y="81080"/>
                </a:cubicBezTo>
                <a:cubicBezTo>
                  <a:pt x="644346" y="80536"/>
                  <a:pt x="626932" y="62578"/>
                  <a:pt x="626932" y="44076"/>
                </a:cubicBezTo>
                <a:cubicBezTo>
                  <a:pt x="626932" y="25574"/>
                  <a:pt x="643257" y="8160"/>
                  <a:pt x="662303" y="7616"/>
                </a:cubicBezTo>
                <a:close/>
                <a:moveTo>
                  <a:pt x="825557" y="5440"/>
                </a:moveTo>
                <a:cubicBezTo>
                  <a:pt x="847868" y="5440"/>
                  <a:pt x="865281" y="23942"/>
                  <a:pt x="865281" y="44621"/>
                </a:cubicBezTo>
                <a:cubicBezTo>
                  <a:pt x="865281" y="63667"/>
                  <a:pt x="847324" y="85978"/>
                  <a:pt x="826101" y="83257"/>
                </a:cubicBezTo>
                <a:cubicBezTo>
                  <a:pt x="805422" y="85978"/>
                  <a:pt x="786920" y="64211"/>
                  <a:pt x="786920" y="44621"/>
                </a:cubicBezTo>
                <a:cubicBezTo>
                  <a:pt x="786920" y="22854"/>
                  <a:pt x="805422" y="5440"/>
                  <a:pt x="825557" y="5440"/>
                </a:cubicBezTo>
                <a:close/>
                <a:moveTo>
                  <a:pt x="989353" y="1086"/>
                </a:moveTo>
                <a:cubicBezTo>
                  <a:pt x="1013297" y="1086"/>
                  <a:pt x="1032343" y="21220"/>
                  <a:pt x="1032343" y="43532"/>
                </a:cubicBezTo>
                <a:cubicBezTo>
                  <a:pt x="1032887" y="66931"/>
                  <a:pt x="1012753" y="88698"/>
                  <a:pt x="989897" y="87610"/>
                </a:cubicBezTo>
                <a:cubicBezTo>
                  <a:pt x="967042" y="88698"/>
                  <a:pt x="945819" y="65843"/>
                  <a:pt x="945819" y="44620"/>
                </a:cubicBezTo>
                <a:cubicBezTo>
                  <a:pt x="945819" y="23941"/>
                  <a:pt x="964321" y="1086"/>
                  <a:pt x="989353" y="1086"/>
                </a:cubicBezTo>
                <a:close/>
                <a:moveTo>
                  <a:pt x="1614056" y="0"/>
                </a:moveTo>
                <a:lnTo>
                  <a:pt x="1675529" y="0"/>
                </a:lnTo>
                <a:lnTo>
                  <a:pt x="1682905" y="4720"/>
                </a:lnTo>
                <a:lnTo>
                  <a:pt x="1933639" y="4720"/>
                </a:lnTo>
                <a:cubicBezTo>
                  <a:pt x="1966059" y="4720"/>
                  <a:pt x="1995409" y="17861"/>
                  <a:pt x="2016655" y="39107"/>
                </a:cubicBezTo>
                <a:lnTo>
                  <a:pt x="2028934" y="57318"/>
                </a:lnTo>
                <a:lnTo>
                  <a:pt x="2026008" y="71108"/>
                </a:lnTo>
                <a:cubicBezTo>
                  <a:pt x="2023832" y="74917"/>
                  <a:pt x="2026552" y="77094"/>
                  <a:pt x="2030906" y="75461"/>
                </a:cubicBezTo>
                <a:lnTo>
                  <a:pt x="2039929" y="73627"/>
                </a:lnTo>
                <a:lnTo>
                  <a:pt x="2041815" y="76424"/>
                </a:lnTo>
                <a:cubicBezTo>
                  <a:pt x="2047756" y="90470"/>
                  <a:pt x="2051041" y="105912"/>
                  <a:pt x="2051041" y="122122"/>
                </a:cubicBezTo>
                <a:lnTo>
                  <a:pt x="2051041" y="186473"/>
                </a:lnTo>
                <a:lnTo>
                  <a:pt x="2029818" y="186473"/>
                </a:lnTo>
                <a:cubicBezTo>
                  <a:pt x="2023832" y="184297"/>
                  <a:pt x="2022743" y="185929"/>
                  <a:pt x="2023287" y="192459"/>
                </a:cubicBezTo>
                <a:cubicBezTo>
                  <a:pt x="2023287" y="193548"/>
                  <a:pt x="2023287" y="195180"/>
                  <a:pt x="2023832" y="196268"/>
                </a:cubicBezTo>
                <a:cubicBezTo>
                  <a:pt x="2028185" y="210961"/>
                  <a:pt x="2026008" y="225110"/>
                  <a:pt x="2019478" y="239258"/>
                </a:cubicBezTo>
                <a:cubicBezTo>
                  <a:pt x="2018934" y="240347"/>
                  <a:pt x="2019478" y="241979"/>
                  <a:pt x="2020022" y="242523"/>
                </a:cubicBezTo>
                <a:cubicBezTo>
                  <a:pt x="2020566" y="243067"/>
                  <a:pt x="2022743" y="243612"/>
                  <a:pt x="2023287" y="243067"/>
                </a:cubicBezTo>
                <a:cubicBezTo>
                  <a:pt x="2032266" y="238986"/>
                  <a:pt x="2041245" y="237082"/>
                  <a:pt x="2050224" y="237150"/>
                </a:cubicBezTo>
                <a:lnTo>
                  <a:pt x="2051041" y="237329"/>
                </a:lnTo>
                <a:lnTo>
                  <a:pt x="2051041" y="348996"/>
                </a:lnTo>
                <a:lnTo>
                  <a:pt x="2036552" y="347754"/>
                </a:lnTo>
                <a:cubicBezTo>
                  <a:pt x="2031178" y="346733"/>
                  <a:pt x="2026009" y="344829"/>
                  <a:pt x="2021111" y="341019"/>
                </a:cubicBezTo>
                <a:cubicBezTo>
                  <a:pt x="2020022" y="339931"/>
                  <a:pt x="2018390" y="339387"/>
                  <a:pt x="2016757" y="338842"/>
                </a:cubicBezTo>
                <a:cubicBezTo>
                  <a:pt x="2016757" y="340475"/>
                  <a:pt x="2016757" y="343196"/>
                  <a:pt x="2017301" y="344284"/>
                </a:cubicBezTo>
                <a:cubicBezTo>
                  <a:pt x="2022743" y="354079"/>
                  <a:pt x="2026008" y="364419"/>
                  <a:pt x="2025464" y="376391"/>
                </a:cubicBezTo>
                <a:cubicBezTo>
                  <a:pt x="2024376" y="398702"/>
                  <a:pt x="2014580" y="413939"/>
                  <a:pt x="1994446" y="424278"/>
                </a:cubicBezTo>
                <a:cubicBezTo>
                  <a:pt x="1972135" y="435706"/>
                  <a:pt x="1950912" y="431352"/>
                  <a:pt x="1933498" y="416115"/>
                </a:cubicBezTo>
                <a:cubicBezTo>
                  <a:pt x="1917173" y="401967"/>
                  <a:pt x="1908466" y="378567"/>
                  <a:pt x="1920438" y="352447"/>
                </a:cubicBezTo>
                <a:cubicBezTo>
                  <a:pt x="1922615" y="348093"/>
                  <a:pt x="1923703" y="343196"/>
                  <a:pt x="1925336" y="338298"/>
                </a:cubicBezTo>
                <a:cubicBezTo>
                  <a:pt x="1920982" y="339931"/>
                  <a:pt x="1916085" y="341563"/>
                  <a:pt x="1911731" y="343196"/>
                </a:cubicBezTo>
                <a:cubicBezTo>
                  <a:pt x="1907378" y="344828"/>
                  <a:pt x="1903024" y="347005"/>
                  <a:pt x="1898671" y="347005"/>
                </a:cubicBezTo>
                <a:cubicBezTo>
                  <a:pt x="1882890" y="348638"/>
                  <a:pt x="1867653" y="348638"/>
                  <a:pt x="1854593" y="336666"/>
                </a:cubicBezTo>
                <a:lnTo>
                  <a:pt x="1847690" y="333480"/>
                </a:lnTo>
                <a:lnTo>
                  <a:pt x="1852961" y="344461"/>
                </a:lnTo>
                <a:cubicBezTo>
                  <a:pt x="1868742" y="372214"/>
                  <a:pt x="1855137" y="408674"/>
                  <a:pt x="1826840" y="420646"/>
                </a:cubicBezTo>
                <a:cubicBezTo>
                  <a:pt x="1803441" y="430985"/>
                  <a:pt x="1777864" y="422278"/>
                  <a:pt x="1765893" y="408130"/>
                </a:cubicBezTo>
                <a:cubicBezTo>
                  <a:pt x="1749567" y="388539"/>
                  <a:pt x="1744126" y="368405"/>
                  <a:pt x="1759362" y="342829"/>
                </a:cubicBezTo>
                <a:cubicBezTo>
                  <a:pt x="1771199" y="322422"/>
                  <a:pt x="1795584" y="313341"/>
                  <a:pt x="1815991" y="317193"/>
                </a:cubicBezTo>
                <a:cubicBezTo>
                  <a:pt x="1822793" y="318477"/>
                  <a:pt x="1829153" y="321198"/>
                  <a:pt x="1834459" y="325415"/>
                </a:cubicBezTo>
                <a:lnTo>
                  <a:pt x="1845023" y="330169"/>
                </a:lnTo>
                <a:lnTo>
                  <a:pt x="1840444" y="321429"/>
                </a:lnTo>
                <a:cubicBezTo>
                  <a:pt x="1831193" y="306736"/>
                  <a:pt x="1832282" y="290955"/>
                  <a:pt x="1834458" y="275174"/>
                </a:cubicBezTo>
                <a:cubicBezTo>
                  <a:pt x="1835002" y="269732"/>
                  <a:pt x="1838812" y="265379"/>
                  <a:pt x="1840988" y="259937"/>
                </a:cubicBezTo>
                <a:cubicBezTo>
                  <a:pt x="1841533" y="258849"/>
                  <a:pt x="1842077" y="257216"/>
                  <a:pt x="1842077" y="255584"/>
                </a:cubicBezTo>
                <a:cubicBezTo>
                  <a:pt x="1840444" y="256128"/>
                  <a:pt x="1838812" y="256672"/>
                  <a:pt x="1837723" y="257216"/>
                </a:cubicBezTo>
                <a:cubicBezTo>
                  <a:pt x="1831193" y="259937"/>
                  <a:pt x="1824663" y="263746"/>
                  <a:pt x="1817589" y="264834"/>
                </a:cubicBezTo>
                <a:cubicBezTo>
                  <a:pt x="1799631" y="268100"/>
                  <a:pt x="1782762" y="264290"/>
                  <a:pt x="1768069" y="251774"/>
                </a:cubicBezTo>
                <a:lnTo>
                  <a:pt x="1764740" y="250110"/>
                </a:lnTo>
                <a:lnTo>
                  <a:pt x="1773510" y="267189"/>
                </a:lnTo>
                <a:cubicBezTo>
                  <a:pt x="1786571" y="292765"/>
                  <a:pt x="1773510" y="323239"/>
                  <a:pt x="1750655" y="336843"/>
                </a:cubicBezTo>
                <a:cubicBezTo>
                  <a:pt x="1721270" y="354257"/>
                  <a:pt x="1685354" y="337388"/>
                  <a:pt x="1673926" y="310723"/>
                </a:cubicBezTo>
                <a:cubicBezTo>
                  <a:pt x="1664675" y="289500"/>
                  <a:pt x="1669029" y="271542"/>
                  <a:pt x="1681545" y="254673"/>
                </a:cubicBezTo>
                <a:cubicBezTo>
                  <a:pt x="1694605" y="237803"/>
                  <a:pt x="1712563" y="231817"/>
                  <a:pt x="1733786" y="235083"/>
                </a:cubicBezTo>
                <a:cubicBezTo>
                  <a:pt x="1739771" y="236171"/>
                  <a:pt x="1745757" y="239980"/>
                  <a:pt x="1751743" y="242157"/>
                </a:cubicBezTo>
                <a:lnTo>
                  <a:pt x="1762506" y="246769"/>
                </a:lnTo>
                <a:lnTo>
                  <a:pt x="1757185" y="236537"/>
                </a:lnTo>
                <a:cubicBezTo>
                  <a:pt x="1747934" y="219668"/>
                  <a:pt x="1747390" y="203343"/>
                  <a:pt x="1756097" y="185929"/>
                </a:cubicBezTo>
                <a:cubicBezTo>
                  <a:pt x="1757185" y="183752"/>
                  <a:pt x="1756641" y="180487"/>
                  <a:pt x="1757185" y="177766"/>
                </a:cubicBezTo>
                <a:cubicBezTo>
                  <a:pt x="1754464" y="177766"/>
                  <a:pt x="1751199" y="177222"/>
                  <a:pt x="1749023" y="178311"/>
                </a:cubicBezTo>
                <a:cubicBezTo>
                  <a:pt x="1722358" y="193003"/>
                  <a:pt x="1688075" y="178855"/>
                  <a:pt x="1676103" y="154911"/>
                </a:cubicBezTo>
                <a:cubicBezTo>
                  <a:pt x="1665220" y="133688"/>
                  <a:pt x="1667396" y="113554"/>
                  <a:pt x="1681001" y="94507"/>
                </a:cubicBezTo>
                <a:lnTo>
                  <a:pt x="1685681" y="85147"/>
                </a:lnTo>
                <a:lnTo>
                  <a:pt x="1693517" y="82536"/>
                </a:lnTo>
                <a:cubicBezTo>
                  <a:pt x="1710930" y="71108"/>
                  <a:pt x="1728888" y="71108"/>
                  <a:pt x="1747934" y="77638"/>
                </a:cubicBezTo>
                <a:cubicBezTo>
                  <a:pt x="1750655" y="78726"/>
                  <a:pt x="1753920" y="78726"/>
                  <a:pt x="1756641" y="79271"/>
                </a:cubicBezTo>
                <a:cubicBezTo>
                  <a:pt x="1756097" y="76550"/>
                  <a:pt x="1755553" y="74373"/>
                  <a:pt x="1754464" y="71652"/>
                </a:cubicBezTo>
                <a:cubicBezTo>
                  <a:pt x="1753920" y="70564"/>
                  <a:pt x="1753376" y="69475"/>
                  <a:pt x="1752832" y="68387"/>
                </a:cubicBezTo>
                <a:cubicBezTo>
                  <a:pt x="1747934" y="52062"/>
                  <a:pt x="1747390" y="35737"/>
                  <a:pt x="1756097" y="20500"/>
                </a:cubicBezTo>
                <a:cubicBezTo>
                  <a:pt x="1756641" y="19411"/>
                  <a:pt x="1757185" y="16690"/>
                  <a:pt x="1756641" y="16146"/>
                </a:cubicBezTo>
                <a:cubicBezTo>
                  <a:pt x="1755553" y="15058"/>
                  <a:pt x="1753376" y="14514"/>
                  <a:pt x="1751744" y="15058"/>
                </a:cubicBezTo>
                <a:cubicBezTo>
                  <a:pt x="1747934" y="16146"/>
                  <a:pt x="1744669" y="19411"/>
                  <a:pt x="1741404" y="19955"/>
                </a:cubicBezTo>
                <a:cubicBezTo>
                  <a:pt x="1724535" y="21588"/>
                  <a:pt x="1707121" y="23765"/>
                  <a:pt x="1691884" y="11249"/>
                </a:cubicBezTo>
                <a:lnTo>
                  <a:pt x="1685645" y="8369"/>
                </a:lnTo>
                <a:lnTo>
                  <a:pt x="1688620" y="14691"/>
                </a:lnTo>
                <a:cubicBezTo>
                  <a:pt x="1700048" y="32648"/>
                  <a:pt x="1700048" y="50606"/>
                  <a:pt x="1691885" y="69652"/>
                </a:cubicBezTo>
                <a:lnTo>
                  <a:pt x="1684469" y="82365"/>
                </a:lnTo>
                <a:lnTo>
                  <a:pt x="1663044" y="94684"/>
                </a:lnTo>
                <a:cubicBezTo>
                  <a:pt x="1651072" y="101759"/>
                  <a:pt x="1638556" y="100126"/>
                  <a:pt x="1626584" y="96861"/>
                </a:cubicBezTo>
                <a:cubicBezTo>
                  <a:pt x="1608082" y="91419"/>
                  <a:pt x="1595566" y="78359"/>
                  <a:pt x="1590124" y="60401"/>
                </a:cubicBezTo>
                <a:cubicBezTo>
                  <a:pt x="1586315" y="48974"/>
                  <a:pt x="1586315" y="37002"/>
                  <a:pt x="1591757" y="25030"/>
                </a:cubicBezTo>
                <a:close/>
                <a:moveTo>
                  <a:pt x="1460066" y="0"/>
                </a:moveTo>
                <a:lnTo>
                  <a:pt x="1498513" y="0"/>
                </a:lnTo>
                <a:lnTo>
                  <a:pt x="1517204" y="8092"/>
                </a:lnTo>
                <a:cubicBezTo>
                  <a:pt x="1526183" y="17411"/>
                  <a:pt x="1531352" y="30199"/>
                  <a:pt x="1531896" y="45164"/>
                </a:cubicBezTo>
                <a:cubicBezTo>
                  <a:pt x="1532985" y="71829"/>
                  <a:pt x="1505776" y="97949"/>
                  <a:pt x="1479111" y="97949"/>
                </a:cubicBezTo>
                <a:cubicBezTo>
                  <a:pt x="1451902" y="97949"/>
                  <a:pt x="1425238" y="71829"/>
                  <a:pt x="1426870" y="45164"/>
                </a:cubicBezTo>
                <a:cubicBezTo>
                  <a:pt x="1427687" y="29655"/>
                  <a:pt x="1432720" y="16867"/>
                  <a:pt x="1441631" y="7684"/>
                </a:cubicBezTo>
                <a:close/>
                <a:moveTo>
                  <a:pt x="1296749" y="0"/>
                </a:moveTo>
                <a:lnTo>
                  <a:pt x="1335755" y="0"/>
                </a:lnTo>
                <a:lnTo>
                  <a:pt x="1350278" y="10270"/>
                </a:lnTo>
                <a:cubicBezTo>
                  <a:pt x="1359937" y="19861"/>
                  <a:pt x="1366467" y="32649"/>
                  <a:pt x="1365923" y="45165"/>
                </a:cubicBezTo>
                <a:cubicBezTo>
                  <a:pt x="1364291" y="71829"/>
                  <a:pt x="1343068" y="93052"/>
                  <a:pt x="1315315" y="93052"/>
                </a:cubicBezTo>
                <a:cubicBezTo>
                  <a:pt x="1290283" y="95229"/>
                  <a:pt x="1266339" y="69109"/>
                  <a:pt x="1266339" y="44076"/>
                </a:cubicBezTo>
                <a:cubicBezTo>
                  <a:pt x="1266339" y="30472"/>
                  <a:pt x="1273141" y="18228"/>
                  <a:pt x="1282732" y="9317"/>
                </a:cubicBezTo>
                <a:close/>
                <a:moveTo>
                  <a:pt x="1148085" y="0"/>
                </a:moveTo>
                <a:lnTo>
                  <a:pt x="1161802" y="0"/>
                </a:lnTo>
                <a:lnTo>
                  <a:pt x="1169637" y="1315"/>
                </a:lnTo>
                <a:cubicBezTo>
                  <a:pt x="1186447" y="8432"/>
                  <a:pt x="1199813" y="26798"/>
                  <a:pt x="1199405" y="45164"/>
                </a:cubicBezTo>
                <a:cubicBezTo>
                  <a:pt x="1198861" y="69652"/>
                  <a:pt x="1175462" y="93596"/>
                  <a:pt x="1151518" y="91419"/>
                </a:cubicBezTo>
                <a:cubicBezTo>
                  <a:pt x="1123765" y="88154"/>
                  <a:pt x="1109072" y="72373"/>
                  <a:pt x="1105807" y="44620"/>
                </a:cubicBezTo>
                <a:cubicBezTo>
                  <a:pt x="1107440" y="30472"/>
                  <a:pt x="1111657" y="19588"/>
                  <a:pt x="1119139" y="11902"/>
                </a:cubicBezTo>
                <a:close/>
              </a:path>
            </a:pathLst>
          </a:custGeom>
          <a:solidFill>
            <a:srgbClr val="9AA8C5">
              <a:alpha val="17000"/>
            </a:srgbClr>
          </a:solidFill>
          <a:ln w="5432" cap="flat">
            <a:noFill/>
            <a:prstDash val="solid"/>
            <a:miter/>
          </a:ln>
        </p:spPr>
        <p:txBody>
          <a:bodyPr rtlCol="0" anchor="ctr"/>
          <a:lstStyle/>
          <a:p>
            <a:endParaRPr lang="en-IN"/>
          </a:p>
        </p:txBody>
      </p:sp>
    </p:spTree>
    <p:extLst>
      <p:ext uri="{BB962C8B-B14F-4D97-AF65-F5344CB8AC3E}">
        <p14:creationId xmlns:p14="http://schemas.microsoft.com/office/powerpoint/2010/main" val="356948215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1_Header 2">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7FB65D9-A25E-4F64-A18C-2B6F457E5144}"/>
              </a:ext>
            </a:extLst>
          </p:cNvPr>
          <p:cNvGraphicFramePr>
            <a:graphicFrameLocks noChangeAspect="1"/>
          </p:cNvGraphicFramePr>
          <p:nvPr>
            <p:custDataLst>
              <p:tags r:id="rId1"/>
            </p:custDataLst>
            <p:extLst>
              <p:ext uri="{D42A27DB-BD31-4B8C-83A1-F6EECF244321}">
                <p14:modId xmlns:p14="http://schemas.microsoft.com/office/powerpoint/2010/main" val="16889482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0" imgH="393" progId="TCLayout.ActiveDocument.1">
                  <p:embed/>
                </p:oleObj>
              </mc:Choice>
              <mc:Fallback>
                <p:oleObj name="think-cell Slide" r:id="rId3" imgW="400" imgH="393" progId="TCLayout.ActiveDocument.1">
                  <p:embed/>
                  <p:pic>
                    <p:nvPicPr>
                      <p:cNvPr id="4" name="Object 3" hidden="1">
                        <a:extLst>
                          <a:ext uri="{FF2B5EF4-FFF2-40B4-BE49-F238E27FC236}">
                            <a16:creationId xmlns:a16="http://schemas.microsoft.com/office/drawing/2014/main" id="{17FB65D9-A25E-4F64-A18C-2B6F457E514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Title 11">
            <a:extLst>
              <a:ext uri="{FF2B5EF4-FFF2-40B4-BE49-F238E27FC236}">
                <a16:creationId xmlns:a16="http://schemas.microsoft.com/office/drawing/2014/main" id="{42DBC9BA-C3A4-427D-94AA-551C24394CA8}"/>
              </a:ext>
            </a:extLst>
          </p:cNvPr>
          <p:cNvSpPr>
            <a:spLocks noGrp="1"/>
          </p:cNvSpPr>
          <p:nvPr>
            <p:ph type="title" hasCustomPrompt="1"/>
          </p:nvPr>
        </p:nvSpPr>
        <p:spPr>
          <a:xfrm>
            <a:off x="464908" y="185817"/>
            <a:ext cx="10515600" cy="608663"/>
          </a:xfrm>
          <a:prstGeom prst="rect">
            <a:avLst/>
          </a:prstGeom>
        </p:spPr>
        <p:txBody>
          <a:bodyPr vert="horz" lIns="0" tIns="0" rIns="0" bIns="0" rtlCol="0" anchor="ctr">
            <a:normAutofit/>
          </a:bodyPr>
          <a:lstStyle>
            <a:lvl1pPr>
              <a:defRPr lang="en-US" sz="2600" dirty="0">
                <a:solidFill>
                  <a:srgbClr val="334D8B"/>
                </a:solidFill>
              </a:defRPr>
            </a:lvl1pPr>
          </a:lstStyle>
          <a:p>
            <a:pPr lvl="0"/>
            <a:r>
              <a:rPr lang="en-US"/>
              <a:t>Write your Heading here</a:t>
            </a:r>
          </a:p>
        </p:txBody>
      </p:sp>
      <p:sp>
        <p:nvSpPr>
          <p:cNvPr id="15" name="Slide Number Placeholder 5">
            <a:extLst>
              <a:ext uri="{FF2B5EF4-FFF2-40B4-BE49-F238E27FC236}">
                <a16:creationId xmlns:a16="http://schemas.microsoft.com/office/drawing/2014/main" id="{623FDD06-801D-42CD-A97F-91477B320D73}"/>
              </a:ext>
            </a:extLst>
          </p:cNvPr>
          <p:cNvSpPr txBox="1">
            <a:spLocks/>
          </p:cNvSpPr>
          <p:nvPr/>
        </p:nvSpPr>
        <p:spPr>
          <a:xfrm>
            <a:off x="11277600" y="6514918"/>
            <a:ext cx="609600" cy="261610"/>
          </a:xfrm>
          <a:prstGeom prst="rect">
            <a:avLst/>
          </a:prstGeom>
          <a:noFill/>
        </p:spPr>
        <p:txBody>
          <a:bodyPr>
            <a:spAutoFit/>
          </a:bodyPr>
          <a:lstStyle>
            <a:defPPr>
              <a:defRPr lang="en-US"/>
            </a:defPPr>
            <a:lvl1pPr marL="0" algn="ctr" defTabSz="914400" rtl="0" eaLnBrk="1" latinLnBrk="0" hangingPunct="1">
              <a:defRPr lang="en-US" sz="1800" kern="1200" smtClean="0">
                <a:solidFill>
                  <a:schemeClr val="bg1"/>
                </a:solidFill>
                <a:latin typeface="Tahoma" pitchFamily="34" charset="0"/>
                <a:ea typeface="Tahoma" pitchFamily="34" charset="0"/>
                <a:cs typeface="Tahoma"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fld id="{3413C1ED-5599-4BB6-878F-244F2E6B8E4A}" type="slidenum">
              <a:rPr lang="en-IN" sz="1100">
                <a:solidFill>
                  <a:prstClr val="black">
                    <a:lumMod val="50000"/>
                    <a:lumOff val="50000"/>
                  </a:prstClr>
                </a:solidFill>
              </a:rPr>
              <a:pPr fontAlgn="auto">
                <a:spcBef>
                  <a:spcPts val="0"/>
                </a:spcBef>
                <a:spcAft>
                  <a:spcPts val="0"/>
                </a:spcAft>
                <a:defRPr/>
              </a:pPr>
              <a:t>‹#›</a:t>
            </a:fld>
            <a:endParaRPr lang="en-IN" sz="1100">
              <a:solidFill>
                <a:prstClr val="black">
                  <a:lumMod val="50000"/>
                  <a:lumOff val="50000"/>
                </a:prstClr>
              </a:solidFill>
            </a:endParaRPr>
          </a:p>
        </p:txBody>
      </p:sp>
      <p:cxnSp>
        <p:nvCxnSpPr>
          <p:cNvPr id="6" name="Straight Connector 5">
            <a:extLst>
              <a:ext uri="{FF2B5EF4-FFF2-40B4-BE49-F238E27FC236}">
                <a16:creationId xmlns:a16="http://schemas.microsoft.com/office/drawing/2014/main" id="{F2515AFA-A079-DA47-9A97-FE0CE1B94EB7}"/>
              </a:ext>
            </a:extLst>
          </p:cNvPr>
          <p:cNvCxnSpPr>
            <a:cxnSpLocks/>
          </p:cNvCxnSpPr>
          <p:nvPr/>
        </p:nvCxnSpPr>
        <p:spPr>
          <a:xfrm>
            <a:off x="634034" y="2076830"/>
            <a:ext cx="2571412" cy="0"/>
          </a:xfrm>
          <a:prstGeom prst="line">
            <a:avLst/>
          </a:prstGeom>
          <a:ln w="12700">
            <a:solidFill>
              <a:srgbClr val="33ADAD"/>
            </a:solidFill>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2A133960-AA27-1F47-BC95-4517A482344B}"/>
              </a:ext>
            </a:extLst>
          </p:cNvPr>
          <p:cNvCxnSpPr>
            <a:cxnSpLocks/>
          </p:cNvCxnSpPr>
          <p:nvPr/>
        </p:nvCxnSpPr>
        <p:spPr>
          <a:xfrm>
            <a:off x="4811579" y="4562328"/>
            <a:ext cx="2569464" cy="0"/>
          </a:xfrm>
          <a:prstGeom prst="line">
            <a:avLst/>
          </a:prstGeom>
          <a:ln w="12700">
            <a:solidFill>
              <a:srgbClr val="33ADAD"/>
            </a:solidFill>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3823507D-4793-8E4C-8360-995B35436BB8}"/>
              </a:ext>
            </a:extLst>
          </p:cNvPr>
          <p:cNvCxnSpPr>
            <a:cxnSpLocks/>
          </p:cNvCxnSpPr>
          <p:nvPr/>
        </p:nvCxnSpPr>
        <p:spPr>
          <a:xfrm>
            <a:off x="635008" y="4562328"/>
            <a:ext cx="2569464" cy="0"/>
          </a:xfrm>
          <a:prstGeom prst="line">
            <a:avLst/>
          </a:prstGeom>
          <a:ln w="12700">
            <a:solidFill>
              <a:srgbClr val="33ADAD"/>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5312C0D-13F3-BB4A-BA7F-1CFA6E15EE39}"/>
              </a:ext>
            </a:extLst>
          </p:cNvPr>
          <p:cNvCxnSpPr>
            <a:cxnSpLocks/>
          </p:cNvCxnSpPr>
          <p:nvPr/>
        </p:nvCxnSpPr>
        <p:spPr>
          <a:xfrm>
            <a:off x="8713779" y="4562328"/>
            <a:ext cx="2569464" cy="0"/>
          </a:xfrm>
          <a:prstGeom prst="line">
            <a:avLst/>
          </a:prstGeom>
          <a:ln w="12700">
            <a:solidFill>
              <a:srgbClr val="33ADAD"/>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FFC95F05-C1DA-B042-B68B-A70F4AA97A28}"/>
              </a:ext>
            </a:extLst>
          </p:cNvPr>
          <p:cNvCxnSpPr>
            <a:cxnSpLocks/>
          </p:cNvCxnSpPr>
          <p:nvPr/>
        </p:nvCxnSpPr>
        <p:spPr>
          <a:xfrm>
            <a:off x="4811579" y="2076830"/>
            <a:ext cx="2569464" cy="0"/>
          </a:xfrm>
          <a:prstGeom prst="line">
            <a:avLst/>
          </a:prstGeom>
          <a:ln w="12700">
            <a:solidFill>
              <a:srgbClr val="33ADAD"/>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1D4D3208-0759-F64B-80D0-494D0FF2B409}"/>
              </a:ext>
            </a:extLst>
          </p:cNvPr>
          <p:cNvCxnSpPr>
            <a:cxnSpLocks/>
          </p:cNvCxnSpPr>
          <p:nvPr/>
        </p:nvCxnSpPr>
        <p:spPr>
          <a:xfrm>
            <a:off x="8713779" y="2076830"/>
            <a:ext cx="2569464" cy="0"/>
          </a:xfrm>
          <a:prstGeom prst="line">
            <a:avLst/>
          </a:prstGeom>
          <a:ln w="12700">
            <a:solidFill>
              <a:srgbClr val="33ADAD"/>
            </a:solidFill>
          </a:ln>
        </p:spPr>
        <p:style>
          <a:lnRef idx="1">
            <a:schemeClr val="accent1"/>
          </a:lnRef>
          <a:fillRef idx="0">
            <a:schemeClr val="accent1"/>
          </a:fillRef>
          <a:effectRef idx="0">
            <a:schemeClr val="accent1"/>
          </a:effectRef>
          <a:fontRef idx="minor">
            <a:schemeClr val="tx1"/>
          </a:fontRef>
        </p:style>
      </p:cxnSp>
      <p:sp>
        <p:nvSpPr>
          <p:cNvPr id="13" name="Text Placeholder 3">
            <a:extLst>
              <a:ext uri="{FF2B5EF4-FFF2-40B4-BE49-F238E27FC236}">
                <a16:creationId xmlns:a16="http://schemas.microsoft.com/office/drawing/2014/main" id="{4CE2C74A-A3F6-A247-A2B6-82FA21C549E3}"/>
              </a:ext>
            </a:extLst>
          </p:cNvPr>
          <p:cNvSpPr>
            <a:spLocks noGrp="1"/>
          </p:cNvSpPr>
          <p:nvPr>
            <p:ph type="body" sz="half" idx="2" hasCustomPrompt="1"/>
          </p:nvPr>
        </p:nvSpPr>
        <p:spPr>
          <a:xfrm>
            <a:off x="749373" y="2295862"/>
            <a:ext cx="2340734" cy="608663"/>
          </a:xfrm>
          <a:prstGeom prst="rect">
            <a:avLst/>
          </a:prstGeom>
        </p:spPr>
        <p:txBody>
          <a:bodyPr>
            <a:normAutofit/>
          </a:bodyPr>
          <a:lstStyle>
            <a:lvl1pPr marL="0" indent="0" algn="ctr">
              <a:buClr>
                <a:schemeClr val="accent3"/>
              </a:buClr>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Write your text here</a:t>
            </a:r>
          </a:p>
        </p:txBody>
      </p:sp>
      <p:sp>
        <p:nvSpPr>
          <p:cNvPr id="17" name="Text Placeholder 3">
            <a:extLst>
              <a:ext uri="{FF2B5EF4-FFF2-40B4-BE49-F238E27FC236}">
                <a16:creationId xmlns:a16="http://schemas.microsoft.com/office/drawing/2014/main" id="{37779FAB-07B5-7343-83D8-744FF392B2EB}"/>
              </a:ext>
            </a:extLst>
          </p:cNvPr>
          <p:cNvSpPr>
            <a:spLocks noGrp="1"/>
          </p:cNvSpPr>
          <p:nvPr>
            <p:ph type="body" sz="half" idx="10" hasCustomPrompt="1"/>
          </p:nvPr>
        </p:nvSpPr>
        <p:spPr>
          <a:xfrm>
            <a:off x="4925944" y="2282610"/>
            <a:ext cx="2340734" cy="608663"/>
          </a:xfrm>
          <a:prstGeom prst="rect">
            <a:avLst/>
          </a:prstGeom>
        </p:spPr>
        <p:txBody>
          <a:bodyPr>
            <a:normAutofit/>
          </a:bodyPr>
          <a:lstStyle>
            <a:lvl1pPr marL="0" indent="0" algn="ctr">
              <a:buClr>
                <a:schemeClr val="accent3"/>
              </a:buClr>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Write your text here</a:t>
            </a:r>
          </a:p>
        </p:txBody>
      </p:sp>
      <p:sp>
        <p:nvSpPr>
          <p:cNvPr id="18" name="Text Placeholder 3">
            <a:extLst>
              <a:ext uri="{FF2B5EF4-FFF2-40B4-BE49-F238E27FC236}">
                <a16:creationId xmlns:a16="http://schemas.microsoft.com/office/drawing/2014/main" id="{CBB22329-98EB-3C48-BF83-01FA427AA91E}"/>
              </a:ext>
            </a:extLst>
          </p:cNvPr>
          <p:cNvSpPr>
            <a:spLocks noGrp="1"/>
          </p:cNvSpPr>
          <p:nvPr>
            <p:ph type="body" sz="half" idx="11" hasCustomPrompt="1"/>
          </p:nvPr>
        </p:nvSpPr>
        <p:spPr>
          <a:xfrm>
            <a:off x="8828144" y="2189845"/>
            <a:ext cx="2340734" cy="608663"/>
          </a:xfrm>
          <a:prstGeom prst="rect">
            <a:avLst/>
          </a:prstGeom>
        </p:spPr>
        <p:txBody>
          <a:bodyPr>
            <a:normAutofit/>
          </a:bodyPr>
          <a:lstStyle>
            <a:lvl1pPr marL="0" indent="0" algn="ctr">
              <a:buClr>
                <a:schemeClr val="accent3"/>
              </a:buClr>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Write your text here</a:t>
            </a:r>
          </a:p>
        </p:txBody>
      </p:sp>
      <p:sp>
        <p:nvSpPr>
          <p:cNvPr id="19" name="Text Placeholder 3">
            <a:extLst>
              <a:ext uri="{FF2B5EF4-FFF2-40B4-BE49-F238E27FC236}">
                <a16:creationId xmlns:a16="http://schemas.microsoft.com/office/drawing/2014/main" id="{1C504C75-5A39-D44C-B548-9A07AFB12F5F}"/>
              </a:ext>
            </a:extLst>
          </p:cNvPr>
          <p:cNvSpPr>
            <a:spLocks noGrp="1"/>
          </p:cNvSpPr>
          <p:nvPr>
            <p:ph type="body" sz="half" idx="12" hasCustomPrompt="1"/>
          </p:nvPr>
        </p:nvSpPr>
        <p:spPr>
          <a:xfrm>
            <a:off x="8828144" y="4813776"/>
            <a:ext cx="2340734" cy="608663"/>
          </a:xfrm>
          <a:prstGeom prst="rect">
            <a:avLst/>
          </a:prstGeom>
        </p:spPr>
        <p:txBody>
          <a:bodyPr>
            <a:normAutofit/>
          </a:bodyPr>
          <a:lstStyle>
            <a:lvl1pPr marL="0" indent="0" algn="ctr">
              <a:buClr>
                <a:schemeClr val="accent3"/>
              </a:buClr>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Write your text here</a:t>
            </a:r>
          </a:p>
        </p:txBody>
      </p:sp>
      <p:sp>
        <p:nvSpPr>
          <p:cNvPr id="20" name="Text Placeholder 3">
            <a:extLst>
              <a:ext uri="{FF2B5EF4-FFF2-40B4-BE49-F238E27FC236}">
                <a16:creationId xmlns:a16="http://schemas.microsoft.com/office/drawing/2014/main" id="{9FAB3876-2FFD-8142-8206-2D21FDA31F6F}"/>
              </a:ext>
            </a:extLst>
          </p:cNvPr>
          <p:cNvSpPr>
            <a:spLocks noGrp="1"/>
          </p:cNvSpPr>
          <p:nvPr>
            <p:ph type="body" sz="half" idx="13" hasCustomPrompt="1"/>
          </p:nvPr>
        </p:nvSpPr>
        <p:spPr>
          <a:xfrm>
            <a:off x="4925944" y="4813776"/>
            <a:ext cx="2340734" cy="608663"/>
          </a:xfrm>
          <a:prstGeom prst="rect">
            <a:avLst/>
          </a:prstGeom>
        </p:spPr>
        <p:txBody>
          <a:bodyPr>
            <a:normAutofit/>
          </a:bodyPr>
          <a:lstStyle>
            <a:lvl1pPr marL="0" indent="0" algn="ctr">
              <a:buClr>
                <a:schemeClr val="accent3"/>
              </a:buClr>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Write your text here</a:t>
            </a:r>
          </a:p>
        </p:txBody>
      </p:sp>
      <p:sp>
        <p:nvSpPr>
          <p:cNvPr id="21" name="Text Placeholder 3">
            <a:extLst>
              <a:ext uri="{FF2B5EF4-FFF2-40B4-BE49-F238E27FC236}">
                <a16:creationId xmlns:a16="http://schemas.microsoft.com/office/drawing/2014/main" id="{94B9D3E6-EA3D-B64E-BE53-59E748987A6A}"/>
              </a:ext>
            </a:extLst>
          </p:cNvPr>
          <p:cNvSpPr>
            <a:spLocks noGrp="1"/>
          </p:cNvSpPr>
          <p:nvPr>
            <p:ph type="body" sz="half" idx="14" hasCustomPrompt="1"/>
          </p:nvPr>
        </p:nvSpPr>
        <p:spPr>
          <a:xfrm>
            <a:off x="749373" y="4813776"/>
            <a:ext cx="2340734" cy="608663"/>
          </a:xfrm>
          <a:prstGeom prst="rect">
            <a:avLst/>
          </a:prstGeom>
        </p:spPr>
        <p:txBody>
          <a:bodyPr>
            <a:normAutofit/>
          </a:bodyPr>
          <a:lstStyle>
            <a:lvl1pPr marL="0" indent="0" algn="ctr">
              <a:buClr>
                <a:schemeClr val="accent3"/>
              </a:buClr>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Write your text here</a:t>
            </a:r>
          </a:p>
        </p:txBody>
      </p:sp>
      <p:sp>
        <p:nvSpPr>
          <p:cNvPr id="3" name="Picture Placeholder 2">
            <a:extLst>
              <a:ext uri="{FF2B5EF4-FFF2-40B4-BE49-F238E27FC236}">
                <a16:creationId xmlns:a16="http://schemas.microsoft.com/office/drawing/2014/main" id="{3B9C0C68-5443-C442-8E55-BE64103C16E3}"/>
              </a:ext>
            </a:extLst>
          </p:cNvPr>
          <p:cNvSpPr>
            <a:spLocks noGrp="1"/>
          </p:cNvSpPr>
          <p:nvPr>
            <p:ph type="pic" sz="quarter" idx="15" hasCustomPrompt="1"/>
          </p:nvPr>
        </p:nvSpPr>
        <p:spPr>
          <a:xfrm>
            <a:off x="810078" y="1451110"/>
            <a:ext cx="2219325" cy="530225"/>
          </a:xfrm>
          <a:prstGeom prst="rect">
            <a:avLst/>
          </a:prstGeom>
          <a:solidFill>
            <a:schemeClr val="bg1">
              <a:lumMod val="95000"/>
            </a:schemeClr>
          </a:solidFill>
        </p:spPr>
        <p:txBody>
          <a:bodyPr anchor="ctr"/>
          <a:lstStyle>
            <a:lvl1pPr algn="ctr">
              <a:defRPr/>
            </a:lvl1pPr>
          </a:lstStyle>
          <a:p>
            <a:r>
              <a:rPr lang="en-GB"/>
              <a:t>logo</a:t>
            </a:r>
          </a:p>
        </p:txBody>
      </p:sp>
      <p:sp>
        <p:nvSpPr>
          <p:cNvPr id="24" name="Picture Placeholder 2">
            <a:extLst>
              <a:ext uri="{FF2B5EF4-FFF2-40B4-BE49-F238E27FC236}">
                <a16:creationId xmlns:a16="http://schemas.microsoft.com/office/drawing/2014/main" id="{3D1B758D-8DA9-F444-9F3F-EE673D938405}"/>
              </a:ext>
            </a:extLst>
          </p:cNvPr>
          <p:cNvSpPr>
            <a:spLocks noGrp="1"/>
          </p:cNvSpPr>
          <p:nvPr>
            <p:ph type="pic" sz="quarter" idx="16" hasCustomPrompt="1"/>
          </p:nvPr>
        </p:nvSpPr>
        <p:spPr>
          <a:xfrm>
            <a:off x="4986649" y="1451110"/>
            <a:ext cx="2219325" cy="530225"/>
          </a:xfrm>
          <a:prstGeom prst="rect">
            <a:avLst/>
          </a:prstGeom>
          <a:solidFill>
            <a:schemeClr val="bg1">
              <a:lumMod val="95000"/>
            </a:schemeClr>
          </a:solidFill>
        </p:spPr>
        <p:txBody>
          <a:bodyPr anchor="ctr"/>
          <a:lstStyle>
            <a:lvl1pPr algn="ctr">
              <a:defRPr/>
            </a:lvl1pPr>
          </a:lstStyle>
          <a:p>
            <a:r>
              <a:rPr lang="en-GB"/>
              <a:t>logo</a:t>
            </a:r>
          </a:p>
        </p:txBody>
      </p:sp>
      <p:sp>
        <p:nvSpPr>
          <p:cNvPr id="25" name="Picture Placeholder 2">
            <a:extLst>
              <a:ext uri="{FF2B5EF4-FFF2-40B4-BE49-F238E27FC236}">
                <a16:creationId xmlns:a16="http://schemas.microsoft.com/office/drawing/2014/main" id="{604643BB-9D2E-4E43-898B-FBBEBC2FD32D}"/>
              </a:ext>
            </a:extLst>
          </p:cNvPr>
          <p:cNvSpPr>
            <a:spLocks noGrp="1"/>
          </p:cNvSpPr>
          <p:nvPr>
            <p:ph type="pic" sz="quarter" idx="17" hasCustomPrompt="1"/>
          </p:nvPr>
        </p:nvSpPr>
        <p:spPr>
          <a:xfrm>
            <a:off x="8888849" y="1451110"/>
            <a:ext cx="2219325" cy="530225"/>
          </a:xfrm>
          <a:prstGeom prst="rect">
            <a:avLst/>
          </a:prstGeom>
          <a:solidFill>
            <a:schemeClr val="bg1">
              <a:lumMod val="95000"/>
            </a:schemeClr>
          </a:solidFill>
        </p:spPr>
        <p:txBody>
          <a:bodyPr anchor="ctr"/>
          <a:lstStyle>
            <a:lvl1pPr algn="ctr">
              <a:defRPr/>
            </a:lvl1pPr>
          </a:lstStyle>
          <a:p>
            <a:r>
              <a:rPr lang="en-GB"/>
              <a:t>logo</a:t>
            </a:r>
          </a:p>
        </p:txBody>
      </p:sp>
      <p:sp>
        <p:nvSpPr>
          <p:cNvPr id="26" name="Picture Placeholder 2">
            <a:extLst>
              <a:ext uri="{FF2B5EF4-FFF2-40B4-BE49-F238E27FC236}">
                <a16:creationId xmlns:a16="http://schemas.microsoft.com/office/drawing/2014/main" id="{148E8F29-6A48-E94D-9DE7-710611C6E76F}"/>
              </a:ext>
            </a:extLst>
          </p:cNvPr>
          <p:cNvSpPr>
            <a:spLocks noGrp="1"/>
          </p:cNvSpPr>
          <p:nvPr>
            <p:ph type="pic" sz="quarter" idx="18" hasCustomPrompt="1"/>
          </p:nvPr>
        </p:nvSpPr>
        <p:spPr>
          <a:xfrm>
            <a:off x="8888849" y="3902762"/>
            <a:ext cx="2219325" cy="530225"/>
          </a:xfrm>
          <a:prstGeom prst="rect">
            <a:avLst/>
          </a:prstGeom>
          <a:solidFill>
            <a:schemeClr val="bg1">
              <a:lumMod val="95000"/>
            </a:schemeClr>
          </a:solidFill>
        </p:spPr>
        <p:txBody>
          <a:bodyPr anchor="ctr"/>
          <a:lstStyle>
            <a:lvl1pPr algn="ctr">
              <a:defRPr/>
            </a:lvl1pPr>
          </a:lstStyle>
          <a:p>
            <a:r>
              <a:rPr lang="en-GB"/>
              <a:t>logo</a:t>
            </a:r>
          </a:p>
        </p:txBody>
      </p:sp>
      <p:sp>
        <p:nvSpPr>
          <p:cNvPr id="27" name="Picture Placeholder 2">
            <a:extLst>
              <a:ext uri="{FF2B5EF4-FFF2-40B4-BE49-F238E27FC236}">
                <a16:creationId xmlns:a16="http://schemas.microsoft.com/office/drawing/2014/main" id="{12C4449A-6004-4244-BEE2-CACA47283D0A}"/>
              </a:ext>
            </a:extLst>
          </p:cNvPr>
          <p:cNvSpPr>
            <a:spLocks noGrp="1"/>
          </p:cNvSpPr>
          <p:nvPr>
            <p:ph type="pic" sz="quarter" idx="19" hasCustomPrompt="1"/>
          </p:nvPr>
        </p:nvSpPr>
        <p:spPr>
          <a:xfrm>
            <a:off x="4986649" y="3902762"/>
            <a:ext cx="2219325" cy="530225"/>
          </a:xfrm>
          <a:prstGeom prst="rect">
            <a:avLst/>
          </a:prstGeom>
          <a:solidFill>
            <a:schemeClr val="bg1">
              <a:lumMod val="95000"/>
            </a:schemeClr>
          </a:solidFill>
        </p:spPr>
        <p:txBody>
          <a:bodyPr anchor="ctr"/>
          <a:lstStyle>
            <a:lvl1pPr algn="ctr">
              <a:defRPr/>
            </a:lvl1pPr>
          </a:lstStyle>
          <a:p>
            <a:r>
              <a:rPr lang="en-GB"/>
              <a:t>logo</a:t>
            </a:r>
          </a:p>
        </p:txBody>
      </p:sp>
      <p:sp>
        <p:nvSpPr>
          <p:cNvPr id="28" name="Picture Placeholder 2">
            <a:extLst>
              <a:ext uri="{FF2B5EF4-FFF2-40B4-BE49-F238E27FC236}">
                <a16:creationId xmlns:a16="http://schemas.microsoft.com/office/drawing/2014/main" id="{39B4FAA6-6C6A-E34B-8111-4E43847761EB}"/>
              </a:ext>
            </a:extLst>
          </p:cNvPr>
          <p:cNvSpPr>
            <a:spLocks noGrp="1"/>
          </p:cNvSpPr>
          <p:nvPr>
            <p:ph type="pic" sz="quarter" idx="20" hasCustomPrompt="1"/>
          </p:nvPr>
        </p:nvSpPr>
        <p:spPr>
          <a:xfrm>
            <a:off x="810078" y="3902762"/>
            <a:ext cx="2219325" cy="530225"/>
          </a:xfrm>
          <a:prstGeom prst="rect">
            <a:avLst/>
          </a:prstGeom>
          <a:solidFill>
            <a:schemeClr val="bg1">
              <a:lumMod val="95000"/>
            </a:schemeClr>
          </a:solidFill>
        </p:spPr>
        <p:txBody>
          <a:bodyPr anchor="ctr"/>
          <a:lstStyle>
            <a:lvl1pPr algn="ctr">
              <a:defRPr/>
            </a:lvl1pPr>
          </a:lstStyle>
          <a:p>
            <a:r>
              <a:rPr lang="en-GB"/>
              <a:t>logo</a:t>
            </a:r>
          </a:p>
        </p:txBody>
      </p:sp>
      <p:pic>
        <p:nvPicPr>
          <p:cNvPr id="30" name="Picture 29" descr="A picture containing icon&#10;&#10;Description automatically generated">
            <a:extLst>
              <a:ext uri="{FF2B5EF4-FFF2-40B4-BE49-F238E27FC236}">
                <a16:creationId xmlns:a16="http://schemas.microsoft.com/office/drawing/2014/main" id="{49A58DFE-B4F2-4041-84A1-A71EBDCED18F}"/>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372032" y="6520797"/>
            <a:ext cx="1016304" cy="132234"/>
          </a:xfrm>
          <a:prstGeom prst="rect">
            <a:avLst/>
          </a:prstGeom>
        </p:spPr>
      </p:pic>
      <p:sp>
        <p:nvSpPr>
          <p:cNvPr id="31" name="Freeform: Shape 14">
            <a:extLst>
              <a:ext uri="{FF2B5EF4-FFF2-40B4-BE49-F238E27FC236}">
                <a16:creationId xmlns:a16="http://schemas.microsoft.com/office/drawing/2014/main" id="{7BAF654B-6120-4766-BF30-AEC93DF529B6}"/>
              </a:ext>
            </a:extLst>
          </p:cNvPr>
          <p:cNvSpPr/>
          <p:nvPr userDrawn="1"/>
        </p:nvSpPr>
        <p:spPr>
          <a:xfrm rot="5400000" flipH="1">
            <a:off x="10650813" y="-6388"/>
            <a:ext cx="1528833" cy="1553542"/>
          </a:xfrm>
          <a:custGeom>
            <a:avLst/>
            <a:gdLst>
              <a:gd name="connsiteX0" fmla="*/ 2051041 w 2051041"/>
              <a:gd name="connsiteY0" fmla="*/ 2080382 h 2084191"/>
              <a:gd name="connsiteX1" fmla="*/ 2051041 w 2051041"/>
              <a:gd name="connsiteY1" fmla="*/ 2083967 h 2084191"/>
              <a:gd name="connsiteX2" fmla="*/ 2047231 w 2051041"/>
              <a:gd name="connsiteY2" fmla="*/ 2084191 h 2084191"/>
              <a:gd name="connsiteX3" fmla="*/ 2045599 w 2051041"/>
              <a:gd name="connsiteY3" fmla="*/ 2081470 h 2084191"/>
              <a:gd name="connsiteX4" fmla="*/ 1478568 w 2051041"/>
              <a:gd name="connsiteY4" fmla="*/ 1997668 h 2084191"/>
              <a:gd name="connsiteX5" fmla="*/ 1484554 w 2051041"/>
              <a:gd name="connsiteY5" fmla="*/ 2004743 h 2084191"/>
              <a:gd name="connsiteX6" fmla="*/ 1478568 w 2051041"/>
              <a:gd name="connsiteY6" fmla="*/ 2009096 h 2084191"/>
              <a:gd name="connsiteX7" fmla="*/ 1473126 w 2051041"/>
              <a:gd name="connsiteY7" fmla="*/ 2003654 h 2084191"/>
              <a:gd name="connsiteX8" fmla="*/ 1478568 w 2051041"/>
              <a:gd name="connsiteY8" fmla="*/ 1997668 h 2084191"/>
              <a:gd name="connsiteX9" fmla="*/ 1641820 w 2051041"/>
              <a:gd name="connsiteY9" fmla="*/ 1993859 h 2084191"/>
              <a:gd name="connsiteX10" fmla="*/ 1652160 w 2051041"/>
              <a:gd name="connsiteY10" fmla="*/ 2003654 h 2084191"/>
              <a:gd name="connsiteX11" fmla="*/ 1641820 w 2051041"/>
              <a:gd name="connsiteY11" fmla="*/ 2013449 h 2084191"/>
              <a:gd name="connsiteX12" fmla="*/ 1632025 w 2051041"/>
              <a:gd name="connsiteY12" fmla="*/ 2003654 h 2084191"/>
              <a:gd name="connsiteX13" fmla="*/ 1641820 w 2051041"/>
              <a:gd name="connsiteY13" fmla="*/ 1993859 h 2084191"/>
              <a:gd name="connsiteX14" fmla="*/ 1969414 w 2051041"/>
              <a:gd name="connsiteY14" fmla="*/ 1992226 h 2084191"/>
              <a:gd name="connsiteX15" fmla="*/ 1979753 w 2051041"/>
              <a:gd name="connsiteY15" fmla="*/ 2003654 h 2084191"/>
              <a:gd name="connsiteX16" fmla="*/ 1968325 w 2051041"/>
              <a:gd name="connsiteY16" fmla="*/ 2014537 h 2084191"/>
              <a:gd name="connsiteX17" fmla="*/ 1957986 w 2051041"/>
              <a:gd name="connsiteY17" fmla="*/ 2003110 h 2084191"/>
              <a:gd name="connsiteX18" fmla="*/ 1969414 w 2051041"/>
              <a:gd name="connsiteY18" fmla="*/ 1992226 h 2084191"/>
              <a:gd name="connsiteX19" fmla="*/ 1805073 w 2051041"/>
              <a:gd name="connsiteY19" fmla="*/ 1992226 h 2084191"/>
              <a:gd name="connsiteX20" fmla="*/ 1815956 w 2051041"/>
              <a:gd name="connsiteY20" fmla="*/ 2002565 h 2084191"/>
              <a:gd name="connsiteX21" fmla="*/ 1805073 w 2051041"/>
              <a:gd name="connsiteY21" fmla="*/ 2014537 h 2084191"/>
              <a:gd name="connsiteX22" fmla="*/ 1794189 w 2051041"/>
              <a:gd name="connsiteY22" fmla="*/ 2004198 h 2084191"/>
              <a:gd name="connsiteX23" fmla="*/ 1805073 w 2051041"/>
              <a:gd name="connsiteY23" fmla="*/ 1992226 h 2084191"/>
              <a:gd name="connsiteX24" fmla="*/ 1234233 w 2051041"/>
              <a:gd name="connsiteY24" fmla="*/ 1916042 h 2084191"/>
              <a:gd name="connsiteX25" fmla="*/ 1240219 w 2051041"/>
              <a:gd name="connsiteY25" fmla="*/ 1923660 h 2084191"/>
              <a:gd name="connsiteX26" fmla="*/ 1236953 w 2051041"/>
              <a:gd name="connsiteY26" fmla="*/ 1926381 h 2084191"/>
              <a:gd name="connsiteX27" fmla="*/ 1229335 w 2051041"/>
              <a:gd name="connsiteY27" fmla="*/ 1918762 h 2084191"/>
              <a:gd name="connsiteX28" fmla="*/ 1234233 w 2051041"/>
              <a:gd name="connsiteY28" fmla="*/ 1916042 h 2084191"/>
              <a:gd name="connsiteX29" fmla="*/ 1397486 w 2051041"/>
              <a:gd name="connsiteY29" fmla="*/ 1911144 h 2084191"/>
              <a:gd name="connsiteX30" fmla="*/ 1408369 w 2051041"/>
              <a:gd name="connsiteY30" fmla="*/ 1921483 h 2084191"/>
              <a:gd name="connsiteX31" fmla="*/ 1399118 w 2051041"/>
              <a:gd name="connsiteY31" fmla="*/ 1931823 h 2084191"/>
              <a:gd name="connsiteX32" fmla="*/ 1387146 w 2051041"/>
              <a:gd name="connsiteY32" fmla="*/ 1922028 h 2084191"/>
              <a:gd name="connsiteX33" fmla="*/ 1397486 w 2051041"/>
              <a:gd name="connsiteY33" fmla="*/ 1911144 h 2084191"/>
              <a:gd name="connsiteX34" fmla="*/ 1560194 w 2051041"/>
              <a:gd name="connsiteY34" fmla="*/ 1906790 h 2084191"/>
              <a:gd name="connsiteX35" fmla="*/ 1574342 w 2051041"/>
              <a:gd name="connsiteY35" fmla="*/ 1921482 h 2084191"/>
              <a:gd name="connsiteX36" fmla="*/ 1560738 w 2051041"/>
              <a:gd name="connsiteY36" fmla="*/ 1935631 h 2084191"/>
              <a:gd name="connsiteX37" fmla="*/ 1547134 w 2051041"/>
              <a:gd name="connsiteY37" fmla="*/ 1922027 h 2084191"/>
              <a:gd name="connsiteX38" fmla="*/ 1560194 w 2051041"/>
              <a:gd name="connsiteY38" fmla="*/ 1906790 h 2084191"/>
              <a:gd name="connsiteX39" fmla="*/ 2049952 w 2051041"/>
              <a:gd name="connsiteY39" fmla="*/ 1905702 h 2084191"/>
              <a:gd name="connsiteX40" fmla="*/ 2051041 w 2051041"/>
              <a:gd name="connsiteY40" fmla="*/ 1906027 h 2084191"/>
              <a:gd name="connsiteX41" fmla="*/ 2051041 w 2051041"/>
              <a:gd name="connsiteY41" fmla="*/ 1938133 h 2084191"/>
              <a:gd name="connsiteX42" fmla="*/ 2050496 w 2051041"/>
              <a:gd name="connsiteY42" fmla="*/ 1938353 h 2084191"/>
              <a:gd name="connsiteX43" fmla="*/ 2034171 w 2051041"/>
              <a:gd name="connsiteY43" fmla="*/ 1922572 h 2084191"/>
              <a:gd name="connsiteX44" fmla="*/ 2049952 w 2051041"/>
              <a:gd name="connsiteY44" fmla="*/ 1905702 h 2084191"/>
              <a:gd name="connsiteX45" fmla="*/ 1723447 w 2051041"/>
              <a:gd name="connsiteY45" fmla="*/ 1905702 h 2084191"/>
              <a:gd name="connsiteX46" fmla="*/ 1739772 w 2051041"/>
              <a:gd name="connsiteY46" fmla="*/ 1920939 h 2084191"/>
              <a:gd name="connsiteX47" fmla="*/ 1724535 w 2051041"/>
              <a:gd name="connsiteY47" fmla="*/ 1937264 h 2084191"/>
              <a:gd name="connsiteX48" fmla="*/ 1708210 w 2051041"/>
              <a:gd name="connsiteY48" fmla="*/ 1922027 h 2084191"/>
              <a:gd name="connsiteX49" fmla="*/ 1723447 w 2051041"/>
              <a:gd name="connsiteY49" fmla="*/ 1905702 h 2084191"/>
              <a:gd name="connsiteX50" fmla="*/ 1887787 w 2051041"/>
              <a:gd name="connsiteY50" fmla="*/ 1905158 h 2084191"/>
              <a:gd name="connsiteX51" fmla="*/ 1904113 w 2051041"/>
              <a:gd name="connsiteY51" fmla="*/ 1922028 h 2084191"/>
              <a:gd name="connsiteX52" fmla="*/ 1886699 w 2051041"/>
              <a:gd name="connsiteY52" fmla="*/ 1937809 h 2084191"/>
              <a:gd name="connsiteX53" fmla="*/ 1870918 w 2051041"/>
              <a:gd name="connsiteY53" fmla="*/ 1921483 h 2084191"/>
              <a:gd name="connsiteX54" fmla="*/ 1887787 w 2051041"/>
              <a:gd name="connsiteY54" fmla="*/ 1905158 h 2084191"/>
              <a:gd name="connsiteX55" fmla="*/ 1152606 w 2051041"/>
              <a:gd name="connsiteY55" fmla="*/ 1831693 h 2084191"/>
              <a:gd name="connsiteX56" fmla="*/ 1161313 w 2051041"/>
              <a:gd name="connsiteY56" fmla="*/ 1839312 h 2084191"/>
              <a:gd name="connsiteX57" fmla="*/ 1153694 w 2051041"/>
              <a:gd name="connsiteY57" fmla="*/ 1852916 h 2084191"/>
              <a:gd name="connsiteX58" fmla="*/ 1144988 w 2051041"/>
              <a:gd name="connsiteY58" fmla="*/ 1841489 h 2084191"/>
              <a:gd name="connsiteX59" fmla="*/ 1152606 w 2051041"/>
              <a:gd name="connsiteY59" fmla="*/ 1831693 h 2084191"/>
              <a:gd name="connsiteX60" fmla="*/ 1315315 w 2051041"/>
              <a:gd name="connsiteY60" fmla="*/ 1825708 h 2084191"/>
              <a:gd name="connsiteX61" fmla="*/ 1330552 w 2051041"/>
              <a:gd name="connsiteY61" fmla="*/ 1840401 h 2084191"/>
              <a:gd name="connsiteX62" fmla="*/ 1316404 w 2051041"/>
              <a:gd name="connsiteY62" fmla="*/ 1854549 h 2084191"/>
              <a:gd name="connsiteX63" fmla="*/ 1301711 w 2051041"/>
              <a:gd name="connsiteY63" fmla="*/ 1840945 h 2084191"/>
              <a:gd name="connsiteX64" fmla="*/ 1315315 w 2051041"/>
              <a:gd name="connsiteY64" fmla="*/ 1825708 h 2084191"/>
              <a:gd name="connsiteX65" fmla="*/ 1479656 w 2051041"/>
              <a:gd name="connsiteY65" fmla="*/ 1822987 h 2084191"/>
              <a:gd name="connsiteX66" fmla="*/ 1495981 w 2051041"/>
              <a:gd name="connsiteY66" fmla="*/ 1840401 h 2084191"/>
              <a:gd name="connsiteX67" fmla="*/ 1478567 w 2051041"/>
              <a:gd name="connsiteY67" fmla="*/ 1856182 h 2084191"/>
              <a:gd name="connsiteX68" fmla="*/ 1462242 w 2051041"/>
              <a:gd name="connsiteY68" fmla="*/ 1839312 h 2084191"/>
              <a:gd name="connsiteX69" fmla="*/ 1479656 w 2051041"/>
              <a:gd name="connsiteY69" fmla="*/ 1822987 h 2084191"/>
              <a:gd name="connsiteX70" fmla="*/ 1642365 w 2051041"/>
              <a:gd name="connsiteY70" fmla="*/ 1821355 h 2084191"/>
              <a:gd name="connsiteX71" fmla="*/ 1660867 w 2051041"/>
              <a:gd name="connsiteY71" fmla="*/ 1840401 h 2084191"/>
              <a:gd name="connsiteX72" fmla="*/ 1642365 w 2051041"/>
              <a:gd name="connsiteY72" fmla="*/ 1857270 h 2084191"/>
              <a:gd name="connsiteX73" fmla="*/ 1624407 w 2051041"/>
              <a:gd name="connsiteY73" fmla="*/ 1839857 h 2084191"/>
              <a:gd name="connsiteX74" fmla="*/ 1642365 w 2051041"/>
              <a:gd name="connsiteY74" fmla="*/ 1821355 h 2084191"/>
              <a:gd name="connsiteX75" fmla="*/ 1806162 w 2051041"/>
              <a:gd name="connsiteY75" fmla="*/ 1819723 h 2084191"/>
              <a:gd name="connsiteX76" fmla="*/ 1826840 w 2051041"/>
              <a:gd name="connsiteY76" fmla="*/ 1840945 h 2084191"/>
              <a:gd name="connsiteX77" fmla="*/ 1804529 w 2051041"/>
              <a:gd name="connsiteY77" fmla="*/ 1861080 h 2084191"/>
              <a:gd name="connsiteX78" fmla="*/ 1784395 w 2051041"/>
              <a:gd name="connsiteY78" fmla="*/ 1839313 h 2084191"/>
              <a:gd name="connsiteX79" fmla="*/ 1806162 w 2051041"/>
              <a:gd name="connsiteY79" fmla="*/ 1819723 h 2084191"/>
              <a:gd name="connsiteX80" fmla="*/ 1968870 w 2051041"/>
              <a:gd name="connsiteY80" fmla="*/ 1819178 h 2084191"/>
              <a:gd name="connsiteX81" fmla="*/ 1990093 w 2051041"/>
              <a:gd name="connsiteY81" fmla="*/ 1840401 h 2084191"/>
              <a:gd name="connsiteX82" fmla="*/ 1968870 w 2051041"/>
              <a:gd name="connsiteY82" fmla="*/ 1861624 h 2084191"/>
              <a:gd name="connsiteX83" fmla="*/ 1947647 w 2051041"/>
              <a:gd name="connsiteY83" fmla="*/ 1840401 h 2084191"/>
              <a:gd name="connsiteX84" fmla="*/ 1968870 w 2051041"/>
              <a:gd name="connsiteY84" fmla="*/ 1819178 h 2084191"/>
              <a:gd name="connsiteX85" fmla="*/ 1070436 w 2051041"/>
              <a:gd name="connsiteY85" fmla="*/ 1747347 h 2084191"/>
              <a:gd name="connsiteX86" fmla="*/ 1081863 w 2051041"/>
              <a:gd name="connsiteY86" fmla="*/ 1758231 h 2084191"/>
              <a:gd name="connsiteX87" fmla="*/ 1070980 w 2051041"/>
              <a:gd name="connsiteY87" fmla="*/ 1769658 h 2084191"/>
              <a:gd name="connsiteX88" fmla="*/ 1059552 w 2051041"/>
              <a:gd name="connsiteY88" fmla="*/ 1758775 h 2084191"/>
              <a:gd name="connsiteX89" fmla="*/ 1070436 w 2051041"/>
              <a:gd name="connsiteY89" fmla="*/ 1747347 h 2084191"/>
              <a:gd name="connsiteX90" fmla="*/ 1233688 w 2051041"/>
              <a:gd name="connsiteY90" fmla="*/ 1742449 h 2084191"/>
              <a:gd name="connsiteX91" fmla="*/ 1250558 w 2051041"/>
              <a:gd name="connsiteY91" fmla="*/ 1758774 h 2084191"/>
              <a:gd name="connsiteX92" fmla="*/ 1233688 w 2051041"/>
              <a:gd name="connsiteY92" fmla="*/ 1775099 h 2084191"/>
              <a:gd name="connsiteX93" fmla="*/ 1217907 w 2051041"/>
              <a:gd name="connsiteY93" fmla="*/ 1759318 h 2084191"/>
              <a:gd name="connsiteX94" fmla="*/ 1233688 w 2051041"/>
              <a:gd name="connsiteY94" fmla="*/ 1742449 h 2084191"/>
              <a:gd name="connsiteX95" fmla="*/ 1399662 w 2051041"/>
              <a:gd name="connsiteY95" fmla="*/ 1739728 h 2084191"/>
              <a:gd name="connsiteX96" fmla="*/ 1417076 w 2051041"/>
              <a:gd name="connsiteY96" fmla="*/ 1760407 h 2084191"/>
              <a:gd name="connsiteX97" fmla="*/ 1396941 w 2051041"/>
              <a:gd name="connsiteY97" fmla="*/ 1779453 h 2084191"/>
              <a:gd name="connsiteX98" fmla="*/ 1377895 w 2051041"/>
              <a:gd name="connsiteY98" fmla="*/ 1757686 h 2084191"/>
              <a:gd name="connsiteX99" fmla="*/ 1399662 w 2051041"/>
              <a:gd name="connsiteY99" fmla="*/ 1739728 h 2084191"/>
              <a:gd name="connsiteX100" fmla="*/ 1723991 w 2051041"/>
              <a:gd name="connsiteY100" fmla="*/ 1735919 h 2084191"/>
              <a:gd name="connsiteX101" fmla="*/ 1746847 w 2051041"/>
              <a:gd name="connsiteY101" fmla="*/ 1758774 h 2084191"/>
              <a:gd name="connsiteX102" fmla="*/ 1723991 w 2051041"/>
              <a:gd name="connsiteY102" fmla="*/ 1781086 h 2084191"/>
              <a:gd name="connsiteX103" fmla="*/ 1701680 w 2051041"/>
              <a:gd name="connsiteY103" fmla="*/ 1758774 h 2084191"/>
              <a:gd name="connsiteX104" fmla="*/ 1723991 w 2051041"/>
              <a:gd name="connsiteY104" fmla="*/ 1735919 h 2084191"/>
              <a:gd name="connsiteX105" fmla="*/ 1560194 w 2051041"/>
              <a:gd name="connsiteY105" fmla="*/ 1735919 h 2084191"/>
              <a:gd name="connsiteX106" fmla="*/ 1582505 w 2051041"/>
              <a:gd name="connsiteY106" fmla="*/ 1758230 h 2084191"/>
              <a:gd name="connsiteX107" fmla="*/ 1560738 w 2051041"/>
              <a:gd name="connsiteY107" fmla="*/ 1779997 h 2084191"/>
              <a:gd name="connsiteX108" fmla="*/ 1538427 w 2051041"/>
              <a:gd name="connsiteY108" fmla="*/ 1758230 h 2084191"/>
              <a:gd name="connsiteX109" fmla="*/ 1560194 w 2051041"/>
              <a:gd name="connsiteY109" fmla="*/ 1735919 h 2084191"/>
              <a:gd name="connsiteX110" fmla="*/ 2051041 w 2051041"/>
              <a:gd name="connsiteY110" fmla="*/ 1734831 h 2084191"/>
              <a:gd name="connsiteX111" fmla="*/ 2051041 w 2051041"/>
              <a:gd name="connsiteY111" fmla="*/ 1781438 h 2084191"/>
              <a:gd name="connsiteX112" fmla="*/ 2050496 w 2051041"/>
              <a:gd name="connsiteY112" fmla="*/ 1781630 h 2084191"/>
              <a:gd name="connsiteX113" fmla="*/ 2027097 w 2051041"/>
              <a:gd name="connsiteY113" fmla="*/ 1758775 h 2084191"/>
              <a:gd name="connsiteX114" fmla="*/ 2051041 w 2051041"/>
              <a:gd name="connsiteY114" fmla="*/ 1734831 h 2084191"/>
              <a:gd name="connsiteX115" fmla="*/ 1887788 w 2051041"/>
              <a:gd name="connsiteY115" fmla="*/ 1734831 h 2084191"/>
              <a:gd name="connsiteX116" fmla="*/ 1910099 w 2051041"/>
              <a:gd name="connsiteY116" fmla="*/ 1758775 h 2084191"/>
              <a:gd name="connsiteX117" fmla="*/ 1886699 w 2051041"/>
              <a:gd name="connsiteY117" fmla="*/ 1781086 h 2084191"/>
              <a:gd name="connsiteX118" fmla="*/ 1863844 w 2051041"/>
              <a:gd name="connsiteY118" fmla="*/ 1757687 h 2084191"/>
              <a:gd name="connsiteX119" fmla="*/ 1887788 w 2051041"/>
              <a:gd name="connsiteY119" fmla="*/ 1734831 h 2084191"/>
              <a:gd name="connsiteX120" fmla="*/ 826100 w 2051041"/>
              <a:gd name="connsiteY120" fmla="*/ 1671706 h 2084191"/>
              <a:gd name="connsiteX121" fmla="*/ 832086 w 2051041"/>
              <a:gd name="connsiteY121" fmla="*/ 1677692 h 2084191"/>
              <a:gd name="connsiteX122" fmla="*/ 825556 w 2051041"/>
              <a:gd name="connsiteY122" fmla="*/ 1683134 h 2084191"/>
              <a:gd name="connsiteX123" fmla="*/ 820658 w 2051041"/>
              <a:gd name="connsiteY123" fmla="*/ 1676603 h 2084191"/>
              <a:gd name="connsiteX124" fmla="*/ 826100 w 2051041"/>
              <a:gd name="connsiteY124" fmla="*/ 1671706 h 2084191"/>
              <a:gd name="connsiteX125" fmla="*/ 989354 w 2051041"/>
              <a:gd name="connsiteY125" fmla="*/ 1661912 h 2084191"/>
              <a:gd name="connsiteX126" fmla="*/ 1004046 w 2051041"/>
              <a:gd name="connsiteY126" fmla="*/ 1676604 h 2084191"/>
              <a:gd name="connsiteX127" fmla="*/ 989354 w 2051041"/>
              <a:gd name="connsiteY127" fmla="*/ 1690209 h 2084191"/>
              <a:gd name="connsiteX128" fmla="*/ 975205 w 2051041"/>
              <a:gd name="connsiteY128" fmla="*/ 1677693 h 2084191"/>
              <a:gd name="connsiteX129" fmla="*/ 989354 w 2051041"/>
              <a:gd name="connsiteY129" fmla="*/ 1661912 h 2084191"/>
              <a:gd name="connsiteX130" fmla="*/ 1153151 w 2051041"/>
              <a:gd name="connsiteY130" fmla="*/ 1659734 h 2084191"/>
              <a:gd name="connsiteX131" fmla="*/ 1170564 w 2051041"/>
              <a:gd name="connsiteY131" fmla="*/ 1677692 h 2084191"/>
              <a:gd name="connsiteX132" fmla="*/ 1152062 w 2051041"/>
              <a:gd name="connsiteY132" fmla="*/ 1694562 h 2084191"/>
              <a:gd name="connsiteX133" fmla="*/ 1135737 w 2051041"/>
              <a:gd name="connsiteY133" fmla="*/ 1677148 h 2084191"/>
              <a:gd name="connsiteX134" fmla="*/ 1153151 w 2051041"/>
              <a:gd name="connsiteY134" fmla="*/ 1659734 h 2084191"/>
              <a:gd name="connsiteX135" fmla="*/ 1315315 w 2051041"/>
              <a:gd name="connsiteY135" fmla="*/ 1655381 h 2084191"/>
              <a:gd name="connsiteX136" fmla="*/ 1337082 w 2051041"/>
              <a:gd name="connsiteY136" fmla="*/ 1676603 h 2084191"/>
              <a:gd name="connsiteX137" fmla="*/ 1315315 w 2051041"/>
              <a:gd name="connsiteY137" fmla="*/ 1698915 h 2084191"/>
              <a:gd name="connsiteX138" fmla="*/ 1294092 w 2051041"/>
              <a:gd name="connsiteY138" fmla="*/ 1677148 h 2084191"/>
              <a:gd name="connsiteX139" fmla="*/ 1315315 w 2051041"/>
              <a:gd name="connsiteY139" fmla="*/ 1655381 h 2084191"/>
              <a:gd name="connsiteX140" fmla="*/ 1479111 w 2051041"/>
              <a:gd name="connsiteY140" fmla="*/ 1654293 h 2084191"/>
              <a:gd name="connsiteX141" fmla="*/ 1501967 w 2051041"/>
              <a:gd name="connsiteY141" fmla="*/ 1677692 h 2084191"/>
              <a:gd name="connsiteX142" fmla="*/ 1479111 w 2051041"/>
              <a:gd name="connsiteY142" fmla="*/ 1700548 h 2084191"/>
              <a:gd name="connsiteX143" fmla="*/ 1455712 w 2051041"/>
              <a:gd name="connsiteY143" fmla="*/ 1676604 h 2084191"/>
              <a:gd name="connsiteX144" fmla="*/ 1479111 w 2051041"/>
              <a:gd name="connsiteY144" fmla="*/ 1654293 h 2084191"/>
              <a:gd name="connsiteX145" fmla="*/ 1643452 w 2051041"/>
              <a:gd name="connsiteY145" fmla="*/ 1650483 h 2084191"/>
              <a:gd name="connsiteX146" fmla="*/ 1668484 w 2051041"/>
              <a:gd name="connsiteY146" fmla="*/ 1676603 h 2084191"/>
              <a:gd name="connsiteX147" fmla="*/ 1643452 w 2051041"/>
              <a:gd name="connsiteY147" fmla="*/ 1703268 h 2084191"/>
              <a:gd name="connsiteX148" fmla="*/ 1617332 w 2051041"/>
              <a:gd name="connsiteY148" fmla="*/ 1677692 h 2084191"/>
              <a:gd name="connsiteX149" fmla="*/ 1643452 w 2051041"/>
              <a:gd name="connsiteY149" fmla="*/ 1650483 h 2084191"/>
              <a:gd name="connsiteX150" fmla="*/ 1968326 w 2051041"/>
              <a:gd name="connsiteY150" fmla="*/ 1649940 h 2084191"/>
              <a:gd name="connsiteX151" fmla="*/ 1995535 w 2051041"/>
              <a:gd name="connsiteY151" fmla="*/ 1676604 h 2084191"/>
              <a:gd name="connsiteX152" fmla="*/ 1968870 w 2051041"/>
              <a:gd name="connsiteY152" fmla="*/ 1704357 h 2084191"/>
              <a:gd name="connsiteX153" fmla="*/ 1941661 w 2051041"/>
              <a:gd name="connsiteY153" fmla="*/ 1677148 h 2084191"/>
              <a:gd name="connsiteX154" fmla="*/ 1968326 w 2051041"/>
              <a:gd name="connsiteY154" fmla="*/ 1649940 h 2084191"/>
              <a:gd name="connsiteX155" fmla="*/ 1805617 w 2051041"/>
              <a:gd name="connsiteY155" fmla="*/ 1649939 h 2084191"/>
              <a:gd name="connsiteX156" fmla="*/ 1832826 w 2051041"/>
              <a:gd name="connsiteY156" fmla="*/ 1677148 h 2084191"/>
              <a:gd name="connsiteX157" fmla="*/ 1805073 w 2051041"/>
              <a:gd name="connsiteY157" fmla="*/ 1704357 h 2084191"/>
              <a:gd name="connsiteX158" fmla="*/ 1778409 w 2051041"/>
              <a:gd name="connsiteY158" fmla="*/ 1677148 h 2084191"/>
              <a:gd name="connsiteX159" fmla="*/ 1805617 w 2051041"/>
              <a:gd name="connsiteY159" fmla="*/ 1649939 h 2084191"/>
              <a:gd name="connsiteX160" fmla="*/ 744474 w 2051041"/>
              <a:gd name="connsiteY160" fmla="*/ 1588992 h 2084191"/>
              <a:gd name="connsiteX161" fmla="*/ 751004 w 2051041"/>
              <a:gd name="connsiteY161" fmla="*/ 1594978 h 2084191"/>
              <a:gd name="connsiteX162" fmla="*/ 745562 w 2051041"/>
              <a:gd name="connsiteY162" fmla="*/ 1602052 h 2084191"/>
              <a:gd name="connsiteX163" fmla="*/ 738488 w 2051041"/>
              <a:gd name="connsiteY163" fmla="*/ 1594978 h 2084191"/>
              <a:gd name="connsiteX164" fmla="*/ 744474 w 2051041"/>
              <a:gd name="connsiteY164" fmla="*/ 1588992 h 2084191"/>
              <a:gd name="connsiteX165" fmla="*/ 907183 w 2051041"/>
              <a:gd name="connsiteY165" fmla="*/ 1579741 h 2084191"/>
              <a:gd name="connsiteX166" fmla="*/ 923508 w 2051041"/>
              <a:gd name="connsiteY166" fmla="*/ 1594978 h 2084191"/>
              <a:gd name="connsiteX167" fmla="*/ 908815 w 2051041"/>
              <a:gd name="connsiteY167" fmla="*/ 1610759 h 2084191"/>
              <a:gd name="connsiteX168" fmla="*/ 892490 w 2051041"/>
              <a:gd name="connsiteY168" fmla="*/ 1595522 h 2084191"/>
              <a:gd name="connsiteX169" fmla="*/ 907183 w 2051041"/>
              <a:gd name="connsiteY169" fmla="*/ 1579741 h 2084191"/>
              <a:gd name="connsiteX170" fmla="*/ 1071524 w 2051041"/>
              <a:gd name="connsiteY170" fmla="*/ 1574843 h 2084191"/>
              <a:gd name="connsiteX171" fmla="*/ 1091114 w 2051041"/>
              <a:gd name="connsiteY171" fmla="*/ 1595522 h 2084191"/>
              <a:gd name="connsiteX172" fmla="*/ 1070980 w 2051041"/>
              <a:gd name="connsiteY172" fmla="*/ 1615656 h 2084191"/>
              <a:gd name="connsiteX173" fmla="*/ 1050301 w 2051041"/>
              <a:gd name="connsiteY173" fmla="*/ 1595522 h 2084191"/>
              <a:gd name="connsiteX174" fmla="*/ 1071524 w 2051041"/>
              <a:gd name="connsiteY174" fmla="*/ 1574843 h 2084191"/>
              <a:gd name="connsiteX175" fmla="*/ 1233688 w 2051041"/>
              <a:gd name="connsiteY175" fmla="*/ 1573210 h 2084191"/>
              <a:gd name="connsiteX176" fmla="*/ 1256544 w 2051041"/>
              <a:gd name="connsiteY176" fmla="*/ 1595522 h 2084191"/>
              <a:gd name="connsiteX177" fmla="*/ 1233688 w 2051041"/>
              <a:gd name="connsiteY177" fmla="*/ 1618377 h 2084191"/>
              <a:gd name="connsiteX178" fmla="*/ 1211377 w 2051041"/>
              <a:gd name="connsiteY178" fmla="*/ 1596610 h 2084191"/>
              <a:gd name="connsiteX179" fmla="*/ 1233688 w 2051041"/>
              <a:gd name="connsiteY179" fmla="*/ 1573210 h 2084191"/>
              <a:gd name="connsiteX180" fmla="*/ 1398030 w 2051041"/>
              <a:gd name="connsiteY180" fmla="*/ 1569402 h 2084191"/>
              <a:gd name="connsiteX181" fmla="*/ 1423062 w 2051041"/>
              <a:gd name="connsiteY181" fmla="*/ 1595522 h 2084191"/>
              <a:gd name="connsiteX182" fmla="*/ 1397485 w 2051041"/>
              <a:gd name="connsiteY182" fmla="*/ 1621099 h 2084191"/>
              <a:gd name="connsiteX183" fmla="*/ 1371365 w 2051041"/>
              <a:gd name="connsiteY183" fmla="*/ 1595522 h 2084191"/>
              <a:gd name="connsiteX184" fmla="*/ 1398030 w 2051041"/>
              <a:gd name="connsiteY184" fmla="*/ 1569402 h 2084191"/>
              <a:gd name="connsiteX185" fmla="*/ 1560194 w 2051041"/>
              <a:gd name="connsiteY185" fmla="*/ 1568313 h 2084191"/>
              <a:gd name="connsiteX186" fmla="*/ 1587947 w 2051041"/>
              <a:gd name="connsiteY186" fmla="*/ 1594433 h 2084191"/>
              <a:gd name="connsiteX187" fmla="*/ 1560194 w 2051041"/>
              <a:gd name="connsiteY187" fmla="*/ 1622730 h 2084191"/>
              <a:gd name="connsiteX188" fmla="*/ 1532985 w 2051041"/>
              <a:gd name="connsiteY188" fmla="*/ 1594977 h 2084191"/>
              <a:gd name="connsiteX189" fmla="*/ 1560194 w 2051041"/>
              <a:gd name="connsiteY189" fmla="*/ 1568313 h 2084191"/>
              <a:gd name="connsiteX190" fmla="*/ 1887244 w 2051041"/>
              <a:gd name="connsiteY190" fmla="*/ 1567225 h 2084191"/>
              <a:gd name="connsiteX191" fmla="*/ 1915541 w 2051041"/>
              <a:gd name="connsiteY191" fmla="*/ 1594978 h 2084191"/>
              <a:gd name="connsiteX192" fmla="*/ 1886699 w 2051041"/>
              <a:gd name="connsiteY192" fmla="*/ 1623819 h 2084191"/>
              <a:gd name="connsiteX193" fmla="*/ 1858947 w 2051041"/>
              <a:gd name="connsiteY193" fmla="*/ 1594978 h 2084191"/>
              <a:gd name="connsiteX194" fmla="*/ 1887244 w 2051041"/>
              <a:gd name="connsiteY194" fmla="*/ 1567225 h 2084191"/>
              <a:gd name="connsiteX195" fmla="*/ 1724535 w 2051041"/>
              <a:gd name="connsiteY195" fmla="*/ 1567225 h 2084191"/>
              <a:gd name="connsiteX196" fmla="*/ 1752288 w 2051041"/>
              <a:gd name="connsiteY196" fmla="*/ 1594978 h 2084191"/>
              <a:gd name="connsiteX197" fmla="*/ 1724535 w 2051041"/>
              <a:gd name="connsiteY197" fmla="*/ 1623275 h 2084191"/>
              <a:gd name="connsiteX198" fmla="*/ 1696238 w 2051041"/>
              <a:gd name="connsiteY198" fmla="*/ 1594978 h 2084191"/>
              <a:gd name="connsiteX199" fmla="*/ 1724535 w 2051041"/>
              <a:gd name="connsiteY199" fmla="*/ 1567225 h 2084191"/>
              <a:gd name="connsiteX200" fmla="*/ 2050496 w 2051041"/>
              <a:gd name="connsiteY200" fmla="*/ 1566680 h 2084191"/>
              <a:gd name="connsiteX201" fmla="*/ 2051041 w 2051041"/>
              <a:gd name="connsiteY201" fmla="*/ 1566888 h 2084191"/>
              <a:gd name="connsiteX202" fmla="*/ 2051041 w 2051041"/>
              <a:gd name="connsiteY202" fmla="*/ 1623794 h 2084191"/>
              <a:gd name="connsiteX203" fmla="*/ 2049408 w 2051041"/>
              <a:gd name="connsiteY203" fmla="*/ 1624363 h 2084191"/>
              <a:gd name="connsiteX204" fmla="*/ 2021655 w 2051041"/>
              <a:gd name="connsiteY204" fmla="*/ 1594977 h 2084191"/>
              <a:gd name="connsiteX205" fmla="*/ 2050496 w 2051041"/>
              <a:gd name="connsiteY205" fmla="*/ 1566680 h 2084191"/>
              <a:gd name="connsiteX206" fmla="*/ 663392 w 2051041"/>
              <a:gd name="connsiteY206" fmla="*/ 1505188 h 2084191"/>
              <a:gd name="connsiteX207" fmla="*/ 674819 w 2051041"/>
              <a:gd name="connsiteY207" fmla="*/ 1513895 h 2084191"/>
              <a:gd name="connsiteX208" fmla="*/ 662848 w 2051041"/>
              <a:gd name="connsiteY208" fmla="*/ 1522058 h 2084191"/>
              <a:gd name="connsiteX209" fmla="*/ 654685 w 2051041"/>
              <a:gd name="connsiteY209" fmla="*/ 1513351 h 2084191"/>
              <a:gd name="connsiteX210" fmla="*/ 663392 w 2051041"/>
              <a:gd name="connsiteY210" fmla="*/ 1505188 h 2084191"/>
              <a:gd name="connsiteX211" fmla="*/ 826101 w 2051041"/>
              <a:gd name="connsiteY211" fmla="*/ 1497570 h 2084191"/>
              <a:gd name="connsiteX212" fmla="*/ 842970 w 2051041"/>
              <a:gd name="connsiteY212" fmla="*/ 1513351 h 2084191"/>
              <a:gd name="connsiteX213" fmla="*/ 826645 w 2051041"/>
              <a:gd name="connsiteY213" fmla="*/ 1529676 h 2084191"/>
              <a:gd name="connsiteX214" fmla="*/ 810319 w 2051041"/>
              <a:gd name="connsiteY214" fmla="*/ 1514983 h 2084191"/>
              <a:gd name="connsiteX215" fmla="*/ 826101 w 2051041"/>
              <a:gd name="connsiteY215" fmla="*/ 1497570 h 2084191"/>
              <a:gd name="connsiteX216" fmla="*/ 988265 w 2051041"/>
              <a:gd name="connsiteY216" fmla="*/ 1492128 h 2084191"/>
              <a:gd name="connsiteX217" fmla="*/ 1010577 w 2051041"/>
              <a:gd name="connsiteY217" fmla="*/ 1513351 h 2084191"/>
              <a:gd name="connsiteX218" fmla="*/ 989354 w 2051041"/>
              <a:gd name="connsiteY218" fmla="*/ 1534574 h 2084191"/>
              <a:gd name="connsiteX219" fmla="*/ 968131 w 2051041"/>
              <a:gd name="connsiteY219" fmla="*/ 1513895 h 2084191"/>
              <a:gd name="connsiteX220" fmla="*/ 988265 w 2051041"/>
              <a:gd name="connsiteY220" fmla="*/ 1492128 h 2084191"/>
              <a:gd name="connsiteX221" fmla="*/ 1152606 w 2051041"/>
              <a:gd name="connsiteY221" fmla="*/ 1490496 h 2084191"/>
              <a:gd name="connsiteX222" fmla="*/ 1176006 w 2051041"/>
              <a:gd name="connsiteY222" fmla="*/ 1513351 h 2084191"/>
              <a:gd name="connsiteX223" fmla="*/ 1152606 w 2051041"/>
              <a:gd name="connsiteY223" fmla="*/ 1537839 h 2084191"/>
              <a:gd name="connsiteX224" fmla="*/ 1129207 w 2051041"/>
              <a:gd name="connsiteY224" fmla="*/ 1514984 h 2084191"/>
              <a:gd name="connsiteX225" fmla="*/ 1152606 w 2051041"/>
              <a:gd name="connsiteY225" fmla="*/ 1490496 h 2084191"/>
              <a:gd name="connsiteX226" fmla="*/ 1316403 w 2051041"/>
              <a:gd name="connsiteY226" fmla="*/ 1487231 h 2084191"/>
              <a:gd name="connsiteX227" fmla="*/ 1342523 w 2051041"/>
              <a:gd name="connsiteY227" fmla="*/ 1513896 h 2084191"/>
              <a:gd name="connsiteX228" fmla="*/ 1315314 w 2051041"/>
              <a:gd name="connsiteY228" fmla="*/ 1540560 h 2084191"/>
              <a:gd name="connsiteX229" fmla="*/ 1288650 w 2051041"/>
              <a:gd name="connsiteY229" fmla="*/ 1513896 h 2084191"/>
              <a:gd name="connsiteX230" fmla="*/ 1316403 w 2051041"/>
              <a:gd name="connsiteY230" fmla="*/ 1487231 h 2084191"/>
              <a:gd name="connsiteX231" fmla="*/ 1479656 w 2051041"/>
              <a:gd name="connsiteY231" fmla="*/ 1485054 h 2084191"/>
              <a:gd name="connsiteX232" fmla="*/ 1507409 w 2051041"/>
              <a:gd name="connsiteY232" fmla="*/ 1513895 h 2084191"/>
              <a:gd name="connsiteX233" fmla="*/ 1479112 w 2051041"/>
              <a:gd name="connsiteY233" fmla="*/ 1541648 h 2084191"/>
              <a:gd name="connsiteX234" fmla="*/ 1451359 w 2051041"/>
              <a:gd name="connsiteY234" fmla="*/ 1513351 h 2084191"/>
              <a:gd name="connsiteX235" fmla="*/ 1479656 w 2051041"/>
              <a:gd name="connsiteY235" fmla="*/ 1485054 h 2084191"/>
              <a:gd name="connsiteX236" fmla="*/ 1641820 w 2051041"/>
              <a:gd name="connsiteY236" fmla="*/ 1482334 h 2084191"/>
              <a:gd name="connsiteX237" fmla="*/ 1673382 w 2051041"/>
              <a:gd name="connsiteY237" fmla="*/ 1512807 h 2084191"/>
              <a:gd name="connsiteX238" fmla="*/ 1642909 w 2051041"/>
              <a:gd name="connsiteY238" fmla="*/ 1544370 h 2084191"/>
              <a:gd name="connsiteX239" fmla="*/ 1612435 w 2051041"/>
              <a:gd name="connsiteY239" fmla="*/ 1513351 h 2084191"/>
              <a:gd name="connsiteX240" fmla="*/ 1641820 w 2051041"/>
              <a:gd name="connsiteY240" fmla="*/ 1482334 h 2084191"/>
              <a:gd name="connsiteX241" fmla="*/ 1804529 w 2051041"/>
              <a:gd name="connsiteY241" fmla="*/ 1481788 h 2084191"/>
              <a:gd name="connsiteX242" fmla="*/ 1837180 w 2051041"/>
              <a:gd name="connsiteY242" fmla="*/ 1513351 h 2084191"/>
              <a:gd name="connsiteX243" fmla="*/ 1805617 w 2051041"/>
              <a:gd name="connsiteY243" fmla="*/ 1545457 h 2084191"/>
              <a:gd name="connsiteX244" fmla="*/ 1773511 w 2051041"/>
              <a:gd name="connsiteY244" fmla="*/ 1514983 h 2084191"/>
              <a:gd name="connsiteX245" fmla="*/ 1804529 w 2051041"/>
              <a:gd name="connsiteY245" fmla="*/ 1481788 h 2084191"/>
              <a:gd name="connsiteX246" fmla="*/ 1968870 w 2051041"/>
              <a:gd name="connsiteY246" fmla="*/ 1480700 h 2084191"/>
              <a:gd name="connsiteX247" fmla="*/ 2000977 w 2051041"/>
              <a:gd name="connsiteY247" fmla="*/ 1513351 h 2084191"/>
              <a:gd name="connsiteX248" fmla="*/ 1968870 w 2051041"/>
              <a:gd name="connsiteY248" fmla="*/ 1545457 h 2084191"/>
              <a:gd name="connsiteX249" fmla="*/ 1936764 w 2051041"/>
              <a:gd name="connsiteY249" fmla="*/ 1513351 h 2084191"/>
              <a:gd name="connsiteX250" fmla="*/ 1968870 w 2051041"/>
              <a:gd name="connsiteY250" fmla="*/ 1480700 h 2084191"/>
              <a:gd name="connsiteX251" fmla="*/ 581221 w 2051041"/>
              <a:gd name="connsiteY251" fmla="*/ 1423562 h 2084191"/>
              <a:gd name="connsiteX252" fmla="*/ 588840 w 2051041"/>
              <a:gd name="connsiteY252" fmla="*/ 1431725 h 2084191"/>
              <a:gd name="connsiteX253" fmla="*/ 581765 w 2051041"/>
              <a:gd name="connsiteY253" fmla="*/ 1443153 h 2084191"/>
              <a:gd name="connsiteX254" fmla="*/ 573059 w 2051041"/>
              <a:gd name="connsiteY254" fmla="*/ 1432813 h 2084191"/>
              <a:gd name="connsiteX255" fmla="*/ 581221 w 2051041"/>
              <a:gd name="connsiteY255" fmla="*/ 1423562 h 2084191"/>
              <a:gd name="connsiteX256" fmla="*/ 745562 w 2051041"/>
              <a:gd name="connsiteY256" fmla="*/ 1414855 h 2084191"/>
              <a:gd name="connsiteX257" fmla="*/ 761344 w 2051041"/>
              <a:gd name="connsiteY257" fmla="*/ 1432269 h 2084191"/>
              <a:gd name="connsiteX258" fmla="*/ 745018 w 2051041"/>
              <a:gd name="connsiteY258" fmla="*/ 1448050 h 2084191"/>
              <a:gd name="connsiteX259" fmla="*/ 728693 w 2051041"/>
              <a:gd name="connsiteY259" fmla="*/ 1431725 h 2084191"/>
              <a:gd name="connsiteX260" fmla="*/ 745562 w 2051041"/>
              <a:gd name="connsiteY260" fmla="*/ 1414855 h 2084191"/>
              <a:gd name="connsiteX261" fmla="*/ 908815 w 2051041"/>
              <a:gd name="connsiteY261" fmla="*/ 1409958 h 2084191"/>
              <a:gd name="connsiteX262" fmla="*/ 930038 w 2051041"/>
              <a:gd name="connsiteY262" fmla="*/ 1431725 h 2084191"/>
              <a:gd name="connsiteX263" fmla="*/ 907183 w 2051041"/>
              <a:gd name="connsiteY263" fmla="*/ 1453492 h 2084191"/>
              <a:gd name="connsiteX264" fmla="*/ 885960 w 2051041"/>
              <a:gd name="connsiteY264" fmla="*/ 1431725 h 2084191"/>
              <a:gd name="connsiteX265" fmla="*/ 908815 w 2051041"/>
              <a:gd name="connsiteY265" fmla="*/ 1409958 h 2084191"/>
              <a:gd name="connsiteX266" fmla="*/ 1070436 w 2051041"/>
              <a:gd name="connsiteY266" fmla="*/ 1406693 h 2084191"/>
              <a:gd name="connsiteX267" fmla="*/ 1096012 w 2051041"/>
              <a:gd name="connsiteY267" fmla="*/ 1432269 h 2084191"/>
              <a:gd name="connsiteX268" fmla="*/ 1070436 w 2051041"/>
              <a:gd name="connsiteY268" fmla="*/ 1457846 h 2084191"/>
              <a:gd name="connsiteX269" fmla="*/ 1045404 w 2051041"/>
              <a:gd name="connsiteY269" fmla="*/ 1431181 h 2084191"/>
              <a:gd name="connsiteX270" fmla="*/ 1070436 w 2051041"/>
              <a:gd name="connsiteY270" fmla="*/ 1406693 h 2084191"/>
              <a:gd name="connsiteX271" fmla="*/ 1235865 w 2051041"/>
              <a:gd name="connsiteY271" fmla="*/ 1404516 h 2084191"/>
              <a:gd name="connsiteX272" fmla="*/ 1261986 w 2051041"/>
              <a:gd name="connsiteY272" fmla="*/ 1433358 h 2084191"/>
              <a:gd name="connsiteX273" fmla="*/ 1233689 w 2051041"/>
              <a:gd name="connsiteY273" fmla="*/ 1459478 h 2084191"/>
              <a:gd name="connsiteX274" fmla="*/ 1206480 w 2051041"/>
              <a:gd name="connsiteY274" fmla="*/ 1432269 h 2084191"/>
              <a:gd name="connsiteX275" fmla="*/ 1235865 w 2051041"/>
              <a:gd name="connsiteY275" fmla="*/ 1404516 h 2084191"/>
              <a:gd name="connsiteX276" fmla="*/ 1397485 w 2051041"/>
              <a:gd name="connsiteY276" fmla="*/ 1400162 h 2084191"/>
              <a:gd name="connsiteX277" fmla="*/ 1427959 w 2051041"/>
              <a:gd name="connsiteY277" fmla="*/ 1431724 h 2084191"/>
              <a:gd name="connsiteX278" fmla="*/ 1398029 w 2051041"/>
              <a:gd name="connsiteY278" fmla="*/ 1463287 h 2084191"/>
              <a:gd name="connsiteX279" fmla="*/ 1366467 w 2051041"/>
              <a:gd name="connsiteY279" fmla="*/ 1432813 h 2084191"/>
              <a:gd name="connsiteX280" fmla="*/ 1397485 w 2051041"/>
              <a:gd name="connsiteY280" fmla="*/ 1400162 h 2084191"/>
              <a:gd name="connsiteX281" fmla="*/ 1561282 w 2051041"/>
              <a:gd name="connsiteY281" fmla="*/ 1399618 h 2084191"/>
              <a:gd name="connsiteX282" fmla="*/ 1593388 w 2051041"/>
              <a:gd name="connsiteY282" fmla="*/ 1432269 h 2084191"/>
              <a:gd name="connsiteX283" fmla="*/ 1560738 w 2051041"/>
              <a:gd name="connsiteY283" fmla="*/ 1464375 h 2084191"/>
              <a:gd name="connsiteX284" fmla="*/ 1528631 w 2051041"/>
              <a:gd name="connsiteY284" fmla="*/ 1432813 h 2084191"/>
              <a:gd name="connsiteX285" fmla="*/ 1561282 w 2051041"/>
              <a:gd name="connsiteY285" fmla="*/ 1399618 h 2084191"/>
              <a:gd name="connsiteX286" fmla="*/ 1723446 w 2051041"/>
              <a:gd name="connsiteY286" fmla="*/ 1399074 h 2084191"/>
              <a:gd name="connsiteX287" fmla="*/ 1757185 w 2051041"/>
              <a:gd name="connsiteY287" fmla="*/ 1432269 h 2084191"/>
              <a:gd name="connsiteX288" fmla="*/ 1723991 w 2051041"/>
              <a:gd name="connsiteY288" fmla="*/ 1465464 h 2084191"/>
              <a:gd name="connsiteX289" fmla="*/ 1691340 w 2051041"/>
              <a:gd name="connsiteY289" fmla="*/ 1433357 h 2084191"/>
              <a:gd name="connsiteX290" fmla="*/ 1723446 w 2051041"/>
              <a:gd name="connsiteY290" fmla="*/ 1399074 h 2084191"/>
              <a:gd name="connsiteX291" fmla="*/ 1886700 w 2051041"/>
              <a:gd name="connsiteY291" fmla="*/ 1398530 h 2084191"/>
              <a:gd name="connsiteX292" fmla="*/ 1920439 w 2051041"/>
              <a:gd name="connsiteY292" fmla="*/ 1432269 h 2084191"/>
              <a:gd name="connsiteX293" fmla="*/ 1887788 w 2051041"/>
              <a:gd name="connsiteY293" fmla="*/ 1464920 h 2084191"/>
              <a:gd name="connsiteX294" fmla="*/ 1854049 w 2051041"/>
              <a:gd name="connsiteY294" fmla="*/ 1433358 h 2084191"/>
              <a:gd name="connsiteX295" fmla="*/ 1886700 w 2051041"/>
              <a:gd name="connsiteY295" fmla="*/ 1398530 h 2084191"/>
              <a:gd name="connsiteX296" fmla="*/ 2051041 w 2051041"/>
              <a:gd name="connsiteY296" fmla="*/ 1398217 h 2084191"/>
              <a:gd name="connsiteX297" fmla="*/ 2051041 w 2051041"/>
              <a:gd name="connsiteY297" fmla="*/ 1464535 h 2084191"/>
              <a:gd name="connsiteX298" fmla="*/ 2049953 w 2051041"/>
              <a:gd name="connsiteY298" fmla="*/ 1464920 h 2084191"/>
              <a:gd name="connsiteX299" fmla="*/ 2017302 w 2051041"/>
              <a:gd name="connsiteY299" fmla="*/ 1431725 h 2084191"/>
              <a:gd name="connsiteX300" fmla="*/ 2027709 w 2051041"/>
              <a:gd name="connsiteY300" fmla="*/ 1408121 h 2084191"/>
              <a:gd name="connsiteX301" fmla="*/ 500139 w 2051041"/>
              <a:gd name="connsiteY301" fmla="*/ 1341936 h 2084191"/>
              <a:gd name="connsiteX302" fmla="*/ 511023 w 2051041"/>
              <a:gd name="connsiteY302" fmla="*/ 1350643 h 2084191"/>
              <a:gd name="connsiteX303" fmla="*/ 499595 w 2051041"/>
              <a:gd name="connsiteY303" fmla="*/ 1358261 h 2084191"/>
              <a:gd name="connsiteX304" fmla="*/ 491432 w 2051041"/>
              <a:gd name="connsiteY304" fmla="*/ 1349010 h 2084191"/>
              <a:gd name="connsiteX305" fmla="*/ 500139 w 2051041"/>
              <a:gd name="connsiteY305" fmla="*/ 1341936 h 2084191"/>
              <a:gd name="connsiteX306" fmla="*/ 662848 w 2051041"/>
              <a:gd name="connsiteY306" fmla="*/ 1333773 h 2084191"/>
              <a:gd name="connsiteX307" fmla="*/ 679173 w 2051041"/>
              <a:gd name="connsiteY307" fmla="*/ 1350643 h 2084191"/>
              <a:gd name="connsiteX308" fmla="*/ 662848 w 2051041"/>
              <a:gd name="connsiteY308" fmla="*/ 1366424 h 2084191"/>
              <a:gd name="connsiteX309" fmla="*/ 647067 w 2051041"/>
              <a:gd name="connsiteY309" fmla="*/ 1350098 h 2084191"/>
              <a:gd name="connsiteX310" fmla="*/ 662848 w 2051041"/>
              <a:gd name="connsiteY310" fmla="*/ 1333773 h 2084191"/>
              <a:gd name="connsiteX311" fmla="*/ 826645 w 2051041"/>
              <a:gd name="connsiteY311" fmla="*/ 1328331 h 2084191"/>
              <a:gd name="connsiteX312" fmla="*/ 847868 w 2051041"/>
              <a:gd name="connsiteY312" fmla="*/ 1350642 h 2084191"/>
              <a:gd name="connsiteX313" fmla="*/ 825556 w 2051041"/>
              <a:gd name="connsiteY313" fmla="*/ 1372409 h 2084191"/>
              <a:gd name="connsiteX314" fmla="*/ 804334 w 2051041"/>
              <a:gd name="connsiteY314" fmla="*/ 1349554 h 2084191"/>
              <a:gd name="connsiteX315" fmla="*/ 826645 w 2051041"/>
              <a:gd name="connsiteY315" fmla="*/ 1328331 h 2084191"/>
              <a:gd name="connsiteX316" fmla="*/ 989353 w 2051041"/>
              <a:gd name="connsiteY316" fmla="*/ 1323978 h 2084191"/>
              <a:gd name="connsiteX317" fmla="*/ 1015473 w 2051041"/>
              <a:gd name="connsiteY317" fmla="*/ 1350098 h 2084191"/>
              <a:gd name="connsiteX318" fmla="*/ 989353 w 2051041"/>
              <a:gd name="connsiteY318" fmla="*/ 1376763 h 2084191"/>
              <a:gd name="connsiteX319" fmla="*/ 963777 w 2051041"/>
              <a:gd name="connsiteY319" fmla="*/ 1350642 h 2084191"/>
              <a:gd name="connsiteX320" fmla="*/ 989353 w 2051041"/>
              <a:gd name="connsiteY320" fmla="*/ 1323978 h 2084191"/>
              <a:gd name="connsiteX321" fmla="*/ 1152606 w 2051041"/>
              <a:gd name="connsiteY321" fmla="*/ 1322889 h 2084191"/>
              <a:gd name="connsiteX322" fmla="*/ 1181447 w 2051041"/>
              <a:gd name="connsiteY322" fmla="*/ 1350098 h 2084191"/>
              <a:gd name="connsiteX323" fmla="*/ 1152606 w 2051041"/>
              <a:gd name="connsiteY323" fmla="*/ 1379483 h 2084191"/>
              <a:gd name="connsiteX324" fmla="*/ 1124853 w 2051041"/>
              <a:gd name="connsiteY324" fmla="*/ 1350642 h 2084191"/>
              <a:gd name="connsiteX325" fmla="*/ 1152606 w 2051041"/>
              <a:gd name="connsiteY325" fmla="*/ 1322889 h 2084191"/>
              <a:gd name="connsiteX326" fmla="*/ 1315315 w 2051041"/>
              <a:gd name="connsiteY326" fmla="*/ 1318536 h 2084191"/>
              <a:gd name="connsiteX327" fmla="*/ 1347966 w 2051041"/>
              <a:gd name="connsiteY327" fmla="*/ 1350098 h 2084191"/>
              <a:gd name="connsiteX328" fmla="*/ 1315315 w 2051041"/>
              <a:gd name="connsiteY328" fmla="*/ 1381661 h 2084191"/>
              <a:gd name="connsiteX329" fmla="*/ 1284297 w 2051041"/>
              <a:gd name="connsiteY329" fmla="*/ 1350098 h 2084191"/>
              <a:gd name="connsiteX330" fmla="*/ 1315315 w 2051041"/>
              <a:gd name="connsiteY330" fmla="*/ 1318536 h 2084191"/>
              <a:gd name="connsiteX331" fmla="*/ 1480744 w 2051041"/>
              <a:gd name="connsiteY331" fmla="*/ 1317448 h 2084191"/>
              <a:gd name="connsiteX332" fmla="*/ 1512306 w 2051041"/>
              <a:gd name="connsiteY332" fmla="*/ 1351731 h 2084191"/>
              <a:gd name="connsiteX333" fmla="*/ 1477479 w 2051041"/>
              <a:gd name="connsiteY333" fmla="*/ 1383293 h 2084191"/>
              <a:gd name="connsiteX334" fmla="*/ 1446461 w 2051041"/>
              <a:gd name="connsiteY334" fmla="*/ 1349554 h 2084191"/>
              <a:gd name="connsiteX335" fmla="*/ 1480744 w 2051041"/>
              <a:gd name="connsiteY335" fmla="*/ 1317448 h 2084191"/>
              <a:gd name="connsiteX336" fmla="*/ 1642908 w 2051041"/>
              <a:gd name="connsiteY336" fmla="*/ 1315815 h 2084191"/>
              <a:gd name="connsiteX337" fmla="*/ 1676647 w 2051041"/>
              <a:gd name="connsiteY337" fmla="*/ 1351731 h 2084191"/>
              <a:gd name="connsiteX338" fmla="*/ 1640732 w 2051041"/>
              <a:gd name="connsiteY338" fmla="*/ 1383837 h 2084191"/>
              <a:gd name="connsiteX339" fmla="*/ 1608081 w 2051041"/>
              <a:gd name="connsiteY339" fmla="*/ 1349554 h 2084191"/>
              <a:gd name="connsiteX340" fmla="*/ 1642908 w 2051041"/>
              <a:gd name="connsiteY340" fmla="*/ 1315815 h 2084191"/>
              <a:gd name="connsiteX341" fmla="*/ 1968870 w 2051041"/>
              <a:gd name="connsiteY341" fmla="*/ 1314183 h 2084191"/>
              <a:gd name="connsiteX342" fmla="*/ 2005329 w 2051041"/>
              <a:gd name="connsiteY342" fmla="*/ 1351187 h 2084191"/>
              <a:gd name="connsiteX343" fmla="*/ 1967781 w 2051041"/>
              <a:gd name="connsiteY343" fmla="*/ 1388191 h 2084191"/>
              <a:gd name="connsiteX344" fmla="*/ 1931866 w 2051041"/>
              <a:gd name="connsiteY344" fmla="*/ 1350098 h 2084191"/>
              <a:gd name="connsiteX345" fmla="*/ 1968870 w 2051041"/>
              <a:gd name="connsiteY345" fmla="*/ 1314183 h 2084191"/>
              <a:gd name="connsiteX346" fmla="*/ 1806161 w 2051041"/>
              <a:gd name="connsiteY346" fmla="*/ 1313639 h 2084191"/>
              <a:gd name="connsiteX347" fmla="*/ 1841533 w 2051041"/>
              <a:gd name="connsiteY347" fmla="*/ 1351187 h 2084191"/>
              <a:gd name="connsiteX348" fmla="*/ 1830105 w 2051041"/>
              <a:gd name="connsiteY348" fmla="*/ 1376763 h 2084191"/>
              <a:gd name="connsiteX349" fmla="*/ 1803984 w 2051041"/>
              <a:gd name="connsiteY349" fmla="*/ 1387102 h 2084191"/>
              <a:gd name="connsiteX350" fmla="*/ 1768613 w 2051041"/>
              <a:gd name="connsiteY350" fmla="*/ 1350098 h 2084191"/>
              <a:gd name="connsiteX351" fmla="*/ 1806161 w 2051041"/>
              <a:gd name="connsiteY351" fmla="*/ 1313639 h 2084191"/>
              <a:gd name="connsiteX352" fmla="*/ 419057 w 2051041"/>
              <a:gd name="connsiteY352" fmla="*/ 1262486 h 2084191"/>
              <a:gd name="connsiteX353" fmla="*/ 424499 w 2051041"/>
              <a:gd name="connsiteY353" fmla="*/ 1269016 h 2084191"/>
              <a:gd name="connsiteX354" fmla="*/ 417969 w 2051041"/>
              <a:gd name="connsiteY354" fmla="*/ 1278811 h 2084191"/>
              <a:gd name="connsiteX355" fmla="*/ 411983 w 2051041"/>
              <a:gd name="connsiteY355" fmla="*/ 1269016 h 2084191"/>
              <a:gd name="connsiteX356" fmla="*/ 419057 w 2051041"/>
              <a:gd name="connsiteY356" fmla="*/ 1262486 h 2084191"/>
              <a:gd name="connsiteX357" fmla="*/ 581221 w 2051041"/>
              <a:gd name="connsiteY357" fmla="*/ 1252147 h 2084191"/>
              <a:gd name="connsiteX358" fmla="*/ 597547 w 2051041"/>
              <a:gd name="connsiteY358" fmla="*/ 1269017 h 2084191"/>
              <a:gd name="connsiteX359" fmla="*/ 580133 w 2051041"/>
              <a:gd name="connsiteY359" fmla="*/ 1284254 h 2084191"/>
              <a:gd name="connsiteX360" fmla="*/ 564896 w 2051041"/>
              <a:gd name="connsiteY360" fmla="*/ 1268472 h 2084191"/>
              <a:gd name="connsiteX361" fmla="*/ 581221 w 2051041"/>
              <a:gd name="connsiteY361" fmla="*/ 1252147 h 2084191"/>
              <a:gd name="connsiteX362" fmla="*/ 745018 w 2051041"/>
              <a:gd name="connsiteY362" fmla="*/ 1246705 h 2084191"/>
              <a:gd name="connsiteX363" fmla="*/ 766241 w 2051041"/>
              <a:gd name="connsiteY363" fmla="*/ 1269560 h 2084191"/>
              <a:gd name="connsiteX364" fmla="*/ 744474 w 2051041"/>
              <a:gd name="connsiteY364" fmla="*/ 1290783 h 2084191"/>
              <a:gd name="connsiteX365" fmla="*/ 722707 w 2051041"/>
              <a:gd name="connsiteY365" fmla="*/ 1267928 h 2084191"/>
              <a:gd name="connsiteX366" fmla="*/ 745018 w 2051041"/>
              <a:gd name="connsiteY366" fmla="*/ 1246705 h 2084191"/>
              <a:gd name="connsiteX367" fmla="*/ 907727 w 2051041"/>
              <a:gd name="connsiteY367" fmla="*/ 1241807 h 2084191"/>
              <a:gd name="connsiteX368" fmla="*/ 933847 w 2051041"/>
              <a:gd name="connsiteY368" fmla="*/ 1269016 h 2084191"/>
              <a:gd name="connsiteX369" fmla="*/ 907183 w 2051041"/>
              <a:gd name="connsiteY369" fmla="*/ 1295136 h 2084191"/>
              <a:gd name="connsiteX370" fmla="*/ 880518 w 2051041"/>
              <a:gd name="connsiteY370" fmla="*/ 1267927 h 2084191"/>
              <a:gd name="connsiteX371" fmla="*/ 907727 w 2051041"/>
              <a:gd name="connsiteY371" fmla="*/ 1241807 h 2084191"/>
              <a:gd name="connsiteX372" fmla="*/ 1070979 w 2051041"/>
              <a:gd name="connsiteY372" fmla="*/ 1240719 h 2084191"/>
              <a:gd name="connsiteX373" fmla="*/ 1099821 w 2051041"/>
              <a:gd name="connsiteY373" fmla="*/ 1268472 h 2084191"/>
              <a:gd name="connsiteX374" fmla="*/ 1070435 w 2051041"/>
              <a:gd name="connsiteY374" fmla="*/ 1297858 h 2084191"/>
              <a:gd name="connsiteX375" fmla="*/ 1042138 w 2051041"/>
              <a:gd name="connsiteY375" fmla="*/ 1269560 h 2084191"/>
              <a:gd name="connsiteX376" fmla="*/ 1070979 w 2051041"/>
              <a:gd name="connsiteY376" fmla="*/ 1240719 h 2084191"/>
              <a:gd name="connsiteX377" fmla="*/ 1234233 w 2051041"/>
              <a:gd name="connsiteY377" fmla="*/ 1235821 h 2084191"/>
              <a:gd name="connsiteX378" fmla="*/ 1266883 w 2051041"/>
              <a:gd name="connsiteY378" fmla="*/ 1269016 h 2084191"/>
              <a:gd name="connsiteX379" fmla="*/ 1234233 w 2051041"/>
              <a:gd name="connsiteY379" fmla="*/ 1300578 h 2084191"/>
              <a:gd name="connsiteX380" fmla="*/ 1201582 w 2051041"/>
              <a:gd name="connsiteY380" fmla="*/ 1267383 h 2084191"/>
              <a:gd name="connsiteX381" fmla="*/ 1234233 w 2051041"/>
              <a:gd name="connsiteY381" fmla="*/ 1235821 h 2084191"/>
              <a:gd name="connsiteX382" fmla="*/ 1396397 w 2051041"/>
              <a:gd name="connsiteY382" fmla="*/ 1234733 h 2084191"/>
              <a:gd name="connsiteX383" fmla="*/ 1431224 w 2051041"/>
              <a:gd name="connsiteY383" fmla="*/ 1268472 h 2084191"/>
              <a:gd name="connsiteX384" fmla="*/ 1396941 w 2051041"/>
              <a:gd name="connsiteY384" fmla="*/ 1302755 h 2084191"/>
              <a:gd name="connsiteX385" fmla="*/ 1363746 w 2051041"/>
              <a:gd name="connsiteY385" fmla="*/ 1269016 h 2084191"/>
              <a:gd name="connsiteX386" fmla="*/ 1396397 w 2051041"/>
              <a:gd name="connsiteY386" fmla="*/ 1234733 h 2084191"/>
              <a:gd name="connsiteX387" fmla="*/ 1559649 w 2051041"/>
              <a:gd name="connsiteY387" fmla="*/ 1232557 h 2084191"/>
              <a:gd name="connsiteX388" fmla="*/ 1597742 w 2051041"/>
              <a:gd name="connsiteY388" fmla="*/ 1268472 h 2084191"/>
              <a:gd name="connsiteX389" fmla="*/ 1561826 w 2051041"/>
              <a:gd name="connsiteY389" fmla="*/ 1305476 h 2084191"/>
              <a:gd name="connsiteX390" fmla="*/ 1523734 w 2051041"/>
              <a:gd name="connsiteY390" fmla="*/ 1269561 h 2084191"/>
              <a:gd name="connsiteX391" fmla="*/ 1559649 w 2051041"/>
              <a:gd name="connsiteY391" fmla="*/ 1232557 h 2084191"/>
              <a:gd name="connsiteX392" fmla="*/ 1723990 w 2051041"/>
              <a:gd name="connsiteY392" fmla="*/ 1231468 h 2084191"/>
              <a:gd name="connsiteX393" fmla="*/ 1762083 w 2051041"/>
              <a:gd name="connsiteY393" fmla="*/ 1268472 h 2084191"/>
              <a:gd name="connsiteX394" fmla="*/ 1724535 w 2051041"/>
              <a:gd name="connsiteY394" fmla="*/ 1307109 h 2084191"/>
              <a:gd name="connsiteX395" fmla="*/ 1686442 w 2051041"/>
              <a:gd name="connsiteY395" fmla="*/ 1270105 h 2084191"/>
              <a:gd name="connsiteX396" fmla="*/ 1723990 w 2051041"/>
              <a:gd name="connsiteY396" fmla="*/ 1231468 h 2084191"/>
              <a:gd name="connsiteX397" fmla="*/ 1888332 w 2051041"/>
              <a:gd name="connsiteY397" fmla="*/ 1230924 h 2084191"/>
              <a:gd name="connsiteX398" fmla="*/ 1925336 w 2051041"/>
              <a:gd name="connsiteY398" fmla="*/ 1269561 h 2084191"/>
              <a:gd name="connsiteX399" fmla="*/ 1887243 w 2051041"/>
              <a:gd name="connsiteY399" fmla="*/ 1307653 h 2084191"/>
              <a:gd name="connsiteX400" fmla="*/ 1849151 w 2051041"/>
              <a:gd name="connsiteY400" fmla="*/ 1267928 h 2084191"/>
              <a:gd name="connsiteX401" fmla="*/ 1888332 w 2051041"/>
              <a:gd name="connsiteY401" fmla="*/ 1230924 h 2084191"/>
              <a:gd name="connsiteX402" fmla="*/ 2049952 w 2051041"/>
              <a:gd name="connsiteY402" fmla="*/ 1230380 h 2084191"/>
              <a:gd name="connsiteX403" fmla="*/ 2051041 w 2051041"/>
              <a:gd name="connsiteY403" fmla="*/ 1230805 h 2084191"/>
              <a:gd name="connsiteX404" fmla="*/ 2051041 w 2051041"/>
              <a:gd name="connsiteY404" fmla="*/ 1307109 h 2084191"/>
              <a:gd name="connsiteX405" fmla="*/ 2012404 w 2051041"/>
              <a:gd name="connsiteY405" fmla="*/ 1268472 h 2084191"/>
              <a:gd name="connsiteX406" fmla="*/ 2049952 w 2051041"/>
              <a:gd name="connsiteY406" fmla="*/ 1230380 h 2084191"/>
              <a:gd name="connsiteX407" fmla="*/ 337431 w 2051041"/>
              <a:gd name="connsiteY407" fmla="*/ 1181404 h 2084191"/>
              <a:gd name="connsiteX408" fmla="*/ 345050 w 2051041"/>
              <a:gd name="connsiteY408" fmla="*/ 1187934 h 2084191"/>
              <a:gd name="connsiteX409" fmla="*/ 336343 w 2051041"/>
              <a:gd name="connsiteY409" fmla="*/ 1192288 h 2084191"/>
              <a:gd name="connsiteX410" fmla="*/ 330901 w 2051041"/>
              <a:gd name="connsiteY410" fmla="*/ 1185758 h 2084191"/>
              <a:gd name="connsiteX411" fmla="*/ 337431 w 2051041"/>
              <a:gd name="connsiteY411" fmla="*/ 1181404 h 2084191"/>
              <a:gd name="connsiteX412" fmla="*/ 499051 w 2051041"/>
              <a:gd name="connsiteY412" fmla="*/ 1171065 h 2084191"/>
              <a:gd name="connsiteX413" fmla="*/ 516465 w 2051041"/>
              <a:gd name="connsiteY413" fmla="*/ 1187390 h 2084191"/>
              <a:gd name="connsiteX414" fmla="*/ 500140 w 2051041"/>
              <a:gd name="connsiteY414" fmla="*/ 1202627 h 2084191"/>
              <a:gd name="connsiteX415" fmla="*/ 483814 w 2051041"/>
              <a:gd name="connsiteY415" fmla="*/ 1187390 h 2084191"/>
              <a:gd name="connsiteX416" fmla="*/ 499051 w 2051041"/>
              <a:gd name="connsiteY416" fmla="*/ 1171065 h 2084191"/>
              <a:gd name="connsiteX417" fmla="*/ 662848 w 2051041"/>
              <a:gd name="connsiteY417" fmla="*/ 1165623 h 2084191"/>
              <a:gd name="connsiteX418" fmla="*/ 684615 w 2051041"/>
              <a:gd name="connsiteY418" fmla="*/ 1187390 h 2084191"/>
              <a:gd name="connsiteX419" fmla="*/ 662848 w 2051041"/>
              <a:gd name="connsiteY419" fmla="*/ 1209157 h 2084191"/>
              <a:gd name="connsiteX420" fmla="*/ 641081 w 2051041"/>
              <a:gd name="connsiteY420" fmla="*/ 1186846 h 2084191"/>
              <a:gd name="connsiteX421" fmla="*/ 662848 w 2051041"/>
              <a:gd name="connsiteY421" fmla="*/ 1165623 h 2084191"/>
              <a:gd name="connsiteX422" fmla="*/ 825556 w 2051041"/>
              <a:gd name="connsiteY422" fmla="*/ 1160725 h 2084191"/>
              <a:gd name="connsiteX423" fmla="*/ 852765 w 2051041"/>
              <a:gd name="connsiteY423" fmla="*/ 1186846 h 2084191"/>
              <a:gd name="connsiteX424" fmla="*/ 826645 w 2051041"/>
              <a:gd name="connsiteY424" fmla="*/ 1213511 h 2084191"/>
              <a:gd name="connsiteX425" fmla="*/ 798892 w 2051041"/>
              <a:gd name="connsiteY425" fmla="*/ 1188479 h 2084191"/>
              <a:gd name="connsiteX426" fmla="*/ 825556 w 2051041"/>
              <a:gd name="connsiteY426" fmla="*/ 1160725 h 2084191"/>
              <a:gd name="connsiteX427" fmla="*/ 989353 w 2051041"/>
              <a:gd name="connsiteY427" fmla="*/ 1158004 h 2084191"/>
              <a:gd name="connsiteX428" fmla="*/ 1018195 w 2051041"/>
              <a:gd name="connsiteY428" fmla="*/ 1187934 h 2084191"/>
              <a:gd name="connsiteX429" fmla="*/ 988809 w 2051041"/>
              <a:gd name="connsiteY429" fmla="*/ 1216775 h 2084191"/>
              <a:gd name="connsiteX430" fmla="*/ 959968 w 2051041"/>
              <a:gd name="connsiteY430" fmla="*/ 1187934 h 2084191"/>
              <a:gd name="connsiteX431" fmla="*/ 989353 w 2051041"/>
              <a:gd name="connsiteY431" fmla="*/ 1158004 h 2084191"/>
              <a:gd name="connsiteX432" fmla="*/ 1152062 w 2051041"/>
              <a:gd name="connsiteY432" fmla="*/ 1153651 h 2084191"/>
              <a:gd name="connsiteX433" fmla="*/ 1185801 w 2051041"/>
              <a:gd name="connsiteY433" fmla="*/ 1186301 h 2084191"/>
              <a:gd name="connsiteX434" fmla="*/ 1153150 w 2051041"/>
              <a:gd name="connsiteY434" fmla="*/ 1219496 h 2084191"/>
              <a:gd name="connsiteX435" fmla="*/ 1119956 w 2051041"/>
              <a:gd name="connsiteY435" fmla="*/ 1187390 h 2084191"/>
              <a:gd name="connsiteX436" fmla="*/ 1152062 w 2051041"/>
              <a:gd name="connsiteY436" fmla="*/ 1153651 h 2084191"/>
              <a:gd name="connsiteX437" fmla="*/ 1315315 w 2051041"/>
              <a:gd name="connsiteY437" fmla="*/ 1152018 h 2084191"/>
              <a:gd name="connsiteX438" fmla="*/ 1351230 w 2051041"/>
              <a:gd name="connsiteY438" fmla="*/ 1186845 h 2084191"/>
              <a:gd name="connsiteX439" fmla="*/ 1315859 w 2051041"/>
              <a:gd name="connsiteY439" fmla="*/ 1221673 h 2084191"/>
              <a:gd name="connsiteX440" fmla="*/ 1281576 w 2051041"/>
              <a:gd name="connsiteY440" fmla="*/ 1187390 h 2084191"/>
              <a:gd name="connsiteX441" fmla="*/ 1315315 w 2051041"/>
              <a:gd name="connsiteY441" fmla="*/ 1152018 h 2084191"/>
              <a:gd name="connsiteX442" fmla="*/ 1479656 w 2051041"/>
              <a:gd name="connsiteY442" fmla="*/ 1149298 h 2084191"/>
              <a:gd name="connsiteX443" fmla="*/ 1516660 w 2051041"/>
              <a:gd name="connsiteY443" fmla="*/ 1188479 h 2084191"/>
              <a:gd name="connsiteX444" fmla="*/ 1478023 w 2051041"/>
              <a:gd name="connsiteY444" fmla="*/ 1224394 h 2084191"/>
              <a:gd name="connsiteX445" fmla="*/ 1441563 w 2051041"/>
              <a:gd name="connsiteY445" fmla="*/ 1185758 h 2084191"/>
              <a:gd name="connsiteX446" fmla="*/ 1479656 w 2051041"/>
              <a:gd name="connsiteY446" fmla="*/ 1149298 h 2084191"/>
              <a:gd name="connsiteX447" fmla="*/ 1642365 w 2051041"/>
              <a:gd name="connsiteY447" fmla="*/ 1148209 h 2084191"/>
              <a:gd name="connsiteX448" fmla="*/ 1681001 w 2051041"/>
              <a:gd name="connsiteY448" fmla="*/ 1187390 h 2084191"/>
              <a:gd name="connsiteX449" fmla="*/ 1641821 w 2051041"/>
              <a:gd name="connsiteY449" fmla="*/ 1226026 h 2084191"/>
              <a:gd name="connsiteX450" fmla="*/ 1603728 w 2051041"/>
              <a:gd name="connsiteY450" fmla="*/ 1186846 h 2084191"/>
              <a:gd name="connsiteX451" fmla="*/ 1642365 w 2051041"/>
              <a:gd name="connsiteY451" fmla="*/ 1148209 h 2084191"/>
              <a:gd name="connsiteX452" fmla="*/ 1969414 w 2051041"/>
              <a:gd name="connsiteY452" fmla="*/ 1147665 h 2084191"/>
              <a:gd name="connsiteX453" fmla="*/ 2009139 w 2051041"/>
              <a:gd name="connsiteY453" fmla="*/ 1187934 h 2084191"/>
              <a:gd name="connsiteX454" fmla="*/ 1968870 w 2051041"/>
              <a:gd name="connsiteY454" fmla="*/ 1227114 h 2084191"/>
              <a:gd name="connsiteX455" fmla="*/ 1929145 w 2051041"/>
              <a:gd name="connsiteY455" fmla="*/ 1186301 h 2084191"/>
              <a:gd name="connsiteX456" fmla="*/ 1969414 w 2051041"/>
              <a:gd name="connsiteY456" fmla="*/ 1147665 h 2084191"/>
              <a:gd name="connsiteX457" fmla="*/ 1805617 w 2051041"/>
              <a:gd name="connsiteY457" fmla="*/ 1147665 h 2084191"/>
              <a:gd name="connsiteX458" fmla="*/ 1844798 w 2051041"/>
              <a:gd name="connsiteY458" fmla="*/ 1187934 h 2084191"/>
              <a:gd name="connsiteX459" fmla="*/ 1805073 w 2051041"/>
              <a:gd name="connsiteY459" fmla="*/ 1226571 h 2084191"/>
              <a:gd name="connsiteX460" fmla="*/ 1766981 w 2051041"/>
              <a:gd name="connsiteY460" fmla="*/ 1186845 h 2084191"/>
              <a:gd name="connsiteX461" fmla="*/ 1805617 w 2051041"/>
              <a:gd name="connsiteY461" fmla="*/ 1147665 h 2084191"/>
              <a:gd name="connsiteX462" fmla="*/ 417425 w 2051041"/>
              <a:gd name="connsiteY462" fmla="*/ 1090527 h 2084191"/>
              <a:gd name="connsiteX463" fmla="*/ 432662 w 2051041"/>
              <a:gd name="connsiteY463" fmla="*/ 1105764 h 2084191"/>
              <a:gd name="connsiteX464" fmla="*/ 417969 w 2051041"/>
              <a:gd name="connsiteY464" fmla="*/ 1120457 h 2084191"/>
              <a:gd name="connsiteX465" fmla="*/ 402732 w 2051041"/>
              <a:gd name="connsiteY465" fmla="*/ 1105219 h 2084191"/>
              <a:gd name="connsiteX466" fmla="*/ 417425 w 2051041"/>
              <a:gd name="connsiteY466" fmla="*/ 1090527 h 2084191"/>
              <a:gd name="connsiteX467" fmla="*/ 580677 w 2051041"/>
              <a:gd name="connsiteY467" fmla="*/ 1083996 h 2084191"/>
              <a:gd name="connsiteX468" fmla="*/ 602444 w 2051041"/>
              <a:gd name="connsiteY468" fmla="*/ 1105219 h 2084191"/>
              <a:gd name="connsiteX469" fmla="*/ 581221 w 2051041"/>
              <a:gd name="connsiteY469" fmla="*/ 1127530 h 2084191"/>
              <a:gd name="connsiteX470" fmla="*/ 558910 w 2051041"/>
              <a:gd name="connsiteY470" fmla="*/ 1105219 h 2084191"/>
              <a:gd name="connsiteX471" fmla="*/ 580677 w 2051041"/>
              <a:gd name="connsiteY471" fmla="*/ 1083996 h 2084191"/>
              <a:gd name="connsiteX472" fmla="*/ 743386 w 2051041"/>
              <a:gd name="connsiteY472" fmla="*/ 1079099 h 2084191"/>
              <a:gd name="connsiteX473" fmla="*/ 770595 w 2051041"/>
              <a:gd name="connsiteY473" fmla="*/ 1105219 h 2084191"/>
              <a:gd name="connsiteX474" fmla="*/ 745019 w 2051041"/>
              <a:gd name="connsiteY474" fmla="*/ 1132428 h 2084191"/>
              <a:gd name="connsiteX475" fmla="*/ 717810 w 2051041"/>
              <a:gd name="connsiteY475" fmla="*/ 1106308 h 2084191"/>
              <a:gd name="connsiteX476" fmla="*/ 743386 w 2051041"/>
              <a:gd name="connsiteY476" fmla="*/ 1079099 h 2084191"/>
              <a:gd name="connsiteX477" fmla="*/ 907727 w 2051041"/>
              <a:gd name="connsiteY477" fmla="*/ 1076378 h 2084191"/>
              <a:gd name="connsiteX478" fmla="*/ 937112 w 2051041"/>
              <a:gd name="connsiteY478" fmla="*/ 1105219 h 2084191"/>
              <a:gd name="connsiteX479" fmla="*/ 908271 w 2051041"/>
              <a:gd name="connsiteY479" fmla="*/ 1134061 h 2084191"/>
              <a:gd name="connsiteX480" fmla="*/ 878885 w 2051041"/>
              <a:gd name="connsiteY480" fmla="*/ 1105764 h 2084191"/>
              <a:gd name="connsiteX481" fmla="*/ 907727 w 2051041"/>
              <a:gd name="connsiteY481" fmla="*/ 1076378 h 2084191"/>
              <a:gd name="connsiteX482" fmla="*/ 1071524 w 2051041"/>
              <a:gd name="connsiteY482" fmla="*/ 1072569 h 2084191"/>
              <a:gd name="connsiteX483" fmla="*/ 1104174 w 2051041"/>
              <a:gd name="connsiteY483" fmla="*/ 1105220 h 2084191"/>
              <a:gd name="connsiteX484" fmla="*/ 1070435 w 2051041"/>
              <a:gd name="connsiteY484" fmla="*/ 1137870 h 2084191"/>
              <a:gd name="connsiteX485" fmla="*/ 1038329 w 2051041"/>
              <a:gd name="connsiteY485" fmla="*/ 1105764 h 2084191"/>
              <a:gd name="connsiteX486" fmla="*/ 1071524 w 2051041"/>
              <a:gd name="connsiteY486" fmla="*/ 1072569 h 2084191"/>
              <a:gd name="connsiteX487" fmla="*/ 1235865 w 2051041"/>
              <a:gd name="connsiteY487" fmla="*/ 1068760 h 2084191"/>
              <a:gd name="connsiteX488" fmla="*/ 1271237 w 2051041"/>
              <a:gd name="connsiteY488" fmla="*/ 1106852 h 2084191"/>
              <a:gd name="connsiteX489" fmla="*/ 1234777 w 2051041"/>
              <a:gd name="connsiteY489" fmla="*/ 1142223 h 2084191"/>
              <a:gd name="connsiteX490" fmla="*/ 1198861 w 2051041"/>
              <a:gd name="connsiteY490" fmla="*/ 1105219 h 2084191"/>
              <a:gd name="connsiteX491" fmla="*/ 1235865 w 2051041"/>
              <a:gd name="connsiteY491" fmla="*/ 1068760 h 2084191"/>
              <a:gd name="connsiteX492" fmla="*/ 1396397 w 2051041"/>
              <a:gd name="connsiteY492" fmla="*/ 1067127 h 2084191"/>
              <a:gd name="connsiteX493" fmla="*/ 1435578 w 2051041"/>
              <a:gd name="connsiteY493" fmla="*/ 1105219 h 2084191"/>
              <a:gd name="connsiteX494" fmla="*/ 1396941 w 2051041"/>
              <a:gd name="connsiteY494" fmla="*/ 1143856 h 2084191"/>
              <a:gd name="connsiteX495" fmla="*/ 1358849 w 2051041"/>
              <a:gd name="connsiteY495" fmla="*/ 1105763 h 2084191"/>
              <a:gd name="connsiteX496" fmla="*/ 1396397 w 2051041"/>
              <a:gd name="connsiteY496" fmla="*/ 1067127 h 2084191"/>
              <a:gd name="connsiteX497" fmla="*/ 1560738 w 2051041"/>
              <a:gd name="connsiteY497" fmla="*/ 1066582 h 2084191"/>
              <a:gd name="connsiteX498" fmla="*/ 1599919 w 2051041"/>
              <a:gd name="connsiteY498" fmla="*/ 1105763 h 2084191"/>
              <a:gd name="connsiteX499" fmla="*/ 1560738 w 2051041"/>
              <a:gd name="connsiteY499" fmla="*/ 1144400 h 2084191"/>
              <a:gd name="connsiteX500" fmla="*/ 1521013 w 2051041"/>
              <a:gd name="connsiteY500" fmla="*/ 1105763 h 2084191"/>
              <a:gd name="connsiteX501" fmla="*/ 1560738 w 2051041"/>
              <a:gd name="connsiteY501" fmla="*/ 1066582 h 2084191"/>
              <a:gd name="connsiteX502" fmla="*/ 1723447 w 2051041"/>
              <a:gd name="connsiteY502" fmla="*/ 1064406 h 2084191"/>
              <a:gd name="connsiteX503" fmla="*/ 1764260 w 2051041"/>
              <a:gd name="connsiteY503" fmla="*/ 1104675 h 2084191"/>
              <a:gd name="connsiteX504" fmla="*/ 1724535 w 2051041"/>
              <a:gd name="connsiteY504" fmla="*/ 1146032 h 2084191"/>
              <a:gd name="connsiteX505" fmla="*/ 1683178 w 2051041"/>
              <a:gd name="connsiteY505" fmla="*/ 1105764 h 2084191"/>
              <a:gd name="connsiteX506" fmla="*/ 1723447 w 2051041"/>
              <a:gd name="connsiteY506" fmla="*/ 1064406 h 2084191"/>
              <a:gd name="connsiteX507" fmla="*/ 2051041 w 2051041"/>
              <a:gd name="connsiteY507" fmla="*/ 1063318 h 2084191"/>
              <a:gd name="connsiteX508" fmla="*/ 2051041 w 2051041"/>
              <a:gd name="connsiteY508" fmla="*/ 1147740 h 2084191"/>
              <a:gd name="connsiteX509" fmla="*/ 2049952 w 2051041"/>
              <a:gd name="connsiteY509" fmla="*/ 1148210 h 2084191"/>
              <a:gd name="connsiteX510" fmla="*/ 2008051 w 2051041"/>
              <a:gd name="connsiteY510" fmla="*/ 1105764 h 2084191"/>
              <a:gd name="connsiteX511" fmla="*/ 2051041 w 2051041"/>
              <a:gd name="connsiteY511" fmla="*/ 1063318 h 2084191"/>
              <a:gd name="connsiteX512" fmla="*/ 1887787 w 2051041"/>
              <a:gd name="connsiteY512" fmla="*/ 1062773 h 2084191"/>
              <a:gd name="connsiteX513" fmla="*/ 1929145 w 2051041"/>
              <a:gd name="connsiteY513" fmla="*/ 1105763 h 2084191"/>
              <a:gd name="connsiteX514" fmla="*/ 1886699 w 2051041"/>
              <a:gd name="connsiteY514" fmla="*/ 1147665 h 2084191"/>
              <a:gd name="connsiteX515" fmla="*/ 1844798 w 2051041"/>
              <a:gd name="connsiteY515" fmla="*/ 1105219 h 2084191"/>
              <a:gd name="connsiteX516" fmla="*/ 1887787 w 2051041"/>
              <a:gd name="connsiteY516" fmla="*/ 1062773 h 2084191"/>
              <a:gd name="connsiteX517" fmla="*/ 335798 w 2051041"/>
              <a:gd name="connsiteY517" fmla="*/ 1011621 h 2084191"/>
              <a:gd name="connsiteX518" fmla="*/ 348314 w 2051041"/>
              <a:gd name="connsiteY518" fmla="*/ 1023049 h 2084191"/>
              <a:gd name="connsiteX519" fmla="*/ 336886 w 2051041"/>
              <a:gd name="connsiteY519" fmla="*/ 1036109 h 2084191"/>
              <a:gd name="connsiteX520" fmla="*/ 324370 w 2051041"/>
              <a:gd name="connsiteY520" fmla="*/ 1024681 h 2084191"/>
              <a:gd name="connsiteX521" fmla="*/ 335798 w 2051041"/>
              <a:gd name="connsiteY521" fmla="*/ 1011621 h 2084191"/>
              <a:gd name="connsiteX522" fmla="*/ 499051 w 2051041"/>
              <a:gd name="connsiteY522" fmla="*/ 1002914 h 2084191"/>
              <a:gd name="connsiteX523" fmla="*/ 520818 w 2051041"/>
              <a:gd name="connsiteY523" fmla="*/ 1024137 h 2084191"/>
              <a:gd name="connsiteX524" fmla="*/ 499595 w 2051041"/>
              <a:gd name="connsiteY524" fmla="*/ 1045360 h 2084191"/>
              <a:gd name="connsiteX525" fmla="*/ 478372 w 2051041"/>
              <a:gd name="connsiteY525" fmla="*/ 1024137 h 2084191"/>
              <a:gd name="connsiteX526" fmla="*/ 499051 w 2051041"/>
              <a:gd name="connsiteY526" fmla="*/ 1002914 h 2084191"/>
              <a:gd name="connsiteX527" fmla="*/ 663392 w 2051041"/>
              <a:gd name="connsiteY527" fmla="*/ 997473 h 2084191"/>
              <a:gd name="connsiteX528" fmla="*/ 688424 w 2051041"/>
              <a:gd name="connsiteY528" fmla="*/ 1024138 h 2084191"/>
              <a:gd name="connsiteX529" fmla="*/ 661759 w 2051041"/>
              <a:gd name="connsiteY529" fmla="*/ 1050258 h 2084191"/>
              <a:gd name="connsiteX530" fmla="*/ 636727 w 2051041"/>
              <a:gd name="connsiteY530" fmla="*/ 1023593 h 2084191"/>
              <a:gd name="connsiteX531" fmla="*/ 663392 w 2051041"/>
              <a:gd name="connsiteY531" fmla="*/ 997473 h 2084191"/>
              <a:gd name="connsiteX532" fmla="*/ 826645 w 2051041"/>
              <a:gd name="connsiteY532" fmla="*/ 995840 h 2084191"/>
              <a:gd name="connsiteX533" fmla="*/ 854942 w 2051041"/>
              <a:gd name="connsiteY533" fmla="*/ 1024137 h 2084191"/>
              <a:gd name="connsiteX534" fmla="*/ 825557 w 2051041"/>
              <a:gd name="connsiteY534" fmla="*/ 1052978 h 2084191"/>
              <a:gd name="connsiteX535" fmla="*/ 797260 w 2051041"/>
              <a:gd name="connsiteY535" fmla="*/ 1023593 h 2084191"/>
              <a:gd name="connsiteX536" fmla="*/ 826645 w 2051041"/>
              <a:gd name="connsiteY536" fmla="*/ 995840 h 2084191"/>
              <a:gd name="connsiteX537" fmla="*/ 990441 w 2051041"/>
              <a:gd name="connsiteY537" fmla="*/ 990942 h 2084191"/>
              <a:gd name="connsiteX538" fmla="*/ 1022548 w 2051041"/>
              <a:gd name="connsiteY538" fmla="*/ 1025225 h 2084191"/>
              <a:gd name="connsiteX539" fmla="*/ 988809 w 2051041"/>
              <a:gd name="connsiteY539" fmla="*/ 1056787 h 2084191"/>
              <a:gd name="connsiteX540" fmla="*/ 956702 w 2051041"/>
              <a:gd name="connsiteY540" fmla="*/ 1023593 h 2084191"/>
              <a:gd name="connsiteX541" fmla="*/ 990441 w 2051041"/>
              <a:gd name="connsiteY541" fmla="*/ 990942 h 2084191"/>
              <a:gd name="connsiteX542" fmla="*/ 1150974 w 2051041"/>
              <a:gd name="connsiteY542" fmla="*/ 987678 h 2084191"/>
              <a:gd name="connsiteX543" fmla="*/ 1189610 w 2051041"/>
              <a:gd name="connsiteY543" fmla="*/ 1023593 h 2084191"/>
              <a:gd name="connsiteX544" fmla="*/ 1152062 w 2051041"/>
              <a:gd name="connsiteY544" fmla="*/ 1061685 h 2084191"/>
              <a:gd name="connsiteX545" fmla="*/ 1115058 w 2051041"/>
              <a:gd name="connsiteY545" fmla="*/ 1024682 h 2084191"/>
              <a:gd name="connsiteX546" fmla="*/ 1150974 w 2051041"/>
              <a:gd name="connsiteY546" fmla="*/ 987678 h 2084191"/>
              <a:gd name="connsiteX547" fmla="*/ 1315314 w 2051041"/>
              <a:gd name="connsiteY547" fmla="*/ 985501 h 2084191"/>
              <a:gd name="connsiteX548" fmla="*/ 1354495 w 2051041"/>
              <a:gd name="connsiteY548" fmla="*/ 1023593 h 2084191"/>
              <a:gd name="connsiteX549" fmla="*/ 1315858 w 2051041"/>
              <a:gd name="connsiteY549" fmla="*/ 1062230 h 2084191"/>
              <a:gd name="connsiteX550" fmla="*/ 1277222 w 2051041"/>
              <a:gd name="connsiteY550" fmla="*/ 1024137 h 2084191"/>
              <a:gd name="connsiteX551" fmla="*/ 1315314 w 2051041"/>
              <a:gd name="connsiteY551" fmla="*/ 985501 h 2084191"/>
              <a:gd name="connsiteX552" fmla="*/ 1479656 w 2051041"/>
              <a:gd name="connsiteY552" fmla="*/ 984412 h 2084191"/>
              <a:gd name="connsiteX553" fmla="*/ 1519380 w 2051041"/>
              <a:gd name="connsiteY553" fmla="*/ 1025225 h 2084191"/>
              <a:gd name="connsiteX554" fmla="*/ 1478567 w 2051041"/>
              <a:gd name="connsiteY554" fmla="*/ 1063318 h 2084191"/>
              <a:gd name="connsiteX555" fmla="*/ 1439387 w 2051041"/>
              <a:gd name="connsiteY555" fmla="*/ 1023593 h 2084191"/>
              <a:gd name="connsiteX556" fmla="*/ 1479656 w 2051041"/>
              <a:gd name="connsiteY556" fmla="*/ 984412 h 2084191"/>
              <a:gd name="connsiteX557" fmla="*/ 1641820 w 2051041"/>
              <a:gd name="connsiteY557" fmla="*/ 981691 h 2084191"/>
              <a:gd name="connsiteX558" fmla="*/ 1684810 w 2051041"/>
              <a:gd name="connsiteY558" fmla="*/ 1023592 h 2084191"/>
              <a:gd name="connsiteX559" fmla="*/ 1642909 w 2051041"/>
              <a:gd name="connsiteY559" fmla="*/ 1066038 h 2084191"/>
              <a:gd name="connsiteX560" fmla="*/ 1599919 w 2051041"/>
              <a:gd name="connsiteY560" fmla="*/ 1023592 h 2084191"/>
              <a:gd name="connsiteX561" fmla="*/ 1641820 w 2051041"/>
              <a:gd name="connsiteY561" fmla="*/ 981691 h 2084191"/>
              <a:gd name="connsiteX562" fmla="*/ 1806161 w 2051041"/>
              <a:gd name="connsiteY562" fmla="*/ 980603 h 2084191"/>
              <a:gd name="connsiteX563" fmla="*/ 1849151 w 2051041"/>
              <a:gd name="connsiteY563" fmla="*/ 1023592 h 2084191"/>
              <a:gd name="connsiteX564" fmla="*/ 1805617 w 2051041"/>
              <a:gd name="connsiteY564" fmla="*/ 1067127 h 2084191"/>
              <a:gd name="connsiteX565" fmla="*/ 1762083 w 2051041"/>
              <a:gd name="connsiteY565" fmla="*/ 1023592 h 2084191"/>
              <a:gd name="connsiteX566" fmla="*/ 1806161 w 2051041"/>
              <a:gd name="connsiteY566" fmla="*/ 980603 h 2084191"/>
              <a:gd name="connsiteX567" fmla="*/ 1969414 w 2051041"/>
              <a:gd name="connsiteY567" fmla="*/ 980059 h 2084191"/>
              <a:gd name="connsiteX568" fmla="*/ 2012404 w 2051041"/>
              <a:gd name="connsiteY568" fmla="*/ 1024137 h 2084191"/>
              <a:gd name="connsiteX569" fmla="*/ 1968870 w 2051041"/>
              <a:gd name="connsiteY569" fmla="*/ 1067127 h 2084191"/>
              <a:gd name="connsiteX570" fmla="*/ 1924792 w 2051041"/>
              <a:gd name="connsiteY570" fmla="*/ 1024137 h 2084191"/>
              <a:gd name="connsiteX571" fmla="*/ 1969414 w 2051041"/>
              <a:gd name="connsiteY571" fmla="*/ 980059 h 2084191"/>
              <a:gd name="connsiteX572" fmla="*/ 254171 w 2051041"/>
              <a:gd name="connsiteY572" fmla="*/ 931083 h 2084191"/>
              <a:gd name="connsiteX573" fmla="*/ 265599 w 2051041"/>
              <a:gd name="connsiteY573" fmla="*/ 941967 h 2084191"/>
              <a:gd name="connsiteX574" fmla="*/ 254171 w 2051041"/>
              <a:gd name="connsiteY574" fmla="*/ 952850 h 2084191"/>
              <a:gd name="connsiteX575" fmla="*/ 243832 w 2051041"/>
              <a:gd name="connsiteY575" fmla="*/ 941967 h 2084191"/>
              <a:gd name="connsiteX576" fmla="*/ 254171 w 2051041"/>
              <a:gd name="connsiteY576" fmla="*/ 931083 h 2084191"/>
              <a:gd name="connsiteX577" fmla="*/ 417968 w 2051041"/>
              <a:gd name="connsiteY577" fmla="*/ 922377 h 2084191"/>
              <a:gd name="connsiteX578" fmla="*/ 437559 w 2051041"/>
              <a:gd name="connsiteY578" fmla="*/ 942511 h 2084191"/>
              <a:gd name="connsiteX579" fmla="*/ 417968 w 2051041"/>
              <a:gd name="connsiteY579" fmla="*/ 961557 h 2084191"/>
              <a:gd name="connsiteX580" fmla="*/ 397834 w 2051041"/>
              <a:gd name="connsiteY580" fmla="*/ 941423 h 2084191"/>
              <a:gd name="connsiteX581" fmla="*/ 417968 w 2051041"/>
              <a:gd name="connsiteY581" fmla="*/ 922377 h 2084191"/>
              <a:gd name="connsiteX582" fmla="*/ 581222 w 2051041"/>
              <a:gd name="connsiteY582" fmla="*/ 916934 h 2084191"/>
              <a:gd name="connsiteX583" fmla="*/ 606798 w 2051041"/>
              <a:gd name="connsiteY583" fmla="*/ 943054 h 2084191"/>
              <a:gd name="connsiteX584" fmla="*/ 581222 w 2051041"/>
              <a:gd name="connsiteY584" fmla="*/ 967542 h 2084191"/>
              <a:gd name="connsiteX585" fmla="*/ 556190 w 2051041"/>
              <a:gd name="connsiteY585" fmla="*/ 943054 h 2084191"/>
              <a:gd name="connsiteX586" fmla="*/ 581222 w 2051041"/>
              <a:gd name="connsiteY586" fmla="*/ 916934 h 2084191"/>
              <a:gd name="connsiteX587" fmla="*/ 744474 w 2051041"/>
              <a:gd name="connsiteY587" fmla="*/ 913669 h 2084191"/>
              <a:gd name="connsiteX588" fmla="*/ 773315 w 2051041"/>
              <a:gd name="connsiteY588" fmla="*/ 942510 h 2084191"/>
              <a:gd name="connsiteX589" fmla="*/ 743930 w 2051041"/>
              <a:gd name="connsiteY589" fmla="*/ 970807 h 2084191"/>
              <a:gd name="connsiteX590" fmla="*/ 716177 w 2051041"/>
              <a:gd name="connsiteY590" fmla="*/ 941966 h 2084191"/>
              <a:gd name="connsiteX591" fmla="*/ 744474 w 2051041"/>
              <a:gd name="connsiteY591" fmla="*/ 913669 h 2084191"/>
              <a:gd name="connsiteX592" fmla="*/ 908271 w 2051041"/>
              <a:gd name="connsiteY592" fmla="*/ 908772 h 2084191"/>
              <a:gd name="connsiteX593" fmla="*/ 940377 w 2051041"/>
              <a:gd name="connsiteY593" fmla="*/ 944144 h 2084191"/>
              <a:gd name="connsiteX594" fmla="*/ 906094 w 2051041"/>
              <a:gd name="connsiteY594" fmla="*/ 975162 h 2084191"/>
              <a:gd name="connsiteX595" fmla="*/ 874532 w 2051041"/>
              <a:gd name="connsiteY595" fmla="*/ 940879 h 2084191"/>
              <a:gd name="connsiteX596" fmla="*/ 908271 w 2051041"/>
              <a:gd name="connsiteY596" fmla="*/ 908772 h 2084191"/>
              <a:gd name="connsiteX597" fmla="*/ 1072068 w 2051041"/>
              <a:gd name="connsiteY597" fmla="*/ 906051 h 2084191"/>
              <a:gd name="connsiteX598" fmla="*/ 1107984 w 2051041"/>
              <a:gd name="connsiteY598" fmla="*/ 942511 h 2084191"/>
              <a:gd name="connsiteX599" fmla="*/ 1070980 w 2051041"/>
              <a:gd name="connsiteY599" fmla="*/ 979515 h 2084191"/>
              <a:gd name="connsiteX600" fmla="*/ 1034520 w 2051041"/>
              <a:gd name="connsiteY600" fmla="*/ 942511 h 2084191"/>
              <a:gd name="connsiteX601" fmla="*/ 1072068 w 2051041"/>
              <a:gd name="connsiteY601" fmla="*/ 906051 h 2084191"/>
              <a:gd name="connsiteX602" fmla="*/ 1235321 w 2051041"/>
              <a:gd name="connsiteY602" fmla="*/ 903874 h 2084191"/>
              <a:gd name="connsiteX603" fmla="*/ 1272325 w 2051041"/>
              <a:gd name="connsiteY603" fmla="*/ 943054 h 2084191"/>
              <a:gd name="connsiteX604" fmla="*/ 1233688 w 2051041"/>
              <a:gd name="connsiteY604" fmla="*/ 981147 h 2084191"/>
              <a:gd name="connsiteX605" fmla="*/ 1195596 w 2051041"/>
              <a:gd name="connsiteY605" fmla="*/ 940878 h 2084191"/>
              <a:gd name="connsiteX606" fmla="*/ 1235321 w 2051041"/>
              <a:gd name="connsiteY606" fmla="*/ 903874 h 2084191"/>
              <a:gd name="connsiteX607" fmla="*/ 1397486 w 2051041"/>
              <a:gd name="connsiteY607" fmla="*/ 901153 h 2084191"/>
              <a:gd name="connsiteX608" fmla="*/ 1438299 w 2051041"/>
              <a:gd name="connsiteY608" fmla="*/ 942511 h 2084191"/>
              <a:gd name="connsiteX609" fmla="*/ 1396941 w 2051041"/>
              <a:gd name="connsiteY609" fmla="*/ 983324 h 2084191"/>
              <a:gd name="connsiteX610" fmla="*/ 1356128 w 2051041"/>
              <a:gd name="connsiteY610" fmla="*/ 941967 h 2084191"/>
              <a:gd name="connsiteX611" fmla="*/ 1397486 w 2051041"/>
              <a:gd name="connsiteY611" fmla="*/ 901153 h 2084191"/>
              <a:gd name="connsiteX612" fmla="*/ 1560738 w 2051041"/>
              <a:gd name="connsiteY612" fmla="*/ 898977 h 2084191"/>
              <a:gd name="connsiteX613" fmla="*/ 1603728 w 2051041"/>
              <a:gd name="connsiteY613" fmla="*/ 942511 h 2084191"/>
              <a:gd name="connsiteX614" fmla="*/ 1560738 w 2051041"/>
              <a:gd name="connsiteY614" fmla="*/ 985501 h 2084191"/>
              <a:gd name="connsiteX615" fmla="*/ 1517204 w 2051041"/>
              <a:gd name="connsiteY615" fmla="*/ 941423 h 2084191"/>
              <a:gd name="connsiteX616" fmla="*/ 1560738 w 2051041"/>
              <a:gd name="connsiteY616" fmla="*/ 898977 h 2084191"/>
              <a:gd name="connsiteX617" fmla="*/ 1723990 w 2051041"/>
              <a:gd name="connsiteY617" fmla="*/ 897888 h 2084191"/>
              <a:gd name="connsiteX618" fmla="*/ 1768069 w 2051041"/>
              <a:gd name="connsiteY618" fmla="*/ 942510 h 2084191"/>
              <a:gd name="connsiteX619" fmla="*/ 1723990 w 2051041"/>
              <a:gd name="connsiteY619" fmla="*/ 986589 h 2084191"/>
              <a:gd name="connsiteX620" fmla="*/ 1679912 w 2051041"/>
              <a:gd name="connsiteY620" fmla="*/ 941422 h 2084191"/>
              <a:gd name="connsiteX621" fmla="*/ 1723990 w 2051041"/>
              <a:gd name="connsiteY621" fmla="*/ 897888 h 2084191"/>
              <a:gd name="connsiteX622" fmla="*/ 2050497 w 2051041"/>
              <a:gd name="connsiteY622" fmla="*/ 897344 h 2084191"/>
              <a:gd name="connsiteX623" fmla="*/ 2051041 w 2051041"/>
              <a:gd name="connsiteY623" fmla="*/ 897453 h 2084191"/>
              <a:gd name="connsiteX624" fmla="*/ 2051041 w 2051041"/>
              <a:gd name="connsiteY624" fmla="*/ 986917 h 2084191"/>
              <a:gd name="connsiteX625" fmla="*/ 2049952 w 2051041"/>
              <a:gd name="connsiteY625" fmla="*/ 987133 h 2084191"/>
              <a:gd name="connsiteX626" fmla="*/ 2005330 w 2051041"/>
              <a:gd name="connsiteY626" fmla="*/ 941422 h 2084191"/>
              <a:gd name="connsiteX627" fmla="*/ 2050497 w 2051041"/>
              <a:gd name="connsiteY627" fmla="*/ 897344 h 2084191"/>
              <a:gd name="connsiteX628" fmla="*/ 1887243 w 2051041"/>
              <a:gd name="connsiteY628" fmla="*/ 897344 h 2084191"/>
              <a:gd name="connsiteX629" fmla="*/ 1931866 w 2051041"/>
              <a:gd name="connsiteY629" fmla="*/ 942511 h 2084191"/>
              <a:gd name="connsiteX630" fmla="*/ 1887243 w 2051041"/>
              <a:gd name="connsiteY630" fmla="*/ 986589 h 2084191"/>
              <a:gd name="connsiteX631" fmla="*/ 1843165 w 2051041"/>
              <a:gd name="connsiteY631" fmla="*/ 941422 h 2084191"/>
              <a:gd name="connsiteX632" fmla="*/ 1887243 w 2051041"/>
              <a:gd name="connsiteY632" fmla="*/ 897344 h 2084191"/>
              <a:gd name="connsiteX633" fmla="*/ 172545 w 2051041"/>
              <a:gd name="connsiteY633" fmla="*/ 854354 h 2084191"/>
              <a:gd name="connsiteX634" fmla="*/ 179619 w 2051041"/>
              <a:gd name="connsiteY634" fmla="*/ 860884 h 2084191"/>
              <a:gd name="connsiteX635" fmla="*/ 173634 w 2051041"/>
              <a:gd name="connsiteY635" fmla="*/ 866870 h 2084191"/>
              <a:gd name="connsiteX636" fmla="*/ 166015 w 2051041"/>
              <a:gd name="connsiteY636" fmla="*/ 861973 h 2084191"/>
              <a:gd name="connsiteX637" fmla="*/ 172545 w 2051041"/>
              <a:gd name="connsiteY637" fmla="*/ 854354 h 2084191"/>
              <a:gd name="connsiteX638" fmla="*/ 336342 w 2051041"/>
              <a:gd name="connsiteY638" fmla="*/ 843471 h 2084191"/>
              <a:gd name="connsiteX639" fmla="*/ 353211 w 2051041"/>
              <a:gd name="connsiteY639" fmla="*/ 860340 h 2084191"/>
              <a:gd name="connsiteX640" fmla="*/ 336886 w 2051041"/>
              <a:gd name="connsiteY640" fmla="*/ 877210 h 2084191"/>
              <a:gd name="connsiteX641" fmla="*/ 320017 w 2051041"/>
              <a:gd name="connsiteY641" fmla="*/ 860884 h 2084191"/>
              <a:gd name="connsiteX642" fmla="*/ 336342 w 2051041"/>
              <a:gd name="connsiteY642" fmla="*/ 843471 h 2084191"/>
              <a:gd name="connsiteX643" fmla="*/ 500139 w 2051041"/>
              <a:gd name="connsiteY643" fmla="*/ 837485 h 2084191"/>
              <a:gd name="connsiteX644" fmla="*/ 522994 w 2051041"/>
              <a:gd name="connsiteY644" fmla="*/ 861428 h 2084191"/>
              <a:gd name="connsiteX645" fmla="*/ 499595 w 2051041"/>
              <a:gd name="connsiteY645" fmla="*/ 884284 h 2084191"/>
              <a:gd name="connsiteX646" fmla="*/ 476739 w 2051041"/>
              <a:gd name="connsiteY646" fmla="*/ 860340 h 2084191"/>
              <a:gd name="connsiteX647" fmla="*/ 500139 w 2051041"/>
              <a:gd name="connsiteY647" fmla="*/ 837485 h 2084191"/>
              <a:gd name="connsiteX648" fmla="*/ 662848 w 2051041"/>
              <a:gd name="connsiteY648" fmla="*/ 832587 h 2084191"/>
              <a:gd name="connsiteX649" fmla="*/ 690057 w 2051041"/>
              <a:gd name="connsiteY649" fmla="*/ 860340 h 2084191"/>
              <a:gd name="connsiteX650" fmla="*/ 662848 w 2051041"/>
              <a:gd name="connsiteY650" fmla="*/ 888637 h 2084191"/>
              <a:gd name="connsiteX651" fmla="*/ 634551 w 2051041"/>
              <a:gd name="connsiteY651" fmla="*/ 861428 h 2084191"/>
              <a:gd name="connsiteX652" fmla="*/ 662848 w 2051041"/>
              <a:gd name="connsiteY652" fmla="*/ 832587 h 2084191"/>
              <a:gd name="connsiteX653" fmla="*/ 826101 w 2051041"/>
              <a:gd name="connsiteY653" fmla="*/ 827146 h 2084191"/>
              <a:gd name="connsiteX654" fmla="*/ 859295 w 2051041"/>
              <a:gd name="connsiteY654" fmla="*/ 860885 h 2084191"/>
              <a:gd name="connsiteX655" fmla="*/ 825556 w 2051041"/>
              <a:gd name="connsiteY655" fmla="*/ 892991 h 2084191"/>
              <a:gd name="connsiteX656" fmla="*/ 793450 w 2051041"/>
              <a:gd name="connsiteY656" fmla="*/ 860885 h 2084191"/>
              <a:gd name="connsiteX657" fmla="*/ 826101 w 2051041"/>
              <a:gd name="connsiteY657" fmla="*/ 827146 h 2084191"/>
              <a:gd name="connsiteX658" fmla="*/ 988809 w 2051041"/>
              <a:gd name="connsiteY658" fmla="*/ 824424 h 2084191"/>
              <a:gd name="connsiteX659" fmla="*/ 1025813 w 2051041"/>
              <a:gd name="connsiteY659" fmla="*/ 860339 h 2084191"/>
              <a:gd name="connsiteX660" fmla="*/ 989897 w 2051041"/>
              <a:gd name="connsiteY660" fmla="*/ 897344 h 2084191"/>
              <a:gd name="connsiteX661" fmla="*/ 953437 w 2051041"/>
              <a:gd name="connsiteY661" fmla="*/ 861972 h 2084191"/>
              <a:gd name="connsiteX662" fmla="*/ 988809 w 2051041"/>
              <a:gd name="connsiteY662" fmla="*/ 824424 h 2084191"/>
              <a:gd name="connsiteX663" fmla="*/ 1153695 w 2051041"/>
              <a:gd name="connsiteY663" fmla="*/ 821704 h 2084191"/>
              <a:gd name="connsiteX664" fmla="*/ 1191243 w 2051041"/>
              <a:gd name="connsiteY664" fmla="*/ 861429 h 2084191"/>
              <a:gd name="connsiteX665" fmla="*/ 1152606 w 2051041"/>
              <a:gd name="connsiteY665" fmla="*/ 899521 h 2084191"/>
              <a:gd name="connsiteX666" fmla="*/ 1114514 w 2051041"/>
              <a:gd name="connsiteY666" fmla="*/ 859252 h 2084191"/>
              <a:gd name="connsiteX667" fmla="*/ 1153695 w 2051041"/>
              <a:gd name="connsiteY667" fmla="*/ 821704 h 2084191"/>
              <a:gd name="connsiteX668" fmla="*/ 1316403 w 2051041"/>
              <a:gd name="connsiteY668" fmla="*/ 818982 h 2084191"/>
              <a:gd name="connsiteX669" fmla="*/ 1357216 w 2051041"/>
              <a:gd name="connsiteY669" fmla="*/ 860884 h 2084191"/>
              <a:gd name="connsiteX670" fmla="*/ 1315315 w 2051041"/>
              <a:gd name="connsiteY670" fmla="*/ 901697 h 2084191"/>
              <a:gd name="connsiteX671" fmla="*/ 1274501 w 2051041"/>
              <a:gd name="connsiteY671" fmla="*/ 860340 h 2084191"/>
              <a:gd name="connsiteX672" fmla="*/ 1316403 w 2051041"/>
              <a:gd name="connsiteY672" fmla="*/ 818982 h 2084191"/>
              <a:gd name="connsiteX673" fmla="*/ 1479112 w 2051041"/>
              <a:gd name="connsiteY673" fmla="*/ 816806 h 2084191"/>
              <a:gd name="connsiteX674" fmla="*/ 1522646 w 2051041"/>
              <a:gd name="connsiteY674" fmla="*/ 860340 h 2084191"/>
              <a:gd name="connsiteX675" fmla="*/ 1479656 w 2051041"/>
              <a:gd name="connsiteY675" fmla="*/ 904419 h 2084191"/>
              <a:gd name="connsiteX676" fmla="*/ 1435578 w 2051041"/>
              <a:gd name="connsiteY676" fmla="*/ 860884 h 2084191"/>
              <a:gd name="connsiteX677" fmla="*/ 1479112 w 2051041"/>
              <a:gd name="connsiteY677" fmla="*/ 816806 h 2084191"/>
              <a:gd name="connsiteX678" fmla="*/ 1642909 w 2051041"/>
              <a:gd name="connsiteY678" fmla="*/ 815718 h 2084191"/>
              <a:gd name="connsiteX679" fmla="*/ 1686987 w 2051041"/>
              <a:gd name="connsiteY679" fmla="*/ 860885 h 2084191"/>
              <a:gd name="connsiteX680" fmla="*/ 1641276 w 2051041"/>
              <a:gd name="connsiteY680" fmla="*/ 905507 h 2084191"/>
              <a:gd name="connsiteX681" fmla="*/ 1597742 w 2051041"/>
              <a:gd name="connsiteY681" fmla="*/ 860340 h 2084191"/>
              <a:gd name="connsiteX682" fmla="*/ 1642909 w 2051041"/>
              <a:gd name="connsiteY682" fmla="*/ 815718 h 2084191"/>
              <a:gd name="connsiteX683" fmla="*/ 1806161 w 2051041"/>
              <a:gd name="connsiteY683" fmla="*/ 815173 h 2084191"/>
              <a:gd name="connsiteX684" fmla="*/ 1852416 w 2051041"/>
              <a:gd name="connsiteY684" fmla="*/ 860884 h 2084191"/>
              <a:gd name="connsiteX685" fmla="*/ 1805617 w 2051041"/>
              <a:gd name="connsiteY685" fmla="*/ 906594 h 2084191"/>
              <a:gd name="connsiteX686" fmla="*/ 1759906 w 2051041"/>
              <a:gd name="connsiteY686" fmla="*/ 860884 h 2084191"/>
              <a:gd name="connsiteX687" fmla="*/ 1806161 w 2051041"/>
              <a:gd name="connsiteY687" fmla="*/ 815173 h 2084191"/>
              <a:gd name="connsiteX688" fmla="*/ 1968326 w 2051041"/>
              <a:gd name="connsiteY688" fmla="*/ 812453 h 2084191"/>
              <a:gd name="connsiteX689" fmla="*/ 2000977 w 2051041"/>
              <a:gd name="connsiteY689" fmla="*/ 826057 h 2084191"/>
              <a:gd name="connsiteX690" fmla="*/ 2015670 w 2051041"/>
              <a:gd name="connsiteY690" fmla="*/ 859796 h 2084191"/>
              <a:gd name="connsiteX691" fmla="*/ 1969415 w 2051041"/>
              <a:gd name="connsiteY691" fmla="*/ 907684 h 2084191"/>
              <a:gd name="connsiteX692" fmla="*/ 1922071 w 2051041"/>
              <a:gd name="connsiteY692" fmla="*/ 860885 h 2084191"/>
              <a:gd name="connsiteX693" fmla="*/ 1968326 w 2051041"/>
              <a:gd name="connsiteY693" fmla="*/ 812453 h 2084191"/>
              <a:gd name="connsiteX694" fmla="*/ 255260 w 2051041"/>
              <a:gd name="connsiteY694" fmla="*/ 762932 h 2084191"/>
              <a:gd name="connsiteX695" fmla="*/ 270497 w 2051041"/>
              <a:gd name="connsiteY695" fmla="*/ 779802 h 2084191"/>
              <a:gd name="connsiteX696" fmla="*/ 254172 w 2051041"/>
              <a:gd name="connsiteY696" fmla="*/ 795038 h 2084191"/>
              <a:gd name="connsiteX697" fmla="*/ 238935 w 2051041"/>
              <a:gd name="connsiteY697" fmla="*/ 778713 h 2084191"/>
              <a:gd name="connsiteX698" fmla="*/ 255260 w 2051041"/>
              <a:gd name="connsiteY698" fmla="*/ 762932 h 2084191"/>
              <a:gd name="connsiteX699" fmla="*/ 416881 w 2051041"/>
              <a:gd name="connsiteY699" fmla="*/ 756402 h 2084191"/>
              <a:gd name="connsiteX700" fmla="*/ 440280 w 2051041"/>
              <a:gd name="connsiteY700" fmla="*/ 778713 h 2084191"/>
              <a:gd name="connsiteX701" fmla="*/ 419057 w 2051041"/>
              <a:gd name="connsiteY701" fmla="*/ 801024 h 2084191"/>
              <a:gd name="connsiteX702" fmla="*/ 396202 w 2051041"/>
              <a:gd name="connsiteY702" fmla="*/ 779257 h 2084191"/>
              <a:gd name="connsiteX703" fmla="*/ 416881 w 2051041"/>
              <a:gd name="connsiteY703" fmla="*/ 756402 h 2084191"/>
              <a:gd name="connsiteX704" fmla="*/ 581766 w 2051041"/>
              <a:gd name="connsiteY704" fmla="*/ 751505 h 2084191"/>
              <a:gd name="connsiteX705" fmla="*/ 608975 w 2051041"/>
              <a:gd name="connsiteY705" fmla="*/ 779802 h 2084191"/>
              <a:gd name="connsiteX706" fmla="*/ 580678 w 2051041"/>
              <a:gd name="connsiteY706" fmla="*/ 806467 h 2084191"/>
              <a:gd name="connsiteX707" fmla="*/ 553469 w 2051041"/>
              <a:gd name="connsiteY707" fmla="*/ 778714 h 2084191"/>
              <a:gd name="connsiteX708" fmla="*/ 581766 w 2051041"/>
              <a:gd name="connsiteY708" fmla="*/ 751505 h 2084191"/>
              <a:gd name="connsiteX709" fmla="*/ 746107 w 2051041"/>
              <a:gd name="connsiteY709" fmla="*/ 746607 h 2084191"/>
              <a:gd name="connsiteX710" fmla="*/ 777125 w 2051041"/>
              <a:gd name="connsiteY710" fmla="*/ 780346 h 2084191"/>
              <a:gd name="connsiteX711" fmla="*/ 742842 w 2051041"/>
              <a:gd name="connsiteY711" fmla="*/ 811364 h 2084191"/>
              <a:gd name="connsiteX712" fmla="*/ 712368 w 2051041"/>
              <a:gd name="connsiteY712" fmla="*/ 778713 h 2084191"/>
              <a:gd name="connsiteX713" fmla="*/ 746107 w 2051041"/>
              <a:gd name="connsiteY713" fmla="*/ 746607 h 2084191"/>
              <a:gd name="connsiteX714" fmla="*/ 907727 w 2051041"/>
              <a:gd name="connsiteY714" fmla="*/ 741710 h 2084191"/>
              <a:gd name="connsiteX715" fmla="*/ 944187 w 2051041"/>
              <a:gd name="connsiteY715" fmla="*/ 778714 h 2084191"/>
              <a:gd name="connsiteX716" fmla="*/ 907727 w 2051041"/>
              <a:gd name="connsiteY716" fmla="*/ 815174 h 2084191"/>
              <a:gd name="connsiteX717" fmla="*/ 872355 w 2051041"/>
              <a:gd name="connsiteY717" fmla="*/ 779258 h 2084191"/>
              <a:gd name="connsiteX718" fmla="*/ 907727 w 2051041"/>
              <a:gd name="connsiteY718" fmla="*/ 741710 h 2084191"/>
              <a:gd name="connsiteX719" fmla="*/ 1070979 w 2051041"/>
              <a:gd name="connsiteY719" fmla="*/ 740621 h 2084191"/>
              <a:gd name="connsiteX720" fmla="*/ 1110160 w 2051041"/>
              <a:gd name="connsiteY720" fmla="*/ 779258 h 2084191"/>
              <a:gd name="connsiteX721" fmla="*/ 1070979 w 2051041"/>
              <a:gd name="connsiteY721" fmla="*/ 817894 h 2084191"/>
              <a:gd name="connsiteX722" fmla="*/ 1031799 w 2051041"/>
              <a:gd name="connsiteY722" fmla="*/ 778714 h 2084191"/>
              <a:gd name="connsiteX723" fmla="*/ 1070979 w 2051041"/>
              <a:gd name="connsiteY723" fmla="*/ 740621 h 2084191"/>
              <a:gd name="connsiteX724" fmla="*/ 1233688 w 2051041"/>
              <a:gd name="connsiteY724" fmla="*/ 736268 h 2084191"/>
              <a:gd name="connsiteX725" fmla="*/ 1276134 w 2051041"/>
              <a:gd name="connsiteY725" fmla="*/ 777625 h 2084191"/>
              <a:gd name="connsiteX726" fmla="*/ 1235320 w 2051041"/>
              <a:gd name="connsiteY726" fmla="*/ 820615 h 2084191"/>
              <a:gd name="connsiteX727" fmla="*/ 1192331 w 2051041"/>
              <a:gd name="connsiteY727" fmla="*/ 779258 h 2084191"/>
              <a:gd name="connsiteX728" fmla="*/ 1233688 w 2051041"/>
              <a:gd name="connsiteY728" fmla="*/ 736268 h 2084191"/>
              <a:gd name="connsiteX729" fmla="*/ 1397485 w 2051041"/>
              <a:gd name="connsiteY729" fmla="*/ 735724 h 2084191"/>
              <a:gd name="connsiteX730" fmla="*/ 1441019 w 2051041"/>
              <a:gd name="connsiteY730" fmla="*/ 779802 h 2084191"/>
              <a:gd name="connsiteX731" fmla="*/ 1396397 w 2051041"/>
              <a:gd name="connsiteY731" fmla="*/ 823336 h 2084191"/>
              <a:gd name="connsiteX732" fmla="*/ 1352863 w 2051041"/>
              <a:gd name="connsiteY732" fmla="*/ 779258 h 2084191"/>
              <a:gd name="connsiteX733" fmla="*/ 1397485 w 2051041"/>
              <a:gd name="connsiteY733" fmla="*/ 735724 h 2084191"/>
              <a:gd name="connsiteX734" fmla="*/ 1562371 w 2051041"/>
              <a:gd name="connsiteY734" fmla="*/ 734636 h 2084191"/>
              <a:gd name="connsiteX735" fmla="*/ 1605905 w 2051041"/>
              <a:gd name="connsiteY735" fmla="*/ 779802 h 2084191"/>
              <a:gd name="connsiteX736" fmla="*/ 1560194 w 2051041"/>
              <a:gd name="connsiteY736" fmla="*/ 823881 h 2084191"/>
              <a:gd name="connsiteX737" fmla="*/ 1515572 w 2051041"/>
              <a:gd name="connsiteY737" fmla="*/ 777626 h 2084191"/>
              <a:gd name="connsiteX738" fmla="*/ 1562371 w 2051041"/>
              <a:gd name="connsiteY738" fmla="*/ 734636 h 2084191"/>
              <a:gd name="connsiteX739" fmla="*/ 1724535 w 2051041"/>
              <a:gd name="connsiteY739" fmla="*/ 730827 h 2084191"/>
              <a:gd name="connsiteX740" fmla="*/ 1772422 w 2051041"/>
              <a:gd name="connsiteY740" fmla="*/ 779258 h 2084191"/>
              <a:gd name="connsiteX741" fmla="*/ 1723446 w 2051041"/>
              <a:gd name="connsiteY741" fmla="*/ 826602 h 2084191"/>
              <a:gd name="connsiteX742" fmla="*/ 1676647 w 2051041"/>
              <a:gd name="connsiteY742" fmla="*/ 778714 h 2084191"/>
              <a:gd name="connsiteX743" fmla="*/ 1724535 w 2051041"/>
              <a:gd name="connsiteY743" fmla="*/ 730827 h 2084191"/>
              <a:gd name="connsiteX744" fmla="*/ 1886699 w 2051041"/>
              <a:gd name="connsiteY744" fmla="*/ 730826 h 2084191"/>
              <a:gd name="connsiteX745" fmla="*/ 1935131 w 2051041"/>
              <a:gd name="connsiteY745" fmla="*/ 778713 h 2084191"/>
              <a:gd name="connsiteX746" fmla="*/ 1887244 w 2051041"/>
              <a:gd name="connsiteY746" fmla="*/ 827145 h 2084191"/>
              <a:gd name="connsiteX747" fmla="*/ 1838812 w 2051041"/>
              <a:gd name="connsiteY747" fmla="*/ 778713 h 2084191"/>
              <a:gd name="connsiteX748" fmla="*/ 1886699 w 2051041"/>
              <a:gd name="connsiteY748" fmla="*/ 730826 h 2084191"/>
              <a:gd name="connsiteX749" fmla="*/ 2050496 w 2051041"/>
              <a:gd name="connsiteY749" fmla="*/ 730282 h 2084191"/>
              <a:gd name="connsiteX750" fmla="*/ 2051041 w 2051041"/>
              <a:gd name="connsiteY750" fmla="*/ 730396 h 2084191"/>
              <a:gd name="connsiteX751" fmla="*/ 2051041 w 2051041"/>
              <a:gd name="connsiteY751" fmla="*/ 826942 h 2084191"/>
              <a:gd name="connsiteX752" fmla="*/ 2049952 w 2051041"/>
              <a:gd name="connsiteY752" fmla="*/ 827145 h 2084191"/>
              <a:gd name="connsiteX753" fmla="*/ 2002065 w 2051041"/>
              <a:gd name="connsiteY753" fmla="*/ 778169 h 2084191"/>
              <a:gd name="connsiteX754" fmla="*/ 2050496 w 2051041"/>
              <a:gd name="connsiteY754" fmla="*/ 730282 h 2084191"/>
              <a:gd name="connsiteX755" fmla="*/ 173634 w 2051041"/>
              <a:gd name="connsiteY755" fmla="*/ 685660 h 2084191"/>
              <a:gd name="connsiteX756" fmla="*/ 184518 w 2051041"/>
              <a:gd name="connsiteY756" fmla="*/ 698176 h 2084191"/>
              <a:gd name="connsiteX757" fmla="*/ 172546 w 2051041"/>
              <a:gd name="connsiteY757" fmla="*/ 709059 h 2084191"/>
              <a:gd name="connsiteX758" fmla="*/ 161118 w 2051041"/>
              <a:gd name="connsiteY758" fmla="*/ 697088 h 2084191"/>
              <a:gd name="connsiteX759" fmla="*/ 173634 w 2051041"/>
              <a:gd name="connsiteY759" fmla="*/ 685660 h 2084191"/>
              <a:gd name="connsiteX760" fmla="*/ 335798 w 2051041"/>
              <a:gd name="connsiteY760" fmla="*/ 675320 h 2084191"/>
              <a:gd name="connsiteX761" fmla="*/ 357565 w 2051041"/>
              <a:gd name="connsiteY761" fmla="*/ 696543 h 2084191"/>
              <a:gd name="connsiteX762" fmla="*/ 336342 w 2051041"/>
              <a:gd name="connsiteY762" fmla="*/ 718854 h 2084191"/>
              <a:gd name="connsiteX763" fmla="*/ 315120 w 2051041"/>
              <a:gd name="connsiteY763" fmla="*/ 697631 h 2084191"/>
              <a:gd name="connsiteX764" fmla="*/ 335798 w 2051041"/>
              <a:gd name="connsiteY764" fmla="*/ 675320 h 2084191"/>
              <a:gd name="connsiteX765" fmla="*/ 499051 w 2051041"/>
              <a:gd name="connsiteY765" fmla="*/ 670423 h 2084191"/>
              <a:gd name="connsiteX766" fmla="*/ 526804 w 2051041"/>
              <a:gd name="connsiteY766" fmla="*/ 697088 h 2084191"/>
              <a:gd name="connsiteX767" fmla="*/ 499595 w 2051041"/>
              <a:gd name="connsiteY767" fmla="*/ 724296 h 2084191"/>
              <a:gd name="connsiteX768" fmla="*/ 472930 w 2051041"/>
              <a:gd name="connsiteY768" fmla="*/ 697632 h 2084191"/>
              <a:gd name="connsiteX769" fmla="*/ 499051 w 2051041"/>
              <a:gd name="connsiteY769" fmla="*/ 670423 h 2084191"/>
              <a:gd name="connsiteX770" fmla="*/ 662848 w 2051041"/>
              <a:gd name="connsiteY770" fmla="*/ 665525 h 2084191"/>
              <a:gd name="connsiteX771" fmla="*/ 694954 w 2051041"/>
              <a:gd name="connsiteY771" fmla="*/ 697087 h 2084191"/>
              <a:gd name="connsiteX772" fmla="*/ 663392 w 2051041"/>
              <a:gd name="connsiteY772" fmla="*/ 729194 h 2084191"/>
              <a:gd name="connsiteX773" fmla="*/ 632374 w 2051041"/>
              <a:gd name="connsiteY773" fmla="*/ 698176 h 2084191"/>
              <a:gd name="connsiteX774" fmla="*/ 662848 w 2051041"/>
              <a:gd name="connsiteY774" fmla="*/ 665525 h 2084191"/>
              <a:gd name="connsiteX775" fmla="*/ 825013 w 2051041"/>
              <a:gd name="connsiteY775" fmla="*/ 663349 h 2084191"/>
              <a:gd name="connsiteX776" fmla="*/ 860384 w 2051041"/>
              <a:gd name="connsiteY776" fmla="*/ 697632 h 2084191"/>
              <a:gd name="connsiteX777" fmla="*/ 826101 w 2051041"/>
              <a:gd name="connsiteY777" fmla="*/ 731915 h 2084191"/>
              <a:gd name="connsiteX778" fmla="*/ 791818 w 2051041"/>
              <a:gd name="connsiteY778" fmla="*/ 698176 h 2084191"/>
              <a:gd name="connsiteX779" fmla="*/ 825013 w 2051041"/>
              <a:gd name="connsiteY779" fmla="*/ 663349 h 2084191"/>
              <a:gd name="connsiteX780" fmla="*/ 988809 w 2051041"/>
              <a:gd name="connsiteY780" fmla="*/ 658995 h 2084191"/>
              <a:gd name="connsiteX781" fmla="*/ 1027446 w 2051041"/>
              <a:gd name="connsiteY781" fmla="*/ 697087 h 2084191"/>
              <a:gd name="connsiteX782" fmla="*/ 989353 w 2051041"/>
              <a:gd name="connsiteY782" fmla="*/ 735723 h 2084191"/>
              <a:gd name="connsiteX783" fmla="*/ 950717 w 2051041"/>
              <a:gd name="connsiteY783" fmla="*/ 697631 h 2084191"/>
              <a:gd name="connsiteX784" fmla="*/ 988809 w 2051041"/>
              <a:gd name="connsiteY784" fmla="*/ 658995 h 2084191"/>
              <a:gd name="connsiteX785" fmla="*/ 1152607 w 2051041"/>
              <a:gd name="connsiteY785" fmla="*/ 655729 h 2084191"/>
              <a:gd name="connsiteX786" fmla="*/ 1195052 w 2051041"/>
              <a:gd name="connsiteY786" fmla="*/ 697087 h 2084191"/>
              <a:gd name="connsiteX787" fmla="*/ 1153151 w 2051041"/>
              <a:gd name="connsiteY787" fmla="*/ 739533 h 2084191"/>
              <a:gd name="connsiteX788" fmla="*/ 1110705 w 2051041"/>
              <a:gd name="connsiteY788" fmla="*/ 697631 h 2084191"/>
              <a:gd name="connsiteX789" fmla="*/ 1152607 w 2051041"/>
              <a:gd name="connsiteY789" fmla="*/ 655729 h 2084191"/>
              <a:gd name="connsiteX790" fmla="*/ 1316948 w 2051041"/>
              <a:gd name="connsiteY790" fmla="*/ 653554 h 2084191"/>
              <a:gd name="connsiteX791" fmla="*/ 1359937 w 2051041"/>
              <a:gd name="connsiteY791" fmla="*/ 697632 h 2084191"/>
              <a:gd name="connsiteX792" fmla="*/ 1315315 w 2051041"/>
              <a:gd name="connsiteY792" fmla="*/ 740622 h 2084191"/>
              <a:gd name="connsiteX793" fmla="*/ 1271781 w 2051041"/>
              <a:gd name="connsiteY793" fmla="*/ 696544 h 2084191"/>
              <a:gd name="connsiteX794" fmla="*/ 1316948 w 2051041"/>
              <a:gd name="connsiteY794" fmla="*/ 653554 h 2084191"/>
              <a:gd name="connsiteX795" fmla="*/ 1479112 w 2051041"/>
              <a:gd name="connsiteY795" fmla="*/ 651921 h 2084191"/>
              <a:gd name="connsiteX796" fmla="*/ 1524823 w 2051041"/>
              <a:gd name="connsiteY796" fmla="*/ 697088 h 2084191"/>
              <a:gd name="connsiteX797" fmla="*/ 1479112 w 2051041"/>
              <a:gd name="connsiteY797" fmla="*/ 742254 h 2084191"/>
              <a:gd name="connsiteX798" fmla="*/ 1433945 w 2051041"/>
              <a:gd name="connsiteY798" fmla="*/ 697088 h 2084191"/>
              <a:gd name="connsiteX799" fmla="*/ 1479112 w 2051041"/>
              <a:gd name="connsiteY799" fmla="*/ 651921 h 2084191"/>
              <a:gd name="connsiteX800" fmla="*/ 1642909 w 2051041"/>
              <a:gd name="connsiteY800" fmla="*/ 649744 h 2084191"/>
              <a:gd name="connsiteX801" fmla="*/ 1690796 w 2051041"/>
              <a:gd name="connsiteY801" fmla="*/ 697087 h 2084191"/>
              <a:gd name="connsiteX802" fmla="*/ 1642909 w 2051041"/>
              <a:gd name="connsiteY802" fmla="*/ 745519 h 2084191"/>
              <a:gd name="connsiteX803" fmla="*/ 1594477 w 2051041"/>
              <a:gd name="connsiteY803" fmla="*/ 697632 h 2084191"/>
              <a:gd name="connsiteX804" fmla="*/ 1642909 w 2051041"/>
              <a:gd name="connsiteY804" fmla="*/ 649744 h 2084191"/>
              <a:gd name="connsiteX805" fmla="*/ 1805617 w 2051041"/>
              <a:gd name="connsiteY805" fmla="*/ 648112 h 2084191"/>
              <a:gd name="connsiteX806" fmla="*/ 1854593 w 2051041"/>
              <a:gd name="connsiteY806" fmla="*/ 698176 h 2084191"/>
              <a:gd name="connsiteX807" fmla="*/ 1805073 w 2051041"/>
              <a:gd name="connsiteY807" fmla="*/ 746607 h 2084191"/>
              <a:gd name="connsiteX808" fmla="*/ 1756097 w 2051041"/>
              <a:gd name="connsiteY808" fmla="*/ 697087 h 2084191"/>
              <a:gd name="connsiteX809" fmla="*/ 1805617 w 2051041"/>
              <a:gd name="connsiteY809" fmla="*/ 648112 h 2084191"/>
              <a:gd name="connsiteX810" fmla="*/ 1969414 w 2051041"/>
              <a:gd name="connsiteY810" fmla="*/ 647023 h 2084191"/>
              <a:gd name="connsiteX811" fmla="*/ 2018934 w 2051041"/>
              <a:gd name="connsiteY811" fmla="*/ 698176 h 2084191"/>
              <a:gd name="connsiteX812" fmla="*/ 1968326 w 2051041"/>
              <a:gd name="connsiteY812" fmla="*/ 746063 h 2084191"/>
              <a:gd name="connsiteX813" fmla="*/ 1918806 w 2051041"/>
              <a:gd name="connsiteY813" fmla="*/ 697087 h 2084191"/>
              <a:gd name="connsiteX814" fmla="*/ 1969414 w 2051041"/>
              <a:gd name="connsiteY814" fmla="*/ 647023 h 2084191"/>
              <a:gd name="connsiteX815" fmla="*/ 90919 w 2051041"/>
              <a:gd name="connsiteY815" fmla="*/ 606754 h 2084191"/>
              <a:gd name="connsiteX816" fmla="*/ 99626 w 2051041"/>
              <a:gd name="connsiteY816" fmla="*/ 615460 h 2084191"/>
              <a:gd name="connsiteX817" fmla="*/ 92007 w 2051041"/>
              <a:gd name="connsiteY817" fmla="*/ 627976 h 2084191"/>
              <a:gd name="connsiteX818" fmla="*/ 82756 w 2051041"/>
              <a:gd name="connsiteY818" fmla="*/ 616005 h 2084191"/>
              <a:gd name="connsiteX819" fmla="*/ 90919 w 2051041"/>
              <a:gd name="connsiteY819" fmla="*/ 606754 h 2084191"/>
              <a:gd name="connsiteX820" fmla="*/ 254172 w 2051041"/>
              <a:gd name="connsiteY820" fmla="*/ 598047 h 2084191"/>
              <a:gd name="connsiteX821" fmla="*/ 272674 w 2051041"/>
              <a:gd name="connsiteY821" fmla="*/ 614917 h 2084191"/>
              <a:gd name="connsiteX822" fmla="*/ 255260 w 2051041"/>
              <a:gd name="connsiteY822" fmla="*/ 633419 h 2084191"/>
              <a:gd name="connsiteX823" fmla="*/ 236758 w 2051041"/>
              <a:gd name="connsiteY823" fmla="*/ 616005 h 2084191"/>
              <a:gd name="connsiteX824" fmla="*/ 254172 w 2051041"/>
              <a:gd name="connsiteY824" fmla="*/ 598047 h 2084191"/>
              <a:gd name="connsiteX825" fmla="*/ 418513 w 2051041"/>
              <a:gd name="connsiteY825" fmla="*/ 590429 h 2084191"/>
              <a:gd name="connsiteX826" fmla="*/ 443001 w 2051041"/>
              <a:gd name="connsiteY826" fmla="*/ 614917 h 2084191"/>
              <a:gd name="connsiteX827" fmla="*/ 419058 w 2051041"/>
              <a:gd name="connsiteY827" fmla="*/ 640493 h 2084191"/>
              <a:gd name="connsiteX828" fmla="*/ 392937 w 2051041"/>
              <a:gd name="connsiteY828" fmla="*/ 616005 h 2084191"/>
              <a:gd name="connsiteX829" fmla="*/ 418513 w 2051041"/>
              <a:gd name="connsiteY829" fmla="*/ 590429 h 2084191"/>
              <a:gd name="connsiteX830" fmla="*/ 581222 w 2051041"/>
              <a:gd name="connsiteY830" fmla="*/ 587163 h 2084191"/>
              <a:gd name="connsiteX831" fmla="*/ 610063 w 2051041"/>
              <a:gd name="connsiteY831" fmla="*/ 616549 h 2084191"/>
              <a:gd name="connsiteX832" fmla="*/ 580677 w 2051041"/>
              <a:gd name="connsiteY832" fmla="*/ 645390 h 2084191"/>
              <a:gd name="connsiteX833" fmla="*/ 551836 w 2051041"/>
              <a:gd name="connsiteY833" fmla="*/ 615461 h 2084191"/>
              <a:gd name="connsiteX834" fmla="*/ 581222 w 2051041"/>
              <a:gd name="connsiteY834" fmla="*/ 587163 h 2084191"/>
              <a:gd name="connsiteX835" fmla="*/ 743930 w 2051041"/>
              <a:gd name="connsiteY835" fmla="*/ 582266 h 2084191"/>
              <a:gd name="connsiteX836" fmla="*/ 779301 w 2051041"/>
              <a:gd name="connsiteY836" fmla="*/ 616005 h 2084191"/>
              <a:gd name="connsiteX837" fmla="*/ 745563 w 2051041"/>
              <a:gd name="connsiteY837" fmla="*/ 649744 h 2084191"/>
              <a:gd name="connsiteX838" fmla="*/ 711824 w 2051041"/>
              <a:gd name="connsiteY838" fmla="*/ 616549 h 2084191"/>
              <a:gd name="connsiteX839" fmla="*/ 743930 w 2051041"/>
              <a:gd name="connsiteY839" fmla="*/ 582266 h 2084191"/>
              <a:gd name="connsiteX840" fmla="*/ 907183 w 2051041"/>
              <a:gd name="connsiteY840" fmla="*/ 577913 h 2084191"/>
              <a:gd name="connsiteX841" fmla="*/ 945276 w 2051041"/>
              <a:gd name="connsiteY841" fmla="*/ 615461 h 2084191"/>
              <a:gd name="connsiteX842" fmla="*/ 907727 w 2051041"/>
              <a:gd name="connsiteY842" fmla="*/ 654098 h 2084191"/>
              <a:gd name="connsiteX843" fmla="*/ 869091 w 2051041"/>
              <a:gd name="connsiteY843" fmla="*/ 616006 h 2084191"/>
              <a:gd name="connsiteX844" fmla="*/ 907183 w 2051041"/>
              <a:gd name="connsiteY844" fmla="*/ 577913 h 2084191"/>
              <a:gd name="connsiteX845" fmla="*/ 1069891 w 2051041"/>
              <a:gd name="connsiteY845" fmla="*/ 574648 h 2084191"/>
              <a:gd name="connsiteX846" fmla="*/ 1111248 w 2051041"/>
              <a:gd name="connsiteY846" fmla="*/ 615461 h 2084191"/>
              <a:gd name="connsiteX847" fmla="*/ 1070435 w 2051041"/>
              <a:gd name="connsiteY847" fmla="*/ 656274 h 2084191"/>
              <a:gd name="connsiteX848" fmla="*/ 1029622 w 2051041"/>
              <a:gd name="connsiteY848" fmla="*/ 614917 h 2084191"/>
              <a:gd name="connsiteX849" fmla="*/ 1069891 w 2051041"/>
              <a:gd name="connsiteY849" fmla="*/ 574648 h 2084191"/>
              <a:gd name="connsiteX850" fmla="*/ 1235321 w 2051041"/>
              <a:gd name="connsiteY850" fmla="*/ 572472 h 2084191"/>
              <a:gd name="connsiteX851" fmla="*/ 1277222 w 2051041"/>
              <a:gd name="connsiteY851" fmla="*/ 616550 h 2084191"/>
              <a:gd name="connsiteX852" fmla="*/ 1233688 w 2051041"/>
              <a:gd name="connsiteY852" fmla="*/ 660084 h 2084191"/>
              <a:gd name="connsiteX853" fmla="*/ 1190154 w 2051041"/>
              <a:gd name="connsiteY853" fmla="*/ 614917 h 2084191"/>
              <a:gd name="connsiteX854" fmla="*/ 1235321 w 2051041"/>
              <a:gd name="connsiteY854" fmla="*/ 572472 h 2084191"/>
              <a:gd name="connsiteX855" fmla="*/ 1397485 w 2051041"/>
              <a:gd name="connsiteY855" fmla="*/ 569206 h 2084191"/>
              <a:gd name="connsiteX856" fmla="*/ 1443196 w 2051041"/>
              <a:gd name="connsiteY856" fmla="*/ 616005 h 2084191"/>
              <a:gd name="connsiteX857" fmla="*/ 1396941 w 2051041"/>
              <a:gd name="connsiteY857" fmla="*/ 661172 h 2084191"/>
              <a:gd name="connsiteX858" fmla="*/ 1351775 w 2051041"/>
              <a:gd name="connsiteY858" fmla="*/ 614373 h 2084191"/>
              <a:gd name="connsiteX859" fmla="*/ 1397485 w 2051041"/>
              <a:gd name="connsiteY859" fmla="*/ 569206 h 2084191"/>
              <a:gd name="connsiteX860" fmla="*/ 1560738 w 2051041"/>
              <a:gd name="connsiteY860" fmla="*/ 567029 h 2084191"/>
              <a:gd name="connsiteX861" fmla="*/ 1609714 w 2051041"/>
              <a:gd name="connsiteY861" fmla="*/ 615461 h 2084191"/>
              <a:gd name="connsiteX862" fmla="*/ 1561283 w 2051041"/>
              <a:gd name="connsiteY862" fmla="*/ 663892 h 2084191"/>
              <a:gd name="connsiteX863" fmla="*/ 1512851 w 2051041"/>
              <a:gd name="connsiteY863" fmla="*/ 616005 h 2084191"/>
              <a:gd name="connsiteX864" fmla="*/ 1560738 w 2051041"/>
              <a:gd name="connsiteY864" fmla="*/ 567029 h 2084191"/>
              <a:gd name="connsiteX865" fmla="*/ 1725624 w 2051041"/>
              <a:gd name="connsiteY865" fmla="*/ 565397 h 2084191"/>
              <a:gd name="connsiteX866" fmla="*/ 1774599 w 2051041"/>
              <a:gd name="connsiteY866" fmla="*/ 616005 h 2084191"/>
              <a:gd name="connsiteX867" fmla="*/ 1723447 w 2051041"/>
              <a:gd name="connsiteY867" fmla="*/ 664981 h 2084191"/>
              <a:gd name="connsiteX868" fmla="*/ 1674471 w 2051041"/>
              <a:gd name="connsiteY868" fmla="*/ 615461 h 2084191"/>
              <a:gd name="connsiteX869" fmla="*/ 1725624 w 2051041"/>
              <a:gd name="connsiteY869" fmla="*/ 565397 h 2084191"/>
              <a:gd name="connsiteX870" fmla="*/ 1886699 w 2051041"/>
              <a:gd name="connsiteY870" fmla="*/ 564853 h 2084191"/>
              <a:gd name="connsiteX871" fmla="*/ 1938396 w 2051041"/>
              <a:gd name="connsiteY871" fmla="*/ 614917 h 2084191"/>
              <a:gd name="connsiteX872" fmla="*/ 1887787 w 2051041"/>
              <a:gd name="connsiteY872" fmla="*/ 665525 h 2084191"/>
              <a:gd name="connsiteX873" fmla="*/ 1837179 w 2051041"/>
              <a:gd name="connsiteY873" fmla="*/ 615461 h 2084191"/>
              <a:gd name="connsiteX874" fmla="*/ 1886699 w 2051041"/>
              <a:gd name="connsiteY874" fmla="*/ 564853 h 2084191"/>
              <a:gd name="connsiteX875" fmla="*/ 2050496 w 2051041"/>
              <a:gd name="connsiteY875" fmla="*/ 564852 h 2084191"/>
              <a:gd name="connsiteX876" fmla="*/ 2051041 w 2051041"/>
              <a:gd name="connsiteY876" fmla="*/ 564962 h 2084191"/>
              <a:gd name="connsiteX877" fmla="*/ 2051041 w 2051041"/>
              <a:gd name="connsiteY877" fmla="*/ 665899 h 2084191"/>
              <a:gd name="connsiteX878" fmla="*/ 2049952 w 2051041"/>
              <a:gd name="connsiteY878" fmla="*/ 666069 h 2084191"/>
              <a:gd name="connsiteX879" fmla="*/ 1999344 w 2051041"/>
              <a:gd name="connsiteY879" fmla="*/ 615460 h 2084191"/>
              <a:gd name="connsiteX880" fmla="*/ 2050496 w 2051041"/>
              <a:gd name="connsiteY880" fmla="*/ 564852 h 2084191"/>
              <a:gd name="connsiteX881" fmla="*/ 173090 w 2051041"/>
              <a:gd name="connsiteY881" fmla="*/ 517509 h 2084191"/>
              <a:gd name="connsiteX882" fmla="*/ 189959 w 2051041"/>
              <a:gd name="connsiteY882" fmla="*/ 533834 h 2084191"/>
              <a:gd name="connsiteX883" fmla="*/ 173634 w 2051041"/>
              <a:gd name="connsiteY883" fmla="*/ 550160 h 2084191"/>
              <a:gd name="connsiteX884" fmla="*/ 157308 w 2051041"/>
              <a:gd name="connsiteY884" fmla="*/ 534923 h 2084191"/>
              <a:gd name="connsiteX885" fmla="*/ 173090 w 2051041"/>
              <a:gd name="connsiteY885" fmla="*/ 517509 h 2084191"/>
              <a:gd name="connsiteX886" fmla="*/ 335798 w 2051041"/>
              <a:gd name="connsiteY886" fmla="*/ 511523 h 2084191"/>
              <a:gd name="connsiteX887" fmla="*/ 358654 w 2051041"/>
              <a:gd name="connsiteY887" fmla="*/ 533834 h 2084191"/>
              <a:gd name="connsiteX888" fmla="*/ 336343 w 2051041"/>
              <a:gd name="connsiteY888" fmla="*/ 556689 h 2084191"/>
              <a:gd name="connsiteX889" fmla="*/ 312943 w 2051041"/>
              <a:gd name="connsiteY889" fmla="*/ 534378 h 2084191"/>
              <a:gd name="connsiteX890" fmla="*/ 335798 w 2051041"/>
              <a:gd name="connsiteY890" fmla="*/ 511523 h 2084191"/>
              <a:gd name="connsiteX891" fmla="*/ 500139 w 2051041"/>
              <a:gd name="connsiteY891" fmla="*/ 506626 h 2084191"/>
              <a:gd name="connsiteX892" fmla="*/ 527348 w 2051041"/>
              <a:gd name="connsiteY892" fmla="*/ 535467 h 2084191"/>
              <a:gd name="connsiteX893" fmla="*/ 497963 w 2051041"/>
              <a:gd name="connsiteY893" fmla="*/ 561587 h 2084191"/>
              <a:gd name="connsiteX894" fmla="*/ 471842 w 2051041"/>
              <a:gd name="connsiteY894" fmla="*/ 533290 h 2084191"/>
              <a:gd name="connsiteX895" fmla="*/ 500139 w 2051041"/>
              <a:gd name="connsiteY895" fmla="*/ 506626 h 2084191"/>
              <a:gd name="connsiteX896" fmla="*/ 662304 w 2051041"/>
              <a:gd name="connsiteY896" fmla="*/ 500639 h 2084191"/>
              <a:gd name="connsiteX897" fmla="*/ 696042 w 2051041"/>
              <a:gd name="connsiteY897" fmla="*/ 533290 h 2084191"/>
              <a:gd name="connsiteX898" fmla="*/ 663392 w 2051041"/>
              <a:gd name="connsiteY898" fmla="*/ 566485 h 2084191"/>
              <a:gd name="connsiteX899" fmla="*/ 630197 w 2051041"/>
              <a:gd name="connsiteY899" fmla="*/ 534378 h 2084191"/>
              <a:gd name="connsiteX900" fmla="*/ 662304 w 2051041"/>
              <a:gd name="connsiteY900" fmla="*/ 500639 h 2084191"/>
              <a:gd name="connsiteX901" fmla="*/ 825557 w 2051041"/>
              <a:gd name="connsiteY901" fmla="*/ 496830 h 2084191"/>
              <a:gd name="connsiteX902" fmla="*/ 863649 w 2051041"/>
              <a:gd name="connsiteY902" fmla="*/ 534923 h 2084191"/>
              <a:gd name="connsiteX903" fmla="*/ 825557 w 2051041"/>
              <a:gd name="connsiteY903" fmla="*/ 571383 h 2084191"/>
              <a:gd name="connsiteX904" fmla="*/ 788553 w 2051041"/>
              <a:gd name="connsiteY904" fmla="*/ 534379 h 2084191"/>
              <a:gd name="connsiteX905" fmla="*/ 825557 w 2051041"/>
              <a:gd name="connsiteY905" fmla="*/ 496830 h 2084191"/>
              <a:gd name="connsiteX906" fmla="*/ 989898 w 2051041"/>
              <a:gd name="connsiteY906" fmla="*/ 494110 h 2084191"/>
              <a:gd name="connsiteX907" fmla="*/ 1029078 w 2051041"/>
              <a:gd name="connsiteY907" fmla="*/ 534923 h 2084191"/>
              <a:gd name="connsiteX908" fmla="*/ 989353 w 2051041"/>
              <a:gd name="connsiteY908" fmla="*/ 574104 h 2084191"/>
              <a:gd name="connsiteX909" fmla="*/ 949629 w 2051041"/>
              <a:gd name="connsiteY909" fmla="*/ 533835 h 2084191"/>
              <a:gd name="connsiteX910" fmla="*/ 989898 w 2051041"/>
              <a:gd name="connsiteY910" fmla="*/ 494110 h 2084191"/>
              <a:gd name="connsiteX911" fmla="*/ 1152062 w 2051041"/>
              <a:gd name="connsiteY911" fmla="*/ 490301 h 2084191"/>
              <a:gd name="connsiteX912" fmla="*/ 1196140 w 2051041"/>
              <a:gd name="connsiteY912" fmla="*/ 533835 h 2084191"/>
              <a:gd name="connsiteX913" fmla="*/ 1152606 w 2051041"/>
              <a:gd name="connsiteY913" fmla="*/ 577369 h 2084191"/>
              <a:gd name="connsiteX914" fmla="*/ 1109072 w 2051041"/>
              <a:gd name="connsiteY914" fmla="*/ 534379 h 2084191"/>
              <a:gd name="connsiteX915" fmla="*/ 1152062 w 2051041"/>
              <a:gd name="connsiteY915" fmla="*/ 490301 h 2084191"/>
              <a:gd name="connsiteX916" fmla="*/ 1316947 w 2051041"/>
              <a:gd name="connsiteY916" fmla="*/ 489212 h 2084191"/>
              <a:gd name="connsiteX917" fmla="*/ 1361570 w 2051041"/>
              <a:gd name="connsiteY917" fmla="*/ 534923 h 2084191"/>
              <a:gd name="connsiteX918" fmla="*/ 1315859 w 2051041"/>
              <a:gd name="connsiteY918" fmla="*/ 580090 h 2084191"/>
              <a:gd name="connsiteX919" fmla="*/ 1270693 w 2051041"/>
              <a:gd name="connsiteY919" fmla="*/ 533835 h 2084191"/>
              <a:gd name="connsiteX920" fmla="*/ 1316947 w 2051041"/>
              <a:gd name="connsiteY920" fmla="*/ 489212 h 2084191"/>
              <a:gd name="connsiteX921" fmla="*/ 1479112 w 2051041"/>
              <a:gd name="connsiteY921" fmla="*/ 484315 h 2084191"/>
              <a:gd name="connsiteX922" fmla="*/ 1528087 w 2051041"/>
              <a:gd name="connsiteY922" fmla="*/ 533835 h 2084191"/>
              <a:gd name="connsiteX923" fmla="*/ 1479656 w 2051041"/>
              <a:gd name="connsiteY923" fmla="*/ 582267 h 2084191"/>
              <a:gd name="connsiteX924" fmla="*/ 1431224 w 2051041"/>
              <a:gd name="connsiteY924" fmla="*/ 533835 h 2084191"/>
              <a:gd name="connsiteX925" fmla="*/ 1479112 w 2051041"/>
              <a:gd name="connsiteY925" fmla="*/ 484315 h 2084191"/>
              <a:gd name="connsiteX926" fmla="*/ 1643452 w 2051041"/>
              <a:gd name="connsiteY926" fmla="*/ 484314 h 2084191"/>
              <a:gd name="connsiteX927" fmla="*/ 1692973 w 2051041"/>
              <a:gd name="connsiteY927" fmla="*/ 534923 h 2084191"/>
              <a:gd name="connsiteX928" fmla="*/ 1641276 w 2051041"/>
              <a:gd name="connsiteY928" fmla="*/ 583898 h 2084191"/>
              <a:gd name="connsiteX929" fmla="*/ 1592300 w 2051041"/>
              <a:gd name="connsiteY929" fmla="*/ 532202 h 2084191"/>
              <a:gd name="connsiteX930" fmla="*/ 1643452 w 2051041"/>
              <a:gd name="connsiteY930" fmla="*/ 484314 h 2084191"/>
              <a:gd name="connsiteX931" fmla="*/ 1806162 w 2051041"/>
              <a:gd name="connsiteY931" fmla="*/ 481594 h 2084191"/>
              <a:gd name="connsiteX932" fmla="*/ 1857858 w 2051041"/>
              <a:gd name="connsiteY932" fmla="*/ 536011 h 2084191"/>
              <a:gd name="connsiteX933" fmla="*/ 1803441 w 2051041"/>
              <a:gd name="connsiteY933" fmla="*/ 586075 h 2084191"/>
              <a:gd name="connsiteX934" fmla="*/ 1753377 w 2051041"/>
              <a:gd name="connsiteY934" fmla="*/ 533290 h 2084191"/>
              <a:gd name="connsiteX935" fmla="*/ 1806162 w 2051041"/>
              <a:gd name="connsiteY935" fmla="*/ 481594 h 2084191"/>
              <a:gd name="connsiteX936" fmla="*/ 1968326 w 2051041"/>
              <a:gd name="connsiteY936" fmla="*/ 480505 h 2084191"/>
              <a:gd name="connsiteX937" fmla="*/ 2022200 w 2051041"/>
              <a:gd name="connsiteY937" fmla="*/ 534379 h 2084191"/>
              <a:gd name="connsiteX938" fmla="*/ 1969415 w 2051041"/>
              <a:gd name="connsiteY938" fmla="*/ 588252 h 2084191"/>
              <a:gd name="connsiteX939" fmla="*/ 1915541 w 2051041"/>
              <a:gd name="connsiteY939" fmla="*/ 534923 h 2084191"/>
              <a:gd name="connsiteX940" fmla="*/ 1968326 w 2051041"/>
              <a:gd name="connsiteY940" fmla="*/ 480505 h 2084191"/>
              <a:gd name="connsiteX941" fmla="*/ 91464 w 2051041"/>
              <a:gd name="connsiteY941" fmla="*/ 440780 h 2084191"/>
              <a:gd name="connsiteX942" fmla="*/ 102891 w 2051041"/>
              <a:gd name="connsiteY942" fmla="*/ 451664 h 2084191"/>
              <a:gd name="connsiteX943" fmla="*/ 92008 w 2051041"/>
              <a:gd name="connsiteY943" fmla="*/ 464179 h 2084191"/>
              <a:gd name="connsiteX944" fmla="*/ 80036 w 2051041"/>
              <a:gd name="connsiteY944" fmla="*/ 452752 h 2084191"/>
              <a:gd name="connsiteX945" fmla="*/ 91464 w 2051041"/>
              <a:gd name="connsiteY945" fmla="*/ 440780 h 2084191"/>
              <a:gd name="connsiteX946" fmla="*/ 254172 w 2051041"/>
              <a:gd name="connsiteY946" fmla="*/ 430441 h 2084191"/>
              <a:gd name="connsiteX947" fmla="*/ 275939 w 2051041"/>
              <a:gd name="connsiteY947" fmla="*/ 452208 h 2084191"/>
              <a:gd name="connsiteX948" fmla="*/ 254716 w 2051041"/>
              <a:gd name="connsiteY948" fmla="*/ 473975 h 2084191"/>
              <a:gd name="connsiteX949" fmla="*/ 232405 w 2051041"/>
              <a:gd name="connsiteY949" fmla="*/ 452752 h 2084191"/>
              <a:gd name="connsiteX950" fmla="*/ 254172 w 2051041"/>
              <a:gd name="connsiteY950" fmla="*/ 430441 h 2084191"/>
              <a:gd name="connsiteX951" fmla="*/ 417969 w 2051041"/>
              <a:gd name="connsiteY951" fmla="*/ 424999 h 2084191"/>
              <a:gd name="connsiteX952" fmla="*/ 444634 w 2051041"/>
              <a:gd name="connsiteY952" fmla="*/ 452752 h 2084191"/>
              <a:gd name="connsiteX953" fmla="*/ 417425 w 2051041"/>
              <a:gd name="connsiteY953" fmla="*/ 479417 h 2084191"/>
              <a:gd name="connsiteX954" fmla="*/ 390760 w 2051041"/>
              <a:gd name="connsiteY954" fmla="*/ 452208 h 2084191"/>
              <a:gd name="connsiteX955" fmla="*/ 417969 w 2051041"/>
              <a:gd name="connsiteY955" fmla="*/ 424999 h 2084191"/>
              <a:gd name="connsiteX956" fmla="*/ 580677 w 2051041"/>
              <a:gd name="connsiteY956" fmla="*/ 419558 h 2084191"/>
              <a:gd name="connsiteX957" fmla="*/ 612783 w 2051041"/>
              <a:gd name="connsiteY957" fmla="*/ 452208 h 2084191"/>
              <a:gd name="connsiteX958" fmla="*/ 581221 w 2051041"/>
              <a:gd name="connsiteY958" fmla="*/ 484315 h 2084191"/>
              <a:gd name="connsiteX959" fmla="*/ 549115 w 2051041"/>
              <a:gd name="connsiteY959" fmla="*/ 452208 h 2084191"/>
              <a:gd name="connsiteX960" fmla="*/ 580677 w 2051041"/>
              <a:gd name="connsiteY960" fmla="*/ 419558 h 2084191"/>
              <a:gd name="connsiteX961" fmla="*/ 743931 w 2051041"/>
              <a:gd name="connsiteY961" fmla="*/ 415748 h 2084191"/>
              <a:gd name="connsiteX962" fmla="*/ 780390 w 2051041"/>
              <a:gd name="connsiteY962" fmla="*/ 452208 h 2084191"/>
              <a:gd name="connsiteX963" fmla="*/ 744475 w 2051041"/>
              <a:gd name="connsiteY963" fmla="*/ 489212 h 2084191"/>
              <a:gd name="connsiteX964" fmla="*/ 708559 w 2051041"/>
              <a:gd name="connsiteY964" fmla="*/ 453840 h 2084191"/>
              <a:gd name="connsiteX965" fmla="*/ 743931 w 2051041"/>
              <a:gd name="connsiteY965" fmla="*/ 415748 h 2084191"/>
              <a:gd name="connsiteX966" fmla="*/ 908271 w 2051041"/>
              <a:gd name="connsiteY966" fmla="*/ 414116 h 2084191"/>
              <a:gd name="connsiteX967" fmla="*/ 946363 w 2051041"/>
              <a:gd name="connsiteY967" fmla="*/ 453296 h 2084191"/>
              <a:gd name="connsiteX968" fmla="*/ 906638 w 2051041"/>
              <a:gd name="connsiteY968" fmla="*/ 491933 h 2084191"/>
              <a:gd name="connsiteX969" fmla="*/ 868546 w 2051041"/>
              <a:gd name="connsiteY969" fmla="*/ 452208 h 2084191"/>
              <a:gd name="connsiteX970" fmla="*/ 908271 w 2051041"/>
              <a:gd name="connsiteY970" fmla="*/ 414116 h 2084191"/>
              <a:gd name="connsiteX971" fmla="*/ 1072068 w 2051041"/>
              <a:gd name="connsiteY971" fmla="*/ 409218 h 2084191"/>
              <a:gd name="connsiteX972" fmla="*/ 1113970 w 2051041"/>
              <a:gd name="connsiteY972" fmla="*/ 452752 h 2084191"/>
              <a:gd name="connsiteX973" fmla="*/ 1070436 w 2051041"/>
              <a:gd name="connsiteY973" fmla="*/ 495198 h 2084191"/>
              <a:gd name="connsiteX974" fmla="*/ 1028534 w 2051041"/>
              <a:gd name="connsiteY974" fmla="*/ 451120 h 2084191"/>
              <a:gd name="connsiteX975" fmla="*/ 1072068 w 2051041"/>
              <a:gd name="connsiteY975" fmla="*/ 409218 h 2084191"/>
              <a:gd name="connsiteX976" fmla="*/ 1235865 w 2051041"/>
              <a:gd name="connsiteY976" fmla="*/ 408130 h 2084191"/>
              <a:gd name="connsiteX977" fmla="*/ 1279400 w 2051041"/>
              <a:gd name="connsiteY977" fmla="*/ 453296 h 2084191"/>
              <a:gd name="connsiteX978" fmla="*/ 1233689 w 2051041"/>
              <a:gd name="connsiteY978" fmla="*/ 497374 h 2084191"/>
              <a:gd name="connsiteX979" fmla="*/ 1189611 w 2051041"/>
              <a:gd name="connsiteY979" fmla="*/ 451664 h 2084191"/>
              <a:gd name="connsiteX980" fmla="*/ 1235865 w 2051041"/>
              <a:gd name="connsiteY980" fmla="*/ 408130 h 2084191"/>
              <a:gd name="connsiteX981" fmla="*/ 1396941 w 2051041"/>
              <a:gd name="connsiteY981" fmla="*/ 403776 h 2084191"/>
              <a:gd name="connsiteX982" fmla="*/ 1446461 w 2051041"/>
              <a:gd name="connsiteY982" fmla="*/ 450575 h 2084191"/>
              <a:gd name="connsiteX983" fmla="*/ 1399118 w 2051041"/>
              <a:gd name="connsiteY983" fmla="*/ 500640 h 2084191"/>
              <a:gd name="connsiteX984" fmla="*/ 1349598 w 2051041"/>
              <a:gd name="connsiteY984" fmla="*/ 453296 h 2084191"/>
              <a:gd name="connsiteX985" fmla="*/ 1396941 w 2051041"/>
              <a:gd name="connsiteY985" fmla="*/ 403776 h 2084191"/>
              <a:gd name="connsiteX986" fmla="*/ 1560738 w 2051041"/>
              <a:gd name="connsiteY986" fmla="*/ 402144 h 2084191"/>
              <a:gd name="connsiteX987" fmla="*/ 1611347 w 2051041"/>
              <a:gd name="connsiteY987" fmla="*/ 453297 h 2084191"/>
              <a:gd name="connsiteX988" fmla="*/ 1560194 w 2051041"/>
              <a:gd name="connsiteY988" fmla="*/ 502272 h 2084191"/>
              <a:gd name="connsiteX989" fmla="*/ 1511218 w 2051041"/>
              <a:gd name="connsiteY989" fmla="*/ 451664 h 2084191"/>
              <a:gd name="connsiteX990" fmla="*/ 1560738 w 2051041"/>
              <a:gd name="connsiteY990" fmla="*/ 402144 h 2084191"/>
              <a:gd name="connsiteX991" fmla="*/ 1723991 w 2051041"/>
              <a:gd name="connsiteY991" fmla="*/ 399423 h 2084191"/>
              <a:gd name="connsiteX992" fmla="*/ 1776776 w 2051041"/>
              <a:gd name="connsiteY992" fmla="*/ 452752 h 2084191"/>
              <a:gd name="connsiteX993" fmla="*/ 1725079 w 2051041"/>
              <a:gd name="connsiteY993" fmla="*/ 504993 h 2084191"/>
              <a:gd name="connsiteX994" fmla="*/ 1671750 w 2051041"/>
              <a:gd name="connsiteY994" fmla="*/ 452752 h 2084191"/>
              <a:gd name="connsiteX995" fmla="*/ 1723991 w 2051041"/>
              <a:gd name="connsiteY995" fmla="*/ 399423 h 2084191"/>
              <a:gd name="connsiteX996" fmla="*/ 2051040 w 2051041"/>
              <a:gd name="connsiteY996" fmla="*/ 398335 h 2084191"/>
              <a:gd name="connsiteX997" fmla="*/ 2051041 w 2051041"/>
              <a:gd name="connsiteY997" fmla="*/ 398335 h 2084191"/>
              <a:gd name="connsiteX998" fmla="*/ 2051041 w 2051041"/>
              <a:gd name="connsiteY998" fmla="*/ 506936 h 2084191"/>
              <a:gd name="connsiteX999" fmla="*/ 2049952 w 2051041"/>
              <a:gd name="connsiteY999" fmla="*/ 507170 h 2084191"/>
              <a:gd name="connsiteX1000" fmla="*/ 1995534 w 2051041"/>
              <a:gd name="connsiteY1000" fmla="*/ 452208 h 2084191"/>
              <a:gd name="connsiteX1001" fmla="*/ 2051040 w 2051041"/>
              <a:gd name="connsiteY1001" fmla="*/ 398335 h 2084191"/>
              <a:gd name="connsiteX1002" fmla="*/ 1888332 w 2051041"/>
              <a:gd name="connsiteY1002" fmla="*/ 398335 h 2084191"/>
              <a:gd name="connsiteX1003" fmla="*/ 1941661 w 2051041"/>
              <a:gd name="connsiteY1003" fmla="*/ 452208 h 2084191"/>
              <a:gd name="connsiteX1004" fmla="*/ 1886699 w 2051041"/>
              <a:gd name="connsiteY1004" fmla="*/ 506082 h 2084191"/>
              <a:gd name="connsiteX1005" fmla="*/ 1833370 w 2051041"/>
              <a:gd name="connsiteY1005" fmla="*/ 452208 h 2084191"/>
              <a:gd name="connsiteX1006" fmla="*/ 1888332 w 2051041"/>
              <a:gd name="connsiteY1006" fmla="*/ 398335 h 2084191"/>
              <a:gd name="connsiteX1007" fmla="*/ 12014 w 2051041"/>
              <a:gd name="connsiteY1007" fmla="*/ 364052 h 2084191"/>
              <a:gd name="connsiteX1008" fmla="*/ 15823 w 2051041"/>
              <a:gd name="connsiteY1008" fmla="*/ 370038 h 2084191"/>
              <a:gd name="connsiteX1009" fmla="*/ 9293 w 2051041"/>
              <a:gd name="connsiteY1009" fmla="*/ 377656 h 2084191"/>
              <a:gd name="connsiteX1010" fmla="*/ 3307 w 2051041"/>
              <a:gd name="connsiteY1010" fmla="*/ 371126 h 2084191"/>
              <a:gd name="connsiteX1011" fmla="*/ 12014 w 2051041"/>
              <a:gd name="connsiteY1011" fmla="*/ 364052 h 2084191"/>
              <a:gd name="connsiteX1012" fmla="*/ 172545 w 2051041"/>
              <a:gd name="connsiteY1012" fmla="*/ 353713 h 2084191"/>
              <a:gd name="connsiteX1013" fmla="*/ 190503 w 2051041"/>
              <a:gd name="connsiteY1013" fmla="*/ 370582 h 2084191"/>
              <a:gd name="connsiteX1014" fmla="*/ 173090 w 2051041"/>
              <a:gd name="connsiteY1014" fmla="*/ 387996 h 2084191"/>
              <a:gd name="connsiteX1015" fmla="*/ 155676 w 2051041"/>
              <a:gd name="connsiteY1015" fmla="*/ 371126 h 2084191"/>
              <a:gd name="connsiteX1016" fmla="*/ 172545 w 2051041"/>
              <a:gd name="connsiteY1016" fmla="*/ 353713 h 2084191"/>
              <a:gd name="connsiteX1017" fmla="*/ 336886 w 2051041"/>
              <a:gd name="connsiteY1017" fmla="*/ 345550 h 2084191"/>
              <a:gd name="connsiteX1018" fmla="*/ 361374 w 2051041"/>
              <a:gd name="connsiteY1018" fmla="*/ 371670 h 2084191"/>
              <a:gd name="connsiteX1019" fmla="*/ 335798 w 2051041"/>
              <a:gd name="connsiteY1019" fmla="*/ 395070 h 2084191"/>
              <a:gd name="connsiteX1020" fmla="*/ 311854 w 2051041"/>
              <a:gd name="connsiteY1020" fmla="*/ 370038 h 2084191"/>
              <a:gd name="connsiteX1021" fmla="*/ 336886 w 2051041"/>
              <a:gd name="connsiteY1021" fmla="*/ 345550 h 2084191"/>
              <a:gd name="connsiteX1022" fmla="*/ 499596 w 2051041"/>
              <a:gd name="connsiteY1022" fmla="*/ 342284 h 2084191"/>
              <a:gd name="connsiteX1023" fmla="*/ 528437 w 2051041"/>
              <a:gd name="connsiteY1023" fmla="*/ 370582 h 2084191"/>
              <a:gd name="connsiteX1024" fmla="*/ 499051 w 2051041"/>
              <a:gd name="connsiteY1024" fmla="*/ 399423 h 2084191"/>
              <a:gd name="connsiteX1025" fmla="*/ 470210 w 2051041"/>
              <a:gd name="connsiteY1025" fmla="*/ 370037 h 2084191"/>
              <a:gd name="connsiteX1026" fmla="*/ 499596 w 2051041"/>
              <a:gd name="connsiteY1026" fmla="*/ 342284 h 2084191"/>
              <a:gd name="connsiteX1027" fmla="*/ 663392 w 2051041"/>
              <a:gd name="connsiteY1027" fmla="*/ 337387 h 2084191"/>
              <a:gd name="connsiteX1028" fmla="*/ 697131 w 2051041"/>
              <a:gd name="connsiteY1028" fmla="*/ 371126 h 2084191"/>
              <a:gd name="connsiteX1029" fmla="*/ 662304 w 2051041"/>
              <a:gd name="connsiteY1029" fmla="*/ 404321 h 2084191"/>
              <a:gd name="connsiteX1030" fmla="*/ 629109 w 2051041"/>
              <a:gd name="connsiteY1030" fmla="*/ 371126 h 2084191"/>
              <a:gd name="connsiteX1031" fmla="*/ 663392 w 2051041"/>
              <a:gd name="connsiteY1031" fmla="*/ 337387 h 2084191"/>
              <a:gd name="connsiteX1032" fmla="*/ 825556 w 2051041"/>
              <a:gd name="connsiteY1032" fmla="*/ 332489 h 2084191"/>
              <a:gd name="connsiteX1033" fmla="*/ 864737 w 2051041"/>
              <a:gd name="connsiteY1033" fmla="*/ 370037 h 2084191"/>
              <a:gd name="connsiteX1034" fmla="*/ 826645 w 2051041"/>
              <a:gd name="connsiteY1034" fmla="*/ 409218 h 2084191"/>
              <a:gd name="connsiteX1035" fmla="*/ 787464 w 2051041"/>
              <a:gd name="connsiteY1035" fmla="*/ 371126 h 2084191"/>
              <a:gd name="connsiteX1036" fmla="*/ 825556 w 2051041"/>
              <a:gd name="connsiteY1036" fmla="*/ 332489 h 2084191"/>
              <a:gd name="connsiteX1037" fmla="*/ 989898 w 2051041"/>
              <a:gd name="connsiteY1037" fmla="*/ 328680 h 2084191"/>
              <a:gd name="connsiteX1038" fmla="*/ 1031255 w 2051041"/>
              <a:gd name="connsiteY1038" fmla="*/ 371126 h 2084191"/>
              <a:gd name="connsiteX1039" fmla="*/ 989354 w 2051041"/>
              <a:gd name="connsiteY1039" fmla="*/ 413027 h 2084191"/>
              <a:gd name="connsiteX1040" fmla="*/ 947452 w 2051041"/>
              <a:gd name="connsiteY1040" fmla="*/ 370037 h 2084191"/>
              <a:gd name="connsiteX1041" fmla="*/ 989898 w 2051041"/>
              <a:gd name="connsiteY1041" fmla="*/ 328680 h 2084191"/>
              <a:gd name="connsiteX1042" fmla="*/ 1153150 w 2051041"/>
              <a:gd name="connsiteY1042" fmla="*/ 326504 h 2084191"/>
              <a:gd name="connsiteX1043" fmla="*/ 1197228 w 2051041"/>
              <a:gd name="connsiteY1043" fmla="*/ 370582 h 2084191"/>
              <a:gd name="connsiteX1044" fmla="*/ 1152606 w 2051041"/>
              <a:gd name="connsiteY1044" fmla="*/ 414661 h 2084191"/>
              <a:gd name="connsiteX1045" fmla="*/ 1108528 w 2051041"/>
              <a:gd name="connsiteY1045" fmla="*/ 370038 h 2084191"/>
              <a:gd name="connsiteX1046" fmla="*/ 1153150 w 2051041"/>
              <a:gd name="connsiteY1046" fmla="*/ 326504 h 2084191"/>
              <a:gd name="connsiteX1047" fmla="*/ 1317492 w 2051041"/>
              <a:gd name="connsiteY1047" fmla="*/ 323239 h 2084191"/>
              <a:gd name="connsiteX1048" fmla="*/ 1364835 w 2051041"/>
              <a:gd name="connsiteY1048" fmla="*/ 372215 h 2084191"/>
              <a:gd name="connsiteX1049" fmla="*/ 1314771 w 2051041"/>
              <a:gd name="connsiteY1049" fmla="*/ 419014 h 2084191"/>
              <a:gd name="connsiteX1050" fmla="*/ 1268516 w 2051041"/>
              <a:gd name="connsiteY1050" fmla="*/ 370582 h 2084191"/>
              <a:gd name="connsiteX1051" fmla="*/ 1317492 w 2051041"/>
              <a:gd name="connsiteY1051" fmla="*/ 323239 h 2084191"/>
              <a:gd name="connsiteX1052" fmla="*/ 1479112 w 2051041"/>
              <a:gd name="connsiteY1052" fmla="*/ 320517 h 2084191"/>
              <a:gd name="connsiteX1053" fmla="*/ 1529720 w 2051041"/>
              <a:gd name="connsiteY1053" fmla="*/ 371670 h 2084191"/>
              <a:gd name="connsiteX1054" fmla="*/ 1478568 w 2051041"/>
              <a:gd name="connsiteY1054" fmla="*/ 420101 h 2084191"/>
              <a:gd name="connsiteX1055" fmla="*/ 1429592 w 2051041"/>
              <a:gd name="connsiteY1055" fmla="*/ 370037 h 2084191"/>
              <a:gd name="connsiteX1056" fmla="*/ 1479112 w 2051041"/>
              <a:gd name="connsiteY1056" fmla="*/ 320517 h 2084191"/>
              <a:gd name="connsiteX1057" fmla="*/ 1642364 w 2051041"/>
              <a:gd name="connsiteY1057" fmla="*/ 318341 h 2084191"/>
              <a:gd name="connsiteX1058" fmla="*/ 1695694 w 2051041"/>
              <a:gd name="connsiteY1058" fmla="*/ 370582 h 2084191"/>
              <a:gd name="connsiteX1059" fmla="*/ 1643453 w 2051041"/>
              <a:gd name="connsiteY1059" fmla="*/ 424455 h 2084191"/>
              <a:gd name="connsiteX1060" fmla="*/ 1589035 w 2051041"/>
              <a:gd name="connsiteY1060" fmla="*/ 371670 h 2084191"/>
              <a:gd name="connsiteX1061" fmla="*/ 1642364 w 2051041"/>
              <a:gd name="connsiteY1061" fmla="*/ 318341 h 2084191"/>
              <a:gd name="connsiteX1062" fmla="*/ 90919 w 2051041"/>
              <a:gd name="connsiteY1062" fmla="*/ 273718 h 2084191"/>
              <a:gd name="connsiteX1063" fmla="*/ 106700 w 2051041"/>
              <a:gd name="connsiteY1063" fmla="*/ 288411 h 2084191"/>
              <a:gd name="connsiteX1064" fmla="*/ 91463 w 2051041"/>
              <a:gd name="connsiteY1064" fmla="*/ 303648 h 2084191"/>
              <a:gd name="connsiteX1065" fmla="*/ 76770 w 2051041"/>
              <a:gd name="connsiteY1065" fmla="*/ 288411 h 2084191"/>
              <a:gd name="connsiteX1066" fmla="*/ 90919 w 2051041"/>
              <a:gd name="connsiteY1066" fmla="*/ 273718 h 2084191"/>
              <a:gd name="connsiteX1067" fmla="*/ 254716 w 2051041"/>
              <a:gd name="connsiteY1067" fmla="*/ 267733 h 2084191"/>
              <a:gd name="connsiteX1068" fmla="*/ 276483 w 2051041"/>
              <a:gd name="connsiteY1068" fmla="*/ 288956 h 2084191"/>
              <a:gd name="connsiteX1069" fmla="*/ 254172 w 2051041"/>
              <a:gd name="connsiteY1069" fmla="*/ 311811 h 2084191"/>
              <a:gd name="connsiteX1070" fmla="*/ 232405 w 2051041"/>
              <a:gd name="connsiteY1070" fmla="*/ 289500 h 2084191"/>
              <a:gd name="connsiteX1071" fmla="*/ 254716 w 2051041"/>
              <a:gd name="connsiteY1071" fmla="*/ 267733 h 2084191"/>
              <a:gd name="connsiteX1072" fmla="*/ 1941117 w 2051041"/>
              <a:gd name="connsiteY1072" fmla="*/ 263202 h 2084191"/>
              <a:gd name="connsiteX1073" fmla="*/ 1936219 w 2051041"/>
              <a:gd name="connsiteY1073" fmla="*/ 266467 h 2084191"/>
              <a:gd name="connsiteX1074" fmla="*/ 1938396 w 2051041"/>
              <a:gd name="connsiteY1074" fmla="*/ 272453 h 2084191"/>
              <a:gd name="connsiteX1075" fmla="*/ 1932954 w 2051041"/>
              <a:gd name="connsiteY1075" fmla="*/ 325782 h 2084191"/>
              <a:gd name="connsiteX1076" fmla="*/ 1930777 w 2051041"/>
              <a:gd name="connsiteY1076" fmla="*/ 331224 h 2084191"/>
              <a:gd name="connsiteX1077" fmla="*/ 1936219 w 2051041"/>
              <a:gd name="connsiteY1077" fmla="*/ 330136 h 2084191"/>
              <a:gd name="connsiteX1078" fmla="*/ 1966693 w 2051041"/>
              <a:gd name="connsiteY1078" fmla="*/ 320340 h 2084191"/>
              <a:gd name="connsiteX1079" fmla="*/ 1998799 w 2051041"/>
              <a:gd name="connsiteY1079" fmla="*/ 328503 h 2084191"/>
              <a:gd name="connsiteX1080" fmla="*/ 2003153 w 2051041"/>
              <a:gd name="connsiteY1080" fmla="*/ 330136 h 2084191"/>
              <a:gd name="connsiteX1081" fmla="*/ 2001520 w 2051041"/>
              <a:gd name="connsiteY1081" fmla="*/ 324694 h 2084191"/>
              <a:gd name="connsiteX1082" fmla="*/ 1994446 w 2051041"/>
              <a:gd name="connsiteY1082" fmla="*/ 309457 h 2084191"/>
              <a:gd name="connsiteX1083" fmla="*/ 1998255 w 2051041"/>
              <a:gd name="connsiteY1083" fmla="*/ 267555 h 2084191"/>
              <a:gd name="connsiteX1084" fmla="*/ 2000976 w 2051041"/>
              <a:gd name="connsiteY1084" fmla="*/ 263746 h 2084191"/>
              <a:gd name="connsiteX1085" fmla="*/ 1995534 w 2051041"/>
              <a:gd name="connsiteY1085" fmla="*/ 263746 h 2084191"/>
              <a:gd name="connsiteX1086" fmla="*/ 1941117 w 2051041"/>
              <a:gd name="connsiteY1086" fmla="*/ 263202 h 2084191"/>
              <a:gd name="connsiteX1087" fmla="*/ 417425 w 2051041"/>
              <a:gd name="connsiteY1087" fmla="*/ 262291 h 2084191"/>
              <a:gd name="connsiteX1088" fmla="*/ 445178 w 2051041"/>
              <a:gd name="connsiteY1088" fmla="*/ 288956 h 2084191"/>
              <a:gd name="connsiteX1089" fmla="*/ 417969 w 2051041"/>
              <a:gd name="connsiteY1089" fmla="*/ 317253 h 2084191"/>
              <a:gd name="connsiteX1090" fmla="*/ 390216 w 2051041"/>
              <a:gd name="connsiteY1090" fmla="*/ 290044 h 2084191"/>
              <a:gd name="connsiteX1091" fmla="*/ 417425 w 2051041"/>
              <a:gd name="connsiteY1091" fmla="*/ 262291 h 2084191"/>
              <a:gd name="connsiteX1092" fmla="*/ 580678 w 2051041"/>
              <a:gd name="connsiteY1092" fmla="*/ 256304 h 2084191"/>
              <a:gd name="connsiteX1093" fmla="*/ 613872 w 2051041"/>
              <a:gd name="connsiteY1093" fmla="*/ 288955 h 2084191"/>
              <a:gd name="connsiteX1094" fmla="*/ 581222 w 2051041"/>
              <a:gd name="connsiteY1094" fmla="*/ 322150 h 2084191"/>
              <a:gd name="connsiteX1095" fmla="*/ 548027 w 2051041"/>
              <a:gd name="connsiteY1095" fmla="*/ 289499 h 2084191"/>
              <a:gd name="connsiteX1096" fmla="*/ 580678 w 2051041"/>
              <a:gd name="connsiteY1096" fmla="*/ 256304 h 2084191"/>
              <a:gd name="connsiteX1097" fmla="*/ 743930 w 2051041"/>
              <a:gd name="connsiteY1097" fmla="*/ 251951 h 2084191"/>
              <a:gd name="connsiteX1098" fmla="*/ 782022 w 2051041"/>
              <a:gd name="connsiteY1098" fmla="*/ 289499 h 2084191"/>
              <a:gd name="connsiteX1099" fmla="*/ 744474 w 2051041"/>
              <a:gd name="connsiteY1099" fmla="*/ 326503 h 2084191"/>
              <a:gd name="connsiteX1100" fmla="*/ 707470 w 2051041"/>
              <a:gd name="connsiteY1100" fmla="*/ 289499 h 2084191"/>
              <a:gd name="connsiteX1101" fmla="*/ 743930 w 2051041"/>
              <a:gd name="connsiteY1101" fmla="*/ 251951 h 2084191"/>
              <a:gd name="connsiteX1102" fmla="*/ 907183 w 2051041"/>
              <a:gd name="connsiteY1102" fmla="*/ 249775 h 2084191"/>
              <a:gd name="connsiteX1103" fmla="*/ 947452 w 2051041"/>
              <a:gd name="connsiteY1103" fmla="*/ 289500 h 2084191"/>
              <a:gd name="connsiteX1104" fmla="*/ 908271 w 2051041"/>
              <a:gd name="connsiteY1104" fmla="*/ 329225 h 2084191"/>
              <a:gd name="connsiteX1105" fmla="*/ 867458 w 2051041"/>
              <a:gd name="connsiteY1105" fmla="*/ 290044 h 2084191"/>
              <a:gd name="connsiteX1106" fmla="*/ 907183 w 2051041"/>
              <a:gd name="connsiteY1106" fmla="*/ 249775 h 2084191"/>
              <a:gd name="connsiteX1107" fmla="*/ 1070435 w 2051041"/>
              <a:gd name="connsiteY1107" fmla="*/ 245965 h 2084191"/>
              <a:gd name="connsiteX1108" fmla="*/ 1114513 w 2051041"/>
              <a:gd name="connsiteY1108" fmla="*/ 290043 h 2084191"/>
              <a:gd name="connsiteX1109" fmla="*/ 1069347 w 2051041"/>
              <a:gd name="connsiteY1109" fmla="*/ 333578 h 2084191"/>
              <a:gd name="connsiteX1110" fmla="*/ 1026357 w 2051041"/>
              <a:gd name="connsiteY1110" fmla="*/ 288955 h 2084191"/>
              <a:gd name="connsiteX1111" fmla="*/ 1070435 w 2051041"/>
              <a:gd name="connsiteY1111" fmla="*/ 245965 h 2084191"/>
              <a:gd name="connsiteX1112" fmla="*/ 1233689 w 2051041"/>
              <a:gd name="connsiteY1112" fmla="*/ 241613 h 2084191"/>
              <a:gd name="connsiteX1113" fmla="*/ 1282120 w 2051041"/>
              <a:gd name="connsiteY1113" fmla="*/ 288412 h 2084191"/>
              <a:gd name="connsiteX1114" fmla="*/ 1235321 w 2051041"/>
              <a:gd name="connsiteY1114" fmla="*/ 335755 h 2084191"/>
              <a:gd name="connsiteX1115" fmla="*/ 1187434 w 2051041"/>
              <a:gd name="connsiteY1115" fmla="*/ 289500 h 2084191"/>
              <a:gd name="connsiteX1116" fmla="*/ 1233689 w 2051041"/>
              <a:gd name="connsiteY1116" fmla="*/ 241613 h 2084191"/>
              <a:gd name="connsiteX1117" fmla="*/ 1397485 w 2051041"/>
              <a:gd name="connsiteY1117" fmla="*/ 238891 h 2084191"/>
              <a:gd name="connsiteX1118" fmla="*/ 1448094 w 2051041"/>
              <a:gd name="connsiteY1118" fmla="*/ 288955 h 2084191"/>
              <a:gd name="connsiteX1119" fmla="*/ 1398029 w 2051041"/>
              <a:gd name="connsiteY1119" fmla="*/ 338475 h 2084191"/>
              <a:gd name="connsiteX1120" fmla="*/ 1348509 w 2051041"/>
              <a:gd name="connsiteY1120" fmla="*/ 289499 h 2084191"/>
              <a:gd name="connsiteX1121" fmla="*/ 1397485 w 2051041"/>
              <a:gd name="connsiteY1121" fmla="*/ 238891 h 2084191"/>
              <a:gd name="connsiteX1122" fmla="*/ 1559650 w 2051041"/>
              <a:gd name="connsiteY1122" fmla="*/ 237258 h 2084191"/>
              <a:gd name="connsiteX1123" fmla="*/ 1613523 w 2051041"/>
              <a:gd name="connsiteY1123" fmla="*/ 288955 h 2084191"/>
              <a:gd name="connsiteX1124" fmla="*/ 1560738 w 2051041"/>
              <a:gd name="connsiteY1124" fmla="*/ 342829 h 2084191"/>
              <a:gd name="connsiteX1125" fmla="*/ 1507953 w 2051041"/>
              <a:gd name="connsiteY1125" fmla="*/ 289499 h 2084191"/>
              <a:gd name="connsiteX1126" fmla="*/ 1559650 w 2051041"/>
              <a:gd name="connsiteY1126" fmla="*/ 237258 h 2084191"/>
              <a:gd name="connsiteX1127" fmla="*/ 9837 w 2051041"/>
              <a:gd name="connsiteY1127" fmla="*/ 198078 h 2084191"/>
              <a:gd name="connsiteX1128" fmla="*/ 19632 w 2051041"/>
              <a:gd name="connsiteY1128" fmla="*/ 207873 h 2084191"/>
              <a:gd name="connsiteX1129" fmla="*/ 10381 w 2051041"/>
              <a:gd name="connsiteY1129" fmla="*/ 218213 h 2084191"/>
              <a:gd name="connsiteX1130" fmla="*/ 42 w 2051041"/>
              <a:gd name="connsiteY1130" fmla="*/ 207873 h 2084191"/>
              <a:gd name="connsiteX1131" fmla="*/ 9837 w 2051041"/>
              <a:gd name="connsiteY1131" fmla="*/ 198078 h 2084191"/>
              <a:gd name="connsiteX1132" fmla="*/ 173090 w 2051041"/>
              <a:gd name="connsiteY1132" fmla="*/ 187739 h 2084191"/>
              <a:gd name="connsiteX1133" fmla="*/ 192136 w 2051041"/>
              <a:gd name="connsiteY1133" fmla="*/ 207329 h 2084191"/>
              <a:gd name="connsiteX1134" fmla="*/ 172546 w 2051041"/>
              <a:gd name="connsiteY1134" fmla="*/ 227464 h 2084191"/>
              <a:gd name="connsiteX1135" fmla="*/ 154044 w 2051041"/>
              <a:gd name="connsiteY1135" fmla="*/ 208418 h 2084191"/>
              <a:gd name="connsiteX1136" fmla="*/ 173090 w 2051041"/>
              <a:gd name="connsiteY1136" fmla="*/ 187739 h 2084191"/>
              <a:gd name="connsiteX1137" fmla="*/ 336887 w 2051041"/>
              <a:gd name="connsiteY1137" fmla="*/ 182297 h 2084191"/>
              <a:gd name="connsiteX1138" fmla="*/ 363007 w 2051041"/>
              <a:gd name="connsiteY1138" fmla="*/ 207329 h 2084191"/>
              <a:gd name="connsiteX1139" fmla="*/ 336887 w 2051041"/>
              <a:gd name="connsiteY1139" fmla="*/ 233994 h 2084191"/>
              <a:gd name="connsiteX1140" fmla="*/ 310766 w 2051041"/>
              <a:gd name="connsiteY1140" fmla="*/ 208961 h 2084191"/>
              <a:gd name="connsiteX1141" fmla="*/ 336887 w 2051041"/>
              <a:gd name="connsiteY1141" fmla="*/ 182297 h 2084191"/>
              <a:gd name="connsiteX1142" fmla="*/ 1856225 w 2051041"/>
              <a:gd name="connsiteY1142" fmla="*/ 180487 h 2084191"/>
              <a:gd name="connsiteX1143" fmla="*/ 1855681 w 2051041"/>
              <a:gd name="connsiteY1143" fmla="*/ 185929 h 2084191"/>
              <a:gd name="connsiteX1144" fmla="*/ 1851872 w 2051041"/>
              <a:gd name="connsiteY1144" fmla="*/ 244700 h 2084191"/>
              <a:gd name="connsiteX1145" fmla="*/ 1851328 w 2051041"/>
              <a:gd name="connsiteY1145" fmla="*/ 247965 h 2084191"/>
              <a:gd name="connsiteX1146" fmla="*/ 1854593 w 2051041"/>
              <a:gd name="connsiteY1146" fmla="*/ 247421 h 2084191"/>
              <a:gd name="connsiteX1147" fmla="*/ 1899215 w 2051041"/>
              <a:gd name="connsiteY1147" fmla="*/ 238714 h 2084191"/>
              <a:gd name="connsiteX1148" fmla="*/ 1913908 w 2051041"/>
              <a:gd name="connsiteY1148" fmla="*/ 243067 h 2084191"/>
              <a:gd name="connsiteX1149" fmla="*/ 1918806 w 2051041"/>
              <a:gd name="connsiteY1149" fmla="*/ 242523 h 2084191"/>
              <a:gd name="connsiteX1150" fmla="*/ 1918261 w 2051041"/>
              <a:gd name="connsiteY1150" fmla="*/ 238170 h 2084191"/>
              <a:gd name="connsiteX1151" fmla="*/ 1917173 w 2051041"/>
              <a:gd name="connsiteY1151" fmla="*/ 185929 h 2084191"/>
              <a:gd name="connsiteX1152" fmla="*/ 1918261 w 2051041"/>
              <a:gd name="connsiteY1152" fmla="*/ 181576 h 2084191"/>
              <a:gd name="connsiteX1153" fmla="*/ 1913908 w 2051041"/>
              <a:gd name="connsiteY1153" fmla="*/ 182664 h 2084191"/>
              <a:gd name="connsiteX1154" fmla="*/ 1860579 w 2051041"/>
              <a:gd name="connsiteY1154" fmla="*/ 180487 h 2084191"/>
              <a:gd name="connsiteX1155" fmla="*/ 1856225 w 2051041"/>
              <a:gd name="connsiteY1155" fmla="*/ 180487 h 2084191"/>
              <a:gd name="connsiteX1156" fmla="*/ 499595 w 2051041"/>
              <a:gd name="connsiteY1156" fmla="*/ 175767 h 2084191"/>
              <a:gd name="connsiteX1157" fmla="*/ 531158 w 2051041"/>
              <a:gd name="connsiteY1157" fmla="*/ 207874 h 2084191"/>
              <a:gd name="connsiteX1158" fmla="*/ 498507 w 2051041"/>
              <a:gd name="connsiteY1158" fmla="*/ 238347 h 2084191"/>
              <a:gd name="connsiteX1159" fmla="*/ 468033 w 2051041"/>
              <a:gd name="connsiteY1159" fmla="*/ 207329 h 2084191"/>
              <a:gd name="connsiteX1160" fmla="*/ 499595 w 2051041"/>
              <a:gd name="connsiteY1160" fmla="*/ 175767 h 2084191"/>
              <a:gd name="connsiteX1161" fmla="*/ 662304 w 2051041"/>
              <a:gd name="connsiteY1161" fmla="*/ 173046 h 2084191"/>
              <a:gd name="connsiteX1162" fmla="*/ 697676 w 2051041"/>
              <a:gd name="connsiteY1162" fmla="*/ 207873 h 2084191"/>
              <a:gd name="connsiteX1163" fmla="*/ 662304 w 2051041"/>
              <a:gd name="connsiteY1163" fmla="*/ 242156 h 2084191"/>
              <a:gd name="connsiteX1164" fmla="*/ 628021 w 2051041"/>
              <a:gd name="connsiteY1164" fmla="*/ 207873 h 2084191"/>
              <a:gd name="connsiteX1165" fmla="*/ 662304 w 2051041"/>
              <a:gd name="connsiteY1165" fmla="*/ 173046 h 2084191"/>
              <a:gd name="connsiteX1166" fmla="*/ 826645 w 2051041"/>
              <a:gd name="connsiteY1166" fmla="*/ 168148 h 2084191"/>
              <a:gd name="connsiteX1167" fmla="*/ 864737 w 2051041"/>
              <a:gd name="connsiteY1167" fmla="*/ 207329 h 2084191"/>
              <a:gd name="connsiteX1168" fmla="*/ 826100 w 2051041"/>
              <a:gd name="connsiteY1168" fmla="*/ 247054 h 2084191"/>
              <a:gd name="connsiteX1169" fmla="*/ 787464 w 2051041"/>
              <a:gd name="connsiteY1169" fmla="*/ 207873 h 2084191"/>
              <a:gd name="connsiteX1170" fmla="*/ 826645 w 2051041"/>
              <a:gd name="connsiteY1170" fmla="*/ 168148 h 2084191"/>
              <a:gd name="connsiteX1171" fmla="*/ 987721 w 2051041"/>
              <a:gd name="connsiteY1171" fmla="*/ 164883 h 2084191"/>
              <a:gd name="connsiteX1172" fmla="*/ 1031799 w 2051041"/>
              <a:gd name="connsiteY1172" fmla="*/ 207329 h 2084191"/>
              <a:gd name="connsiteX1173" fmla="*/ 988809 w 2051041"/>
              <a:gd name="connsiteY1173" fmla="*/ 250319 h 2084191"/>
              <a:gd name="connsiteX1174" fmla="*/ 945819 w 2051041"/>
              <a:gd name="connsiteY1174" fmla="*/ 208417 h 2084191"/>
              <a:gd name="connsiteX1175" fmla="*/ 987721 w 2051041"/>
              <a:gd name="connsiteY1175" fmla="*/ 164883 h 2084191"/>
              <a:gd name="connsiteX1176" fmla="*/ 1153150 w 2051041"/>
              <a:gd name="connsiteY1176" fmla="*/ 162707 h 2084191"/>
              <a:gd name="connsiteX1177" fmla="*/ 1197772 w 2051041"/>
              <a:gd name="connsiteY1177" fmla="*/ 207874 h 2084191"/>
              <a:gd name="connsiteX1178" fmla="*/ 1151517 w 2051041"/>
              <a:gd name="connsiteY1178" fmla="*/ 253584 h 2084191"/>
              <a:gd name="connsiteX1179" fmla="*/ 1107439 w 2051041"/>
              <a:gd name="connsiteY1179" fmla="*/ 207329 h 2084191"/>
              <a:gd name="connsiteX1180" fmla="*/ 1153150 w 2051041"/>
              <a:gd name="connsiteY1180" fmla="*/ 162707 h 2084191"/>
              <a:gd name="connsiteX1181" fmla="*/ 1315315 w 2051041"/>
              <a:gd name="connsiteY1181" fmla="*/ 158353 h 2084191"/>
              <a:gd name="connsiteX1182" fmla="*/ 1365379 w 2051041"/>
              <a:gd name="connsiteY1182" fmla="*/ 206785 h 2084191"/>
              <a:gd name="connsiteX1183" fmla="*/ 1315859 w 2051041"/>
              <a:gd name="connsiteY1183" fmla="*/ 256305 h 2084191"/>
              <a:gd name="connsiteX1184" fmla="*/ 1266883 w 2051041"/>
              <a:gd name="connsiteY1184" fmla="*/ 207873 h 2084191"/>
              <a:gd name="connsiteX1185" fmla="*/ 1315315 w 2051041"/>
              <a:gd name="connsiteY1185" fmla="*/ 158353 h 2084191"/>
              <a:gd name="connsiteX1186" fmla="*/ 1478567 w 2051041"/>
              <a:gd name="connsiteY1186" fmla="*/ 156721 h 2084191"/>
              <a:gd name="connsiteX1187" fmla="*/ 1529720 w 2051041"/>
              <a:gd name="connsiteY1187" fmla="*/ 207329 h 2084191"/>
              <a:gd name="connsiteX1188" fmla="*/ 1478567 w 2051041"/>
              <a:gd name="connsiteY1188" fmla="*/ 258482 h 2084191"/>
              <a:gd name="connsiteX1189" fmla="*/ 1427959 w 2051041"/>
              <a:gd name="connsiteY1189" fmla="*/ 207874 h 2084191"/>
              <a:gd name="connsiteX1190" fmla="*/ 1478567 w 2051041"/>
              <a:gd name="connsiteY1190" fmla="*/ 156721 h 2084191"/>
              <a:gd name="connsiteX1191" fmla="*/ 1644541 w 2051041"/>
              <a:gd name="connsiteY1191" fmla="*/ 153456 h 2084191"/>
              <a:gd name="connsiteX1192" fmla="*/ 1697326 w 2051041"/>
              <a:gd name="connsiteY1192" fmla="*/ 209506 h 2084191"/>
              <a:gd name="connsiteX1193" fmla="*/ 1641276 w 2051041"/>
              <a:gd name="connsiteY1193" fmla="*/ 262835 h 2084191"/>
              <a:gd name="connsiteX1194" fmla="*/ 1587947 w 2051041"/>
              <a:gd name="connsiteY1194" fmla="*/ 206785 h 2084191"/>
              <a:gd name="connsiteX1195" fmla="*/ 1644541 w 2051041"/>
              <a:gd name="connsiteY1195" fmla="*/ 153456 h 2084191"/>
              <a:gd name="connsiteX1196" fmla="*/ 91463 w 2051041"/>
              <a:gd name="connsiteY1196" fmla="*/ 109922 h 2084191"/>
              <a:gd name="connsiteX1197" fmla="*/ 107244 w 2051041"/>
              <a:gd name="connsiteY1197" fmla="*/ 126247 h 2084191"/>
              <a:gd name="connsiteX1198" fmla="*/ 91463 w 2051041"/>
              <a:gd name="connsiteY1198" fmla="*/ 142028 h 2084191"/>
              <a:gd name="connsiteX1199" fmla="*/ 75682 w 2051041"/>
              <a:gd name="connsiteY1199" fmla="*/ 126247 h 2084191"/>
              <a:gd name="connsiteX1200" fmla="*/ 91463 w 2051041"/>
              <a:gd name="connsiteY1200" fmla="*/ 109922 h 2084191"/>
              <a:gd name="connsiteX1201" fmla="*/ 1942341 w 2051041"/>
              <a:gd name="connsiteY1201" fmla="*/ 104915 h 2084191"/>
              <a:gd name="connsiteX1202" fmla="*/ 1942205 w 2051041"/>
              <a:gd name="connsiteY1202" fmla="*/ 111377 h 2084191"/>
              <a:gd name="connsiteX1203" fmla="*/ 1946559 w 2051041"/>
              <a:gd name="connsiteY1203" fmla="*/ 131511 h 2084191"/>
              <a:gd name="connsiteX1204" fmla="*/ 1939484 w 2051041"/>
              <a:gd name="connsiteY1204" fmla="*/ 157088 h 2084191"/>
              <a:gd name="connsiteX1205" fmla="*/ 1941117 w 2051041"/>
              <a:gd name="connsiteY1205" fmla="*/ 160353 h 2084191"/>
              <a:gd name="connsiteX1206" fmla="*/ 1986828 w 2051041"/>
              <a:gd name="connsiteY1206" fmla="*/ 157088 h 2084191"/>
              <a:gd name="connsiteX1207" fmla="*/ 1987916 w 2051041"/>
              <a:gd name="connsiteY1207" fmla="*/ 157088 h 2084191"/>
              <a:gd name="connsiteX1208" fmla="*/ 1993902 w 2051041"/>
              <a:gd name="connsiteY1208" fmla="*/ 150013 h 2084191"/>
              <a:gd name="connsiteX1209" fmla="*/ 1993902 w 2051041"/>
              <a:gd name="connsiteY1209" fmla="*/ 109744 h 2084191"/>
              <a:gd name="connsiteX1210" fmla="*/ 1989004 w 2051041"/>
              <a:gd name="connsiteY1210" fmla="*/ 105391 h 2084191"/>
              <a:gd name="connsiteX1211" fmla="*/ 1948191 w 2051041"/>
              <a:gd name="connsiteY1211" fmla="*/ 105391 h 2084191"/>
              <a:gd name="connsiteX1212" fmla="*/ 1942341 w 2051041"/>
              <a:gd name="connsiteY1212" fmla="*/ 104915 h 2084191"/>
              <a:gd name="connsiteX1213" fmla="*/ 255804 w 2051041"/>
              <a:gd name="connsiteY1213" fmla="*/ 103392 h 2084191"/>
              <a:gd name="connsiteX1214" fmla="*/ 277571 w 2051041"/>
              <a:gd name="connsiteY1214" fmla="*/ 126791 h 2084191"/>
              <a:gd name="connsiteX1215" fmla="*/ 254172 w 2051041"/>
              <a:gd name="connsiteY1215" fmla="*/ 148014 h 2084191"/>
              <a:gd name="connsiteX1216" fmla="*/ 232405 w 2051041"/>
              <a:gd name="connsiteY1216" fmla="*/ 125159 h 2084191"/>
              <a:gd name="connsiteX1217" fmla="*/ 255804 w 2051041"/>
              <a:gd name="connsiteY1217" fmla="*/ 103392 h 2084191"/>
              <a:gd name="connsiteX1218" fmla="*/ 1773511 w 2051041"/>
              <a:gd name="connsiteY1218" fmla="*/ 99405 h 2084191"/>
              <a:gd name="connsiteX1219" fmla="*/ 1773511 w 2051041"/>
              <a:gd name="connsiteY1219" fmla="*/ 107023 h 2084191"/>
              <a:gd name="connsiteX1220" fmla="*/ 1780585 w 2051041"/>
              <a:gd name="connsiteY1220" fmla="*/ 130423 h 2084191"/>
              <a:gd name="connsiteX1221" fmla="*/ 1773511 w 2051041"/>
              <a:gd name="connsiteY1221" fmla="*/ 155999 h 2084191"/>
              <a:gd name="connsiteX1222" fmla="*/ 1774055 w 2051041"/>
              <a:gd name="connsiteY1222" fmla="*/ 161985 h 2084191"/>
              <a:gd name="connsiteX1223" fmla="*/ 1780041 w 2051041"/>
              <a:gd name="connsiteY1223" fmla="*/ 162529 h 2084191"/>
              <a:gd name="connsiteX1224" fmla="*/ 1811059 w 2051041"/>
              <a:gd name="connsiteY1224" fmla="*/ 157632 h 2084191"/>
              <a:gd name="connsiteX1225" fmla="*/ 1829561 w 2051041"/>
              <a:gd name="connsiteY1225" fmla="*/ 161985 h 2084191"/>
              <a:gd name="connsiteX1226" fmla="*/ 1836635 w 2051041"/>
              <a:gd name="connsiteY1226" fmla="*/ 161985 h 2084191"/>
              <a:gd name="connsiteX1227" fmla="*/ 1833914 w 2051041"/>
              <a:gd name="connsiteY1227" fmla="*/ 157088 h 2084191"/>
              <a:gd name="connsiteX1228" fmla="*/ 1834458 w 2051041"/>
              <a:gd name="connsiteY1228" fmla="*/ 104303 h 2084191"/>
              <a:gd name="connsiteX1229" fmla="*/ 1835547 w 2051041"/>
              <a:gd name="connsiteY1229" fmla="*/ 99405 h 2084191"/>
              <a:gd name="connsiteX1230" fmla="*/ 1831193 w 2051041"/>
              <a:gd name="connsiteY1230" fmla="*/ 101038 h 2084191"/>
              <a:gd name="connsiteX1231" fmla="*/ 1780041 w 2051041"/>
              <a:gd name="connsiteY1231" fmla="*/ 101582 h 2084191"/>
              <a:gd name="connsiteX1232" fmla="*/ 1773511 w 2051041"/>
              <a:gd name="connsiteY1232" fmla="*/ 99405 h 2084191"/>
              <a:gd name="connsiteX1233" fmla="*/ 417424 w 2051041"/>
              <a:gd name="connsiteY1233" fmla="*/ 97950 h 2084191"/>
              <a:gd name="connsiteX1234" fmla="*/ 445721 w 2051041"/>
              <a:gd name="connsiteY1234" fmla="*/ 126247 h 2084191"/>
              <a:gd name="connsiteX1235" fmla="*/ 417424 w 2051041"/>
              <a:gd name="connsiteY1235" fmla="*/ 153456 h 2084191"/>
              <a:gd name="connsiteX1236" fmla="*/ 390215 w 2051041"/>
              <a:gd name="connsiteY1236" fmla="*/ 125159 h 2084191"/>
              <a:gd name="connsiteX1237" fmla="*/ 417424 w 2051041"/>
              <a:gd name="connsiteY1237" fmla="*/ 97950 h 2084191"/>
              <a:gd name="connsiteX1238" fmla="*/ 580677 w 2051041"/>
              <a:gd name="connsiteY1238" fmla="*/ 92508 h 2084191"/>
              <a:gd name="connsiteX1239" fmla="*/ 614960 w 2051041"/>
              <a:gd name="connsiteY1239" fmla="*/ 125159 h 2084191"/>
              <a:gd name="connsiteX1240" fmla="*/ 581766 w 2051041"/>
              <a:gd name="connsiteY1240" fmla="*/ 158353 h 2084191"/>
              <a:gd name="connsiteX1241" fmla="*/ 548571 w 2051041"/>
              <a:gd name="connsiteY1241" fmla="*/ 125703 h 2084191"/>
              <a:gd name="connsiteX1242" fmla="*/ 580677 w 2051041"/>
              <a:gd name="connsiteY1242" fmla="*/ 92508 h 2084191"/>
              <a:gd name="connsiteX1243" fmla="*/ 745019 w 2051041"/>
              <a:gd name="connsiteY1243" fmla="*/ 88154 h 2084191"/>
              <a:gd name="connsiteX1244" fmla="*/ 782567 w 2051041"/>
              <a:gd name="connsiteY1244" fmla="*/ 126791 h 2084191"/>
              <a:gd name="connsiteX1245" fmla="*/ 743930 w 2051041"/>
              <a:gd name="connsiteY1245" fmla="*/ 164339 h 2084191"/>
              <a:gd name="connsiteX1246" fmla="*/ 706382 w 2051041"/>
              <a:gd name="connsiteY1246" fmla="*/ 125702 h 2084191"/>
              <a:gd name="connsiteX1247" fmla="*/ 745019 w 2051041"/>
              <a:gd name="connsiteY1247" fmla="*/ 88154 h 2084191"/>
              <a:gd name="connsiteX1248" fmla="*/ 1685898 w 2051041"/>
              <a:gd name="connsiteY1248" fmla="*/ 84712 h 2084191"/>
              <a:gd name="connsiteX1249" fmla="*/ 1685681 w 2051041"/>
              <a:gd name="connsiteY1249" fmla="*/ 85147 h 2084191"/>
              <a:gd name="connsiteX1250" fmla="*/ 1685354 w 2051041"/>
              <a:gd name="connsiteY1250" fmla="*/ 85256 h 2084191"/>
              <a:gd name="connsiteX1251" fmla="*/ 1685898 w 2051041"/>
              <a:gd name="connsiteY1251" fmla="*/ 84712 h 2084191"/>
              <a:gd name="connsiteX1252" fmla="*/ 907183 w 2051041"/>
              <a:gd name="connsiteY1252" fmla="*/ 84345 h 2084191"/>
              <a:gd name="connsiteX1253" fmla="*/ 934935 w 2051041"/>
              <a:gd name="connsiteY1253" fmla="*/ 95228 h 2084191"/>
              <a:gd name="connsiteX1254" fmla="*/ 949628 w 2051041"/>
              <a:gd name="connsiteY1254" fmla="*/ 125158 h 2084191"/>
              <a:gd name="connsiteX1255" fmla="*/ 908271 w 2051041"/>
              <a:gd name="connsiteY1255" fmla="*/ 167060 h 2084191"/>
              <a:gd name="connsiteX1256" fmla="*/ 866369 w 2051041"/>
              <a:gd name="connsiteY1256" fmla="*/ 125702 h 2084191"/>
              <a:gd name="connsiteX1257" fmla="*/ 907183 w 2051041"/>
              <a:gd name="connsiteY1257" fmla="*/ 84345 h 2084191"/>
              <a:gd name="connsiteX1258" fmla="*/ 1070979 w 2051041"/>
              <a:gd name="connsiteY1258" fmla="*/ 82169 h 2084191"/>
              <a:gd name="connsiteX1259" fmla="*/ 1115602 w 2051041"/>
              <a:gd name="connsiteY1259" fmla="*/ 126247 h 2084191"/>
              <a:gd name="connsiteX1260" fmla="*/ 1071524 w 2051041"/>
              <a:gd name="connsiteY1260" fmla="*/ 170325 h 2084191"/>
              <a:gd name="connsiteX1261" fmla="*/ 1026357 w 2051041"/>
              <a:gd name="connsiteY1261" fmla="*/ 125703 h 2084191"/>
              <a:gd name="connsiteX1262" fmla="*/ 1070979 w 2051041"/>
              <a:gd name="connsiteY1262" fmla="*/ 82169 h 2084191"/>
              <a:gd name="connsiteX1263" fmla="*/ 1684811 w 2051041"/>
              <a:gd name="connsiteY1263" fmla="*/ 82168 h 2084191"/>
              <a:gd name="connsiteX1264" fmla="*/ 1684266 w 2051041"/>
              <a:gd name="connsiteY1264" fmla="*/ 82713 h 2084191"/>
              <a:gd name="connsiteX1265" fmla="*/ 1684469 w 2051041"/>
              <a:gd name="connsiteY1265" fmla="*/ 82365 h 2084191"/>
              <a:gd name="connsiteX1266" fmla="*/ 1234777 w 2051041"/>
              <a:gd name="connsiteY1266" fmla="*/ 78360 h 2084191"/>
              <a:gd name="connsiteX1267" fmla="*/ 1282664 w 2051041"/>
              <a:gd name="connsiteY1267" fmla="*/ 126791 h 2084191"/>
              <a:gd name="connsiteX1268" fmla="*/ 1234232 w 2051041"/>
              <a:gd name="connsiteY1268" fmla="*/ 174135 h 2084191"/>
              <a:gd name="connsiteX1269" fmla="*/ 1186889 w 2051041"/>
              <a:gd name="connsiteY1269" fmla="*/ 126791 h 2084191"/>
              <a:gd name="connsiteX1270" fmla="*/ 1234777 w 2051041"/>
              <a:gd name="connsiteY1270" fmla="*/ 78360 h 2084191"/>
              <a:gd name="connsiteX1271" fmla="*/ 1398574 w 2051041"/>
              <a:gd name="connsiteY1271" fmla="*/ 76182 h 2084191"/>
              <a:gd name="connsiteX1272" fmla="*/ 1448094 w 2051041"/>
              <a:gd name="connsiteY1272" fmla="*/ 127335 h 2084191"/>
              <a:gd name="connsiteX1273" fmla="*/ 1396941 w 2051041"/>
              <a:gd name="connsiteY1273" fmla="*/ 175766 h 2084191"/>
              <a:gd name="connsiteX1274" fmla="*/ 1347421 w 2051041"/>
              <a:gd name="connsiteY1274" fmla="*/ 125702 h 2084191"/>
              <a:gd name="connsiteX1275" fmla="*/ 1398574 w 2051041"/>
              <a:gd name="connsiteY1275" fmla="*/ 76182 h 2084191"/>
              <a:gd name="connsiteX1276" fmla="*/ 1561282 w 2051041"/>
              <a:gd name="connsiteY1276" fmla="*/ 72373 h 2084191"/>
              <a:gd name="connsiteX1277" fmla="*/ 1614611 w 2051041"/>
              <a:gd name="connsiteY1277" fmla="*/ 126247 h 2084191"/>
              <a:gd name="connsiteX1278" fmla="*/ 1560738 w 2051041"/>
              <a:gd name="connsiteY1278" fmla="*/ 179576 h 2084191"/>
              <a:gd name="connsiteX1279" fmla="*/ 1507409 w 2051041"/>
              <a:gd name="connsiteY1279" fmla="*/ 126247 h 2084191"/>
              <a:gd name="connsiteX1280" fmla="*/ 1561282 w 2051041"/>
              <a:gd name="connsiteY1280" fmla="*/ 72373 h 2084191"/>
              <a:gd name="connsiteX1281" fmla="*/ 10381 w 2051041"/>
              <a:gd name="connsiteY1281" fmla="*/ 33737 h 2084191"/>
              <a:gd name="connsiteX1282" fmla="*/ 20720 w 2051041"/>
              <a:gd name="connsiteY1282" fmla="*/ 45165 h 2084191"/>
              <a:gd name="connsiteX1283" fmla="*/ 9292 w 2051041"/>
              <a:gd name="connsiteY1283" fmla="*/ 54960 h 2084191"/>
              <a:gd name="connsiteX1284" fmla="*/ 41 w 2051041"/>
              <a:gd name="connsiteY1284" fmla="*/ 44621 h 2084191"/>
              <a:gd name="connsiteX1285" fmla="*/ 10381 w 2051041"/>
              <a:gd name="connsiteY1285" fmla="*/ 33737 h 2084191"/>
              <a:gd name="connsiteX1286" fmla="*/ 172546 w 2051041"/>
              <a:gd name="connsiteY1286" fmla="*/ 23942 h 2084191"/>
              <a:gd name="connsiteX1287" fmla="*/ 193224 w 2051041"/>
              <a:gd name="connsiteY1287" fmla="*/ 44621 h 2084191"/>
              <a:gd name="connsiteX1288" fmla="*/ 173090 w 2051041"/>
              <a:gd name="connsiteY1288" fmla="*/ 64755 h 2084191"/>
              <a:gd name="connsiteX1289" fmla="*/ 152411 w 2051041"/>
              <a:gd name="connsiteY1289" fmla="*/ 44621 h 2084191"/>
              <a:gd name="connsiteX1290" fmla="*/ 172546 w 2051041"/>
              <a:gd name="connsiteY1290" fmla="*/ 23942 h 2084191"/>
              <a:gd name="connsiteX1291" fmla="*/ 1861123 w 2051041"/>
              <a:gd name="connsiteY1291" fmla="*/ 22132 h 2084191"/>
              <a:gd name="connsiteX1292" fmla="*/ 1861123 w 2051041"/>
              <a:gd name="connsiteY1292" fmla="*/ 35737 h 2084191"/>
              <a:gd name="connsiteX1293" fmla="*/ 1861123 w 2051041"/>
              <a:gd name="connsiteY1293" fmla="*/ 61313 h 2084191"/>
              <a:gd name="connsiteX1294" fmla="*/ 1858946 w 2051041"/>
              <a:gd name="connsiteY1294" fmla="*/ 72740 h 2084191"/>
              <a:gd name="connsiteX1295" fmla="*/ 1866021 w 2051041"/>
              <a:gd name="connsiteY1295" fmla="*/ 76550 h 2084191"/>
              <a:gd name="connsiteX1296" fmla="*/ 1873639 w 2051041"/>
              <a:gd name="connsiteY1296" fmla="*/ 74917 h 2084191"/>
              <a:gd name="connsiteX1297" fmla="*/ 1900304 w 2051041"/>
              <a:gd name="connsiteY1297" fmla="*/ 74373 h 2084191"/>
              <a:gd name="connsiteX1298" fmla="*/ 1907922 w 2051041"/>
              <a:gd name="connsiteY1298" fmla="*/ 76006 h 2084191"/>
              <a:gd name="connsiteX1299" fmla="*/ 1912820 w 2051041"/>
              <a:gd name="connsiteY1299" fmla="*/ 70020 h 2084191"/>
              <a:gd name="connsiteX1300" fmla="*/ 1912820 w 2051041"/>
              <a:gd name="connsiteY1300" fmla="*/ 27030 h 2084191"/>
              <a:gd name="connsiteX1301" fmla="*/ 1908466 w 2051041"/>
              <a:gd name="connsiteY1301" fmla="*/ 22132 h 2084191"/>
              <a:gd name="connsiteX1302" fmla="*/ 1902480 w 2051041"/>
              <a:gd name="connsiteY1302" fmla="*/ 24309 h 2084191"/>
              <a:gd name="connsiteX1303" fmla="*/ 1873095 w 2051041"/>
              <a:gd name="connsiteY1303" fmla="*/ 24309 h 2084191"/>
              <a:gd name="connsiteX1304" fmla="*/ 1861123 w 2051041"/>
              <a:gd name="connsiteY1304" fmla="*/ 22132 h 2084191"/>
              <a:gd name="connsiteX1305" fmla="*/ 336886 w 2051041"/>
              <a:gd name="connsiteY1305" fmla="*/ 17412 h 2084191"/>
              <a:gd name="connsiteX1306" fmla="*/ 363007 w 2051041"/>
              <a:gd name="connsiteY1306" fmla="*/ 44077 h 2084191"/>
              <a:gd name="connsiteX1307" fmla="*/ 337431 w 2051041"/>
              <a:gd name="connsiteY1307" fmla="*/ 71285 h 2084191"/>
              <a:gd name="connsiteX1308" fmla="*/ 310222 w 2051041"/>
              <a:gd name="connsiteY1308" fmla="*/ 45165 h 2084191"/>
              <a:gd name="connsiteX1309" fmla="*/ 336886 w 2051041"/>
              <a:gd name="connsiteY1309" fmla="*/ 17412 h 2084191"/>
              <a:gd name="connsiteX1310" fmla="*/ 498507 w 2051041"/>
              <a:gd name="connsiteY1310" fmla="*/ 13059 h 2084191"/>
              <a:gd name="connsiteX1311" fmla="*/ 531702 w 2051041"/>
              <a:gd name="connsiteY1311" fmla="*/ 44621 h 2084191"/>
              <a:gd name="connsiteX1312" fmla="*/ 499595 w 2051041"/>
              <a:gd name="connsiteY1312" fmla="*/ 76727 h 2084191"/>
              <a:gd name="connsiteX1313" fmla="*/ 467489 w 2051041"/>
              <a:gd name="connsiteY1313" fmla="*/ 45165 h 2084191"/>
              <a:gd name="connsiteX1314" fmla="*/ 498507 w 2051041"/>
              <a:gd name="connsiteY1314" fmla="*/ 13059 h 2084191"/>
              <a:gd name="connsiteX1315" fmla="*/ 662303 w 2051041"/>
              <a:gd name="connsiteY1315" fmla="*/ 7616 h 2084191"/>
              <a:gd name="connsiteX1316" fmla="*/ 698763 w 2051041"/>
              <a:gd name="connsiteY1316" fmla="*/ 44076 h 2084191"/>
              <a:gd name="connsiteX1317" fmla="*/ 662303 w 2051041"/>
              <a:gd name="connsiteY1317" fmla="*/ 81080 h 2084191"/>
              <a:gd name="connsiteX1318" fmla="*/ 626932 w 2051041"/>
              <a:gd name="connsiteY1318" fmla="*/ 44076 h 2084191"/>
              <a:gd name="connsiteX1319" fmla="*/ 662303 w 2051041"/>
              <a:gd name="connsiteY1319" fmla="*/ 7616 h 2084191"/>
              <a:gd name="connsiteX1320" fmla="*/ 825557 w 2051041"/>
              <a:gd name="connsiteY1320" fmla="*/ 5440 h 2084191"/>
              <a:gd name="connsiteX1321" fmla="*/ 865281 w 2051041"/>
              <a:gd name="connsiteY1321" fmla="*/ 44621 h 2084191"/>
              <a:gd name="connsiteX1322" fmla="*/ 826101 w 2051041"/>
              <a:gd name="connsiteY1322" fmla="*/ 83257 h 2084191"/>
              <a:gd name="connsiteX1323" fmla="*/ 786920 w 2051041"/>
              <a:gd name="connsiteY1323" fmla="*/ 44621 h 2084191"/>
              <a:gd name="connsiteX1324" fmla="*/ 825557 w 2051041"/>
              <a:gd name="connsiteY1324" fmla="*/ 5440 h 2084191"/>
              <a:gd name="connsiteX1325" fmla="*/ 989353 w 2051041"/>
              <a:gd name="connsiteY1325" fmla="*/ 1086 h 2084191"/>
              <a:gd name="connsiteX1326" fmla="*/ 1032343 w 2051041"/>
              <a:gd name="connsiteY1326" fmla="*/ 43532 h 2084191"/>
              <a:gd name="connsiteX1327" fmla="*/ 989897 w 2051041"/>
              <a:gd name="connsiteY1327" fmla="*/ 87610 h 2084191"/>
              <a:gd name="connsiteX1328" fmla="*/ 945819 w 2051041"/>
              <a:gd name="connsiteY1328" fmla="*/ 44620 h 2084191"/>
              <a:gd name="connsiteX1329" fmla="*/ 989353 w 2051041"/>
              <a:gd name="connsiteY1329" fmla="*/ 1086 h 2084191"/>
              <a:gd name="connsiteX1330" fmla="*/ 1614056 w 2051041"/>
              <a:gd name="connsiteY1330" fmla="*/ 0 h 2084191"/>
              <a:gd name="connsiteX1331" fmla="*/ 1675529 w 2051041"/>
              <a:gd name="connsiteY1331" fmla="*/ 0 h 2084191"/>
              <a:gd name="connsiteX1332" fmla="*/ 1682905 w 2051041"/>
              <a:gd name="connsiteY1332" fmla="*/ 4720 h 2084191"/>
              <a:gd name="connsiteX1333" fmla="*/ 1933639 w 2051041"/>
              <a:gd name="connsiteY1333" fmla="*/ 4720 h 2084191"/>
              <a:gd name="connsiteX1334" fmla="*/ 2016655 w 2051041"/>
              <a:gd name="connsiteY1334" fmla="*/ 39107 h 2084191"/>
              <a:gd name="connsiteX1335" fmla="*/ 2028934 w 2051041"/>
              <a:gd name="connsiteY1335" fmla="*/ 57318 h 2084191"/>
              <a:gd name="connsiteX1336" fmla="*/ 2026008 w 2051041"/>
              <a:gd name="connsiteY1336" fmla="*/ 71108 h 2084191"/>
              <a:gd name="connsiteX1337" fmla="*/ 2030906 w 2051041"/>
              <a:gd name="connsiteY1337" fmla="*/ 75461 h 2084191"/>
              <a:gd name="connsiteX1338" fmla="*/ 2039929 w 2051041"/>
              <a:gd name="connsiteY1338" fmla="*/ 73627 h 2084191"/>
              <a:gd name="connsiteX1339" fmla="*/ 2041815 w 2051041"/>
              <a:gd name="connsiteY1339" fmla="*/ 76424 h 2084191"/>
              <a:gd name="connsiteX1340" fmla="*/ 2051041 w 2051041"/>
              <a:gd name="connsiteY1340" fmla="*/ 122122 h 2084191"/>
              <a:gd name="connsiteX1341" fmla="*/ 2051041 w 2051041"/>
              <a:gd name="connsiteY1341" fmla="*/ 186473 h 2084191"/>
              <a:gd name="connsiteX1342" fmla="*/ 2029818 w 2051041"/>
              <a:gd name="connsiteY1342" fmla="*/ 186473 h 2084191"/>
              <a:gd name="connsiteX1343" fmla="*/ 2023287 w 2051041"/>
              <a:gd name="connsiteY1343" fmla="*/ 192459 h 2084191"/>
              <a:gd name="connsiteX1344" fmla="*/ 2023832 w 2051041"/>
              <a:gd name="connsiteY1344" fmla="*/ 196268 h 2084191"/>
              <a:gd name="connsiteX1345" fmla="*/ 2019478 w 2051041"/>
              <a:gd name="connsiteY1345" fmla="*/ 239258 h 2084191"/>
              <a:gd name="connsiteX1346" fmla="*/ 2020022 w 2051041"/>
              <a:gd name="connsiteY1346" fmla="*/ 242523 h 2084191"/>
              <a:gd name="connsiteX1347" fmla="*/ 2023287 w 2051041"/>
              <a:gd name="connsiteY1347" fmla="*/ 243067 h 2084191"/>
              <a:gd name="connsiteX1348" fmla="*/ 2050224 w 2051041"/>
              <a:gd name="connsiteY1348" fmla="*/ 237150 h 2084191"/>
              <a:gd name="connsiteX1349" fmla="*/ 2051041 w 2051041"/>
              <a:gd name="connsiteY1349" fmla="*/ 237329 h 2084191"/>
              <a:gd name="connsiteX1350" fmla="*/ 2051041 w 2051041"/>
              <a:gd name="connsiteY1350" fmla="*/ 348996 h 2084191"/>
              <a:gd name="connsiteX1351" fmla="*/ 2036552 w 2051041"/>
              <a:gd name="connsiteY1351" fmla="*/ 347754 h 2084191"/>
              <a:gd name="connsiteX1352" fmla="*/ 2021111 w 2051041"/>
              <a:gd name="connsiteY1352" fmla="*/ 341019 h 2084191"/>
              <a:gd name="connsiteX1353" fmla="*/ 2016757 w 2051041"/>
              <a:gd name="connsiteY1353" fmla="*/ 338842 h 2084191"/>
              <a:gd name="connsiteX1354" fmla="*/ 2017301 w 2051041"/>
              <a:gd name="connsiteY1354" fmla="*/ 344284 h 2084191"/>
              <a:gd name="connsiteX1355" fmla="*/ 2025464 w 2051041"/>
              <a:gd name="connsiteY1355" fmla="*/ 376391 h 2084191"/>
              <a:gd name="connsiteX1356" fmla="*/ 1994446 w 2051041"/>
              <a:gd name="connsiteY1356" fmla="*/ 424278 h 2084191"/>
              <a:gd name="connsiteX1357" fmla="*/ 1933498 w 2051041"/>
              <a:gd name="connsiteY1357" fmla="*/ 416115 h 2084191"/>
              <a:gd name="connsiteX1358" fmla="*/ 1920438 w 2051041"/>
              <a:gd name="connsiteY1358" fmla="*/ 352447 h 2084191"/>
              <a:gd name="connsiteX1359" fmla="*/ 1925336 w 2051041"/>
              <a:gd name="connsiteY1359" fmla="*/ 338298 h 2084191"/>
              <a:gd name="connsiteX1360" fmla="*/ 1911731 w 2051041"/>
              <a:gd name="connsiteY1360" fmla="*/ 343196 h 2084191"/>
              <a:gd name="connsiteX1361" fmla="*/ 1898671 w 2051041"/>
              <a:gd name="connsiteY1361" fmla="*/ 347005 h 2084191"/>
              <a:gd name="connsiteX1362" fmla="*/ 1854593 w 2051041"/>
              <a:gd name="connsiteY1362" fmla="*/ 336666 h 2084191"/>
              <a:gd name="connsiteX1363" fmla="*/ 1847690 w 2051041"/>
              <a:gd name="connsiteY1363" fmla="*/ 333480 h 2084191"/>
              <a:gd name="connsiteX1364" fmla="*/ 1852961 w 2051041"/>
              <a:gd name="connsiteY1364" fmla="*/ 344461 h 2084191"/>
              <a:gd name="connsiteX1365" fmla="*/ 1826840 w 2051041"/>
              <a:gd name="connsiteY1365" fmla="*/ 420646 h 2084191"/>
              <a:gd name="connsiteX1366" fmla="*/ 1765893 w 2051041"/>
              <a:gd name="connsiteY1366" fmla="*/ 408130 h 2084191"/>
              <a:gd name="connsiteX1367" fmla="*/ 1759362 w 2051041"/>
              <a:gd name="connsiteY1367" fmla="*/ 342829 h 2084191"/>
              <a:gd name="connsiteX1368" fmla="*/ 1815991 w 2051041"/>
              <a:gd name="connsiteY1368" fmla="*/ 317193 h 2084191"/>
              <a:gd name="connsiteX1369" fmla="*/ 1834459 w 2051041"/>
              <a:gd name="connsiteY1369" fmla="*/ 325415 h 2084191"/>
              <a:gd name="connsiteX1370" fmla="*/ 1845023 w 2051041"/>
              <a:gd name="connsiteY1370" fmla="*/ 330169 h 2084191"/>
              <a:gd name="connsiteX1371" fmla="*/ 1840444 w 2051041"/>
              <a:gd name="connsiteY1371" fmla="*/ 321429 h 2084191"/>
              <a:gd name="connsiteX1372" fmla="*/ 1834458 w 2051041"/>
              <a:gd name="connsiteY1372" fmla="*/ 275174 h 2084191"/>
              <a:gd name="connsiteX1373" fmla="*/ 1840988 w 2051041"/>
              <a:gd name="connsiteY1373" fmla="*/ 259937 h 2084191"/>
              <a:gd name="connsiteX1374" fmla="*/ 1842077 w 2051041"/>
              <a:gd name="connsiteY1374" fmla="*/ 255584 h 2084191"/>
              <a:gd name="connsiteX1375" fmla="*/ 1837723 w 2051041"/>
              <a:gd name="connsiteY1375" fmla="*/ 257216 h 2084191"/>
              <a:gd name="connsiteX1376" fmla="*/ 1817589 w 2051041"/>
              <a:gd name="connsiteY1376" fmla="*/ 264834 h 2084191"/>
              <a:gd name="connsiteX1377" fmla="*/ 1768069 w 2051041"/>
              <a:gd name="connsiteY1377" fmla="*/ 251774 h 2084191"/>
              <a:gd name="connsiteX1378" fmla="*/ 1764740 w 2051041"/>
              <a:gd name="connsiteY1378" fmla="*/ 250110 h 2084191"/>
              <a:gd name="connsiteX1379" fmla="*/ 1773510 w 2051041"/>
              <a:gd name="connsiteY1379" fmla="*/ 267189 h 2084191"/>
              <a:gd name="connsiteX1380" fmla="*/ 1750655 w 2051041"/>
              <a:gd name="connsiteY1380" fmla="*/ 336843 h 2084191"/>
              <a:gd name="connsiteX1381" fmla="*/ 1673926 w 2051041"/>
              <a:gd name="connsiteY1381" fmla="*/ 310723 h 2084191"/>
              <a:gd name="connsiteX1382" fmla="*/ 1681545 w 2051041"/>
              <a:gd name="connsiteY1382" fmla="*/ 254673 h 2084191"/>
              <a:gd name="connsiteX1383" fmla="*/ 1733786 w 2051041"/>
              <a:gd name="connsiteY1383" fmla="*/ 235083 h 2084191"/>
              <a:gd name="connsiteX1384" fmla="*/ 1751743 w 2051041"/>
              <a:gd name="connsiteY1384" fmla="*/ 242157 h 2084191"/>
              <a:gd name="connsiteX1385" fmla="*/ 1762506 w 2051041"/>
              <a:gd name="connsiteY1385" fmla="*/ 246769 h 2084191"/>
              <a:gd name="connsiteX1386" fmla="*/ 1757185 w 2051041"/>
              <a:gd name="connsiteY1386" fmla="*/ 236537 h 2084191"/>
              <a:gd name="connsiteX1387" fmla="*/ 1756097 w 2051041"/>
              <a:gd name="connsiteY1387" fmla="*/ 185929 h 2084191"/>
              <a:gd name="connsiteX1388" fmla="*/ 1757185 w 2051041"/>
              <a:gd name="connsiteY1388" fmla="*/ 177766 h 2084191"/>
              <a:gd name="connsiteX1389" fmla="*/ 1749023 w 2051041"/>
              <a:gd name="connsiteY1389" fmla="*/ 178311 h 2084191"/>
              <a:gd name="connsiteX1390" fmla="*/ 1676103 w 2051041"/>
              <a:gd name="connsiteY1390" fmla="*/ 154911 h 2084191"/>
              <a:gd name="connsiteX1391" fmla="*/ 1681001 w 2051041"/>
              <a:gd name="connsiteY1391" fmla="*/ 94507 h 2084191"/>
              <a:gd name="connsiteX1392" fmla="*/ 1685681 w 2051041"/>
              <a:gd name="connsiteY1392" fmla="*/ 85147 h 2084191"/>
              <a:gd name="connsiteX1393" fmla="*/ 1693517 w 2051041"/>
              <a:gd name="connsiteY1393" fmla="*/ 82536 h 2084191"/>
              <a:gd name="connsiteX1394" fmla="*/ 1747934 w 2051041"/>
              <a:gd name="connsiteY1394" fmla="*/ 77638 h 2084191"/>
              <a:gd name="connsiteX1395" fmla="*/ 1756641 w 2051041"/>
              <a:gd name="connsiteY1395" fmla="*/ 79271 h 2084191"/>
              <a:gd name="connsiteX1396" fmla="*/ 1754464 w 2051041"/>
              <a:gd name="connsiteY1396" fmla="*/ 71652 h 2084191"/>
              <a:gd name="connsiteX1397" fmla="*/ 1752832 w 2051041"/>
              <a:gd name="connsiteY1397" fmla="*/ 68387 h 2084191"/>
              <a:gd name="connsiteX1398" fmla="*/ 1756097 w 2051041"/>
              <a:gd name="connsiteY1398" fmla="*/ 20500 h 2084191"/>
              <a:gd name="connsiteX1399" fmla="*/ 1756641 w 2051041"/>
              <a:gd name="connsiteY1399" fmla="*/ 16146 h 2084191"/>
              <a:gd name="connsiteX1400" fmla="*/ 1751744 w 2051041"/>
              <a:gd name="connsiteY1400" fmla="*/ 15058 h 2084191"/>
              <a:gd name="connsiteX1401" fmla="*/ 1741404 w 2051041"/>
              <a:gd name="connsiteY1401" fmla="*/ 19955 h 2084191"/>
              <a:gd name="connsiteX1402" fmla="*/ 1691884 w 2051041"/>
              <a:gd name="connsiteY1402" fmla="*/ 11249 h 2084191"/>
              <a:gd name="connsiteX1403" fmla="*/ 1685645 w 2051041"/>
              <a:gd name="connsiteY1403" fmla="*/ 8369 h 2084191"/>
              <a:gd name="connsiteX1404" fmla="*/ 1688620 w 2051041"/>
              <a:gd name="connsiteY1404" fmla="*/ 14691 h 2084191"/>
              <a:gd name="connsiteX1405" fmla="*/ 1691885 w 2051041"/>
              <a:gd name="connsiteY1405" fmla="*/ 69652 h 2084191"/>
              <a:gd name="connsiteX1406" fmla="*/ 1684469 w 2051041"/>
              <a:gd name="connsiteY1406" fmla="*/ 82365 h 2084191"/>
              <a:gd name="connsiteX1407" fmla="*/ 1663044 w 2051041"/>
              <a:gd name="connsiteY1407" fmla="*/ 94684 h 2084191"/>
              <a:gd name="connsiteX1408" fmla="*/ 1626584 w 2051041"/>
              <a:gd name="connsiteY1408" fmla="*/ 96861 h 2084191"/>
              <a:gd name="connsiteX1409" fmla="*/ 1590124 w 2051041"/>
              <a:gd name="connsiteY1409" fmla="*/ 60401 h 2084191"/>
              <a:gd name="connsiteX1410" fmla="*/ 1591757 w 2051041"/>
              <a:gd name="connsiteY1410" fmla="*/ 25030 h 2084191"/>
              <a:gd name="connsiteX1411" fmla="*/ 1460066 w 2051041"/>
              <a:gd name="connsiteY1411" fmla="*/ 0 h 2084191"/>
              <a:gd name="connsiteX1412" fmla="*/ 1498513 w 2051041"/>
              <a:gd name="connsiteY1412" fmla="*/ 0 h 2084191"/>
              <a:gd name="connsiteX1413" fmla="*/ 1517204 w 2051041"/>
              <a:gd name="connsiteY1413" fmla="*/ 8092 h 2084191"/>
              <a:gd name="connsiteX1414" fmla="*/ 1531896 w 2051041"/>
              <a:gd name="connsiteY1414" fmla="*/ 45164 h 2084191"/>
              <a:gd name="connsiteX1415" fmla="*/ 1479111 w 2051041"/>
              <a:gd name="connsiteY1415" fmla="*/ 97949 h 2084191"/>
              <a:gd name="connsiteX1416" fmla="*/ 1426870 w 2051041"/>
              <a:gd name="connsiteY1416" fmla="*/ 45164 h 2084191"/>
              <a:gd name="connsiteX1417" fmla="*/ 1441631 w 2051041"/>
              <a:gd name="connsiteY1417" fmla="*/ 7684 h 2084191"/>
              <a:gd name="connsiteX1418" fmla="*/ 1296749 w 2051041"/>
              <a:gd name="connsiteY1418" fmla="*/ 0 h 2084191"/>
              <a:gd name="connsiteX1419" fmla="*/ 1335755 w 2051041"/>
              <a:gd name="connsiteY1419" fmla="*/ 0 h 2084191"/>
              <a:gd name="connsiteX1420" fmla="*/ 1350278 w 2051041"/>
              <a:gd name="connsiteY1420" fmla="*/ 10270 h 2084191"/>
              <a:gd name="connsiteX1421" fmla="*/ 1365923 w 2051041"/>
              <a:gd name="connsiteY1421" fmla="*/ 45165 h 2084191"/>
              <a:gd name="connsiteX1422" fmla="*/ 1315315 w 2051041"/>
              <a:gd name="connsiteY1422" fmla="*/ 93052 h 2084191"/>
              <a:gd name="connsiteX1423" fmla="*/ 1266339 w 2051041"/>
              <a:gd name="connsiteY1423" fmla="*/ 44076 h 2084191"/>
              <a:gd name="connsiteX1424" fmla="*/ 1282732 w 2051041"/>
              <a:gd name="connsiteY1424" fmla="*/ 9317 h 2084191"/>
              <a:gd name="connsiteX1425" fmla="*/ 1148085 w 2051041"/>
              <a:gd name="connsiteY1425" fmla="*/ 0 h 2084191"/>
              <a:gd name="connsiteX1426" fmla="*/ 1161802 w 2051041"/>
              <a:gd name="connsiteY1426" fmla="*/ 0 h 2084191"/>
              <a:gd name="connsiteX1427" fmla="*/ 1169637 w 2051041"/>
              <a:gd name="connsiteY1427" fmla="*/ 1315 h 2084191"/>
              <a:gd name="connsiteX1428" fmla="*/ 1199405 w 2051041"/>
              <a:gd name="connsiteY1428" fmla="*/ 45164 h 2084191"/>
              <a:gd name="connsiteX1429" fmla="*/ 1151518 w 2051041"/>
              <a:gd name="connsiteY1429" fmla="*/ 91419 h 2084191"/>
              <a:gd name="connsiteX1430" fmla="*/ 1105807 w 2051041"/>
              <a:gd name="connsiteY1430" fmla="*/ 44620 h 2084191"/>
              <a:gd name="connsiteX1431" fmla="*/ 1119139 w 2051041"/>
              <a:gd name="connsiteY1431" fmla="*/ 11902 h 20841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Lst>
            <a:rect l="l" t="t" r="r" b="b"/>
            <a:pathLst>
              <a:path w="2051041" h="2084191">
                <a:moveTo>
                  <a:pt x="2051041" y="2080382"/>
                </a:moveTo>
                <a:lnTo>
                  <a:pt x="2051041" y="2083967"/>
                </a:lnTo>
                <a:lnTo>
                  <a:pt x="2047231" y="2084191"/>
                </a:lnTo>
                <a:cubicBezTo>
                  <a:pt x="2046687" y="2084191"/>
                  <a:pt x="2046143" y="2082559"/>
                  <a:pt x="2045599" y="2081470"/>
                </a:cubicBezTo>
                <a:close/>
                <a:moveTo>
                  <a:pt x="1478568" y="1997668"/>
                </a:moveTo>
                <a:cubicBezTo>
                  <a:pt x="1484010" y="1997668"/>
                  <a:pt x="1485642" y="2000933"/>
                  <a:pt x="1484554" y="2004743"/>
                </a:cubicBezTo>
                <a:cubicBezTo>
                  <a:pt x="1484010" y="2006919"/>
                  <a:pt x="1480745" y="2008551"/>
                  <a:pt x="1478568" y="2009096"/>
                </a:cubicBezTo>
                <a:cubicBezTo>
                  <a:pt x="1474759" y="2009640"/>
                  <a:pt x="1473126" y="2007463"/>
                  <a:pt x="1473126" y="2003654"/>
                </a:cubicBezTo>
                <a:cubicBezTo>
                  <a:pt x="1473126" y="1998756"/>
                  <a:pt x="1475303" y="1997124"/>
                  <a:pt x="1478568" y="1997668"/>
                </a:cubicBezTo>
                <a:close/>
                <a:moveTo>
                  <a:pt x="1641820" y="1993859"/>
                </a:moveTo>
                <a:cubicBezTo>
                  <a:pt x="1646718" y="1993314"/>
                  <a:pt x="1652160" y="1999300"/>
                  <a:pt x="1652160" y="2003654"/>
                </a:cubicBezTo>
                <a:cubicBezTo>
                  <a:pt x="1652160" y="2008551"/>
                  <a:pt x="1646718" y="2013449"/>
                  <a:pt x="1641820" y="2013449"/>
                </a:cubicBezTo>
                <a:cubicBezTo>
                  <a:pt x="1636923" y="2013449"/>
                  <a:pt x="1632025" y="2008007"/>
                  <a:pt x="1632025" y="2003654"/>
                </a:cubicBezTo>
                <a:cubicBezTo>
                  <a:pt x="1632025" y="1999300"/>
                  <a:pt x="1638011" y="1993859"/>
                  <a:pt x="1641820" y="1993859"/>
                </a:cubicBezTo>
                <a:close/>
                <a:moveTo>
                  <a:pt x="1969414" y="1992226"/>
                </a:moveTo>
                <a:cubicBezTo>
                  <a:pt x="1976488" y="1992226"/>
                  <a:pt x="1979753" y="1996035"/>
                  <a:pt x="1979753" y="2003654"/>
                </a:cubicBezTo>
                <a:cubicBezTo>
                  <a:pt x="1979753" y="2011272"/>
                  <a:pt x="1975944" y="2014537"/>
                  <a:pt x="1968325" y="2014537"/>
                </a:cubicBezTo>
                <a:cubicBezTo>
                  <a:pt x="1960707" y="2014537"/>
                  <a:pt x="1957442" y="2010728"/>
                  <a:pt x="1957986" y="2003110"/>
                </a:cubicBezTo>
                <a:cubicBezTo>
                  <a:pt x="1957986" y="1994947"/>
                  <a:pt x="1961251" y="1992226"/>
                  <a:pt x="1969414" y="1992226"/>
                </a:cubicBezTo>
                <a:close/>
                <a:moveTo>
                  <a:pt x="1805073" y="1992226"/>
                </a:moveTo>
                <a:cubicBezTo>
                  <a:pt x="1811058" y="1992226"/>
                  <a:pt x="1815956" y="1996035"/>
                  <a:pt x="1815956" y="2002565"/>
                </a:cubicBezTo>
                <a:cubicBezTo>
                  <a:pt x="1816500" y="2009096"/>
                  <a:pt x="1812147" y="2014537"/>
                  <a:pt x="1805073" y="2014537"/>
                </a:cubicBezTo>
                <a:cubicBezTo>
                  <a:pt x="1799087" y="2014537"/>
                  <a:pt x="1794189" y="2010184"/>
                  <a:pt x="1794189" y="2004198"/>
                </a:cubicBezTo>
                <a:cubicBezTo>
                  <a:pt x="1794189" y="1997668"/>
                  <a:pt x="1799087" y="1992770"/>
                  <a:pt x="1805073" y="1992226"/>
                </a:cubicBezTo>
                <a:close/>
                <a:moveTo>
                  <a:pt x="1234233" y="1916042"/>
                </a:moveTo>
                <a:cubicBezTo>
                  <a:pt x="1238586" y="1915497"/>
                  <a:pt x="1240763" y="1917674"/>
                  <a:pt x="1240219" y="1923660"/>
                </a:cubicBezTo>
                <a:cubicBezTo>
                  <a:pt x="1239674" y="1924204"/>
                  <a:pt x="1237498" y="1926381"/>
                  <a:pt x="1236953" y="1926381"/>
                </a:cubicBezTo>
                <a:cubicBezTo>
                  <a:pt x="1234233" y="1924204"/>
                  <a:pt x="1231512" y="1921483"/>
                  <a:pt x="1229335" y="1918762"/>
                </a:cubicBezTo>
                <a:cubicBezTo>
                  <a:pt x="1230968" y="1917674"/>
                  <a:pt x="1232600" y="1916586"/>
                  <a:pt x="1234233" y="1916042"/>
                </a:cubicBezTo>
                <a:close/>
                <a:moveTo>
                  <a:pt x="1397486" y="1911144"/>
                </a:moveTo>
                <a:cubicBezTo>
                  <a:pt x="1402927" y="1911144"/>
                  <a:pt x="1408369" y="1916041"/>
                  <a:pt x="1408369" y="1921483"/>
                </a:cubicBezTo>
                <a:cubicBezTo>
                  <a:pt x="1408369" y="1926925"/>
                  <a:pt x="1404016" y="1931279"/>
                  <a:pt x="1399118" y="1931823"/>
                </a:cubicBezTo>
                <a:cubicBezTo>
                  <a:pt x="1392588" y="1932367"/>
                  <a:pt x="1387146" y="1928013"/>
                  <a:pt x="1387146" y="1922028"/>
                </a:cubicBezTo>
                <a:cubicBezTo>
                  <a:pt x="1386602" y="1916586"/>
                  <a:pt x="1391500" y="1911144"/>
                  <a:pt x="1397486" y="1911144"/>
                </a:cubicBezTo>
                <a:close/>
                <a:moveTo>
                  <a:pt x="1560194" y="1906790"/>
                </a:moveTo>
                <a:cubicBezTo>
                  <a:pt x="1566180" y="1906790"/>
                  <a:pt x="1574342" y="1914953"/>
                  <a:pt x="1574342" y="1921482"/>
                </a:cubicBezTo>
                <a:cubicBezTo>
                  <a:pt x="1574342" y="1928013"/>
                  <a:pt x="1566724" y="1936175"/>
                  <a:pt x="1560738" y="1935631"/>
                </a:cubicBezTo>
                <a:cubicBezTo>
                  <a:pt x="1554752" y="1935631"/>
                  <a:pt x="1547678" y="1928557"/>
                  <a:pt x="1547134" y="1922027"/>
                </a:cubicBezTo>
                <a:cubicBezTo>
                  <a:pt x="1546589" y="1915497"/>
                  <a:pt x="1554208" y="1907334"/>
                  <a:pt x="1560194" y="1906790"/>
                </a:cubicBezTo>
                <a:close/>
                <a:moveTo>
                  <a:pt x="2049952" y="1905702"/>
                </a:moveTo>
                <a:lnTo>
                  <a:pt x="2051041" y="1906027"/>
                </a:lnTo>
                <a:lnTo>
                  <a:pt x="2051041" y="1938133"/>
                </a:lnTo>
                <a:lnTo>
                  <a:pt x="2050496" y="1938353"/>
                </a:lnTo>
                <a:cubicBezTo>
                  <a:pt x="2039613" y="1937808"/>
                  <a:pt x="2034715" y="1933455"/>
                  <a:pt x="2034171" y="1922572"/>
                </a:cubicBezTo>
                <a:cubicBezTo>
                  <a:pt x="2034171" y="1911144"/>
                  <a:pt x="2039069" y="1905702"/>
                  <a:pt x="2049952" y="1905702"/>
                </a:cubicBezTo>
                <a:close/>
                <a:moveTo>
                  <a:pt x="1723447" y="1905702"/>
                </a:moveTo>
                <a:cubicBezTo>
                  <a:pt x="1730521" y="1905702"/>
                  <a:pt x="1739772" y="1914409"/>
                  <a:pt x="1739772" y="1920939"/>
                </a:cubicBezTo>
                <a:cubicBezTo>
                  <a:pt x="1740316" y="1929101"/>
                  <a:pt x="1732698" y="1936720"/>
                  <a:pt x="1724535" y="1937264"/>
                </a:cubicBezTo>
                <a:cubicBezTo>
                  <a:pt x="1716373" y="1937264"/>
                  <a:pt x="1708754" y="1930190"/>
                  <a:pt x="1708210" y="1922027"/>
                </a:cubicBezTo>
                <a:cubicBezTo>
                  <a:pt x="1708210" y="1914953"/>
                  <a:pt x="1716373" y="1905702"/>
                  <a:pt x="1723447" y="1905702"/>
                </a:cubicBezTo>
                <a:close/>
                <a:moveTo>
                  <a:pt x="1887787" y="1905158"/>
                </a:moveTo>
                <a:cubicBezTo>
                  <a:pt x="1898671" y="1905158"/>
                  <a:pt x="1904113" y="1911144"/>
                  <a:pt x="1904113" y="1922028"/>
                </a:cubicBezTo>
                <a:cubicBezTo>
                  <a:pt x="1904113" y="1932367"/>
                  <a:pt x="1898127" y="1937809"/>
                  <a:pt x="1886699" y="1937809"/>
                </a:cubicBezTo>
                <a:cubicBezTo>
                  <a:pt x="1876360" y="1937809"/>
                  <a:pt x="1870918" y="1931823"/>
                  <a:pt x="1870918" y="1921483"/>
                </a:cubicBezTo>
                <a:cubicBezTo>
                  <a:pt x="1870918" y="1910600"/>
                  <a:pt x="1876904" y="1904614"/>
                  <a:pt x="1887787" y="1905158"/>
                </a:cubicBezTo>
                <a:close/>
                <a:moveTo>
                  <a:pt x="1152606" y="1831693"/>
                </a:moveTo>
                <a:cubicBezTo>
                  <a:pt x="1155871" y="1832782"/>
                  <a:pt x="1160769" y="1836591"/>
                  <a:pt x="1161313" y="1839312"/>
                </a:cubicBezTo>
                <a:cubicBezTo>
                  <a:pt x="1160769" y="1843121"/>
                  <a:pt x="1156959" y="1846931"/>
                  <a:pt x="1153694" y="1852916"/>
                </a:cubicBezTo>
                <a:cubicBezTo>
                  <a:pt x="1149341" y="1847475"/>
                  <a:pt x="1146076" y="1844754"/>
                  <a:pt x="1144988" y="1841489"/>
                </a:cubicBezTo>
                <a:cubicBezTo>
                  <a:pt x="1143355" y="1837135"/>
                  <a:pt x="1148797" y="1830605"/>
                  <a:pt x="1152606" y="1831693"/>
                </a:cubicBezTo>
                <a:close/>
                <a:moveTo>
                  <a:pt x="1315315" y="1825708"/>
                </a:moveTo>
                <a:cubicBezTo>
                  <a:pt x="1321301" y="1825164"/>
                  <a:pt x="1331096" y="1834415"/>
                  <a:pt x="1330552" y="1840401"/>
                </a:cubicBezTo>
                <a:cubicBezTo>
                  <a:pt x="1330552" y="1845298"/>
                  <a:pt x="1321301" y="1854549"/>
                  <a:pt x="1316404" y="1854549"/>
                </a:cubicBezTo>
                <a:cubicBezTo>
                  <a:pt x="1310962" y="1855094"/>
                  <a:pt x="1302255" y="1846387"/>
                  <a:pt x="1301711" y="1840945"/>
                </a:cubicBezTo>
                <a:cubicBezTo>
                  <a:pt x="1301167" y="1834959"/>
                  <a:pt x="1309329" y="1826252"/>
                  <a:pt x="1315315" y="1825708"/>
                </a:cubicBezTo>
                <a:close/>
                <a:moveTo>
                  <a:pt x="1479656" y="1822987"/>
                </a:moveTo>
                <a:cubicBezTo>
                  <a:pt x="1489995" y="1823531"/>
                  <a:pt x="1495981" y="1830061"/>
                  <a:pt x="1495981" y="1840401"/>
                </a:cubicBezTo>
                <a:cubicBezTo>
                  <a:pt x="1495981" y="1851284"/>
                  <a:pt x="1490539" y="1856726"/>
                  <a:pt x="1478567" y="1856182"/>
                </a:cubicBezTo>
                <a:cubicBezTo>
                  <a:pt x="1467140" y="1856182"/>
                  <a:pt x="1462242" y="1850740"/>
                  <a:pt x="1462242" y="1839312"/>
                </a:cubicBezTo>
                <a:cubicBezTo>
                  <a:pt x="1462242" y="1828429"/>
                  <a:pt x="1468772" y="1822443"/>
                  <a:pt x="1479656" y="1822987"/>
                </a:cubicBezTo>
                <a:close/>
                <a:moveTo>
                  <a:pt x="1642365" y="1821355"/>
                </a:moveTo>
                <a:cubicBezTo>
                  <a:pt x="1653248" y="1821355"/>
                  <a:pt x="1661955" y="1829518"/>
                  <a:pt x="1660867" y="1840401"/>
                </a:cubicBezTo>
                <a:cubicBezTo>
                  <a:pt x="1659778" y="1853461"/>
                  <a:pt x="1653792" y="1857270"/>
                  <a:pt x="1642365" y="1857270"/>
                </a:cubicBezTo>
                <a:cubicBezTo>
                  <a:pt x="1630937" y="1857270"/>
                  <a:pt x="1624407" y="1850740"/>
                  <a:pt x="1624407" y="1839857"/>
                </a:cubicBezTo>
                <a:cubicBezTo>
                  <a:pt x="1624407" y="1828973"/>
                  <a:pt x="1632025" y="1821355"/>
                  <a:pt x="1642365" y="1821355"/>
                </a:cubicBezTo>
                <a:close/>
                <a:moveTo>
                  <a:pt x="1806162" y="1819723"/>
                </a:moveTo>
                <a:cubicBezTo>
                  <a:pt x="1816501" y="1819723"/>
                  <a:pt x="1827385" y="1831150"/>
                  <a:pt x="1826840" y="1840945"/>
                </a:cubicBezTo>
                <a:cubicBezTo>
                  <a:pt x="1826296" y="1850740"/>
                  <a:pt x="1813780" y="1862168"/>
                  <a:pt x="1804529" y="1861080"/>
                </a:cubicBezTo>
                <a:cubicBezTo>
                  <a:pt x="1795278" y="1860536"/>
                  <a:pt x="1783851" y="1847476"/>
                  <a:pt x="1784395" y="1839313"/>
                </a:cubicBezTo>
                <a:cubicBezTo>
                  <a:pt x="1784939" y="1828973"/>
                  <a:pt x="1796367" y="1819178"/>
                  <a:pt x="1806162" y="1819723"/>
                </a:cubicBezTo>
                <a:close/>
                <a:moveTo>
                  <a:pt x="1968870" y="1819178"/>
                </a:moveTo>
                <a:cubicBezTo>
                  <a:pt x="1980298" y="1819178"/>
                  <a:pt x="1990093" y="1828973"/>
                  <a:pt x="1990093" y="1840401"/>
                </a:cubicBezTo>
                <a:cubicBezTo>
                  <a:pt x="1990093" y="1851285"/>
                  <a:pt x="1980298" y="1861624"/>
                  <a:pt x="1968870" y="1861624"/>
                </a:cubicBezTo>
                <a:cubicBezTo>
                  <a:pt x="1957986" y="1861624"/>
                  <a:pt x="1947647" y="1851285"/>
                  <a:pt x="1947647" y="1840401"/>
                </a:cubicBezTo>
                <a:cubicBezTo>
                  <a:pt x="1947647" y="1828973"/>
                  <a:pt x="1957986" y="1819178"/>
                  <a:pt x="1968870" y="1819178"/>
                </a:cubicBezTo>
                <a:close/>
                <a:moveTo>
                  <a:pt x="1070436" y="1747347"/>
                </a:moveTo>
                <a:cubicBezTo>
                  <a:pt x="1078598" y="1747347"/>
                  <a:pt x="1081863" y="1750612"/>
                  <a:pt x="1081863" y="1758231"/>
                </a:cubicBezTo>
                <a:cubicBezTo>
                  <a:pt x="1081863" y="1766393"/>
                  <a:pt x="1078598" y="1769658"/>
                  <a:pt x="1070980" y="1769658"/>
                </a:cubicBezTo>
                <a:cubicBezTo>
                  <a:pt x="1063361" y="1769658"/>
                  <a:pt x="1060096" y="1766393"/>
                  <a:pt x="1059552" y="1758775"/>
                </a:cubicBezTo>
                <a:cubicBezTo>
                  <a:pt x="1059552" y="1751156"/>
                  <a:pt x="1062817" y="1747347"/>
                  <a:pt x="1070436" y="1747347"/>
                </a:cubicBezTo>
                <a:close/>
                <a:moveTo>
                  <a:pt x="1233688" y="1742449"/>
                </a:moveTo>
                <a:cubicBezTo>
                  <a:pt x="1242939" y="1741904"/>
                  <a:pt x="1250558" y="1750067"/>
                  <a:pt x="1250558" y="1758774"/>
                </a:cubicBezTo>
                <a:cubicBezTo>
                  <a:pt x="1250558" y="1767481"/>
                  <a:pt x="1242939" y="1775099"/>
                  <a:pt x="1233688" y="1775099"/>
                </a:cubicBezTo>
                <a:cubicBezTo>
                  <a:pt x="1224981" y="1775099"/>
                  <a:pt x="1218451" y="1768025"/>
                  <a:pt x="1217907" y="1759318"/>
                </a:cubicBezTo>
                <a:cubicBezTo>
                  <a:pt x="1217907" y="1750067"/>
                  <a:pt x="1224981" y="1742449"/>
                  <a:pt x="1233688" y="1742449"/>
                </a:cubicBezTo>
                <a:close/>
                <a:moveTo>
                  <a:pt x="1399662" y="1739728"/>
                </a:moveTo>
                <a:cubicBezTo>
                  <a:pt x="1410002" y="1740817"/>
                  <a:pt x="1418164" y="1750068"/>
                  <a:pt x="1417076" y="1760407"/>
                </a:cubicBezTo>
                <a:cubicBezTo>
                  <a:pt x="1415988" y="1769114"/>
                  <a:pt x="1404560" y="1779997"/>
                  <a:pt x="1396941" y="1779453"/>
                </a:cubicBezTo>
                <a:cubicBezTo>
                  <a:pt x="1388779" y="1778909"/>
                  <a:pt x="1376807" y="1765305"/>
                  <a:pt x="1377895" y="1757686"/>
                </a:cubicBezTo>
                <a:cubicBezTo>
                  <a:pt x="1379528" y="1746803"/>
                  <a:pt x="1389867" y="1738640"/>
                  <a:pt x="1399662" y="1739728"/>
                </a:cubicBezTo>
                <a:close/>
                <a:moveTo>
                  <a:pt x="1723991" y="1735919"/>
                </a:moveTo>
                <a:cubicBezTo>
                  <a:pt x="1738140" y="1735919"/>
                  <a:pt x="1746847" y="1744626"/>
                  <a:pt x="1746847" y="1758774"/>
                </a:cubicBezTo>
                <a:cubicBezTo>
                  <a:pt x="1746847" y="1772379"/>
                  <a:pt x="1738140" y="1781086"/>
                  <a:pt x="1723991" y="1781086"/>
                </a:cubicBezTo>
                <a:cubicBezTo>
                  <a:pt x="1709299" y="1781086"/>
                  <a:pt x="1701680" y="1773467"/>
                  <a:pt x="1701680" y="1758774"/>
                </a:cubicBezTo>
                <a:cubicBezTo>
                  <a:pt x="1701680" y="1744626"/>
                  <a:pt x="1709843" y="1735919"/>
                  <a:pt x="1723991" y="1735919"/>
                </a:cubicBezTo>
                <a:close/>
                <a:moveTo>
                  <a:pt x="1560194" y="1735919"/>
                </a:moveTo>
                <a:cubicBezTo>
                  <a:pt x="1572710" y="1736463"/>
                  <a:pt x="1582505" y="1746258"/>
                  <a:pt x="1582505" y="1758230"/>
                </a:cubicBezTo>
                <a:cubicBezTo>
                  <a:pt x="1582505" y="1770202"/>
                  <a:pt x="1572710" y="1779997"/>
                  <a:pt x="1560738" y="1779997"/>
                </a:cubicBezTo>
                <a:cubicBezTo>
                  <a:pt x="1549855" y="1779997"/>
                  <a:pt x="1538427" y="1769114"/>
                  <a:pt x="1538427" y="1758230"/>
                </a:cubicBezTo>
                <a:cubicBezTo>
                  <a:pt x="1538427" y="1746803"/>
                  <a:pt x="1548766" y="1735919"/>
                  <a:pt x="1560194" y="1735919"/>
                </a:cubicBezTo>
                <a:close/>
                <a:moveTo>
                  <a:pt x="2051041" y="1734831"/>
                </a:moveTo>
                <a:lnTo>
                  <a:pt x="2051041" y="1781438"/>
                </a:lnTo>
                <a:lnTo>
                  <a:pt x="2050496" y="1781630"/>
                </a:lnTo>
                <a:cubicBezTo>
                  <a:pt x="2033627" y="1782174"/>
                  <a:pt x="2027097" y="1772379"/>
                  <a:pt x="2027097" y="1758775"/>
                </a:cubicBezTo>
                <a:cubicBezTo>
                  <a:pt x="2027097" y="1744082"/>
                  <a:pt x="2033627" y="1734831"/>
                  <a:pt x="2051041" y="1734831"/>
                </a:cubicBezTo>
                <a:close/>
                <a:moveTo>
                  <a:pt x="1887788" y="1734831"/>
                </a:moveTo>
                <a:cubicBezTo>
                  <a:pt x="1902481" y="1735375"/>
                  <a:pt x="1910099" y="1742994"/>
                  <a:pt x="1910099" y="1758775"/>
                </a:cubicBezTo>
                <a:cubicBezTo>
                  <a:pt x="1910099" y="1771835"/>
                  <a:pt x="1903025" y="1782718"/>
                  <a:pt x="1886699" y="1781086"/>
                </a:cubicBezTo>
                <a:cubicBezTo>
                  <a:pt x="1872551" y="1782174"/>
                  <a:pt x="1863844" y="1770203"/>
                  <a:pt x="1863844" y="1757687"/>
                </a:cubicBezTo>
                <a:cubicBezTo>
                  <a:pt x="1863844" y="1742994"/>
                  <a:pt x="1874728" y="1734287"/>
                  <a:pt x="1887788" y="1734831"/>
                </a:cubicBezTo>
                <a:close/>
                <a:moveTo>
                  <a:pt x="826100" y="1671706"/>
                </a:moveTo>
                <a:cubicBezTo>
                  <a:pt x="830454" y="1670618"/>
                  <a:pt x="832086" y="1673338"/>
                  <a:pt x="832086" y="1677692"/>
                </a:cubicBezTo>
                <a:cubicBezTo>
                  <a:pt x="832086" y="1681501"/>
                  <a:pt x="829365" y="1683134"/>
                  <a:pt x="825556" y="1683134"/>
                </a:cubicBezTo>
                <a:cubicBezTo>
                  <a:pt x="821203" y="1683134"/>
                  <a:pt x="819570" y="1679869"/>
                  <a:pt x="820658" y="1676603"/>
                </a:cubicBezTo>
                <a:cubicBezTo>
                  <a:pt x="821203" y="1674427"/>
                  <a:pt x="823924" y="1672250"/>
                  <a:pt x="826100" y="1671706"/>
                </a:cubicBezTo>
                <a:close/>
                <a:moveTo>
                  <a:pt x="989354" y="1661912"/>
                </a:moveTo>
                <a:cubicBezTo>
                  <a:pt x="994251" y="1661912"/>
                  <a:pt x="1004046" y="1671707"/>
                  <a:pt x="1004046" y="1676604"/>
                </a:cubicBezTo>
                <a:cubicBezTo>
                  <a:pt x="1004046" y="1682590"/>
                  <a:pt x="996428" y="1690209"/>
                  <a:pt x="989354" y="1690209"/>
                </a:cubicBezTo>
                <a:cubicBezTo>
                  <a:pt x="982823" y="1690209"/>
                  <a:pt x="975749" y="1683679"/>
                  <a:pt x="975205" y="1677693"/>
                </a:cubicBezTo>
                <a:cubicBezTo>
                  <a:pt x="974661" y="1671707"/>
                  <a:pt x="983912" y="1661367"/>
                  <a:pt x="989354" y="1661912"/>
                </a:cubicBezTo>
                <a:close/>
                <a:moveTo>
                  <a:pt x="1153151" y="1659734"/>
                </a:moveTo>
                <a:cubicBezTo>
                  <a:pt x="1162946" y="1658646"/>
                  <a:pt x="1171108" y="1667353"/>
                  <a:pt x="1170564" y="1677692"/>
                </a:cubicBezTo>
                <a:cubicBezTo>
                  <a:pt x="1170020" y="1688575"/>
                  <a:pt x="1162946" y="1694562"/>
                  <a:pt x="1152062" y="1694562"/>
                </a:cubicBezTo>
                <a:cubicBezTo>
                  <a:pt x="1141179" y="1694017"/>
                  <a:pt x="1135737" y="1688031"/>
                  <a:pt x="1135737" y="1677148"/>
                </a:cubicBezTo>
                <a:cubicBezTo>
                  <a:pt x="1135737" y="1664632"/>
                  <a:pt x="1141179" y="1659190"/>
                  <a:pt x="1153151" y="1659734"/>
                </a:cubicBezTo>
                <a:close/>
                <a:moveTo>
                  <a:pt x="1315315" y="1655381"/>
                </a:moveTo>
                <a:cubicBezTo>
                  <a:pt x="1327287" y="1654836"/>
                  <a:pt x="1337082" y="1664088"/>
                  <a:pt x="1337082" y="1676603"/>
                </a:cubicBezTo>
                <a:cubicBezTo>
                  <a:pt x="1337082" y="1688575"/>
                  <a:pt x="1326743" y="1698915"/>
                  <a:pt x="1315315" y="1698915"/>
                </a:cubicBezTo>
                <a:cubicBezTo>
                  <a:pt x="1304976" y="1698915"/>
                  <a:pt x="1294092" y="1687487"/>
                  <a:pt x="1294092" y="1677148"/>
                </a:cubicBezTo>
                <a:cubicBezTo>
                  <a:pt x="1294092" y="1666264"/>
                  <a:pt x="1304431" y="1655925"/>
                  <a:pt x="1315315" y="1655381"/>
                </a:cubicBezTo>
                <a:close/>
                <a:moveTo>
                  <a:pt x="1479111" y="1654293"/>
                </a:moveTo>
                <a:cubicBezTo>
                  <a:pt x="1495437" y="1653204"/>
                  <a:pt x="1501967" y="1664632"/>
                  <a:pt x="1501967" y="1677692"/>
                </a:cubicBezTo>
                <a:cubicBezTo>
                  <a:pt x="1501967" y="1689664"/>
                  <a:pt x="1492716" y="1700548"/>
                  <a:pt x="1479111" y="1700548"/>
                </a:cubicBezTo>
                <a:cubicBezTo>
                  <a:pt x="1466596" y="1700548"/>
                  <a:pt x="1455712" y="1690208"/>
                  <a:pt x="1455712" y="1676604"/>
                </a:cubicBezTo>
                <a:cubicBezTo>
                  <a:pt x="1456256" y="1663544"/>
                  <a:pt x="1464963" y="1653204"/>
                  <a:pt x="1479111" y="1654293"/>
                </a:cubicBezTo>
                <a:close/>
                <a:moveTo>
                  <a:pt x="1643452" y="1650483"/>
                </a:moveTo>
                <a:cubicBezTo>
                  <a:pt x="1654880" y="1651027"/>
                  <a:pt x="1667940" y="1664087"/>
                  <a:pt x="1668484" y="1676603"/>
                </a:cubicBezTo>
                <a:cubicBezTo>
                  <a:pt x="1669029" y="1689120"/>
                  <a:pt x="1655968" y="1702724"/>
                  <a:pt x="1643452" y="1703268"/>
                </a:cubicBezTo>
                <a:cubicBezTo>
                  <a:pt x="1631480" y="1703812"/>
                  <a:pt x="1617332" y="1690208"/>
                  <a:pt x="1617332" y="1677692"/>
                </a:cubicBezTo>
                <a:cubicBezTo>
                  <a:pt x="1616788" y="1664632"/>
                  <a:pt x="1630392" y="1650483"/>
                  <a:pt x="1643452" y="1650483"/>
                </a:cubicBezTo>
                <a:close/>
                <a:moveTo>
                  <a:pt x="1968326" y="1649940"/>
                </a:moveTo>
                <a:cubicBezTo>
                  <a:pt x="1983019" y="1649395"/>
                  <a:pt x="1997167" y="1664088"/>
                  <a:pt x="1995535" y="1676604"/>
                </a:cubicBezTo>
                <a:cubicBezTo>
                  <a:pt x="1997167" y="1689664"/>
                  <a:pt x="1982474" y="1704901"/>
                  <a:pt x="1968870" y="1704357"/>
                </a:cubicBezTo>
                <a:cubicBezTo>
                  <a:pt x="1954177" y="1703813"/>
                  <a:pt x="1942205" y="1691841"/>
                  <a:pt x="1941661" y="1677148"/>
                </a:cubicBezTo>
                <a:cubicBezTo>
                  <a:pt x="1941117" y="1662456"/>
                  <a:pt x="1956354" y="1649940"/>
                  <a:pt x="1968326" y="1649940"/>
                </a:cubicBezTo>
                <a:close/>
                <a:moveTo>
                  <a:pt x="1805617" y="1649939"/>
                </a:moveTo>
                <a:cubicBezTo>
                  <a:pt x="1819222" y="1648851"/>
                  <a:pt x="1832826" y="1664088"/>
                  <a:pt x="1832826" y="1677148"/>
                </a:cubicBezTo>
                <a:cubicBezTo>
                  <a:pt x="1832282" y="1690752"/>
                  <a:pt x="1819222" y="1703812"/>
                  <a:pt x="1805073" y="1704357"/>
                </a:cubicBezTo>
                <a:cubicBezTo>
                  <a:pt x="1792557" y="1704901"/>
                  <a:pt x="1777864" y="1688031"/>
                  <a:pt x="1778409" y="1677148"/>
                </a:cubicBezTo>
                <a:cubicBezTo>
                  <a:pt x="1779497" y="1662999"/>
                  <a:pt x="1791469" y="1649939"/>
                  <a:pt x="1805617" y="1649939"/>
                </a:cubicBezTo>
                <a:close/>
                <a:moveTo>
                  <a:pt x="744474" y="1588992"/>
                </a:moveTo>
                <a:cubicBezTo>
                  <a:pt x="748827" y="1588992"/>
                  <a:pt x="751004" y="1590624"/>
                  <a:pt x="751004" y="1594978"/>
                </a:cubicBezTo>
                <a:cubicBezTo>
                  <a:pt x="751004" y="1598787"/>
                  <a:pt x="749916" y="1601508"/>
                  <a:pt x="745562" y="1602052"/>
                </a:cubicBezTo>
                <a:cubicBezTo>
                  <a:pt x="740665" y="1602052"/>
                  <a:pt x="738488" y="1600420"/>
                  <a:pt x="738488" y="1594978"/>
                </a:cubicBezTo>
                <a:cubicBezTo>
                  <a:pt x="737944" y="1590624"/>
                  <a:pt x="740121" y="1588992"/>
                  <a:pt x="744474" y="1588992"/>
                </a:cubicBezTo>
                <a:close/>
                <a:moveTo>
                  <a:pt x="907183" y="1579741"/>
                </a:moveTo>
                <a:cubicBezTo>
                  <a:pt x="913169" y="1579197"/>
                  <a:pt x="923508" y="1588992"/>
                  <a:pt x="923508" y="1594978"/>
                </a:cubicBezTo>
                <a:cubicBezTo>
                  <a:pt x="923508" y="1600964"/>
                  <a:pt x="915345" y="1610215"/>
                  <a:pt x="908815" y="1610759"/>
                </a:cubicBezTo>
                <a:cubicBezTo>
                  <a:pt x="901197" y="1611303"/>
                  <a:pt x="892490" y="1603685"/>
                  <a:pt x="892490" y="1595522"/>
                </a:cubicBezTo>
                <a:cubicBezTo>
                  <a:pt x="892490" y="1588448"/>
                  <a:pt x="900653" y="1579741"/>
                  <a:pt x="907183" y="1579741"/>
                </a:cubicBezTo>
                <a:close/>
                <a:moveTo>
                  <a:pt x="1071524" y="1574843"/>
                </a:moveTo>
                <a:cubicBezTo>
                  <a:pt x="1081319" y="1575387"/>
                  <a:pt x="1091114" y="1585726"/>
                  <a:pt x="1091114" y="1595522"/>
                </a:cubicBezTo>
                <a:cubicBezTo>
                  <a:pt x="1091114" y="1605317"/>
                  <a:pt x="1080231" y="1615656"/>
                  <a:pt x="1070980" y="1615656"/>
                </a:cubicBezTo>
                <a:cubicBezTo>
                  <a:pt x="1062273" y="1615656"/>
                  <a:pt x="1050845" y="1604228"/>
                  <a:pt x="1050301" y="1595522"/>
                </a:cubicBezTo>
                <a:cubicBezTo>
                  <a:pt x="1050301" y="1586270"/>
                  <a:pt x="1062273" y="1574299"/>
                  <a:pt x="1071524" y="1574843"/>
                </a:cubicBezTo>
                <a:close/>
                <a:moveTo>
                  <a:pt x="1233688" y="1573210"/>
                </a:moveTo>
                <a:cubicBezTo>
                  <a:pt x="1247837" y="1573210"/>
                  <a:pt x="1256544" y="1581373"/>
                  <a:pt x="1256544" y="1595522"/>
                </a:cubicBezTo>
                <a:cubicBezTo>
                  <a:pt x="1256544" y="1609670"/>
                  <a:pt x="1247837" y="1618377"/>
                  <a:pt x="1233688" y="1618377"/>
                </a:cubicBezTo>
                <a:cubicBezTo>
                  <a:pt x="1221172" y="1618377"/>
                  <a:pt x="1212465" y="1608582"/>
                  <a:pt x="1211377" y="1596610"/>
                </a:cubicBezTo>
                <a:cubicBezTo>
                  <a:pt x="1210289" y="1584638"/>
                  <a:pt x="1222261" y="1571034"/>
                  <a:pt x="1233688" y="1573210"/>
                </a:cubicBezTo>
                <a:close/>
                <a:moveTo>
                  <a:pt x="1398030" y="1569402"/>
                </a:moveTo>
                <a:cubicBezTo>
                  <a:pt x="1411634" y="1569946"/>
                  <a:pt x="1423606" y="1582462"/>
                  <a:pt x="1423062" y="1595522"/>
                </a:cubicBezTo>
                <a:cubicBezTo>
                  <a:pt x="1423062" y="1608582"/>
                  <a:pt x="1410546" y="1621099"/>
                  <a:pt x="1397485" y="1621099"/>
                </a:cubicBezTo>
                <a:cubicBezTo>
                  <a:pt x="1384969" y="1621099"/>
                  <a:pt x="1371365" y="1608038"/>
                  <a:pt x="1371365" y="1595522"/>
                </a:cubicBezTo>
                <a:cubicBezTo>
                  <a:pt x="1371365" y="1582462"/>
                  <a:pt x="1384969" y="1568857"/>
                  <a:pt x="1398030" y="1569402"/>
                </a:cubicBezTo>
                <a:close/>
                <a:moveTo>
                  <a:pt x="1560194" y="1568313"/>
                </a:moveTo>
                <a:cubicBezTo>
                  <a:pt x="1574342" y="1566680"/>
                  <a:pt x="1587403" y="1581373"/>
                  <a:pt x="1587947" y="1594433"/>
                </a:cubicBezTo>
                <a:cubicBezTo>
                  <a:pt x="1588491" y="1608582"/>
                  <a:pt x="1574887" y="1622730"/>
                  <a:pt x="1560194" y="1622730"/>
                </a:cubicBezTo>
                <a:cubicBezTo>
                  <a:pt x="1547134" y="1622730"/>
                  <a:pt x="1532985" y="1608582"/>
                  <a:pt x="1532985" y="1594977"/>
                </a:cubicBezTo>
                <a:cubicBezTo>
                  <a:pt x="1532985" y="1581917"/>
                  <a:pt x="1547134" y="1566680"/>
                  <a:pt x="1560194" y="1568313"/>
                </a:cubicBezTo>
                <a:close/>
                <a:moveTo>
                  <a:pt x="1887244" y="1567225"/>
                </a:moveTo>
                <a:cubicBezTo>
                  <a:pt x="1905202" y="1567225"/>
                  <a:pt x="1915541" y="1578109"/>
                  <a:pt x="1915541" y="1594978"/>
                </a:cubicBezTo>
                <a:cubicBezTo>
                  <a:pt x="1915541" y="1612392"/>
                  <a:pt x="1903569" y="1624363"/>
                  <a:pt x="1886699" y="1623819"/>
                </a:cubicBezTo>
                <a:cubicBezTo>
                  <a:pt x="1872551" y="1623819"/>
                  <a:pt x="1857314" y="1613480"/>
                  <a:pt x="1858947" y="1594978"/>
                </a:cubicBezTo>
                <a:cubicBezTo>
                  <a:pt x="1857858" y="1577564"/>
                  <a:pt x="1870918" y="1567225"/>
                  <a:pt x="1887244" y="1567225"/>
                </a:cubicBezTo>
                <a:close/>
                <a:moveTo>
                  <a:pt x="1724535" y="1567225"/>
                </a:moveTo>
                <a:cubicBezTo>
                  <a:pt x="1743037" y="1567225"/>
                  <a:pt x="1752288" y="1581373"/>
                  <a:pt x="1752288" y="1594978"/>
                </a:cubicBezTo>
                <a:cubicBezTo>
                  <a:pt x="1752288" y="1609127"/>
                  <a:pt x="1741949" y="1623275"/>
                  <a:pt x="1724535" y="1623275"/>
                </a:cubicBezTo>
                <a:cubicBezTo>
                  <a:pt x="1710930" y="1623819"/>
                  <a:pt x="1694605" y="1613480"/>
                  <a:pt x="1696238" y="1594978"/>
                </a:cubicBezTo>
                <a:cubicBezTo>
                  <a:pt x="1694605" y="1577564"/>
                  <a:pt x="1708754" y="1567225"/>
                  <a:pt x="1724535" y="1567225"/>
                </a:cubicBezTo>
                <a:close/>
                <a:moveTo>
                  <a:pt x="2050496" y="1566680"/>
                </a:moveTo>
                <a:lnTo>
                  <a:pt x="2051041" y="1566888"/>
                </a:lnTo>
                <a:lnTo>
                  <a:pt x="2051041" y="1623794"/>
                </a:lnTo>
                <a:lnTo>
                  <a:pt x="2049408" y="1624363"/>
                </a:lnTo>
                <a:cubicBezTo>
                  <a:pt x="2033083" y="1623818"/>
                  <a:pt x="2021111" y="1611302"/>
                  <a:pt x="2021655" y="1594977"/>
                </a:cubicBezTo>
                <a:cubicBezTo>
                  <a:pt x="2022199" y="1575931"/>
                  <a:pt x="2033627" y="1567224"/>
                  <a:pt x="2050496" y="1566680"/>
                </a:cubicBezTo>
                <a:close/>
                <a:moveTo>
                  <a:pt x="663392" y="1505188"/>
                </a:moveTo>
                <a:cubicBezTo>
                  <a:pt x="666113" y="1505188"/>
                  <a:pt x="669922" y="1510086"/>
                  <a:pt x="674819" y="1513895"/>
                </a:cubicBezTo>
                <a:cubicBezTo>
                  <a:pt x="669378" y="1517704"/>
                  <a:pt x="665569" y="1522602"/>
                  <a:pt x="662848" y="1522058"/>
                </a:cubicBezTo>
                <a:cubicBezTo>
                  <a:pt x="659583" y="1521513"/>
                  <a:pt x="654685" y="1516072"/>
                  <a:pt x="654685" y="1513351"/>
                </a:cubicBezTo>
                <a:cubicBezTo>
                  <a:pt x="654685" y="1510086"/>
                  <a:pt x="660127" y="1505188"/>
                  <a:pt x="663392" y="1505188"/>
                </a:cubicBezTo>
                <a:close/>
                <a:moveTo>
                  <a:pt x="826101" y="1497570"/>
                </a:moveTo>
                <a:cubicBezTo>
                  <a:pt x="834263" y="1497025"/>
                  <a:pt x="842426" y="1505188"/>
                  <a:pt x="842970" y="1513351"/>
                </a:cubicBezTo>
                <a:cubicBezTo>
                  <a:pt x="842970" y="1522058"/>
                  <a:pt x="835352" y="1529676"/>
                  <a:pt x="826645" y="1529676"/>
                </a:cubicBezTo>
                <a:cubicBezTo>
                  <a:pt x="818482" y="1529676"/>
                  <a:pt x="810864" y="1523146"/>
                  <a:pt x="810319" y="1514983"/>
                </a:cubicBezTo>
                <a:cubicBezTo>
                  <a:pt x="809775" y="1506276"/>
                  <a:pt x="817394" y="1498114"/>
                  <a:pt x="826101" y="1497570"/>
                </a:cubicBezTo>
                <a:close/>
                <a:moveTo>
                  <a:pt x="988265" y="1492128"/>
                </a:moveTo>
                <a:cubicBezTo>
                  <a:pt x="998605" y="1492128"/>
                  <a:pt x="1010577" y="1501379"/>
                  <a:pt x="1010577" y="1513351"/>
                </a:cubicBezTo>
                <a:cubicBezTo>
                  <a:pt x="1010577" y="1524234"/>
                  <a:pt x="1000237" y="1534574"/>
                  <a:pt x="989354" y="1534574"/>
                </a:cubicBezTo>
                <a:cubicBezTo>
                  <a:pt x="979559" y="1534574"/>
                  <a:pt x="968675" y="1523690"/>
                  <a:pt x="968131" y="1513895"/>
                </a:cubicBezTo>
                <a:cubicBezTo>
                  <a:pt x="968131" y="1503556"/>
                  <a:pt x="977926" y="1492672"/>
                  <a:pt x="988265" y="1492128"/>
                </a:cubicBezTo>
                <a:close/>
                <a:moveTo>
                  <a:pt x="1152606" y="1490496"/>
                </a:moveTo>
                <a:cubicBezTo>
                  <a:pt x="1167299" y="1489407"/>
                  <a:pt x="1176006" y="1498658"/>
                  <a:pt x="1176006" y="1513351"/>
                </a:cubicBezTo>
                <a:cubicBezTo>
                  <a:pt x="1176006" y="1530764"/>
                  <a:pt x="1166755" y="1537295"/>
                  <a:pt x="1152606" y="1537839"/>
                </a:cubicBezTo>
                <a:cubicBezTo>
                  <a:pt x="1139546" y="1537839"/>
                  <a:pt x="1129207" y="1530764"/>
                  <a:pt x="1129207" y="1514984"/>
                </a:cubicBezTo>
                <a:cubicBezTo>
                  <a:pt x="1129207" y="1498114"/>
                  <a:pt x="1138458" y="1491040"/>
                  <a:pt x="1152606" y="1490496"/>
                </a:cubicBezTo>
                <a:close/>
                <a:moveTo>
                  <a:pt x="1316403" y="1487231"/>
                </a:moveTo>
                <a:cubicBezTo>
                  <a:pt x="1331095" y="1487775"/>
                  <a:pt x="1342523" y="1499203"/>
                  <a:pt x="1342523" y="1513896"/>
                </a:cubicBezTo>
                <a:cubicBezTo>
                  <a:pt x="1342523" y="1528588"/>
                  <a:pt x="1330551" y="1540560"/>
                  <a:pt x="1315314" y="1540560"/>
                </a:cubicBezTo>
                <a:cubicBezTo>
                  <a:pt x="1303887" y="1542193"/>
                  <a:pt x="1288106" y="1527500"/>
                  <a:pt x="1288650" y="1513896"/>
                </a:cubicBezTo>
                <a:cubicBezTo>
                  <a:pt x="1289194" y="1498659"/>
                  <a:pt x="1301166" y="1486687"/>
                  <a:pt x="1316403" y="1487231"/>
                </a:cubicBezTo>
                <a:close/>
                <a:moveTo>
                  <a:pt x="1479656" y="1485054"/>
                </a:moveTo>
                <a:cubicBezTo>
                  <a:pt x="1495437" y="1485598"/>
                  <a:pt x="1508497" y="1496482"/>
                  <a:pt x="1507409" y="1513895"/>
                </a:cubicBezTo>
                <a:cubicBezTo>
                  <a:pt x="1508497" y="1527500"/>
                  <a:pt x="1498158" y="1542192"/>
                  <a:pt x="1479112" y="1541648"/>
                </a:cubicBezTo>
                <a:cubicBezTo>
                  <a:pt x="1462787" y="1541648"/>
                  <a:pt x="1451359" y="1529676"/>
                  <a:pt x="1451359" y="1513351"/>
                </a:cubicBezTo>
                <a:cubicBezTo>
                  <a:pt x="1451359" y="1493761"/>
                  <a:pt x="1466596" y="1485054"/>
                  <a:pt x="1479656" y="1485054"/>
                </a:cubicBezTo>
                <a:close/>
                <a:moveTo>
                  <a:pt x="1641820" y="1482334"/>
                </a:moveTo>
                <a:cubicBezTo>
                  <a:pt x="1657057" y="1481789"/>
                  <a:pt x="1672838" y="1496482"/>
                  <a:pt x="1673382" y="1512807"/>
                </a:cubicBezTo>
                <a:cubicBezTo>
                  <a:pt x="1673927" y="1528044"/>
                  <a:pt x="1658145" y="1544370"/>
                  <a:pt x="1642909" y="1544370"/>
                </a:cubicBezTo>
                <a:cubicBezTo>
                  <a:pt x="1626039" y="1542193"/>
                  <a:pt x="1612979" y="1532942"/>
                  <a:pt x="1612435" y="1513351"/>
                </a:cubicBezTo>
                <a:cubicBezTo>
                  <a:pt x="1611890" y="1497571"/>
                  <a:pt x="1626583" y="1483422"/>
                  <a:pt x="1641820" y="1482334"/>
                </a:cubicBezTo>
                <a:close/>
                <a:moveTo>
                  <a:pt x="1804529" y="1481788"/>
                </a:moveTo>
                <a:cubicBezTo>
                  <a:pt x="1820855" y="1481244"/>
                  <a:pt x="1836091" y="1494304"/>
                  <a:pt x="1837180" y="1513351"/>
                </a:cubicBezTo>
                <a:cubicBezTo>
                  <a:pt x="1838812" y="1528043"/>
                  <a:pt x="1825208" y="1544913"/>
                  <a:pt x="1805617" y="1545457"/>
                </a:cubicBezTo>
                <a:cubicBezTo>
                  <a:pt x="1787660" y="1544913"/>
                  <a:pt x="1774055" y="1532397"/>
                  <a:pt x="1773511" y="1514983"/>
                </a:cubicBezTo>
                <a:cubicBezTo>
                  <a:pt x="1772967" y="1494849"/>
                  <a:pt x="1788204" y="1482333"/>
                  <a:pt x="1804529" y="1481788"/>
                </a:cubicBezTo>
                <a:close/>
                <a:moveTo>
                  <a:pt x="1968870" y="1480700"/>
                </a:moveTo>
                <a:cubicBezTo>
                  <a:pt x="1984651" y="1480700"/>
                  <a:pt x="2000977" y="1495937"/>
                  <a:pt x="2000977" y="1513351"/>
                </a:cubicBezTo>
                <a:cubicBezTo>
                  <a:pt x="2001521" y="1529132"/>
                  <a:pt x="1987916" y="1546001"/>
                  <a:pt x="1968870" y="1545457"/>
                </a:cubicBezTo>
                <a:cubicBezTo>
                  <a:pt x="1949824" y="1545457"/>
                  <a:pt x="1936764" y="1530764"/>
                  <a:pt x="1936764" y="1513351"/>
                </a:cubicBezTo>
                <a:cubicBezTo>
                  <a:pt x="1936764" y="1493760"/>
                  <a:pt x="1953633" y="1480700"/>
                  <a:pt x="1968870" y="1480700"/>
                </a:cubicBezTo>
                <a:close/>
                <a:moveTo>
                  <a:pt x="581221" y="1423562"/>
                </a:moveTo>
                <a:cubicBezTo>
                  <a:pt x="586663" y="1423562"/>
                  <a:pt x="589384" y="1427371"/>
                  <a:pt x="588840" y="1431725"/>
                </a:cubicBezTo>
                <a:cubicBezTo>
                  <a:pt x="588840" y="1434990"/>
                  <a:pt x="585030" y="1438255"/>
                  <a:pt x="581765" y="1443153"/>
                </a:cubicBezTo>
                <a:cubicBezTo>
                  <a:pt x="577412" y="1438255"/>
                  <a:pt x="574147" y="1436078"/>
                  <a:pt x="573059" y="1432813"/>
                </a:cubicBezTo>
                <a:cubicBezTo>
                  <a:pt x="571426" y="1429004"/>
                  <a:pt x="576868" y="1423562"/>
                  <a:pt x="581221" y="1423562"/>
                </a:cubicBezTo>
                <a:close/>
                <a:moveTo>
                  <a:pt x="745562" y="1414855"/>
                </a:moveTo>
                <a:cubicBezTo>
                  <a:pt x="754269" y="1415399"/>
                  <a:pt x="761344" y="1423018"/>
                  <a:pt x="761344" y="1432269"/>
                </a:cubicBezTo>
                <a:cubicBezTo>
                  <a:pt x="761344" y="1442064"/>
                  <a:pt x="754813" y="1448050"/>
                  <a:pt x="745018" y="1448050"/>
                </a:cubicBezTo>
                <a:cubicBezTo>
                  <a:pt x="734679" y="1448050"/>
                  <a:pt x="728693" y="1442064"/>
                  <a:pt x="728693" y="1431725"/>
                </a:cubicBezTo>
                <a:cubicBezTo>
                  <a:pt x="728693" y="1421386"/>
                  <a:pt x="735223" y="1414311"/>
                  <a:pt x="745562" y="1414855"/>
                </a:cubicBezTo>
                <a:close/>
                <a:moveTo>
                  <a:pt x="908815" y="1409958"/>
                </a:moveTo>
                <a:cubicBezTo>
                  <a:pt x="920243" y="1410502"/>
                  <a:pt x="930038" y="1420297"/>
                  <a:pt x="930038" y="1431725"/>
                </a:cubicBezTo>
                <a:cubicBezTo>
                  <a:pt x="929494" y="1443697"/>
                  <a:pt x="919155" y="1454036"/>
                  <a:pt x="907183" y="1453492"/>
                </a:cubicBezTo>
                <a:cubicBezTo>
                  <a:pt x="896844" y="1453492"/>
                  <a:pt x="885960" y="1442064"/>
                  <a:pt x="885960" y="1431725"/>
                </a:cubicBezTo>
                <a:cubicBezTo>
                  <a:pt x="885960" y="1420297"/>
                  <a:pt x="897388" y="1409414"/>
                  <a:pt x="908815" y="1409958"/>
                </a:cubicBezTo>
                <a:close/>
                <a:moveTo>
                  <a:pt x="1070436" y="1406693"/>
                </a:moveTo>
                <a:cubicBezTo>
                  <a:pt x="1084584" y="1406693"/>
                  <a:pt x="1096012" y="1418121"/>
                  <a:pt x="1096012" y="1432269"/>
                </a:cubicBezTo>
                <a:cubicBezTo>
                  <a:pt x="1096012" y="1445329"/>
                  <a:pt x="1082952" y="1458390"/>
                  <a:pt x="1070436" y="1457846"/>
                </a:cubicBezTo>
                <a:cubicBezTo>
                  <a:pt x="1058464" y="1457301"/>
                  <a:pt x="1044860" y="1443153"/>
                  <a:pt x="1045404" y="1431181"/>
                </a:cubicBezTo>
                <a:cubicBezTo>
                  <a:pt x="1045948" y="1418665"/>
                  <a:pt x="1057920" y="1406693"/>
                  <a:pt x="1070436" y="1406693"/>
                </a:cubicBezTo>
                <a:close/>
                <a:moveTo>
                  <a:pt x="1235865" y="1404516"/>
                </a:moveTo>
                <a:cubicBezTo>
                  <a:pt x="1252191" y="1405605"/>
                  <a:pt x="1262530" y="1415944"/>
                  <a:pt x="1261986" y="1433358"/>
                </a:cubicBezTo>
                <a:cubicBezTo>
                  <a:pt x="1261442" y="1449683"/>
                  <a:pt x="1251102" y="1459478"/>
                  <a:pt x="1233689" y="1459478"/>
                </a:cubicBezTo>
                <a:cubicBezTo>
                  <a:pt x="1218452" y="1461655"/>
                  <a:pt x="1206480" y="1445329"/>
                  <a:pt x="1206480" y="1432269"/>
                </a:cubicBezTo>
                <a:cubicBezTo>
                  <a:pt x="1206480" y="1417032"/>
                  <a:pt x="1220084" y="1403428"/>
                  <a:pt x="1235865" y="1404516"/>
                </a:cubicBezTo>
                <a:close/>
                <a:moveTo>
                  <a:pt x="1397485" y="1400162"/>
                </a:moveTo>
                <a:cubicBezTo>
                  <a:pt x="1412178" y="1400162"/>
                  <a:pt x="1427959" y="1416487"/>
                  <a:pt x="1427959" y="1431724"/>
                </a:cubicBezTo>
                <a:cubicBezTo>
                  <a:pt x="1428503" y="1446961"/>
                  <a:pt x="1413810" y="1462198"/>
                  <a:pt x="1398029" y="1463287"/>
                </a:cubicBezTo>
                <a:cubicBezTo>
                  <a:pt x="1384425" y="1464375"/>
                  <a:pt x="1367555" y="1448049"/>
                  <a:pt x="1366467" y="1432813"/>
                </a:cubicBezTo>
                <a:cubicBezTo>
                  <a:pt x="1365923" y="1418120"/>
                  <a:pt x="1382792" y="1400162"/>
                  <a:pt x="1397485" y="1400162"/>
                </a:cubicBezTo>
                <a:close/>
                <a:moveTo>
                  <a:pt x="1561282" y="1399618"/>
                </a:moveTo>
                <a:cubicBezTo>
                  <a:pt x="1575975" y="1399618"/>
                  <a:pt x="1593388" y="1415943"/>
                  <a:pt x="1593388" y="1432269"/>
                </a:cubicBezTo>
                <a:cubicBezTo>
                  <a:pt x="1593388" y="1446961"/>
                  <a:pt x="1578696" y="1464919"/>
                  <a:pt x="1560738" y="1464375"/>
                </a:cubicBezTo>
                <a:cubicBezTo>
                  <a:pt x="1542236" y="1463831"/>
                  <a:pt x="1529176" y="1450226"/>
                  <a:pt x="1528631" y="1432813"/>
                </a:cubicBezTo>
                <a:cubicBezTo>
                  <a:pt x="1528087" y="1414311"/>
                  <a:pt x="1545501" y="1399618"/>
                  <a:pt x="1561282" y="1399618"/>
                </a:cubicBezTo>
                <a:close/>
                <a:moveTo>
                  <a:pt x="1723446" y="1399074"/>
                </a:moveTo>
                <a:cubicBezTo>
                  <a:pt x="1741948" y="1399074"/>
                  <a:pt x="1757185" y="1413767"/>
                  <a:pt x="1757185" y="1432269"/>
                </a:cubicBezTo>
                <a:cubicBezTo>
                  <a:pt x="1757185" y="1451315"/>
                  <a:pt x="1743037" y="1463831"/>
                  <a:pt x="1723991" y="1465464"/>
                </a:cubicBezTo>
                <a:cubicBezTo>
                  <a:pt x="1707121" y="1466552"/>
                  <a:pt x="1690252" y="1448594"/>
                  <a:pt x="1691340" y="1433357"/>
                </a:cubicBezTo>
                <a:cubicBezTo>
                  <a:pt x="1692428" y="1412678"/>
                  <a:pt x="1704400" y="1399074"/>
                  <a:pt x="1723446" y="1399074"/>
                </a:cubicBezTo>
                <a:close/>
                <a:moveTo>
                  <a:pt x="1886700" y="1398530"/>
                </a:moveTo>
                <a:cubicBezTo>
                  <a:pt x="1904113" y="1396898"/>
                  <a:pt x="1922071" y="1415944"/>
                  <a:pt x="1920439" y="1432269"/>
                </a:cubicBezTo>
                <a:cubicBezTo>
                  <a:pt x="1919350" y="1451315"/>
                  <a:pt x="1907378" y="1464920"/>
                  <a:pt x="1887788" y="1464920"/>
                </a:cubicBezTo>
                <a:cubicBezTo>
                  <a:pt x="1867109" y="1464920"/>
                  <a:pt x="1854049" y="1452948"/>
                  <a:pt x="1854049" y="1433358"/>
                </a:cubicBezTo>
                <a:cubicBezTo>
                  <a:pt x="1854049" y="1412679"/>
                  <a:pt x="1867109" y="1400163"/>
                  <a:pt x="1886700" y="1398530"/>
                </a:cubicBezTo>
                <a:close/>
                <a:moveTo>
                  <a:pt x="2051041" y="1398217"/>
                </a:moveTo>
                <a:lnTo>
                  <a:pt x="2051041" y="1464535"/>
                </a:lnTo>
                <a:lnTo>
                  <a:pt x="2049953" y="1464920"/>
                </a:lnTo>
                <a:cubicBezTo>
                  <a:pt x="2032539" y="1467096"/>
                  <a:pt x="2017302" y="1450771"/>
                  <a:pt x="2017302" y="1431725"/>
                </a:cubicBezTo>
                <a:cubicBezTo>
                  <a:pt x="2017302" y="1422746"/>
                  <a:pt x="2021383" y="1414311"/>
                  <a:pt x="2027709" y="1408121"/>
                </a:cubicBezTo>
                <a:close/>
                <a:moveTo>
                  <a:pt x="500139" y="1341936"/>
                </a:moveTo>
                <a:cubicBezTo>
                  <a:pt x="503404" y="1343568"/>
                  <a:pt x="506125" y="1346833"/>
                  <a:pt x="511023" y="1350643"/>
                </a:cubicBezTo>
                <a:cubicBezTo>
                  <a:pt x="506125" y="1354452"/>
                  <a:pt x="502860" y="1357717"/>
                  <a:pt x="499595" y="1358261"/>
                </a:cubicBezTo>
                <a:cubicBezTo>
                  <a:pt x="495241" y="1359349"/>
                  <a:pt x="490888" y="1353908"/>
                  <a:pt x="491432" y="1349010"/>
                </a:cubicBezTo>
                <a:cubicBezTo>
                  <a:pt x="491976" y="1344112"/>
                  <a:pt x="495241" y="1340848"/>
                  <a:pt x="500139" y="1341936"/>
                </a:cubicBezTo>
                <a:close/>
                <a:moveTo>
                  <a:pt x="662848" y="1333773"/>
                </a:moveTo>
                <a:cubicBezTo>
                  <a:pt x="673187" y="1333773"/>
                  <a:pt x="679173" y="1340303"/>
                  <a:pt x="679173" y="1350643"/>
                </a:cubicBezTo>
                <a:cubicBezTo>
                  <a:pt x="679173" y="1359894"/>
                  <a:pt x="672099" y="1366424"/>
                  <a:pt x="662848" y="1366424"/>
                </a:cubicBezTo>
                <a:cubicBezTo>
                  <a:pt x="653053" y="1366424"/>
                  <a:pt x="647067" y="1359894"/>
                  <a:pt x="647067" y="1350098"/>
                </a:cubicBezTo>
                <a:cubicBezTo>
                  <a:pt x="647067" y="1339759"/>
                  <a:pt x="653053" y="1333773"/>
                  <a:pt x="662848" y="1333773"/>
                </a:cubicBezTo>
                <a:close/>
                <a:moveTo>
                  <a:pt x="826645" y="1328331"/>
                </a:moveTo>
                <a:cubicBezTo>
                  <a:pt x="838617" y="1328331"/>
                  <a:pt x="848412" y="1338670"/>
                  <a:pt x="847868" y="1350642"/>
                </a:cubicBezTo>
                <a:cubicBezTo>
                  <a:pt x="847868" y="1362070"/>
                  <a:pt x="836984" y="1372409"/>
                  <a:pt x="825556" y="1372409"/>
                </a:cubicBezTo>
                <a:cubicBezTo>
                  <a:pt x="814673" y="1372409"/>
                  <a:pt x="803789" y="1360982"/>
                  <a:pt x="804334" y="1349554"/>
                </a:cubicBezTo>
                <a:cubicBezTo>
                  <a:pt x="804334" y="1337582"/>
                  <a:pt x="814673" y="1328331"/>
                  <a:pt x="826645" y="1328331"/>
                </a:cubicBezTo>
                <a:close/>
                <a:moveTo>
                  <a:pt x="989353" y="1323978"/>
                </a:moveTo>
                <a:cubicBezTo>
                  <a:pt x="1002957" y="1324522"/>
                  <a:pt x="1014385" y="1334861"/>
                  <a:pt x="1015473" y="1350098"/>
                </a:cubicBezTo>
                <a:cubicBezTo>
                  <a:pt x="1014929" y="1363702"/>
                  <a:pt x="1004046" y="1376219"/>
                  <a:pt x="989353" y="1376763"/>
                </a:cubicBezTo>
                <a:cubicBezTo>
                  <a:pt x="976293" y="1376763"/>
                  <a:pt x="963777" y="1364791"/>
                  <a:pt x="963777" y="1350642"/>
                </a:cubicBezTo>
                <a:cubicBezTo>
                  <a:pt x="963233" y="1334861"/>
                  <a:pt x="977925" y="1323434"/>
                  <a:pt x="989353" y="1323978"/>
                </a:cubicBezTo>
                <a:close/>
                <a:moveTo>
                  <a:pt x="1152606" y="1322889"/>
                </a:moveTo>
                <a:cubicBezTo>
                  <a:pt x="1170564" y="1320712"/>
                  <a:pt x="1180903" y="1335405"/>
                  <a:pt x="1181447" y="1350098"/>
                </a:cubicBezTo>
                <a:cubicBezTo>
                  <a:pt x="1181447" y="1364791"/>
                  <a:pt x="1171108" y="1379483"/>
                  <a:pt x="1152606" y="1379483"/>
                </a:cubicBezTo>
                <a:cubicBezTo>
                  <a:pt x="1137913" y="1379483"/>
                  <a:pt x="1124853" y="1367511"/>
                  <a:pt x="1124853" y="1350642"/>
                </a:cubicBezTo>
                <a:cubicBezTo>
                  <a:pt x="1124309" y="1333228"/>
                  <a:pt x="1137913" y="1320712"/>
                  <a:pt x="1152606" y="1322889"/>
                </a:cubicBezTo>
                <a:close/>
                <a:moveTo>
                  <a:pt x="1315315" y="1318536"/>
                </a:moveTo>
                <a:cubicBezTo>
                  <a:pt x="1334361" y="1318536"/>
                  <a:pt x="1345789" y="1331596"/>
                  <a:pt x="1347966" y="1350098"/>
                </a:cubicBezTo>
                <a:cubicBezTo>
                  <a:pt x="1345245" y="1369144"/>
                  <a:pt x="1334905" y="1382205"/>
                  <a:pt x="1315315" y="1381661"/>
                </a:cubicBezTo>
                <a:cubicBezTo>
                  <a:pt x="1296813" y="1381116"/>
                  <a:pt x="1284841" y="1369144"/>
                  <a:pt x="1284297" y="1350098"/>
                </a:cubicBezTo>
                <a:cubicBezTo>
                  <a:pt x="1284297" y="1331052"/>
                  <a:pt x="1297357" y="1319080"/>
                  <a:pt x="1315315" y="1318536"/>
                </a:cubicBezTo>
                <a:close/>
                <a:moveTo>
                  <a:pt x="1480744" y="1317448"/>
                </a:moveTo>
                <a:cubicBezTo>
                  <a:pt x="1499246" y="1317992"/>
                  <a:pt x="1512851" y="1332140"/>
                  <a:pt x="1512306" y="1351731"/>
                </a:cubicBezTo>
                <a:cubicBezTo>
                  <a:pt x="1511762" y="1370233"/>
                  <a:pt x="1497070" y="1383837"/>
                  <a:pt x="1477479" y="1383293"/>
                </a:cubicBezTo>
                <a:cubicBezTo>
                  <a:pt x="1458977" y="1382749"/>
                  <a:pt x="1447550" y="1368600"/>
                  <a:pt x="1446461" y="1349554"/>
                </a:cubicBezTo>
                <a:cubicBezTo>
                  <a:pt x="1445373" y="1333773"/>
                  <a:pt x="1463331" y="1314727"/>
                  <a:pt x="1480744" y="1317448"/>
                </a:cubicBezTo>
                <a:close/>
                <a:moveTo>
                  <a:pt x="1642908" y="1315815"/>
                </a:moveTo>
                <a:cubicBezTo>
                  <a:pt x="1663043" y="1315815"/>
                  <a:pt x="1677735" y="1333229"/>
                  <a:pt x="1676647" y="1351731"/>
                </a:cubicBezTo>
                <a:cubicBezTo>
                  <a:pt x="1675559" y="1371865"/>
                  <a:pt x="1661954" y="1384381"/>
                  <a:pt x="1640732" y="1383837"/>
                </a:cubicBezTo>
                <a:cubicBezTo>
                  <a:pt x="1620597" y="1384381"/>
                  <a:pt x="1608081" y="1368056"/>
                  <a:pt x="1608081" y="1349554"/>
                </a:cubicBezTo>
                <a:cubicBezTo>
                  <a:pt x="1608081" y="1329964"/>
                  <a:pt x="1623318" y="1315815"/>
                  <a:pt x="1642908" y="1315815"/>
                </a:cubicBezTo>
                <a:close/>
                <a:moveTo>
                  <a:pt x="1968870" y="1314183"/>
                </a:moveTo>
                <a:cubicBezTo>
                  <a:pt x="1989548" y="1314727"/>
                  <a:pt x="2004785" y="1329420"/>
                  <a:pt x="2005329" y="1351187"/>
                </a:cubicBezTo>
                <a:cubicBezTo>
                  <a:pt x="2004785" y="1370233"/>
                  <a:pt x="1985739" y="1388735"/>
                  <a:pt x="1967781" y="1388191"/>
                </a:cubicBezTo>
                <a:cubicBezTo>
                  <a:pt x="1949823" y="1387647"/>
                  <a:pt x="1931322" y="1367512"/>
                  <a:pt x="1931866" y="1350098"/>
                </a:cubicBezTo>
                <a:cubicBezTo>
                  <a:pt x="1932410" y="1331596"/>
                  <a:pt x="1950912" y="1313094"/>
                  <a:pt x="1968870" y="1314183"/>
                </a:cubicBezTo>
                <a:close/>
                <a:moveTo>
                  <a:pt x="1806161" y="1313639"/>
                </a:moveTo>
                <a:cubicBezTo>
                  <a:pt x="1825207" y="1314183"/>
                  <a:pt x="1843165" y="1332141"/>
                  <a:pt x="1841533" y="1351187"/>
                </a:cubicBezTo>
                <a:cubicBezTo>
                  <a:pt x="1840988" y="1360438"/>
                  <a:pt x="1838267" y="1370233"/>
                  <a:pt x="1830105" y="1376763"/>
                </a:cubicBezTo>
                <a:cubicBezTo>
                  <a:pt x="1822486" y="1383293"/>
                  <a:pt x="1813235" y="1387102"/>
                  <a:pt x="1803984" y="1387102"/>
                </a:cubicBezTo>
                <a:cubicBezTo>
                  <a:pt x="1786027" y="1387102"/>
                  <a:pt x="1768613" y="1367512"/>
                  <a:pt x="1768613" y="1350098"/>
                </a:cubicBezTo>
                <a:cubicBezTo>
                  <a:pt x="1769157" y="1331596"/>
                  <a:pt x="1788203" y="1313094"/>
                  <a:pt x="1806161" y="1313639"/>
                </a:cubicBezTo>
                <a:close/>
                <a:moveTo>
                  <a:pt x="419057" y="1262486"/>
                </a:moveTo>
                <a:cubicBezTo>
                  <a:pt x="423410" y="1262486"/>
                  <a:pt x="425587" y="1265207"/>
                  <a:pt x="424499" y="1269016"/>
                </a:cubicBezTo>
                <a:cubicBezTo>
                  <a:pt x="423410" y="1271737"/>
                  <a:pt x="421234" y="1273914"/>
                  <a:pt x="417969" y="1278811"/>
                </a:cubicBezTo>
                <a:cubicBezTo>
                  <a:pt x="414704" y="1273914"/>
                  <a:pt x="412527" y="1271737"/>
                  <a:pt x="411983" y="1269016"/>
                </a:cubicBezTo>
                <a:cubicBezTo>
                  <a:pt x="410894" y="1264118"/>
                  <a:pt x="414159" y="1262486"/>
                  <a:pt x="419057" y="1262486"/>
                </a:cubicBezTo>
                <a:close/>
                <a:moveTo>
                  <a:pt x="581221" y="1252147"/>
                </a:moveTo>
                <a:cubicBezTo>
                  <a:pt x="591016" y="1252691"/>
                  <a:pt x="598091" y="1260310"/>
                  <a:pt x="597547" y="1269017"/>
                </a:cubicBezTo>
                <a:cubicBezTo>
                  <a:pt x="597547" y="1278268"/>
                  <a:pt x="589928" y="1284798"/>
                  <a:pt x="580133" y="1284254"/>
                </a:cubicBezTo>
                <a:cubicBezTo>
                  <a:pt x="570882" y="1283709"/>
                  <a:pt x="564896" y="1277179"/>
                  <a:pt x="564896" y="1268472"/>
                </a:cubicBezTo>
                <a:cubicBezTo>
                  <a:pt x="564896" y="1259222"/>
                  <a:pt x="571970" y="1252147"/>
                  <a:pt x="581221" y="1252147"/>
                </a:cubicBezTo>
                <a:close/>
                <a:moveTo>
                  <a:pt x="745018" y="1246705"/>
                </a:moveTo>
                <a:cubicBezTo>
                  <a:pt x="757534" y="1246705"/>
                  <a:pt x="766785" y="1257044"/>
                  <a:pt x="766241" y="1269560"/>
                </a:cubicBezTo>
                <a:cubicBezTo>
                  <a:pt x="765697" y="1280988"/>
                  <a:pt x="755358" y="1290783"/>
                  <a:pt x="744474" y="1290783"/>
                </a:cubicBezTo>
                <a:cubicBezTo>
                  <a:pt x="733046" y="1290783"/>
                  <a:pt x="722707" y="1279900"/>
                  <a:pt x="722707" y="1267928"/>
                </a:cubicBezTo>
                <a:cubicBezTo>
                  <a:pt x="722707" y="1255956"/>
                  <a:pt x="733046" y="1246705"/>
                  <a:pt x="745018" y="1246705"/>
                </a:cubicBezTo>
                <a:close/>
                <a:moveTo>
                  <a:pt x="907727" y="1241807"/>
                </a:moveTo>
                <a:cubicBezTo>
                  <a:pt x="921331" y="1241807"/>
                  <a:pt x="934391" y="1257044"/>
                  <a:pt x="933847" y="1269016"/>
                </a:cubicBezTo>
                <a:cubicBezTo>
                  <a:pt x="933847" y="1282620"/>
                  <a:pt x="920787" y="1295680"/>
                  <a:pt x="907183" y="1295136"/>
                </a:cubicBezTo>
                <a:cubicBezTo>
                  <a:pt x="893578" y="1294592"/>
                  <a:pt x="880518" y="1280988"/>
                  <a:pt x="880518" y="1267927"/>
                </a:cubicBezTo>
                <a:cubicBezTo>
                  <a:pt x="881062" y="1254323"/>
                  <a:pt x="894122" y="1242351"/>
                  <a:pt x="907727" y="1241807"/>
                </a:cubicBezTo>
                <a:close/>
                <a:moveTo>
                  <a:pt x="1070979" y="1240719"/>
                </a:moveTo>
                <a:cubicBezTo>
                  <a:pt x="1091114" y="1240175"/>
                  <a:pt x="1099276" y="1252691"/>
                  <a:pt x="1099821" y="1268472"/>
                </a:cubicBezTo>
                <a:cubicBezTo>
                  <a:pt x="1099821" y="1285886"/>
                  <a:pt x="1088393" y="1297858"/>
                  <a:pt x="1070435" y="1297858"/>
                </a:cubicBezTo>
                <a:cubicBezTo>
                  <a:pt x="1053566" y="1297858"/>
                  <a:pt x="1042138" y="1286430"/>
                  <a:pt x="1042138" y="1269560"/>
                </a:cubicBezTo>
                <a:cubicBezTo>
                  <a:pt x="1042138" y="1250514"/>
                  <a:pt x="1053566" y="1240719"/>
                  <a:pt x="1070979" y="1240719"/>
                </a:cubicBezTo>
                <a:close/>
                <a:moveTo>
                  <a:pt x="1234233" y="1235821"/>
                </a:moveTo>
                <a:cubicBezTo>
                  <a:pt x="1250558" y="1235821"/>
                  <a:pt x="1267972" y="1252691"/>
                  <a:pt x="1266883" y="1269016"/>
                </a:cubicBezTo>
                <a:cubicBezTo>
                  <a:pt x="1266339" y="1285885"/>
                  <a:pt x="1251646" y="1301122"/>
                  <a:pt x="1234233" y="1300578"/>
                </a:cubicBezTo>
                <a:cubicBezTo>
                  <a:pt x="1216275" y="1300578"/>
                  <a:pt x="1201582" y="1286430"/>
                  <a:pt x="1201582" y="1267383"/>
                </a:cubicBezTo>
                <a:cubicBezTo>
                  <a:pt x="1201582" y="1249425"/>
                  <a:pt x="1217907" y="1235821"/>
                  <a:pt x="1234233" y="1235821"/>
                </a:cubicBezTo>
                <a:close/>
                <a:moveTo>
                  <a:pt x="1396397" y="1234733"/>
                </a:moveTo>
                <a:cubicBezTo>
                  <a:pt x="1413810" y="1233645"/>
                  <a:pt x="1433945" y="1250514"/>
                  <a:pt x="1431224" y="1268472"/>
                </a:cubicBezTo>
                <a:cubicBezTo>
                  <a:pt x="1433401" y="1286430"/>
                  <a:pt x="1415443" y="1303299"/>
                  <a:pt x="1396941" y="1302755"/>
                </a:cubicBezTo>
                <a:cubicBezTo>
                  <a:pt x="1381160" y="1302211"/>
                  <a:pt x="1363202" y="1290783"/>
                  <a:pt x="1363746" y="1269016"/>
                </a:cubicBezTo>
                <a:cubicBezTo>
                  <a:pt x="1364290" y="1248881"/>
                  <a:pt x="1376806" y="1235821"/>
                  <a:pt x="1396397" y="1234733"/>
                </a:cubicBezTo>
                <a:close/>
                <a:moveTo>
                  <a:pt x="1559649" y="1232557"/>
                </a:moveTo>
                <a:cubicBezTo>
                  <a:pt x="1580328" y="1232013"/>
                  <a:pt x="1595021" y="1246705"/>
                  <a:pt x="1597742" y="1268472"/>
                </a:cubicBezTo>
                <a:cubicBezTo>
                  <a:pt x="1598286" y="1286974"/>
                  <a:pt x="1580872" y="1304932"/>
                  <a:pt x="1561826" y="1305476"/>
                </a:cubicBezTo>
                <a:cubicBezTo>
                  <a:pt x="1543868" y="1306564"/>
                  <a:pt x="1524822" y="1288063"/>
                  <a:pt x="1523734" y="1269561"/>
                </a:cubicBezTo>
                <a:cubicBezTo>
                  <a:pt x="1522645" y="1252147"/>
                  <a:pt x="1541147" y="1232557"/>
                  <a:pt x="1559649" y="1232557"/>
                </a:cubicBezTo>
                <a:close/>
                <a:moveTo>
                  <a:pt x="1723990" y="1231468"/>
                </a:moveTo>
                <a:cubicBezTo>
                  <a:pt x="1743037" y="1231468"/>
                  <a:pt x="1761539" y="1249426"/>
                  <a:pt x="1762083" y="1268472"/>
                </a:cubicBezTo>
                <a:cubicBezTo>
                  <a:pt x="1762627" y="1290239"/>
                  <a:pt x="1741404" y="1306020"/>
                  <a:pt x="1724535" y="1307109"/>
                </a:cubicBezTo>
                <a:cubicBezTo>
                  <a:pt x="1706033" y="1306564"/>
                  <a:pt x="1687531" y="1290239"/>
                  <a:pt x="1686442" y="1270105"/>
                </a:cubicBezTo>
                <a:cubicBezTo>
                  <a:pt x="1685354" y="1254323"/>
                  <a:pt x="1701679" y="1231468"/>
                  <a:pt x="1723990" y="1231468"/>
                </a:cubicBezTo>
                <a:close/>
                <a:moveTo>
                  <a:pt x="1888332" y="1230924"/>
                </a:moveTo>
                <a:cubicBezTo>
                  <a:pt x="1905745" y="1229836"/>
                  <a:pt x="1928056" y="1250514"/>
                  <a:pt x="1925336" y="1269561"/>
                </a:cubicBezTo>
                <a:cubicBezTo>
                  <a:pt x="1925336" y="1289695"/>
                  <a:pt x="1907378" y="1306564"/>
                  <a:pt x="1887243" y="1307653"/>
                </a:cubicBezTo>
                <a:cubicBezTo>
                  <a:pt x="1870918" y="1308197"/>
                  <a:pt x="1847519" y="1288063"/>
                  <a:pt x="1849151" y="1267928"/>
                </a:cubicBezTo>
                <a:cubicBezTo>
                  <a:pt x="1850239" y="1247794"/>
                  <a:pt x="1867653" y="1231468"/>
                  <a:pt x="1888332" y="1230924"/>
                </a:cubicBezTo>
                <a:close/>
                <a:moveTo>
                  <a:pt x="2049952" y="1230380"/>
                </a:moveTo>
                <a:lnTo>
                  <a:pt x="2051041" y="1230805"/>
                </a:lnTo>
                <a:lnTo>
                  <a:pt x="2051041" y="1307109"/>
                </a:lnTo>
                <a:cubicBezTo>
                  <a:pt x="2033627" y="1309830"/>
                  <a:pt x="2011316" y="1286974"/>
                  <a:pt x="2012404" y="1268472"/>
                </a:cubicBezTo>
                <a:cubicBezTo>
                  <a:pt x="2013493" y="1247794"/>
                  <a:pt x="2029274" y="1230380"/>
                  <a:pt x="2049952" y="1230380"/>
                </a:cubicBezTo>
                <a:close/>
                <a:moveTo>
                  <a:pt x="337431" y="1181404"/>
                </a:moveTo>
                <a:cubicBezTo>
                  <a:pt x="339608" y="1182493"/>
                  <a:pt x="341240" y="1184669"/>
                  <a:pt x="345050" y="1187934"/>
                </a:cubicBezTo>
                <a:cubicBezTo>
                  <a:pt x="340696" y="1190111"/>
                  <a:pt x="338519" y="1192288"/>
                  <a:pt x="336343" y="1192288"/>
                </a:cubicBezTo>
                <a:cubicBezTo>
                  <a:pt x="331445" y="1192832"/>
                  <a:pt x="330901" y="1189567"/>
                  <a:pt x="330901" y="1185758"/>
                </a:cubicBezTo>
                <a:cubicBezTo>
                  <a:pt x="330901" y="1181404"/>
                  <a:pt x="334166" y="1180860"/>
                  <a:pt x="337431" y="1181404"/>
                </a:cubicBezTo>
                <a:close/>
                <a:moveTo>
                  <a:pt x="499051" y="1171065"/>
                </a:moveTo>
                <a:cubicBezTo>
                  <a:pt x="506125" y="1170521"/>
                  <a:pt x="516465" y="1179772"/>
                  <a:pt x="516465" y="1187390"/>
                </a:cubicBezTo>
                <a:cubicBezTo>
                  <a:pt x="515921" y="1193920"/>
                  <a:pt x="507214" y="1202627"/>
                  <a:pt x="500140" y="1202627"/>
                </a:cubicBezTo>
                <a:cubicBezTo>
                  <a:pt x="493065" y="1202627"/>
                  <a:pt x="484358" y="1195008"/>
                  <a:pt x="483814" y="1187390"/>
                </a:cubicBezTo>
                <a:cubicBezTo>
                  <a:pt x="483270" y="1180316"/>
                  <a:pt x="491977" y="1171065"/>
                  <a:pt x="499051" y="1171065"/>
                </a:cubicBezTo>
                <a:close/>
                <a:moveTo>
                  <a:pt x="662848" y="1165623"/>
                </a:moveTo>
                <a:cubicBezTo>
                  <a:pt x="675364" y="1165623"/>
                  <a:pt x="684615" y="1174874"/>
                  <a:pt x="684615" y="1187390"/>
                </a:cubicBezTo>
                <a:cubicBezTo>
                  <a:pt x="684615" y="1199362"/>
                  <a:pt x="674820" y="1209157"/>
                  <a:pt x="662848" y="1209157"/>
                </a:cubicBezTo>
                <a:cubicBezTo>
                  <a:pt x="651420" y="1209157"/>
                  <a:pt x="641081" y="1198274"/>
                  <a:pt x="641081" y="1186846"/>
                </a:cubicBezTo>
                <a:cubicBezTo>
                  <a:pt x="641081" y="1175418"/>
                  <a:pt x="651420" y="1165623"/>
                  <a:pt x="662848" y="1165623"/>
                </a:cubicBezTo>
                <a:close/>
                <a:moveTo>
                  <a:pt x="825556" y="1160725"/>
                </a:moveTo>
                <a:cubicBezTo>
                  <a:pt x="840249" y="1161270"/>
                  <a:pt x="851677" y="1171609"/>
                  <a:pt x="852765" y="1186846"/>
                </a:cubicBezTo>
                <a:cubicBezTo>
                  <a:pt x="853309" y="1199906"/>
                  <a:pt x="840249" y="1213511"/>
                  <a:pt x="826645" y="1213511"/>
                </a:cubicBezTo>
                <a:cubicBezTo>
                  <a:pt x="813585" y="1214055"/>
                  <a:pt x="799980" y="1200995"/>
                  <a:pt x="798892" y="1188479"/>
                </a:cubicBezTo>
                <a:cubicBezTo>
                  <a:pt x="797803" y="1173241"/>
                  <a:pt x="814129" y="1160181"/>
                  <a:pt x="825556" y="1160725"/>
                </a:cubicBezTo>
                <a:close/>
                <a:moveTo>
                  <a:pt x="989353" y="1158004"/>
                </a:moveTo>
                <a:cubicBezTo>
                  <a:pt x="1007855" y="1159092"/>
                  <a:pt x="1018739" y="1168888"/>
                  <a:pt x="1018195" y="1187934"/>
                </a:cubicBezTo>
                <a:cubicBezTo>
                  <a:pt x="1017651" y="1206436"/>
                  <a:pt x="1007311" y="1216231"/>
                  <a:pt x="988809" y="1216775"/>
                </a:cubicBezTo>
                <a:cubicBezTo>
                  <a:pt x="972484" y="1217319"/>
                  <a:pt x="960512" y="1203715"/>
                  <a:pt x="959968" y="1187934"/>
                </a:cubicBezTo>
                <a:cubicBezTo>
                  <a:pt x="959968" y="1170520"/>
                  <a:pt x="972484" y="1158004"/>
                  <a:pt x="989353" y="1158004"/>
                </a:cubicBezTo>
                <a:close/>
                <a:moveTo>
                  <a:pt x="1152062" y="1153651"/>
                </a:moveTo>
                <a:cubicBezTo>
                  <a:pt x="1166755" y="1152562"/>
                  <a:pt x="1186345" y="1171065"/>
                  <a:pt x="1185801" y="1186301"/>
                </a:cubicBezTo>
                <a:cubicBezTo>
                  <a:pt x="1184713" y="1205348"/>
                  <a:pt x="1171652" y="1218952"/>
                  <a:pt x="1153150" y="1219496"/>
                </a:cubicBezTo>
                <a:cubicBezTo>
                  <a:pt x="1135193" y="1221129"/>
                  <a:pt x="1119412" y="1204259"/>
                  <a:pt x="1119956" y="1187390"/>
                </a:cubicBezTo>
                <a:cubicBezTo>
                  <a:pt x="1120500" y="1168888"/>
                  <a:pt x="1134648" y="1154739"/>
                  <a:pt x="1152062" y="1153651"/>
                </a:cubicBezTo>
                <a:close/>
                <a:moveTo>
                  <a:pt x="1315315" y="1152018"/>
                </a:moveTo>
                <a:cubicBezTo>
                  <a:pt x="1336537" y="1151474"/>
                  <a:pt x="1351230" y="1169432"/>
                  <a:pt x="1351230" y="1186845"/>
                </a:cubicBezTo>
                <a:cubicBezTo>
                  <a:pt x="1350686" y="1205891"/>
                  <a:pt x="1338714" y="1222217"/>
                  <a:pt x="1315859" y="1221673"/>
                </a:cubicBezTo>
                <a:cubicBezTo>
                  <a:pt x="1294092" y="1221128"/>
                  <a:pt x="1282120" y="1209157"/>
                  <a:pt x="1281576" y="1187390"/>
                </a:cubicBezTo>
                <a:cubicBezTo>
                  <a:pt x="1281031" y="1167255"/>
                  <a:pt x="1295724" y="1152562"/>
                  <a:pt x="1315315" y="1152018"/>
                </a:cubicBezTo>
                <a:close/>
                <a:moveTo>
                  <a:pt x="1479656" y="1149298"/>
                </a:moveTo>
                <a:cubicBezTo>
                  <a:pt x="1500878" y="1149842"/>
                  <a:pt x="1517204" y="1168888"/>
                  <a:pt x="1516660" y="1188479"/>
                </a:cubicBezTo>
                <a:cubicBezTo>
                  <a:pt x="1515027" y="1210246"/>
                  <a:pt x="1495981" y="1224938"/>
                  <a:pt x="1478023" y="1224394"/>
                </a:cubicBezTo>
                <a:cubicBezTo>
                  <a:pt x="1457889" y="1223850"/>
                  <a:pt x="1439931" y="1205892"/>
                  <a:pt x="1441563" y="1185758"/>
                </a:cubicBezTo>
                <a:cubicBezTo>
                  <a:pt x="1442652" y="1166167"/>
                  <a:pt x="1458977" y="1149298"/>
                  <a:pt x="1479656" y="1149298"/>
                </a:cubicBezTo>
                <a:close/>
                <a:moveTo>
                  <a:pt x="1642365" y="1148209"/>
                </a:moveTo>
                <a:cubicBezTo>
                  <a:pt x="1659779" y="1147121"/>
                  <a:pt x="1681001" y="1166711"/>
                  <a:pt x="1681001" y="1187390"/>
                </a:cubicBezTo>
                <a:cubicBezTo>
                  <a:pt x="1681001" y="1208613"/>
                  <a:pt x="1658690" y="1226026"/>
                  <a:pt x="1641821" y="1226026"/>
                </a:cubicBezTo>
                <a:cubicBezTo>
                  <a:pt x="1624407" y="1226026"/>
                  <a:pt x="1601007" y="1205348"/>
                  <a:pt x="1603728" y="1186846"/>
                </a:cubicBezTo>
                <a:cubicBezTo>
                  <a:pt x="1603728" y="1165623"/>
                  <a:pt x="1621686" y="1149298"/>
                  <a:pt x="1642365" y="1148209"/>
                </a:cubicBezTo>
                <a:close/>
                <a:moveTo>
                  <a:pt x="1969414" y="1147665"/>
                </a:moveTo>
                <a:cubicBezTo>
                  <a:pt x="1991725" y="1146032"/>
                  <a:pt x="2009139" y="1165623"/>
                  <a:pt x="2009139" y="1187934"/>
                </a:cubicBezTo>
                <a:cubicBezTo>
                  <a:pt x="2008595" y="1209157"/>
                  <a:pt x="1990093" y="1227114"/>
                  <a:pt x="1968870" y="1227114"/>
                </a:cubicBezTo>
                <a:cubicBezTo>
                  <a:pt x="1949824" y="1227114"/>
                  <a:pt x="1928601" y="1209701"/>
                  <a:pt x="1929145" y="1186301"/>
                </a:cubicBezTo>
                <a:cubicBezTo>
                  <a:pt x="1929145" y="1165623"/>
                  <a:pt x="1948191" y="1145488"/>
                  <a:pt x="1969414" y="1147665"/>
                </a:cubicBezTo>
                <a:close/>
                <a:moveTo>
                  <a:pt x="1805617" y="1147665"/>
                </a:moveTo>
                <a:cubicBezTo>
                  <a:pt x="1825752" y="1147665"/>
                  <a:pt x="1845342" y="1165078"/>
                  <a:pt x="1844798" y="1187934"/>
                </a:cubicBezTo>
                <a:cubicBezTo>
                  <a:pt x="1844254" y="1208612"/>
                  <a:pt x="1824664" y="1227115"/>
                  <a:pt x="1805073" y="1226571"/>
                </a:cubicBezTo>
                <a:cubicBezTo>
                  <a:pt x="1787115" y="1226571"/>
                  <a:pt x="1764260" y="1209701"/>
                  <a:pt x="1766981" y="1186845"/>
                </a:cubicBezTo>
                <a:cubicBezTo>
                  <a:pt x="1764804" y="1165623"/>
                  <a:pt x="1786027" y="1147665"/>
                  <a:pt x="1805617" y="1147665"/>
                </a:cubicBezTo>
                <a:close/>
                <a:moveTo>
                  <a:pt x="417425" y="1090527"/>
                </a:moveTo>
                <a:cubicBezTo>
                  <a:pt x="423955" y="1090527"/>
                  <a:pt x="433206" y="1099234"/>
                  <a:pt x="432662" y="1105764"/>
                </a:cubicBezTo>
                <a:cubicBezTo>
                  <a:pt x="432662" y="1111206"/>
                  <a:pt x="423955" y="1119912"/>
                  <a:pt x="417969" y="1120457"/>
                </a:cubicBezTo>
                <a:cubicBezTo>
                  <a:pt x="411439" y="1121001"/>
                  <a:pt x="402188" y="1111750"/>
                  <a:pt x="402732" y="1105219"/>
                </a:cubicBezTo>
                <a:cubicBezTo>
                  <a:pt x="402732" y="1099234"/>
                  <a:pt x="411439" y="1090527"/>
                  <a:pt x="417425" y="1090527"/>
                </a:cubicBezTo>
                <a:close/>
                <a:moveTo>
                  <a:pt x="580677" y="1083996"/>
                </a:moveTo>
                <a:cubicBezTo>
                  <a:pt x="592105" y="1083996"/>
                  <a:pt x="601900" y="1093791"/>
                  <a:pt x="602444" y="1105219"/>
                </a:cubicBezTo>
                <a:cubicBezTo>
                  <a:pt x="602988" y="1116647"/>
                  <a:pt x="593193" y="1126986"/>
                  <a:pt x="581221" y="1127530"/>
                </a:cubicBezTo>
                <a:cubicBezTo>
                  <a:pt x="570338" y="1127530"/>
                  <a:pt x="558910" y="1116102"/>
                  <a:pt x="558910" y="1105219"/>
                </a:cubicBezTo>
                <a:cubicBezTo>
                  <a:pt x="558910" y="1094880"/>
                  <a:pt x="570338" y="1083996"/>
                  <a:pt x="580677" y="1083996"/>
                </a:cubicBezTo>
                <a:close/>
                <a:moveTo>
                  <a:pt x="743386" y="1079099"/>
                </a:moveTo>
                <a:cubicBezTo>
                  <a:pt x="756991" y="1079099"/>
                  <a:pt x="769507" y="1088894"/>
                  <a:pt x="770595" y="1105219"/>
                </a:cubicBezTo>
                <a:cubicBezTo>
                  <a:pt x="771683" y="1116103"/>
                  <a:pt x="760800" y="1131340"/>
                  <a:pt x="745019" y="1132428"/>
                </a:cubicBezTo>
                <a:cubicBezTo>
                  <a:pt x="734135" y="1134061"/>
                  <a:pt x="717810" y="1118280"/>
                  <a:pt x="717810" y="1106308"/>
                </a:cubicBezTo>
                <a:cubicBezTo>
                  <a:pt x="717810" y="1091071"/>
                  <a:pt x="731414" y="1079099"/>
                  <a:pt x="743386" y="1079099"/>
                </a:cubicBezTo>
                <a:close/>
                <a:moveTo>
                  <a:pt x="907727" y="1076378"/>
                </a:moveTo>
                <a:cubicBezTo>
                  <a:pt x="926773" y="1076378"/>
                  <a:pt x="937112" y="1087262"/>
                  <a:pt x="937112" y="1105219"/>
                </a:cubicBezTo>
                <a:cubicBezTo>
                  <a:pt x="937112" y="1121545"/>
                  <a:pt x="928950" y="1134061"/>
                  <a:pt x="908271" y="1134061"/>
                </a:cubicBezTo>
                <a:cubicBezTo>
                  <a:pt x="888681" y="1134605"/>
                  <a:pt x="878341" y="1122633"/>
                  <a:pt x="878885" y="1105764"/>
                </a:cubicBezTo>
                <a:cubicBezTo>
                  <a:pt x="878341" y="1086173"/>
                  <a:pt x="892490" y="1076378"/>
                  <a:pt x="907727" y="1076378"/>
                </a:cubicBezTo>
                <a:close/>
                <a:moveTo>
                  <a:pt x="1071524" y="1072569"/>
                </a:moveTo>
                <a:cubicBezTo>
                  <a:pt x="1089482" y="1072569"/>
                  <a:pt x="1104174" y="1087806"/>
                  <a:pt x="1104174" y="1105220"/>
                </a:cubicBezTo>
                <a:cubicBezTo>
                  <a:pt x="1104174" y="1123722"/>
                  <a:pt x="1090026" y="1137870"/>
                  <a:pt x="1070435" y="1137870"/>
                </a:cubicBezTo>
                <a:cubicBezTo>
                  <a:pt x="1054110" y="1140047"/>
                  <a:pt x="1037241" y="1121545"/>
                  <a:pt x="1038329" y="1105764"/>
                </a:cubicBezTo>
                <a:cubicBezTo>
                  <a:pt x="1039417" y="1086173"/>
                  <a:pt x="1052478" y="1072569"/>
                  <a:pt x="1071524" y="1072569"/>
                </a:cubicBezTo>
                <a:close/>
                <a:moveTo>
                  <a:pt x="1235865" y="1068760"/>
                </a:moveTo>
                <a:cubicBezTo>
                  <a:pt x="1254912" y="1070392"/>
                  <a:pt x="1272325" y="1088894"/>
                  <a:pt x="1271237" y="1106852"/>
                </a:cubicBezTo>
                <a:cubicBezTo>
                  <a:pt x="1270149" y="1124810"/>
                  <a:pt x="1252735" y="1142223"/>
                  <a:pt x="1234777" y="1142223"/>
                </a:cubicBezTo>
                <a:cubicBezTo>
                  <a:pt x="1215187" y="1142223"/>
                  <a:pt x="1197773" y="1124265"/>
                  <a:pt x="1198861" y="1105219"/>
                </a:cubicBezTo>
                <a:cubicBezTo>
                  <a:pt x="1199406" y="1085629"/>
                  <a:pt x="1217908" y="1067127"/>
                  <a:pt x="1235865" y="1068760"/>
                </a:cubicBezTo>
                <a:close/>
                <a:moveTo>
                  <a:pt x="1396397" y="1067127"/>
                </a:moveTo>
                <a:cubicBezTo>
                  <a:pt x="1416532" y="1065494"/>
                  <a:pt x="1437755" y="1087806"/>
                  <a:pt x="1435578" y="1105219"/>
                </a:cubicBezTo>
                <a:cubicBezTo>
                  <a:pt x="1437210" y="1125898"/>
                  <a:pt x="1413267" y="1144400"/>
                  <a:pt x="1396941" y="1143856"/>
                </a:cubicBezTo>
                <a:cubicBezTo>
                  <a:pt x="1377895" y="1143856"/>
                  <a:pt x="1358305" y="1122633"/>
                  <a:pt x="1358849" y="1105763"/>
                </a:cubicBezTo>
                <a:cubicBezTo>
                  <a:pt x="1359393" y="1085629"/>
                  <a:pt x="1376807" y="1068759"/>
                  <a:pt x="1396397" y="1067127"/>
                </a:cubicBezTo>
                <a:close/>
                <a:moveTo>
                  <a:pt x="1560738" y="1066582"/>
                </a:moveTo>
                <a:cubicBezTo>
                  <a:pt x="1581961" y="1063862"/>
                  <a:pt x="1599919" y="1083452"/>
                  <a:pt x="1599919" y="1105763"/>
                </a:cubicBezTo>
                <a:cubicBezTo>
                  <a:pt x="1599919" y="1127530"/>
                  <a:pt x="1581417" y="1144400"/>
                  <a:pt x="1560738" y="1144400"/>
                </a:cubicBezTo>
                <a:cubicBezTo>
                  <a:pt x="1538971" y="1144400"/>
                  <a:pt x="1521557" y="1125898"/>
                  <a:pt x="1521013" y="1105763"/>
                </a:cubicBezTo>
                <a:cubicBezTo>
                  <a:pt x="1521013" y="1085629"/>
                  <a:pt x="1538971" y="1063862"/>
                  <a:pt x="1560738" y="1066582"/>
                </a:cubicBezTo>
                <a:close/>
                <a:moveTo>
                  <a:pt x="1723447" y="1064406"/>
                </a:moveTo>
                <a:cubicBezTo>
                  <a:pt x="1744126" y="1063862"/>
                  <a:pt x="1763716" y="1076378"/>
                  <a:pt x="1764260" y="1104675"/>
                </a:cubicBezTo>
                <a:cubicBezTo>
                  <a:pt x="1764804" y="1130796"/>
                  <a:pt x="1745758" y="1145488"/>
                  <a:pt x="1724535" y="1146032"/>
                </a:cubicBezTo>
                <a:cubicBezTo>
                  <a:pt x="1703313" y="1147121"/>
                  <a:pt x="1683722" y="1130796"/>
                  <a:pt x="1683178" y="1105764"/>
                </a:cubicBezTo>
                <a:cubicBezTo>
                  <a:pt x="1684266" y="1082364"/>
                  <a:pt x="1698415" y="1064950"/>
                  <a:pt x="1723447" y="1064406"/>
                </a:cubicBezTo>
                <a:close/>
                <a:moveTo>
                  <a:pt x="2051041" y="1063318"/>
                </a:moveTo>
                <a:lnTo>
                  <a:pt x="2051041" y="1147740"/>
                </a:lnTo>
                <a:lnTo>
                  <a:pt x="2049952" y="1148210"/>
                </a:lnTo>
                <a:cubicBezTo>
                  <a:pt x="2028730" y="1147121"/>
                  <a:pt x="2008051" y="1128619"/>
                  <a:pt x="2008051" y="1105764"/>
                </a:cubicBezTo>
                <a:cubicBezTo>
                  <a:pt x="2008595" y="1081276"/>
                  <a:pt x="2027641" y="1063862"/>
                  <a:pt x="2051041" y="1063318"/>
                </a:cubicBezTo>
                <a:close/>
                <a:moveTo>
                  <a:pt x="1887787" y="1062773"/>
                </a:moveTo>
                <a:cubicBezTo>
                  <a:pt x="1909554" y="1063862"/>
                  <a:pt x="1930233" y="1084540"/>
                  <a:pt x="1929145" y="1105763"/>
                </a:cubicBezTo>
                <a:cubicBezTo>
                  <a:pt x="1928056" y="1130251"/>
                  <a:pt x="1908466" y="1147121"/>
                  <a:pt x="1886699" y="1147665"/>
                </a:cubicBezTo>
                <a:cubicBezTo>
                  <a:pt x="1862755" y="1145488"/>
                  <a:pt x="1845886" y="1127530"/>
                  <a:pt x="1844798" y="1105219"/>
                </a:cubicBezTo>
                <a:cubicBezTo>
                  <a:pt x="1844253" y="1083996"/>
                  <a:pt x="1867109" y="1061685"/>
                  <a:pt x="1887787" y="1062773"/>
                </a:cubicBezTo>
                <a:close/>
                <a:moveTo>
                  <a:pt x="335798" y="1011621"/>
                </a:moveTo>
                <a:cubicBezTo>
                  <a:pt x="343960" y="1011621"/>
                  <a:pt x="347770" y="1014886"/>
                  <a:pt x="348314" y="1023049"/>
                </a:cubicBezTo>
                <a:cubicBezTo>
                  <a:pt x="348314" y="1031755"/>
                  <a:pt x="344505" y="1036109"/>
                  <a:pt x="336886" y="1036109"/>
                </a:cubicBezTo>
                <a:cubicBezTo>
                  <a:pt x="329268" y="1036109"/>
                  <a:pt x="324914" y="1032300"/>
                  <a:pt x="324370" y="1024681"/>
                </a:cubicBezTo>
                <a:cubicBezTo>
                  <a:pt x="323826" y="1015974"/>
                  <a:pt x="327635" y="1011621"/>
                  <a:pt x="335798" y="1011621"/>
                </a:cubicBezTo>
                <a:close/>
                <a:moveTo>
                  <a:pt x="499051" y="1002914"/>
                </a:moveTo>
                <a:cubicBezTo>
                  <a:pt x="508846" y="1002370"/>
                  <a:pt x="520818" y="1014342"/>
                  <a:pt x="520818" y="1024137"/>
                </a:cubicBezTo>
                <a:cubicBezTo>
                  <a:pt x="520818" y="1032844"/>
                  <a:pt x="508846" y="1045360"/>
                  <a:pt x="499595" y="1045360"/>
                </a:cubicBezTo>
                <a:cubicBezTo>
                  <a:pt x="490888" y="1045360"/>
                  <a:pt x="478372" y="1032844"/>
                  <a:pt x="478372" y="1024137"/>
                </a:cubicBezTo>
                <a:cubicBezTo>
                  <a:pt x="478372" y="1014886"/>
                  <a:pt x="489800" y="1002914"/>
                  <a:pt x="499051" y="1002914"/>
                </a:cubicBezTo>
                <a:close/>
                <a:moveTo>
                  <a:pt x="663392" y="997473"/>
                </a:moveTo>
                <a:cubicBezTo>
                  <a:pt x="675908" y="998561"/>
                  <a:pt x="688968" y="1011622"/>
                  <a:pt x="688424" y="1024138"/>
                </a:cubicBezTo>
                <a:cubicBezTo>
                  <a:pt x="687880" y="1039374"/>
                  <a:pt x="676452" y="1050802"/>
                  <a:pt x="661759" y="1050258"/>
                </a:cubicBezTo>
                <a:cubicBezTo>
                  <a:pt x="647066" y="1049170"/>
                  <a:pt x="637271" y="1036109"/>
                  <a:pt x="636727" y="1023593"/>
                </a:cubicBezTo>
                <a:cubicBezTo>
                  <a:pt x="637271" y="1010533"/>
                  <a:pt x="651420" y="996929"/>
                  <a:pt x="663392" y="997473"/>
                </a:cubicBezTo>
                <a:close/>
                <a:moveTo>
                  <a:pt x="826645" y="995840"/>
                </a:moveTo>
                <a:cubicBezTo>
                  <a:pt x="845147" y="995296"/>
                  <a:pt x="855486" y="1007267"/>
                  <a:pt x="854942" y="1024137"/>
                </a:cubicBezTo>
                <a:cubicBezTo>
                  <a:pt x="855486" y="1039374"/>
                  <a:pt x="845147" y="1052978"/>
                  <a:pt x="825557" y="1052978"/>
                </a:cubicBezTo>
                <a:cubicBezTo>
                  <a:pt x="808143" y="1052434"/>
                  <a:pt x="796715" y="1041006"/>
                  <a:pt x="797260" y="1023593"/>
                </a:cubicBezTo>
                <a:cubicBezTo>
                  <a:pt x="797260" y="1005635"/>
                  <a:pt x="808687" y="995840"/>
                  <a:pt x="826645" y="995840"/>
                </a:cubicBezTo>
                <a:close/>
                <a:moveTo>
                  <a:pt x="990441" y="990942"/>
                </a:moveTo>
                <a:cubicBezTo>
                  <a:pt x="1008943" y="990942"/>
                  <a:pt x="1023092" y="1006179"/>
                  <a:pt x="1022548" y="1025225"/>
                </a:cubicBezTo>
                <a:cubicBezTo>
                  <a:pt x="1022004" y="1043183"/>
                  <a:pt x="1007311" y="1056243"/>
                  <a:pt x="988809" y="1056787"/>
                </a:cubicBezTo>
                <a:cubicBezTo>
                  <a:pt x="973028" y="1057332"/>
                  <a:pt x="956702" y="1041551"/>
                  <a:pt x="956702" y="1023593"/>
                </a:cubicBezTo>
                <a:cubicBezTo>
                  <a:pt x="956158" y="1006723"/>
                  <a:pt x="973572" y="988221"/>
                  <a:pt x="990441" y="990942"/>
                </a:cubicBezTo>
                <a:close/>
                <a:moveTo>
                  <a:pt x="1150974" y="987678"/>
                </a:moveTo>
                <a:cubicBezTo>
                  <a:pt x="1170020" y="986045"/>
                  <a:pt x="1189066" y="1004547"/>
                  <a:pt x="1189610" y="1023593"/>
                </a:cubicBezTo>
                <a:cubicBezTo>
                  <a:pt x="1190154" y="1042095"/>
                  <a:pt x="1170564" y="1061685"/>
                  <a:pt x="1152062" y="1061685"/>
                </a:cubicBezTo>
                <a:cubicBezTo>
                  <a:pt x="1134104" y="1061685"/>
                  <a:pt x="1115602" y="1042639"/>
                  <a:pt x="1115058" y="1024682"/>
                </a:cubicBezTo>
                <a:cubicBezTo>
                  <a:pt x="1115058" y="1006724"/>
                  <a:pt x="1133016" y="988222"/>
                  <a:pt x="1150974" y="987678"/>
                </a:cubicBezTo>
                <a:close/>
                <a:moveTo>
                  <a:pt x="1315314" y="985501"/>
                </a:moveTo>
                <a:cubicBezTo>
                  <a:pt x="1335993" y="983868"/>
                  <a:pt x="1354495" y="1005635"/>
                  <a:pt x="1354495" y="1023593"/>
                </a:cubicBezTo>
                <a:cubicBezTo>
                  <a:pt x="1355039" y="1042639"/>
                  <a:pt x="1333816" y="1065495"/>
                  <a:pt x="1315858" y="1062230"/>
                </a:cubicBezTo>
                <a:cubicBezTo>
                  <a:pt x="1294636" y="1062230"/>
                  <a:pt x="1277222" y="1045360"/>
                  <a:pt x="1277222" y="1024137"/>
                </a:cubicBezTo>
                <a:cubicBezTo>
                  <a:pt x="1277222" y="1002914"/>
                  <a:pt x="1294091" y="986589"/>
                  <a:pt x="1315314" y="985501"/>
                </a:cubicBezTo>
                <a:close/>
                <a:moveTo>
                  <a:pt x="1479656" y="984412"/>
                </a:moveTo>
                <a:cubicBezTo>
                  <a:pt x="1503055" y="984412"/>
                  <a:pt x="1519925" y="1000737"/>
                  <a:pt x="1519380" y="1025225"/>
                </a:cubicBezTo>
                <a:cubicBezTo>
                  <a:pt x="1518836" y="1045904"/>
                  <a:pt x="1502511" y="1065494"/>
                  <a:pt x="1478567" y="1063318"/>
                </a:cubicBezTo>
                <a:cubicBezTo>
                  <a:pt x="1454624" y="1064950"/>
                  <a:pt x="1438842" y="1044816"/>
                  <a:pt x="1439387" y="1023593"/>
                </a:cubicBezTo>
                <a:cubicBezTo>
                  <a:pt x="1439931" y="1000193"/>
                  <a:pt x="1455712" y="983868"/>
                  <a:pt x="1479656" y="984412"/>
                </a:cubicBezTo>
                <a:close/>
                <a:moveTo>
                  <a:pt x="1641820" y="981691"/>
                </a:moveTo>
                <a:cubicBezTo>
                  <a:pt x="1665220" y="981691"/>
                  <a:pt x="1683178" y="999649"/>
                  <a:pt x="1684810" y="1023592"/>
                </a:cubicBezTo>
                <a:cubicBezTo>
                  <a:pt x="1683722" y="1048625"/>
                  <a:pt x="1665220" y="1066038"/>
                  <a:pt x="1642909" y="1066038"/>
                </a:cubicBezTo>
                <a:cubicBezTo>
                  <a:pt x="1618421" y="1066038"/>
                  <a:pt x="1599919" y="1047536"/>
                  <a:pt x="1599919" y="1023592"/>
                </a:cubicBezTo>
                <a:cubicBezTo>
                  <a:pt x="1599919" y="1001281"/>
                  <a:pt x="1616788" y="982235"/>
                  <a:pt x="1641820" y="981691"/>
                </a:cubicBezTo>
                <a:close/>
                <a:moveTo>
                  <a:pt x="1806161" y="980603"/>
                </a:moveTo>
                <a:cubicBezTo>
                  <a:pt x="1829561" y="980603"/>
                  <a:pt x="1848607" y="1000737"/>
                  <a:pt x="1849151" y="1023592"/>
                </a:cubicBezTo>
                <a:cubicBezTo>
                  <a:pt x="1849151" y="1046992"/>
                  <a:pt x="1827928" y="1068215"/>
                  <a:pt x="1805617" y="1067127"/>
                </a:cubicBezTo>
                <a:cubicBezTo>
                  <a:pt x="1781673" y="1068215"/>
                  <a:pt x="1762083" y="1044815"/>
                  <a:pt x="1762083" y="1023592"/>
                </a:cubicBezTo>
                <a:cubicBezTo>
                  <a:pt x="1762083" y="1002370"/>
                  <a:pt x="1781673" y="980058"/>
                  <a:pt x="1806161" y="980603"/>
                </a:cubicBezTo>
                <a:close/>
                <a:moveTo>
                  <a:pt x="1969414" y="980059"/>
                </a:moveTo>
                <a:cubicBezTo>
                  <a:pt x="1993358" y="980603"/>
                  <a:pt x="2012404" y="1001282"/>
                  <a:pt x="2012404" y="1024137"/>
                </a:cubicBezTo>
                <a:cubicBezTo>
                  <a:pt x="2012404" y="1046449"/>
                  <a:pt x="1991726" y="1069304"/>
                  <a:pt x="1968870" y="1067127"/>
                </a:cubicBezTo>
                <a:cubicBezTo>
                  <a:pt x="1946015" y="1068760"/>
                  <a:pt x="1925336" y="1044272"/>
                  <a:pt x="1924792" y="1024137"/>
                </a:cubicBezTo>
                <a:cubicBezTo>
                  <a:pt x="1924792" y="1002914"/>
                  <a:pt x="1944382" y="980059"/>
                  <a:pt x="1969414" y="980059"/>
                </a:cubicBezTo>
                <a:close/>
                <a:moveTo>
                  <a:pt x="254171" y="931083"/>
                </a:moveTo>
                <a:cubicBezTo>
                  <a:pt x="260701" y="931083"/>
                  <a:pt x="265599" y="935437"/>
                  <a:pt x="265599" y="941967"/>
                </a:cubicBezTo>
                <a:cubicBezTo>
                  <a:pt x="265599" y="948497"/>
                  <a:pt x="260701" y="952850"/>
                  <a:pt x="254171" y="952850"/>
                </a:cubicBezTo>
                <a:cubicBezTo>
                  <a:pt x="247641" y="952850"/>
                  <a:pt x="243832" y="948497"/>
                  <a:pt x="243832" y="941967"/>
                </a:cubicBezTo>
                <a:cubicBezTo>
                  <a:pt x="243832" y="935437"/>
                  <a:pt x="247641" y="931627"/>
                  <a:pt x="254171" y="931083"/>
                </a:cubicBezTo>
                <a:close/>
                <a:moveTo>
                  <a:pt x="417968" y="922377"/>
                </a:moveTo>
                <a:cubicBezTo>
                  <a:pt x="427219" y="921833"/>
                  <a:pt x="437559" y="932716"/>
                  <a:pt x="437559" y="942511"/>
                </a:cubicBezTo>
                <a:cubicBezTo>
                  <a:pt x="437559" y="951762"/>
                  <a:pt x="427219" y="961557"/>
                  <a:pt x="417968" y="961557"/>
                </a:cubicBezTo>
                <a:cubicBezTo>
                  <a:pt x="409262" y="961557"/>
                  <a:pt x="397290" y="949585"/>
                  <a:pt x="397834" y="941423"/>
                </a:cubicBezTo>
                <a:cubicBezTo>
                  <a:pt x="398378" y="933260"/>
                  <a:pt x="409806" y="922377"/>
                  <a:pt x="417968" y="922377"/>
                </a:cubicBezTo>
                <a:close/>
                <a:moveTo>
                  <a:pt x="581222" y="916934"/>
                </a:moveTo>
                <a:cubicBezTo>
                  <a:pt x="593738" y="916934"/>
                  <a:pt x="607342" y="931082"/>
                  <a:pt x="606798" y="943054"/>
                </a:cubicBezTo>
                <a:cubicBezTo>
                  <a:pt x="606254" y="955570"/>
                  <a:pt x="593738" y="967542"/>
                  <a:pt x="581222" y="967542"/>
                </a:cubicBezTo>
                <a:cubicBezTo>
                  <a:pt x="567617" y="966454"/>
                  <a:pt x="557278" y="958291"/>
                  <a:pt x="556190" y="943054"/>
                </a:cubicBezTo>
                <a:cubicBezTo>
                  <a:pt x="555101" y="929994"/>
                  <a:pt x="568161" y="916934"/>
                  <a:pt x="581222" y="916934"/>
                </a:cubicBezTo>
                <a:close/>
                <a:moveTo>
                  <a:pt x="744474" y="913669"/>
                </a:moveTo>
                <a:cubicBezTo>
                  <a:pt x="765153" y="913669"/>
                  <a:pt x="773860" y="927273"/>
                  <a:pt x="773315" y="942510"/>
                </a:cubicBezTo>
                <a:cubicBezTo>
                  <a:pt x="772771" y="959924"/>
                  <a:pt x="761344" y="971352"/>
                  <a:pt x="743930" y="970807"/>
                </a:cubicBezTo>
                <a:cubicBezTo>
                  <a:pt x="727061" y="970807"/>
                  <a:pt x="716177" y="959380"/>
                  <a:pt x="716177" y="941966"/>
                </a:cubicBezTo>
                <a:cubicBezTo>
                  <a:pt x="716177" y="923464"/>
                  <a:pt x="727605" y="914213"/>
                  <a:pt x="744474" y="913669"/>
                </a:cubicBezTo>
                <a:close/>
                <a:moveTo>
                  <a:pt x="908271" y="908772"/>
                </a:moveTo>
                <a:cubicBezTo>
                  <a:pt x="927317" y="910405"/>
                  <a:pt x="940922" y="924553"/>
                  <a:pt x="940377" y="944144"/>
                </a:cubicBezTo>
                <a:cubicBezTo>
                  <a:pt x="939833" y="962101"/>
                  <a:pt x="925141" y="975162"/>
                  <a:pt x="906094" y="975162"/>
                </a:cubicBezTo>
                <a:cubicBezTo>
                  <a:pt x="890313" y="975162"/>
                  <a:pt x="873988" y="959925"/>
                  <a:pt x="874532" y="940879"/>
                </a:cubicBezTo>
                <a:cubicBezTo>
                  <a:pt x="874532" y="925641"/>
                  <a:pt x="891402" y="907684"/>
                  <a:pt x="908271" y="908772"/>
                </a:cubicBezTo>
                <a:close/>
                <a:moveTo>
                  <a:pt x="1072068" y="906051"/>
                </a:moveTo>
                <a:cubicBezTo>
                  <a:pt x="1093291" y="907683"/>
                  <a:pt x="1105807" y="921832"/>
                  <a:pt x="1107984" y="942511"/>
                </a:cubicBezTo>
                <a:cubicBezTo>
                  <a:pt x="1107984" y="961013"/>
                  <a:pt x="1088938" y="979515"/>
                  <a:pt x="1070980" y="979515"/>
                </a:cubicBezTo>
                <a:cubicBezTo>
                  <a:pt x="1053022" y="979515"/>
                  <a:pt x="1034520" y="960469"/>
                  <a:pt x="1034520" y="942511"/>
                </a:cubicBezTo>
                <a:cubicBezTo>
                  <a:pt x="1034520" y="923465"/>
                  <a:pt x="1053566" y="904419"/>
                  <a:pt x="1072068" y="906051"/>
                </a:cubicBezTo>
                <a:close/>
                <a:moveTo>
                  <a:pt x="1235321" y="903874"/>
                </a:moveTo>
                <a:cubicBezTo>
                  <a:pt x="1257088" y="903874"/>
                  <a:pt x="1272325" y="920199"/>
                  <a:pt x="1272325" y="943054"/>
                </a:cubicBezTo>
                <a:cubicBezTo>
                  <a:pt x="1275045" y="962645"/>
                  <a:pt x="1251646" y="982779"/>
                  <a:pt x="1233688" y="981147"/>
                </a:cubicBezTo>
                <a:cubicBezTo>
                  <a:pt x="1211921" y="979514"/>
                  <a:pt x="1195052" y="963189"/>
                  <a:pt x="1195596" y="940878"/>
                </a:cubicBezTo>
                <a:cubicBezTo>
                  <a:pt x="1196140" y="919111"/>
                  <a:pt x="1212465" y="903330"/>
                  <a:pt x="1235321" y="903874"/>
                </a:cubicBezTo>
                <a:close/>
                <a:moveTo>
                  <a:pt x="1397486" y="901153"/>
                </a:moveTo>
                <a:cubicBezTo>
                  <a:pt x="1420885" y="901698"/>
                  <a:pt x="1437755" y="917479"/>
                  <a:pt x="1438299" y="942511"/>
                </a:cubicBezTo>
                <a:cubicBezTo>
                  <a:pt x="1437210" y="966999"/>
                  <a:pt x="1420341" y="983324"/>
                  <a:pt x="1396941" y="983324"/>
                </a:cubicBezTo>
                <a:cubicBezTo>
                  <a:pt x="1371909" y="983324"/>
                  <a:pt x="1355584" y="963190"/>
                  <a:pt x="1356128" y="941967"/>
                </a:cubicBezTo>
                <a:cubicBezTo>
                  <a:pt x="1356128" y="919655"/>
                  <a:pt x="1373542" y="900609"/>
                  <a:pt x="1397486" y="901153"/>
                </a:cubicBezTo>
                <a:close/>
                <a:moveTo>
                  <a:pt x="1560738" y="898977"/>
                </a:moveTo>
                <a:cubicBezTo>
                  <a:pt x="1584138" y="899521"/>
                  <a:pt x="1603728" y="917479"/>
                  <a:pt x="1603728" y="942511"/>
                </a:cubicBezTo>
                <a:cubicBezTo>
                  <a:pt x="1603728" y="966999"/>
                  <a:pt x="1581961" y="985501"/>
                  <a:pt x="1560738" y="985501"/>
                </a:cubicBezTo>
                <a:cubicBezTo>
                  <a:pt x="1537883" y="985501"/>
                  <a:pt x="1516660" y="963734"/>
                  <a:pt x="1517204" y="941423"/>
                </a:cubicBezTo>
                <a:cubicBezTo>
                  <a:pt x="1517748" y="919656"/>
                  <a:pt x="1535706" y="898977"/>
                  <a:pt x="1560738" y="898977"/>
                </a:cubicBezTo>
                <a:close/>
                <a:moveTo>
                  <a:pt x="1723990" y="897888"/>
                </a:moveTo>
                <a:cubicBezTo>
                  <a:pt x="1747934" y="897888"/>
                  <a:pt x="1769701" y="919111"/>
                  <a:pt x="1768069" y="942510"/>
                </a:cubicBezTo>
                <a:cubicBezTo>
                  <a:pt x="1770245" y="965366"/>
                  <a:pt x="1746302" y="987133"/>
                  <a:pt x="1723990" y="986589"/>
                </a:cubicBezTo>
                <a:cubicBezTo>
                  <a:pt x="1701679" y="986589"/>
                  <a:pt x="1679912" y="964278"/>
                  <a:pt x="1679912" y="941422"/>
                </a:cubicBezTo>
                <a:cubicBezTo>
                  <a:pt x="1680456" y="919655"/>
                  <a:pt x="1700047" y="897888"/>
                  <a:pt x="1723990" y="897888"/>
                </a:cubicBezTo>
                <a:close/>
                <a:moveTo>
                  <a:pt x="2050497" y="897344"/>
                </a:moveTo>
                <a:lnTo>
                  <a:pt x="2051041" y="897453"/>
                </a:lnTo>
                <a:lnTo>
                  <a:pt x="2051041" y="986917"/>
                </a:lnTo>
                <a:lnTo>
                  <a:pt x="2049952" y="987133"/>
                </a:lnTo>
                <a:cubicBezTo>
                  <a:pt x="2026553" y="987133"/>
                  <a:pt x="2004786" y="965366"/>
                  <a:pt x="2005330" y="941422"/>
                </a:cubicBezTo>
                <a:cubicBezTo>
                  <a:pt x="2005874" y="918023"/>
                  <a:pt x="2026009" y="897344"/>
                  <a:pt x="2050497" y="897344"/>
                </a:cubicBezTo>
                <a:close/>
                <a:moveTo>
                  <a:pt x="1887243" y="897344"/>
                </a:moveTo>
                <a:cubicBezTo>
                  <a:pt x="1910099" y="897344"/>
                  <a:pt x="1931866" y="916390"/>
                  <a:pt x="1931866" y="942511"/>
                </a:cubicBezTo>
                <a:cubicBezTo>
                  <a:pt x="1931866" y="965910"/>
                  <a:pt x="1910099" y="986589"/>
                  <a:pt x="1887243" y="986589"/>
                </a:cubicBezTo>
                <a:cubicBezTo>
                  <a:pt x="1864932" y="987133"/>
                  <a:pt x="1839900" y="965910"/>
                  <a:pt x="1843165" y="941422"/>
                </a:cubicBezTo>
                <a:cubicBezTo>
                  <a:pt x="1840444" y="918567"/>
                  <a:pt x="1863299" y="897344"/>
                  <a:pt x="1887243" y="897344"/>
                </a:cubicBezTo>
                <a:close/>
                <a:moveTo>
                  <a:pt x="172545" y="854354"/>
                </a:moveTo>
                <a:cubicBezTo>
                  <a:pt x="176899" y="854354"/>
                  <a:pt x="179619" y="855442"/>
                  <a:pt x="179619" y="860884"/>
                </a:cubicBezTo>
                <a:cubicBezTo>
                  <a:pt x="180164" y="864693"/>
                  <a:pt x="177987" y="866870"/>
                  <a:pt x="173634" y="866870"/>
                </a:cubicBezTo>
                <a:cubicBezTo>
                  <a:pt x="169824" y="866870"/>
                  <a:pt x="166559" y="866870"/>
                  <a:pt x="166015" y="861973"/>
                </a:cubicBezTo>
                <a:cubicBezTo>
                  <a:pt x="165471" y="857075"/>
                  <a:pt x="167103" y="854354"/>
                  <a:pt x="172545" y="854354"/>
                </a:cubicBezTo>
                <a:close/>
                <a:moveTo>
                  <a:pt x="336342" y="843471"/>
                </a:moveTo>
                <a:cubicBezTo>
                  <a:pt x="346681" y="844015"/>
                  <a:pt x="353211" y="849457"/>
                  <a:pt x="353211" y="860340"/>
                </a:cubicBezTo>
                <a:cubicBezTo>
                  <a:pt x="353211" y="872312"/>
                  <a:pt x="348858" y="876665"/>
                  <a:pt x="336886" y="877210"/>
                </a:cubicBezTo>
                <a:cubicBezTo>
                  <a:pt x="324370" y="877210"/>
                  <a:pt x="320561" y="872856"/>
                  <a:pt x="320017" y="860884"/>
                </a:cubicBezTo>
                <a:cubicBezTo>
                  <a:pt x="319473" y="851089"/>
                  <a:pt x="327635" y="842927"/>
                  <a:pt x="336342" y="843471"/>
                </a:cubicBezTo>
                <a:close/>
                <a:moveTo>
                  <a:pt x="500139" y="837485"/>
                </a:moveTo>
                <a:cubicBezTo>
                  <a:pt x="514832" y="837485"/>
                  <a:pt x="522994" y="846735"/>
                  <a:pt x="522994" y="861428"/>
                </a:cubicBezTo>
                <a:cubicBezTo>
                  <a:pt x="522994" y="876121"/>
                  <a:pt x="513743" y="884284"/>
                  <a:pt x="499595" y="884284"/>
                </a:cubicBezTo>
                <a:cubicBezTo>
                  <a:pt x="485446" y="883740"/>
                  <a:pt x="475651" y="875033"/>
                  <a:pt x="476739" y="860340"/>
                </a:cubicBezTo>
                <a:cubicBezTo>
                  <a:pt x="476195" y="842926"/>
                  <a:pt x="489256" y="836940"/>
                  <a:pt x="500139" y="837485"/>
                </a:cubicBezTo>
                <a:close/>
                <a:moveTo>
                  <a:pt x="662848" y="832587"/>
                </a:moveTo>
                <a:cubicBezTo>
                  <a:pt x="677541" y="832587"/>
                  <a:pt x="691689" y="842926"/>
                  <a:pt x="690057" y="860340"/>
                </a:cubicBezTo>
                <a:cubicBezTo>
                  <a:pt x="691689" y="876121"/>
                  <a:pt x="679718" y="888637"/>
                  <a:pt x="662848" y="888637"/>
                </a:cubicBezTo>
                <a:cubicBezTo>
                  <a:pt x="644890" y="888637"/>
                  <a:pt x="634551" y="874489"/>
                  <a:pt x="634551" y="861428"/>
                </a:cubicBezTo>
                <a:cubicBezTo>
                  <a:pt x="634551" y="842926"/>
                  <a:pt x="647611" y="832587"/>
                  <a:pt x="662848" y="832587"/>
                </a:cubicBezTo>
                <a:close/>
                <a:moveTo>
                  <a:pt x="826101" y="827146"/>
                </a:moveTo>
                <a:cubicBezTo>
                  <a:pt x="840249" y="826602"/>
                  <a:pt x="859840" y="843471"/>
                  <a:pt x="859295" y="860885"/>
                </a:cubicBezTo>
                <a:cubicBezTo>
                  <a:pt x="858751" y="875033"/>
                  <a:pt x="844603" y="894624"/>
                  <a:pt x="825556" y="892991"/>
                </a:cubicBezTo>
                <a:cubicBezTo>
                  <a:pt x="808687" y="894079"/>
                  <a:pt x="793450" y="877754"/>
                  <a:pt x="793450" y="860885"/>
                </a:cubicBezTo>
                <a:cubicBezTo>
                  <a:pt x="793994" y="842927"/>
                  <a:pt x="808143" y="828234"/>
                  <a:pt x="826101" y="827146"/>
                </a:cubicBezTo>
                <a:close/>
                <a:moveTo>
                  <a:pt x="988809" y="824424"/>
                </a:moveTo>
                <a:cubicBezTo>
                  <a:pt x="1010576" y="825512"/>
                  <a:pt x="1024180" y="839661"/>
                  <a:pt x="1025813" y="860339"/>
                </a:cubicBezTo>
                <a:cubicBezTo>
                  <a:pt x="1026901" y="878842"/>
                  <a:pt x="1008399" y="896799"/>
                  <a:pt x="989897" y="897344"/>
                </a:cubicBezTo>
                <a:cubicBezTo>
                  <a:pt x="971939" y="897344"/>
                  <a:pt x="953982" y="880474"/>
                  <a:pt x="953437" y="861972"/>
                </a:cubicBezTo>
                <a:cubicBezTo>
                  <a:pt x="951805" y="842926"/>
                  <a:pt x="969763" y="824968"/>
                  <a:pt x="988809" y="824424"/>
                </a:cubicBezTo>
                <a:close/>
                <a:moveTo>
                  <a:pt x="1153695" y="821704"/>
                </a:moveTo>
                <a:cubicBezTo>
                  <a:pt x="1175462" y="822248"/>
                  <a:pt x="1191243" y="839118"/>
                  <a:pt x="1191243" y="861429"/>
                </a:cubicBezTo>
                <a:cubicBezTo>
                  <a:pt x="1193964" y="882107"/>
                  <a:pt x="1169476" y="900610"/>
                  <a:pt x="1152606" y="899521"/>
                </a:cubicBezTo>
                <a:cubicBezTo>
                  <a:pt x="1130839" y="898433"/>
                  <a:pt x="1114514" y="882107"/>
                  <a:pt x="1114514" y="859252"/>
                </a:cubicBezTo>
                <a:cubicBezTo>
                  <a:pt x="1115058" y="837485"/>
                  <a:pt x="1131928" y="821704"/>
                  <a:pt x="1153695" y="821704"/>
                </a:cubicBezTo>
                <a:close/>
                <a:moveTo>
                  <a:pt x="1316403" y="818982"/>
                </a:moveTo>
                <a:cubicBezTo>
                  <a:pt x="1341979" y="820071"/>
                  <a:pt x="1356128" y="838573"/>
                  <a:pt x="1357216" y="860884"/>
                </a:cubicBezTo>
                <a:cubicBezTo>
                  <a:pt x="1356128" y="884828"/>
                  <a:pt x="1337626" y="901697"/>
                  <a:pt x="1315315" y="901697"/>
                </a:cubicBezTo>
                <a:cubicBezTo>
                  <a:pt x="1293003" y="901697"/>
                  <a:pt x="1273957" y="884284"/>
                  <a:pt x="1274501" y="860340"/>
                </a:cubicBezTo>
                <a:cubicBezTo>
                  <a:pt x="1275046" y="835852"/>
                  <a:pt x="1291915" y="818438"/>
                  <a:pt x="1316403" y="818982"/>
                </a:cubicBezTo>
                <a:close/>
                <a:moveTo>
                  <a:pt x="1479112" y="816806"/>
                </a:moveTo>
                <a:cubicBezTo>
                  <a:pt x="1501423" y="816806"/>
                  <a:pt x="1523190" y="835852"/>
                  <a:pt x="1522646" y="860340"/>
                </a:cubicBezTo>
                <a:cubicBezTo>
                  <a:pt x="1523735" y="885372"/>
                  <a:pt x="1499791" y="904419"/>
                  <a:pt x="1479656" y="904419"/>
                </a:cubicBezTo>
                <a:cubicBezTo>
                  <a:pt x="1457889" y="904419"/>
                  <a:pt x="1436122" y="883740"/>
                  <a:pt x="1435578" y="860884"/>
                </a:cubicBezTo>
                <a:cubicBezTo>
                  <a:pt x="1435578" y="838573"/>
                  <a:pt x="1455713" y="816806"/>
                  <a:pt x="1479112" y="816806"/>
                </a:cubicBezTo>
                <a:close/>
                <a:moveTo>
                  <a:pt x="1642909" y="815718"/>
                </a:moveTo>
                <a:cubicBezTo>
                  <a:pt x="1665764" y="816262"/>
                  <a:pt x="1686987" y="835852"/>
                  <a:pt x="1686987" y="860885"/>
                </a:cubicBezTo>
                <a:cubicBezTo>
                  <a:pt x="1686987" y="884284"/>
                  <a:pt x="1666308" y="906051"/>
                  <a:pt x="1641276" y="905507"/>
                </a:cubicBezTo>
                <a:cubicBezTo>
                  <a:pt x="1619509" y="905507"/>
                  <a:pt x="1595021" y="884284"/>
                  <a:pt x="1597742" y="860340"/>
                </a:cubicBezTo>
                <a:cubicBezTo>
                  <a:pt x="1595021" y="836941"/>
                  <a:pt x="1619509" y="815174"/>
                  <a:pt x="1642909" y="815718"/>
                </a:cubicBezTo>
                <a:close/>
                <a:moveTo>
                  <a:pt x="1806161" y="815173"/>
                </a:moveTo>
                <a:cubicBezTo>
                  <a:pt x="1832282" y="815717"/>
                  <a:pt x="1854593" y="836396"/>
                  <a:pt x="1852416" y="860884"/>
                </a:cubicBezTo>
                <a:cubicBezTo>
                  <a:pt x="1850240" y="885372"/>
                  <a:pt x="1837179" y="906050"/>
                  <a:pt x="1805617" y="906594"/>
                </a:cubicBezTo>
                <a:cubicBezTo>
                  <a:pt x="1776776" y="906594"/>
                  <a:pt x="1759362" y="885916"/>
                  <a:pt x="1759906" y="860884"/>
                </a:cubicBezTo>
                <a:cubicBezTo>
                  <a:pt x="1759906" y="834219"/>
                  <a:pt x="1776776" y="815717"/>
                  <a:pt x="1806161" y="815173"/>
                </a:cubicBezTo>
                <a:close/>
                <a:moveTo>
                  <a:pt x="1968326" y="812453"/>
                </a:moveTo>
                <a:cubicBezTo>
                  <a:pt x="1979754" y="812453"/>
                  <a:pt x="1991726" y="817351"/>
                  <a:pt x="2000977" y="826057"/>
                </a:cubicBezTo>
                <a:cubicBezTo>
                  <a:pt x="2010772" y="835308"/>
                  <a:pt x="2016214" y="847280"/>
                  <a:pt x="2015670" y="859796"/>
                </a:cubicBezTo>
                <a:cubicBezTo>
                  <a:pt x="2014581" y="884828"/>
                  <a:pt x="2000977" y="904963"/>
                  <a:pt x="1969415" y="907684"/>
                </a:cubicBezTo>
                <a:cubicBezTo>
                  <a:pt x="1942206" y="906051"/>
                  <a:pt x="1923704" y="890270"/>
                  <a:pt x="1922071" y="860885"/>
                </a:cubicBezTo>
                <a:cubicBezTo>
                  <a:pt x="1920983" y="836397"/>
                  <a:pt x="1943294" y="812453"/>
                  <a:pt x="1968326" y="812453"/>
                </a:cubicBezTo>
                <a:close/>
                <a:moveTo>
                  <a:pt x="255260" y="762932"/>
                </a:moveTo>
                <a:cubicBezTo>
                  <a:pt x="261790" y="763476"/>
                  <a:pt x="271041" y="773271"/>
                  <a:pt x="270497" y="779802"/>
                </a:cubicBezTo>
                <a:cubicBezTo>
                  <a:pt x="270497" y="786332"/>
                  <a:pt x="261246" y="795038"/>
                  <a:pt x="254172" y="795038"/>
                </a:cubicBezTo>
                <a:cubicBezTo>
                  <a:pt x="246553" y="795038"/>
                  <a:pt x="238391" y="786332"/>
                  <a:pt x="238935" y="778713"/>
                </a:cubicBezTo>
                <a:cubicBezTo>
                  <a:pt x="239479" y="771095"/>
                  <a:pt x="248186" y="762388"/>
                  <a:pt x="255260" y="762932"/>
                </a:cubicBezTo>
                <a:close/>
                <a:moveTo>
                  <a:pt x="416881" y="756402"/>
                </a:moveTo>
                <a:cubicBezTo>
                  <a:pt x="430485" y="756402"/>
                  <a:pt x="439736" y="765109"/>
                  <a:pt x="440280" y="778713"/>
                </a:cubicBezTo>
                <a:cubicBezTo>
                  <a:pt x="440280" y="791229"/>
                  <a:pt x="431573" y="801024"/>
                  <a:pt x="419057" y="801024"/>
                </a:cubicBezTo>
                <a:cubicBezTo>
                  <a:pt x="405997" y="801569"/>
                  <a:pt x="396202" y="792317"/>
                  <a:pt x="396202" y="779257"/>
                </a:cubicBezTo>
                <a:cubicBezTo>
                  <a:pt x="396202" y="766741"/>
                  <a:pt x="404909" y="756946"/>
                  <a:pt x="416881" y="756402"/>
                </a:cubicBezTo>
                <a:close/>
                <a:moveTo>
                  <a:pt x="581766" y="751505"/>
                </a:moveTo>
                <a:cubicBezTo>
                  <a:pt x="598091" y="752594"/>
                  <a:pt x="607887" y="762933"/>
                  <a:pt x="608975" y="779802"/>
                </a:cubicBezTo>
                <a:cubicBezTo>
                  <a:pt x="608975" y="792318"/>
                  <a:pt x="596459" y="808644"/>
                  <a:pt x="580678" y="806467"/>
                </a:cubicBezTo>
                <a:cubicBezTo>
                  <a:pt x="565985" y="808100"/>
                  <a:pt x="553469" y="792318"/>
                  <a:pt x="553469" y="778714"/>
                </a:cubicBezTo>
                <a:cubicBezTo>
                  <a:pt x="553469" y="764021"/>
                  <a:pt x="567618" y="750417"/>
                  <a:pt x="581766" y="751505"/>
                </a:cubicBezTo>
                <a:close/>
                <a:moveTo>
                  <a:pt x="746107" y="746607"/>
                </a:moveTo>
                <a:cubicBezTo>
                  <a:pt x="762432" y="747695"/>
                  <a:pt x="778213" y="765653"/>
                  <a:pt x="777125" y="780346"/>
                </a:cubicBezTo>
                <a:cubicBezTo>
                  <a:pt x="776581" y="795038"/>
                  <a:pt x="762432" y="811908"/>
                  <a:pt x="742842" y="811364"/>
                </a:cubicBezTo>
                <a:cubicBezTo>
                  <a:pt x="725428" y="810276"/>
                  <a:pt x="712368" y="795583"/>
                  <a:pt x="712368" y="778713"/>
                </a:cubicBezTo>
                <a:cubicBezTo>
                  <a:pt x="712368" y="760755"/>
                  <a:pt x="730870" y="745519"/>
                  <a:pt x="746107" y="746607"/>
                </a:cubicBezTo>
                <a:close/>
                <a:moveTo>
                  <a:pt x="907727" y="741710"/>
                </a:moveTo>
                <a:cubicBezTo>
                  <a:pt x="925684" y="741710"/>
                  <a:pt x="944187" y="760756"/>
                  <a:pt x="944187" y="778714"/>
                </a:cubicBezTo>
                <a:cubicBezTo>
                  <a:pt x="944187" y="796672"/>
                  <a:pt x="926229" y="815174"/>
                  <a:pt x="907727" y="815174"/>
                </a:cubicBezTo>
                <a:cubicBezTo>
                  <a:pt x="889225" y="815174"/>
                  <a:pt x="872899" y="798848"/>
                  <a:pt x="872355" y="779258"/>
                </a:cubicBezTo>
                <a:cubicBezTo>
                  <a:pt x="871811" y="759668"/>
                  <a:pt x="888136" y="742254"/>
                  <a:pt x="907727" y="741710"/>
                </a:cubicBezTo>
                <a:close/>
                <a:moveTo>
                  <a:pt x="1070979" y="740621"/>
                </a:moveTo>
                <a:cubicBezTo>
                  <a:pt x="1091114" y="737357"/>
                  <a:pt x="1110704" y="761300"/>
                  <a:pt x="1110160" y="779258"/>
                </a:cubicBezTo>
                <a:cubicBezTo>
                  <a:pt x="1110160" y="798304"/>
                  <a:pt x="1089481" y="817894"/>
                  <a:pt x="1070979" y="817894"/>
                </a:cubicBezTo>
                <a:cubicBezTo>
                  <a:pt x="1049757" y="817894"/>
                  <a:pt x="1031255" y="797216"/>
                  <a:pt x="1031799" y="778714"/>
                </a:cubicBezTo>
                <a:cubicBezTo>
                  <a:pt x="1033431" y="756947"/>
                  <a:pt x="1049212" y="740621"/>
                  <a:pt x="1070979" y="740621"/>
                </a:cubicBezTo>
                <a:close/>
                <a:moveTo>
                  <a:pt x="1233688" y="736268"/>
                </a:moveTo>
                <a:cubicBezTo>
                  <a:pt x="1254367" y="735723"/>
                  <a:pt x="1276134" y="756402"/>
                  <a:pt x="1276134" y="777625"/>
                </a:cubicBezTo>
                <a:cubicBezTo>
                  <a:pt x="1276134" y="801025"/>
                  <a:pt x="1258720" y="819526"/>
                  <a:pt x="1235320" y="820615"/>
                </a:cubicBezTo>
                <a:cubicBezTo>
                  <a:pt x="1211377" y="821159"/>
                  <a:pt x="1193419" y="802657"/>
                  <a:pt x="1192331" y="779258"/>
                </a:cubicBezTo>
                <a:cubicBezTo>
                  <a:pt x="1190698" y="758579"/>
                  <a:pt x="1213009" y="736812"/>
                  <a:pt x="1233688" y="736268"/>
                </a:cubicBezTo>
                <a:close/>
                <a:moveTo>
                  <a:pt x="1397485" y="735724"/>
                </a:moveTo>
                <a:cubicBezTo>
                  <a:pt x="1421973" y="734091"/>
                  <a:pt x="1441564" y="757491"/>
                  <a:pt x="1441019" y="779802"/>
                </a:cubicBezTo>
                <a:cubicBezTo>
                  <a:pt x="1441019" y="803746"/>
                  <a:pt x="1418708" y="823336"/>
                  <a:pt x="1396397" y="823336"/>
                </a:cubicBezTo>
                <a:cubicBezTo>
                  <a:pt x="1374630" y="823336"/>
                  <a:pt x="1352863" y="802113"/>
                  <a:pt x="1352863" y="779258"/>
                </a:cubicBezTo>
                <a:cubicBezTo>
                  <a:pt x="1353407" y="758579"/>
                  <a:pt x="1372453" y="733547"/>
                  <a:pt x="1397485" y="735724"/>
                </a:cubicBezTo>
                <a:close/>
                <a:moveTo>
                  <a:pt x="1562371" y="734636"/>
                </a:moveTo>
                <a:cubicBezTo>
                  <a:pt x="1586314" y="732459"/>
                  <a:pt x="1605905" y="754226"/>
                  <a:pt x="1605905" y="779802"/>
                </a:cubicBezTo>
                <a:cubicBezTo>
                  <a:pt x="1605361" y="805923"/>
                  <a:pt x="1585226" y="823881"/>
                  <a:pt x="1560194" y="823881"/>
                </a:cubicBezTo>
                <a:cubicBezTo>
                  <a:pt x="1535706" y="823881"/>
                  <a:pt x="1515027" y="803202"/>
                  <a:pt x="1515572" y="777626"/>
                </a:cubicBezTo>
                <a:cubicBezTo>
                  <a:pt x="1516116" y="755859"/>
                  <a:pt x="1535162" y="731371"/>
                  <a:pt x="1562371" y="734636"/>
                </a:cubicBezTo>
                <a:close/>
                <a:moveTo>
                  <a:pt x="1724535" y="730827"/>
                </a:moveTo>
                <a:cubicBezTo>
                  <a:pt x="1748478" y="731371"/>
                  <a:pt x="1772422" y="755314"/>
                  <a:pt x="1772422" y="779258"/>
                </a:cubicBezTo>
                <a:cubicBezTo>
                  <a:pt x="1771878" y="804290"/>
                  <a:pt x="1748478" y="826602"/>
                  <a:pt x="1723446" y="826602"/>
                </a:cubicBezTo>
                <a:cubicBezTo>
                  <a:pt x="1696238" y="823881"/>
                  <a:pt x="1677736" y="807011"/>
                  <a:pt x="1676647" y="778714"/>
                </a:cubicBezTo>
                <a:cubicBezTo>
                  <a:pt x="1676103" y="753138"/>
                  <a:pt x="1699503" y="730282"/>
                  <a:pt x="1724535" y="730827"/>
                </a:cubicBezTo>
                <a:close/>
                <a:moveTo>
                  <a:pt x="1886699" y="730826"/>
                </a:moveTo>
                <a:cubicBezTo>
                  <a:pt x="1914452" y="730826"/>
                  <a:pt x="1934587" y="749872"/>
                  <a:pt x="1935131" y="778713"/>
                </a:cubicBezTo>
                <a:cubicBezTo>
                  <a:pt x="1936219" y="804834"/>
                  <a:pt x="1916085" y="826601"/>
                  <a:pt x="1887244" y="827145"/>
                </a:cubicBezTo>
                <a:cubicBezTo>
                  <a:pt x="1860579" y="826601"/>
                  <a:pt x="1838812" y="805922"/>
                  <a:pt x="1838812" y="778713"/>
                </a:cubicBezTo>
                <a:cubicBezTo>
                  <a:pt x="1839356" y="750416"/>
                  <a:pt x="1860035" y="730282"/>
                  <a:pt x="1886699" y="730826"/>
                </a:cubicBezTo>
                <a:close/>
                <a:moveTo>
                  <a:pt x="2050496" y="730282"/>
                </a:moveTo>
                <a:lnTo>
                  <a:pt x="2051041" y="730396"/>
                </a:lnTo>
                <a:lnTo>
                  <a:pt x="2051041" y="826942"/>
                </a:lnTo>
                <a:lnTo>
                  <a:pt x="2049952" y="827145"/>
                </a:lnTo>
                <a:cubicBezTo>
                  <a:pt x="2023832" y="827145"/>
                  <a:pt x="2001521" y="804290"/>
                  <a:pt x="2002065" y="778169"/>
                </a:cubicBezTo>
                <a:cubicBezTo>
                  <a:pt x="2002609" y="751505"/>
                  <a:pt x="2024376" y="730282"/>
                  <a:pt x="2050496" y="730282"/>
                </a:cubicBezTo>
                <a:close/>
                <a:moveTo>
                  <a:pt x="173634" y="685660"/>
                </a:moveTo>
                <a:cubicBezTo>
                  <a:pt x="181253" y="685660"/>
                  <a:pt x="185062" y="690013"/>
                  <a:pt x="184518" y="698176"/>
                </a:cubicBezTo>
                <a:cubicBezTo>
                  <a:pt x="183973" y="705250"/>
                  <a:pt x="180164" y="709059"/>
                  <a:pt x="172546" y="709059"/>
                </a:cubicBezTo>
                <a:cubicBezTo>
                  <a:pt x="164383" y="709059"/>
                  <a:pt x="160574" y="705250"/>
                  <a:pt x="161118" y="697088"/>
                </a:cubicBezTo>
                <a:cubicBezTo>
                  <a:pt x="161662" y="688925"/>
                  <a:pt x="164927" y="685660"/>
                  <a:pt x="173634" y="685660"/>
                </a:cubicBezTo>
                <a:close/>
                <a:moveTo>
                  <a:pt x="335798" y="675320"/>
                </a:moveTo>
                <a:cubicBezTo>
                  <a:pt x="345593" y="675320"/>
                  <a:pt x="357565" y="685115"/>
                  <a:pt x="357565" y="696543"/>
                </a:cubicBezTo>
                <a:cubicBezTo>
                  <a:pt x="357565" y="707426"/>
                  <a:pt x="346682" y="718854"/>
                  <a:pt x="336342" y="718854"/>
                </a:cubicBezTo>
                <a:cubicBezTo>
                  <a:pt x="327091" y="718854"/>
                  <a:pt x="315664" y="707426"/>
                  <a:pt x="315120" y="697631"/>
                </a:cubicBezTo>
                <a:cubicBezTo>
                  <a:pt x="314575" y="687292"/>
                  <a:pt x="325459" y="675864"/>
                  <a:pt x="335798" y="675320"/>
                </a:cubicBezTo>
                <a:close/>
                <a:moveTo>
                  <a:pt x="499051" y="670423"/>
                </a:moveTo>
                <a:cubicBezTo>
                  <a:pt x="512111" y="669335"/>
                  <a:pt x="526804" y="684027"/>
                  <a:pt x="526804" y="697088"/>
                </a:cubicBezTo>
                <a:cubicBezTo>
                  <a:pt x="526804" y="711236"/>
                  <a:pt x="513744" y="724296"/>
                  <a:pt x="499595" y="724296"/>
                </a:cubicBezTo>
                <a:cubicBezTo>
                  <a:pt x="486535" y="724296"/>
                  <a:pt x="472930" y="711236"/>
                  <a:pt x="472930" y="697632"/>
                </a:cubicBezTo>
                <a:cubicBezTo>
                  <a:pt x="472386" y="684027"/>
                  <a:pt x="485446" y="670423"/>
                  <a:pt x="499051" y="670423"/>
                </a:cubicBezTo>
                <a:close/>
                <a:moveTo>
                  <a:pt x="662848" y="665525"/>
                </a:moveTo>
                <a:cubicBezTo>
                  <a:pt x="678629" y="665525"/>
                  <a:pt x="694410" y="681306"/>
                  <a:pt x="694954" y="697087"/>
                </a:cubicBezTo>
                <a:cubicBezTo>
                  <a:pt x="695499" y="712868"/>
                  <a:pt x="679173" y="729194"/>
                  <a:pt x="663392" y="729194"/>
                </a:cubicBezTo>
                <a:cubicBezTo>
                  <a:pt x="647611" y="729194"/>
                  <a:pt x="632374" y="713957"/>
                  <a:pt x="632374" y="698176"/>
                </a:cubicBezTo>
                <a:cubicBezTo>
                  <a:pt x="631286" y="681850"/>
                  <a:pt x="647067" y="665525"/>
                  <a:pt x="662848" y="665525"/>
                </a:cubicBezTo>
                <a:close/>
                <a:moveTo>
                  <a:pt x="825013" y="663349"/>
                </a:moveTo>
                <a:cubicBezTo>
                  <a:pt x="844603" y="662260"/>
                  <a:pt x="861472" y="676953"/>
                  <a:pt x="860384" y="697632"/>
                </a:cubicBezTo>
                <a:cubicBezTo>
                  <a:pt x="861472" y="716134"/>
                  <a:pt x="846780" y="731915"/>
                  <a:pt x="826101" y="731915"/>
                </a:cubicBezTo>
                <a:cubicBezTo>
                  <a:pt x="806511" y="731915"/>
                  <a:pt x="791818" y="719399"/>
                  <a:pt x="791818" y="698176"/>
                </a:cubicBezTo>
                <a:cubicBezTo>
                  <a:pt x="791818" y="676409"/>
                  <a:pt x="805967" y="663893"/>
                  <a:pt x="825013" y="663349"/>
                </a:cubicBezTo>
                <a:close/>
                <a:moveTo>
                  <a:pt x="988809" y="658995"/>
                </a:moveTo>
                <a:cubicBezTo>
                  <a:pt x="1008400" y="657362"/>
                  <a:pt x="1028534" y="679129"/>
                  <a:pt x="1027446" y="697087"/>
                </a:cubicBezTo>
                <a:cubicBezTo>
                  <a:pt x="1026902" y="718310"/>
                  <a:pt x="1010576" y="735723"/>
                  <a:pt x="989353" y="735723"/>
                </a:cubicBezTo>
                <a:cubicBezTo>
                  <a:pt x="968675" y="735723"/>
                  <a:pt x="950717" y="718310"/>
                  <a:pt x="950717" y="697631"/>
                </a:cubicBezTo>
                <a:cubicBezTo>
                  <a:pt x="950717" y="676408"/>
                  <a:pt x="968131" y="660627"/>
                  <a:pt x="988809" y="658995"/>
                </a:cubicBezTo>
                <a:close/>
                <a:moveTo>
                  <a:pt x="1152607" y="655729"/>
                </a:moveTo>
                <a:cubicBezTo>
                  <a:pt x="1173829" y="654097"/>
                  <a:pt x="1194508" y="675864"/>
                  <a:pt x="1195052" y="697087"/>
                </a:cubicBezTo>
                <a:cubicBezTo>
                  <a:pt x="1195596" y="717766"/>
                  <a:pt x="1173829" y="739533"/>
                  <a:pt x="1153151" y="739533"/>
                </a:cubicBezTo>
                <a:cubicBezTo>
                  <a:pt x="1132472" y="740077"/>
                  <a:pt x="1110705" y="718310"/>
                  <a:pt x="1110705" y="697631"/>
                </a:cubicBezTo>
                <a:cubicBezTo>
                  <a:pt x="1112882" y="674231"/>
                  <a:pt x="1127574" y="657362"/>
                  <a:pt x="1152607" y="655729"/>
                </a:cubicBezTo>
                <a:close/>
                <a:moveTo>
                  <a:pt x="1316948" y="653554"/>
                </a:moveTo>
                <a:cubicBezTo>
                  <a:pt x="1340347" y="654098"/>
                  <a:pt x="1359937" y="674777"/>
                  <a:pt x="1359937" y="697632"/>
                </a:cubicBezTo>
                <a:cubicBezTo>
                  <a:pt x="1359937" y="718855"/>
                  <a:pt x="1339803" y="743343"/>
                  <a:pt x="1315315" y="740622"/>
                </a:cubicBezTo>
                <a:cubicBezTo>
                  <a:pt x="1293004" y="742799"/>
                  <a:pt x="1271237" y="718311"/>
                  <a:pt x="1271781" y="696544"/>
                </a:cubicBezTo>
                <a:cubicBezTo>
                  <a:pt x="1271781" y="675321"/>
                  <a:pt x="1292460" y="653010"/>
                  <a:pt x="1316948" y="653554"/>
                </a:cubicBezTo>
                <a:close/>
                <a:moveTo>
                  <a:pt x="1479112" y="651921"/>
                </a:moveTo>
                <a:cubicBezTo>
                  <a:pt x="1506321" y="651377"/>
                  <a:pt x="1524823" y="669335"/>
                  <a:pt x="1524823" y="697088"/>
                </a:cubicBezTo>
                <a:cubicBezTo>
                  <a:pt x="1524823" y="722664"/>
                  <a:pt x="1506865" y="743343"/>
                  <a:pt x="1479112" y="742254"/>
                </a:cubicBezTo>
                <a:cubicBezTo>
                  <a:pt x="1450815" y="743343"/>
                  <a:pt x="1433401" y="721031"/>
                  <a:pt x="1433945" y="697088"/>
                </a:cubicBezTo>
                <a:cubicBezTo>
                  <a:pt x="1434490" y="670423"/>
                  <a:pt x="1451903" y="652465"/>
                  <a:pt x="1479112" y="651921"/>
                </a:cubicBezTo>
                <a:close/>
                <a:moveTo>
                  <a:pt x="1642909" y="649744"/>
                </a:moveTo>
                <a:cubicBezTo>
                  <a:pt x="1671750" y="650288"/>
                  <a:pt x="1690252" y="668790"/>
                  <a:pt x="1690796" y="697087"/>
                </a:cubicBezTo>
                <a:cubicBezTo>
                  <a:pt x="1691340" y="723752"/>
                  <a:pt x="1672294" y="743342"/>
                  <a:pt x="1642909" y="745519"/>
                </a:cubicBezTo>
                <a:cubicBezTo>
                  <a:pt x="1614067" y="743887"/>
                  <a:pt x="1594477" y="725384"/>
                  <a:pt x="1594477" y="697632"/>
                </a:cubicBezTo>
                <a:cubicBezTo>
                  <a:pt x="1594477" y="668790"/>
                  <a:pt x="1614611" y="649200"/>
                  <a:pt x="1642909" y="649744"/>
                </a:cubicBezTo>
                <a:close/>
                <a:moveTo>
                  <a:pt x="1805617" y="648112"/>
                </a:moveTo>
                <a:cubicBezTo>
                  <a:pt x="1829561" y="648112"/>
                  <a:pt x="1857314" y="672055"/>
                  <a:pt x="1854593" y="698176"/>
                </a:cubicBezTo>
                <a:cubicBezTo>
                  <a:pt x="1856770" y="719399"/>
                  <a:pt x="1832826" y="747151"/>
                  <a:pt x="1805073" y="746607"/>
                </a:cubicBezTo>
                <a:cubicBezTo>
                  <a:pt x="1779497" y="746063"/>
                  <a:pt x="1756097" y="721575"/>
                  <a:pt x="1756097" y="697087"/>
                </a:cubicBezTo>
                <a:cubicBezTo>
                  <a:pt x="1756097" y="670423"/>
                  <a:pt x="1782218" y="647567"/>
                  <a:pt x="1805617" y="648112"/>
                </a:cubicBezTo>
                <a:close/>
                <a:moveTo>
                  <a:pt x="1969414" y="647023"/>
                </a:moveTo>
                <a:cubicBezTo>
                  <a:pt x="1992814" y="647023"/>
                  <a:pt x="2020567" y="672055"/>
                  <a:pt x="2018934" y="698176"/>
                </a:cubicBezTo>
                <a:cubicBezTo>
                  <a:pt x="2017302" y="725384"/>
                  <a:pt x="1996623" y="746063"/>
                  <a:pt x="1968326" y="746063"/>
                </a:cubicBezTo>
                <a:cubicBezTo>
                  <a:pt x="1941661" y="748784"/>
                  <a:pt x="1919350" y="721031"/>
                  <a:pt x="1918806" y="697087"/>
                </a:cubicBezTo>
                <a:cubicBezTo>
                  <a:pt x="1918806" y="669878"/>
                  <a:pt x="1945471" y="647023"/>
                  <a:pt x="1969414" y="647023"/>
                </a:cubicBezTo>
                <a:close/>
                <a:moveTo>
                  <a:pt x="90919" y="606754"/>
                </a:moveTo>
                <a:cubicBezTo>
                  <a:pt x="94728" y="608386"/>
                  <a:pt x="99626" y="612195"/>
                  <a:pt x="99626" y="615460"/>
                </a:cubicBezTo>
                <a:cubicBezTo>
                  <a:pt x="100170" y="618181"/>
                  <a:pt x="95816" y="621990"/>
                  <a:pt x="92007" y="627976"/>
                </a:cubicBezTo>
                <a:cubicBezTo>
                  <a:pt x="87654" y="623079"/>
                  <a:pt x="84389" y="619814"/>
                  <a:pt x="82756" y="616005"/>
                </a:cubicBezTo>
                <a:cubicBezTo>
                  <a:pt x="81668" y="613284"/>
                  <a:pt x="88198" y="605665"/>
                  <a:pt x="90919" y="606754"/>
                </a:cubicBezTo>
                <a:close/>
                <a:moveTo>
                  <a:pt x="254172" y="598047"/>
                </a:moveTo>
                <a:cubicBezTo>
                  <a:pt x="265599" y="597503"/>
                  <a:pt x="273218" y="606210"/>
                  <a:pt x="272674" y="614917"/>
                </a:cubicBezTo>
                <a:cubicBezTo>
                  <a:pt x="272674" y="625800"/>
                  <a:pt x="266688" y="632874"/>
                  <a:pt x="255260" y="633419"/>
                </a:cubicBezTo>
                <a:cubicBezTo>
                  <a:pt x="244376" y="633963"/>
                  <a:pt x="237302" y="626889"/>
                  <a:pt x="236758" y="616005"/>
                </a:cubicBezTo>
                <a:cubicBezTo>
                  <a:pt x="236758" y="605122"/>
                  <a:pt x="243832" y="598047"/>
                  <a:pt x="254172" y="598047"/>
                </a:cubicBezTo>
                <a:close/>
                <a:moveTo>
                  <a:pt x="418513" y="590429"/>
                </a:moveTo>
                <a:cubicBezTo>
                  <a:pt x="431029" y="590429"/>
                  <a:pt x="442457" y="601857"/>
                  <a:pt x="443001" y="614917"/>
                </a:cubicBezTo>
                <a:cubicBezTo>
                  <a:pt x="443545" y="627977"/>
                  <a:pt x="432118" y="640493"/>
                  <a:pt x="419058" y="640493"/>
                </a:cubicBezTo>
                <a:cubicBezTo>
                  <a:pt x="404365" y="640493"/>
                  <a:pt x="394570" y="630698"/>
                  <a:pt x="392937" y="616005"/>
                </a:cubicBezTo>
                <a:cubicBezTo>
                  <a:pt x="391849" y="604033"/>
                  <a:pt x="405997" y="590429"/>
                  <a:pt x="418513" y="590429"/>
                </a:cubicBezTo>
                <a:close/>
                <a:moveTo>
                  <a:pt x="581222" y="587163"/>
                </a:moveTo>
                <a:cubicBezTo>
                  <a:pt x="600812" y="588252"/>
                  <a:pt x="610063" y="598047"/>
                  <a:pt x="610063" y="616549"/>
                </a:cubicBezTo>
                <a:cubicBezTo>
                  <a:pt x="610063" y="634507"/>
                  <a:pt x="599179" y="644846"/>
                  <a:pt x="580677" y="645390"/>
                </a:cubicBezTo>
                <a:cubicBezTo>
                  <a:pt x="565440" y="644846"/>
                  <a:pt x="551836" y="634507"/>
                  <a:pt x="551836" y="615461"/>
                </a:cubicBezTo>
                <a:cubicBezTo>
                  <a:pt x="551836" y="594782"/>
                  <a:pt x="567073" y="586075"/>
                  <a:pt x="581222" y="587163"/>
                </a:cubicBezTo>
                <a:close/>
                <a:moveTo>
                  <a:pt x="743930" y="582266"/>
                </a:moveTo>
                <a:cubicBezTo>
                  <a:pt x="761344" y="581178"/>
                  <a:pt x="779301" y="599136"/>
                  <a:pt x="779301" y="616005"/>
                </a:cubicBezTo>
                <a:cubicBezTo>
                  <a:pt x="779301" y="632874"/>
                  <a:pt x="762976" y="649744"/>
                  <a:pt x="745563" y="649744"/>
                </a:cubicBezTo>
                <a:cubicBezTo>
                  <a:pt x="728149" y="649200"/>
                  <a:pt x="710191" y="635595"/>
                  <a:pt x="711824" y="616549"/>
                </a:cubicBezTo>
                <a:cubicBezTo>
                  <a:pt x="711824" y="596415"/>
                  <a:pt x="724340" y="583355"/>
                  <a:pt x="743930" y="582266"/>
                </a:cubicBezTo>
                <a:close/>
                <a:moveTo>
                  <a:pt x="907183" y="577913"/>
                </a:moveTo>
                <a:cubicBezTo>
                  <a:pt x="927318" y="576825"/>
                  <a:pt x="947452" y="598592"/>
                  <a:pt x="945276" y="615461"/>
                </a:cubicBezTo>
                <a:cubicBezTo>
                  <a:pt x="945276" y="635596"/>
                  <a:pt x="927318" y="653554"/>
                  <a:pt x="907727" y="654098"/>
                </a:cubicBezTo>
                <a:cubicBezTo>
                  <a:pt x="890314" y="654642"/>
                  <a:pt x="869091" y="635052"/>
                  <a:pt x="869091" y="616006"/>
                </a:cubicBezTo>
                <a:cubicBezTo>
                  <a:pt x="869635" y="595871"/>
                  <a:pt x="887049" y="578457"/>
                  <a:pt x="907183" y="577913"/>
                </a:cubicBezTo>
                <a:close/>
                <a:moveTo>
                  <a:pt x="1069891" y="574648"/>
                </a:moveTo>
                <a:cubicBezTo>
                  <a:pt x="1092202" y="574648"/>
                  <a:pt x="1111793" y="589885"/>
                  <a:pt x="1111248" y="615461"/>
                </a:cubicBezTo>
                <a:cubicBezTo>
                  <a:pt x="1111793" y="639405"/>
                  <a:pt x="1093835" y="656274"/>
                  <a:pt x="1070435" y="656274"/>
                </a:cubicBezTo>
                <a:cubicBezTo>
                  <a:pt x="1045403" y="656274"/>
                  <a:pt x="1029622" y="635052"/>
                  <a:pt x="1029622" y="614917"/>
                </a:cubicBezTo>
                <a:cubicBezTo>
                  <a:pt x="1030166" y="593150"/>
                  <a:pt x="1046491" y="574648"/>
                  <a:pt x="1069891" y="574648"/>
                </a:cubicBezTo>
                <a:close/>
                <a:moveTo>
                  <a:pt x="1235321" y="572472"/>
                </a:moveTo>
                <a:cubicBezTo>
                  <a:pt x="1256543" y="572472"/>
                  <a:pt x="1279399" y="590973"/>
                  <a:pt x="1277222" y="616550"/>
                </a:cubicBezTo>
                <a:cubicBezTo>
                  <a:pt x="1278855" y="639949"/>
                  <a:pt x="1255455" y="660084"/>
                  <a:pt x="1233688" y="660084"/>
                </a:cubicBezTo>
                <a:cubicBezTo>
                  <a:pt x="1211377" y="660084"/>
                  <a:pt x="1189610" y="637773"/>
                  <a:pt x="1190154" y="614917"/>
                </a:cubicBezTo>
                <a:cubicBezTo>
                  <a:pt x="1190698" y="594783"/>
                  <a:pt x="1209200" y="571927"/>
                  <a:pt x="1235321" y="572472"/>
                </a:cubicBezTo>
                <a:close/>
                <a:moveTo>
                  <a:pt x="1397485" y="569206"/>
                </a:moveTo>
                <a:cubicBezTo>
                  <a:pt x="1423606" y="569750"/>
                  <a:pt x="1443196" y="587708"/>
                  <a:pt x="1443196" y="616005"/>
                </a:cubicBezTo>
                <a:cubicBezTo>
                  <a:pt x="1443196" y="642670"/>
                  <a:pt x="1424150" y="661716"/>
                  <a:pt x="1396941" y="661172"/>
                </a:cubicBezTo>
                <a:cubicBezTo>
                  <a:pt x="1369188" y="661172"/>
                  <a:pt x="1350686" y="638860"/>
                  <a:pt x="1351775" y="614373"/>
                </a:cubicBezTo>
                <a:cubicBezTo>
                  <a:pt x="1352319" y="587164"/>
                  <a:pt x="1371365" y="569206"/>
                  <a:pt x="1397485" y="569206"/>
                </a:cubicBezTo>
                <a:close/>
                <a:moveTo>
                  <a:pt x="1560738" y="567029"/>
                </a:moveTo>
                <a:cubicBezTo>
                  <a:pt x="1586859" y="567029"/>
                  <a:pt x="1608082" y="587708"/>
                  <a:pt x="1609714" y="615461"/>
                </a:cubicBezTo>
                <a:cubicBezTo>
                  <a:pt x="1608082" y="641581"/>
                  <a:pt x="1589580" y="663892"/>
                  <a:pt x="1561283" y="663892"/>
                </a:cubicBezTo>
                <a:cubicBezTo>
                  <a:pt x="1534074" y="663892"/>
                  <a:pt x="1512851" y="642669"/>
                  <a:pt x="1512851" y="616005"/>
                </a:cubicBezTo>
                <a:cubicBezTo>
                  <a:pt x="1512851" y="587163"/>
                  <a:pt x="1535706" y="567029"/>
                  <a:pt x="1560738" y="567029"/>
                </a:cubicBezTo>
                <a:close/>
                <a:moveTo>
                  <a:pt x="1725624" y="565397"/>
                </a:moveTo>
                <a:cubicBezTo>
                  <a:pt x="1747935" y="565941"/>
                  <a:pt x="1775144" y="590429"/>
                  <a:pt x="1774599" y="616005"/>
                </a:cubicBezTo>
                <a:cubicBezTo>
                  <a:pt x="1774055" y="638317"/>
                  <a:pt x="1751744" y="668246"/>
                  <a:pt x="1723447" y="664981"/>
                </a:cubicBezTo>
                <a:cubicBezTo>
                  <a:pt x="1700592" y="667158"/>
                  <a:pt x="1674471" y="643758"/>
                  <a:pt x="1674471" y="615461"/>
                </a:cubicBezTo>
                <a:cubicBezTo>
                  <a:pt x="1674471" y="588797"/>
                  <a:pt x="1700592" y="565397"/>
                  <a:pt x="1725624" y="565397"/>
                </a:cubicBezTo>
                <a:close/>
                <a:moveTo>
                  <a:pt x="1886699" y="564853"/>
                </a:moveTo>
                <a:cubicBezTo>
                  <a:pt x="1914996" y="564309"/>
                  <a:pt x="1938396" y="589341"/>
                  <a:pt x="1938396" y="614917"/>
                </a:cubicBezTo>
                <a:cubicBezTo>
                  <a:pt x="1938396" y="640493"/>
                  <a:pt x="1917717" y="667702"/>
                  <a:pt x="1887787" y="665525"/>
                </a:cubicBezTo>
                <a:cubicBezTo>
                  <a:pt x="1860034" y="667702"/>
                  <a:pt x="1837723" y="644302"/>
                  <a:pt x="1837179" y="615461"/>
                </a:cubicBezTo>
                <a:cubicBezTo>
                  <a:pt x="1837179" y="586620"/>
                  <a:pt x="1861667" y="565397"/>
                  <a:pt x="1886699" y="564853"/>
                </a:cubicBezTo>
                <a:close/>
                <a:moveTo>
                  <a:pt x="2050496" y="564852"/>
                </a:moveTo>
                <a:lnTo>
                  <a:pt x="2051041" y="564962"/>
                </a:lnTo>
                <a:lnTo>
                  <a:pt x="2051041" y="665899"/>
                </a:lnTo>
                <a:lnTo>
                  <a:pt x="2049952" y="666069"/>
                </a:lnTo>
                <a:cubicBezTo>
                  <a:pt x="2018934" y="667157"/>
                  <a:pt x="1999344" y="642669"/>
                  <a:pt x="1999344" y="615460"/>
                </a:cubicBezTo>
                <a:cubicBezTo>
                  <a:pt x="1999344" y="587163"/>
                  <a:pt x="2021655" y="564852"/>
                  <a:pt x="2050496" y="564852"/>
                </a:cubicBezTo>
                <a:close/>
                <a:moveTo>
                  <a:pt x="173090" y="517509"/>
                </a:moveTo>
                <a:cubicBezTo>
                  <a:pt x="181252" y="517509"/>
                  <a:pt x="189415" y="525672"/>
                  <a:pt x="189959" y="533834"/>
                </a:cubicBezTo>
                <a:cubicBezTo>
                  <a:pt x="189959" y="542541"/>
                  <a:pt x="182341" y="550160"/>
                  <a:pt x="173634" y="550160"/>
                </a:cubicBezTo>
                <a:cubicBezTo>
                  <a:pt x="165471" y="550160"/>
                  <a:pt x="157853" y="543085"/>
                  <a:pt x="157308" y="534923"/>
                </a:cubicBezTo>
                <a:cubicBezTo>
                  <a:pt x="156764" y="526216"/>
                  <a:pt x="164383" y="518053"/>
                  <a:pt x="173090" y="517509"/>
                </a:cubicBezTo>
                <a:close/>
                <a:moveTo>
                  <a:pt x="335798" y="511523"/>
                </a:moveTo>
                <a:cubicBezTo>
                  <a:pt x="349947" y="512067"/>
                  <a:pt x="357565" y="519686"/>
                  <a:pt x="358654" y="533834"/>
                </a:cubicBezTo>
                <a:cubicBezTo>
                  <a:pt x="359742" y="547439"/>
                  <a:pt x="348314" y="557778"/>
                  <a:pt x="336343" y="556689"/>
                </a:cubicBezTo>
                <a:cubicBezTo>
                  <a:pt x="324371" y="558322"/>
                  <a:pt x="312943" y="545806"/>
                  <a:pt x="312943" y="534378"/>
                </a:cubicBezTo>
                <a:cubicBezTo>
                  <a:pt x="312943" y="522951"/>
                  <a:pt x="322738" y="510979"/>
                  <a:pt x="335798" y="511523"/>
                </a:cubicBezTo>
                <a:close/>
                <a:moveTo>
                  <a:pt x="500139" y="506626"/>
                </a:moveTo>
                <a:cubicBezTo>
                  <a:pt x="517553" y="507170"/>
                  <a:pt x="527892" y="517509"/>
                  <a:pt x="527348" y="535467"/>
                </a:cubicBezTo>
                <a:cubicBezTo>
                  <a:pt x="526804" y="552880"/>
                  <a:pt x="515920" y="562131"/>
                  <a:pt x="497963" y="561587"/>
                </a:cubicBezTo>
                <a:cubicBezTo>
                  <a:pt x="481093" y="561043"/>
                  <a:pt x="472386" y="550704"/>
                  <a:pt x="471842" y="533290"/>
                </a:cubicBezTo>
                <a:cubicBezTo>
                  <a:pt x="471298" y="516965"/>
                  <a:pt x="485447" y="506081"/>
                  <a:pt x="500139" y="506626"/>
                </a:cubicBezTo>
                <a:close/>
                <a:moveTo>
                  <a:pt x="662304" y="500639"/>
                </a:moveTo>
                <a:cubicBezTo>
                  <a:pt x="677540" y="497919"/>
                  <a:pt x="696587" y="518597"/>
                  <a:pt x="696042" y="533290"/>
                </a:cubicBezTo>
                <a:cubicBezTo>
                  <a:pt x="694954" y="551792"/>
                  <a:pt x="681894" y="565396"/>
                  <a:pt x="663392" y="566485"/>
                </a:cubicBezTo>
                <a:cubicBezTo>
                  <a:pt x="643802" y="567573"/>
                  <a:pt x="629653" y="549615"/>
                  <a:pt x="630197" y="534378"/>
                </a:cubicBezTo>
                <a:cubicBezTo>
                  <a:pt x="630741" y="515876"/>
                  <a:pt x="644346" y="501184"/>
                  <a:pt x="662304" y="500639"/>
                </a:cubicBezTo>
                <a:close/>
                <a:moveTo>
                  <a:pt x="825557" y="496830"/>
                </a:moveTo>
                <a:cubicBezTo>
                  <a:pt x="846780" y="496286"/>
                  <a:pt x="862561" y="513700"/>
                  <a:pt x="863649" y="534923"/>
                </a:cubicBezTo>
                <a:cubicBezTo>
                  <a:pt x="862017" y="556690"/>
                  <a:pt x="845147" y="571927"/>
                  <a:pt x="825557" y="571383"/>
                </a:cubicBezTo>
                <a:cubicBezTo>
                  <a:pt x="805422" y="570838"/>
                  <a:pt x="788553" y="555057"/>
                  <a:pt x="788553" y="534379"/>
                </a:cubicBezTo>
                <a:cubicBezTo>
                  <a:pt x="788553" y="514244"/>
                  <a:pt x="804334" y="497375"/>
                  <a:pt x="825557" y="496830"/>
                </a:cubicBezTo>
                <a:close/>
                <a:moveTo>
                  <a:pt x="989898" y="494110"/>
                </a:moveTo>
                <a:cubicBezTo>
                  <a:pt x="1012209" y="494654"/>
                  <a:pt x="1029622" y="513156"/>
                  <a:pt x="1029078" y="534923"/>
                </a:cubicBezTo>
                <a:cubicBezTo>
                  <a:pt x="1028534" y="556146"/>
                  <a:pt x="1010576" y="574104"/>
                  <a:pt x="989353" y="574104"/>
                </a:cubicBezTo>
                <a:cubicBezTo>
                  <a:pt x="969763" y="574648"/>
                  <a:pt x="947452" y="556690"/>
                  <a:pt x="949629" y="533835"/>
                </a:cubicBezTo>
                <a:cubicBezTo>
                  <a:pt x="947996" y="512068"/>
                  <a:pt x="968675" y="494110"/>
                  <a:pt x="989898" y="494110"/>
                </a:cubicBezTo>
                <a:close/>
                <a:moveTo>
                  <a:pt x="1152062" y="490301"/>
                </a:moveTo>
                <a:cubicBezTo>
                  <a:pt x="1174917" y="490301"/>
                  <a:pt x="1196140" y="509347"/>
                  <a:pt x="1196140" y="533835"/>
                </a:cubicBezTo>
                <a:cubicBezTo>
                  <a:pt x="1197228" y="558867"/>
                  <a:pt x="1173829" y="577913"/>
                  <a:pt x="1152606" y="577369"/>
                </a:cubicBezTo>
                <a:cubicBezTo>
                  <a:pt x="1130839" y="577369"/>
                  <a:pt x="1109616" y="556690"/>
                  <a:pt x="1109072" y="534379"/>
                </a:cubicBezTo>
                <a:cubicBezTo>
                  <a:pt x="1108528" y="510980"/>
                  <a:pt x="1128662" y="490301"/>
                  <a:pt x="1152062" y="490301"/>
                </a:cubicBezTo>
                <a:close/>
                <a:moveTo>
                  <a:pt x="1316947" y="489212"/>
                </a:moveTo>
                <a:cubicBezTo>
                  <a:pt x="1343612" y="489756"/>
                  <a:pt x="1361570" y="510435"/>
                  <a:pt x="1361570" y="534923"/>
                </a:cubicBezTo>
                <a:cubicBezTo>
                  <a:pt x="1361570" y="560499"/>
                  <a:pt x="1341980" y="580090"/>
                  <a:pt x="1315859" y="580090"/>
                </a:cubicBezTo>
                <a:cubicBezTo>
                  <a:pt x="1291915" y="580090"/>
                  <a:pt x="1269060" y="560499"/>
                  <a:pt x="1270693" y="533835"/>
                </a:cubicBezTo>
                <a:cubicBezTo>
                  <a:pt x="1269604" y="508258"/>
                  <a:pt x="1291371" y="488124"/>
                  <a:pt x="1316947" y="489212"/>
                </a:cubicBezTo>
                <a:close/>
                <a:moveTo>
                  <a:pt x="1479112" y="484315"/>
                </a:moveTo>
                <a:cubicBezTo>
                  <a:pt x="1503599" y="484315"/>
                  <a:pt x="1528087" y="508259"/>
                  <a:pt x="1528087" y="533835"/>
                </a:cubicBezTo>
                <a:cubicBezTo>
                  <a:pt x="1528087" y="558867"/>
                  <a:pt x="1506865" y="582267"/>
                  <a:pt x="1479656" y="582267"/>
                </a:cubicBezTo>
                <a:cubicBezTo>
                  <a:pt x="1453535" y="582267"/>
                  <a:pt x="1431224" y="560500"/>
                  <a:pt x="1431224" y="533835"/>
                </a:cubicBezTo>
                <a:cubicBezTo>
                  <a:pt x="1430680" y="506626"/>
                  <a:pt x="1454624" y="485403"/>
                  <a:pt x="1479112" y="484315"/>
                </a:cubicBezTo>
                <a:close/>
                <a:moveTo>
                  <a:pt x="1643452" y="484314"/>
                </a:moveTo>
                <a:cubicBezTo>
                  <a:pt x="1667396" y="481049"/>
                  <a:pt x="1693517" y="509891"/>
                  <a:pt x="1692973" y="534923"/>
                </a:cubicBezTo>
                <a:cubicBezTo>
                  <a:pt x="1692428" y="558867"/>
                  <a:pt x="1669573" y="584987"/>
                  <a:pt x="1641276" y="583898"/>
                </a:cubicBezTo>
                <a:cubicBezTo>
                  <a:pt x="1616788" y="583354"/>
                  <a:pt x="1592300" y="562676"/>
                  <a:pt x="1592300" y="532202"/>
                </a:cubicBezTo>
                <a:cubicBezTo>
                  <a:pt x="1592300" y="509891"/>
                  <a:pt x="1615155" y="481049"/>
                  <a:pt x="1643452" y="484314"/>
                </a:cubicBezTo>
                <a:close/>
                <a:moveTo>
                  <a:pt x="1806162" y="481594"/>
                </a:moveTo>
                <a:cubicBezTo>
                  <a:pt x="1839901" y="484859"/>
                  <a:pt x="1858947" y="504993"/>
                  <a:pt x="1857858" y="536011"/>
                </a:cubicBezTo>
                <a:cubicBezTo>
                  <a:pt x="1855682" y="568662"/>
                  <a:pt x="1834459" y="584987"/>
                  <a:pt x="1803441" y="586075"/>
                </a:cubicBezTo>
                <a:cubicBezTo>
                  <a:pt x="1775144" y="584443"/>
                  <a:pt x="1751744" y="559955"/>
                  <a:pt x="1753377" y="533290"/>
                </a:cubicBezTo>
                <a:cubicBezTo>
                  <a:pt x="1755009" y="504993"/>
                  <a:pt x="1780041" y="479417"/>
                  <a:pt x="1806162" y="481594"/>
                </a:cubicBezTo>
                <a:close/>
                <a:moveTo>
                  <a:pt x="1968326" y="480505"/>
                </a:moveTo>
                <a:cubicBezTo>
                  <a:pt x="1998256" y="483226"/>
                  <a:pt x="2020023" y="501728"/>
                  <a:pt x="2022200" y="534379"/>
                </a:cubicBezTo>
                <a:cubicBezTo>
                  <a:pt x="2023832" y="560499"/>
                  <a:pt x="1996079" y="588252"/>
                  <a:pt x="1969415" y="588252"/>
                </a:cubicBezTo>
                <a:cubicBezTo>
                  <a:pt x="1943294" y="588796"/>
                  <a:pt x="1916085" y="561587"/>
                  <a:pt x="1915541" y="534923"/>
                </a:cubicBezTo>
                <a:cubicBezTo>
                  <a:pt x="1914453" y="508258"/>
                  <a:pt x="1941117" y="480505"/>
                  <a:pt x="1968326" y="480505"/>
                </a:cubicBezTo>
                <a:close/>
                <a:moveTo>
                  <a:pt x="91464" y="440780"/>
                </a:moveTo>
                <a:cubicBezTo>
                  <a:pt x="99082" y="440780"/>
                  <a:pt x="102347" y="443501"/>
                  <a:pt x="102891" y="451664"/>
                </a:cubicBezTo>
                <a:cubicBezTo>
                  <a:pt x="102891" y="460915"/>
                  <a:pt x="100171" y="464179"/>
                  <a:pt x="92008" y="464179"/>
                </a:cubicBezTo>
                <a:cubicBezTo>
                  <a:pt x="83301" y="464179"/>
                  <a:pt x="80036" y="461459"/>
                  <a:pt x="80036" y="452752"/>
                </a:cubicBezTo>
                <a:cubicBezTo>
                  <a:pt x="80036" y="444045"/>
                  <a:pt x="83301" y="440780"/>
                  <a:pt x="91464" y="440780"/>
                </a:cubicBezTo>
                <a:close/>
                <a:moveTo>
                  <a:pt x="254172" y="430441"/>
                </a:moveTo>
                <a:cubicBezTo>
                  <a:pt x="263967" y="430441"/>
                  <a:pt x="276483" y="440236"/>
                  <a:pt x="275939" y="452208"/>
                </a:cubicBezTo>
                <a:cubicBezTo>
                  <a:pt x="275939" y="463092"/>
                  <a:pt x="265600" y="473975"/>
                  <a:pt x="254716" y="473975"/>
                </a:cubicBezTo>
                <a:cubicBezTo>
                  <a:pt x="244377" y="473975"/>
                  <a:pt x="232949" y="463092"/>
                  <a:pt x="232405" y="452752"/>
                </a:cubicBezTo>
                <a:cubicBezTo>
                  <a:pt x="232405" y="442413"/>
                  <a:pt x="243833" y="430985"/>
                  <a:pt x="254172" y="430441"/>
                </a:cubicBezTo>
                <a:close/>
                <a:moveTo>
                  <a:pt x="417969" y="424999"/>
                </a:moveTo>
                <a:cubicBezTo>
                  <a:pt x="432118" y="424999"/>
                  <a:pt x="444634" y="438059"/>
                  <a:pt x="444634" y="452752"/>
                </a:cubicBezTo>
                <a:cubicBezTo>
                  <a:pt x="445178" y="464180"/>
                  <a:pt x="432662" y="481049"/>
                  <a:pt x="417425" y="479417"/>
                </a:cubicBezTo>
                <a:cubicBezTo>
                  <a:pt x="405453" y="481049"/>
                  <a:pt x="389672" y="465268"/>
                  <a:pt x="390760" y="452208"/>
                </a:cubicBezTo>
                <a:cubicBezTo>
                  <a:pt x="391849" y="437515"/>
                  <a:pt x="403276" y="424999"/>
                  <a:pt x="417969" y="424999"/>
                </a:cubicBezTo>
                <a:close/>
                <a:moveTo>
                  <a:pt x="580677" y="419558"/>
                </a:moveTo>
                <a:cubicBezTo>
                  <a:pt x="596458" y="419013"/>
                  <a:pt x="612783" y="434795"/>
                  <a:pt x="612783" y="452208"/>
                </a:cubicBezTo>
                <a:cubicBezTo>
                  <a:pt x="612783" y="469622"/>
                  <a:pt x="599723" y="483226"/>
                  <a:pt x="581221" y="484315"/>
                </a:cubicBezTo>
                <a:cubicBezTo>
                  <a:pt x="561087" y="482138"/>
                  <a:pt x="549659" y="470710"/>
                  <a:pt x="549115" y="452208"/>
                </a:cubicBezTo>
                <a:cubicBezTo>
                  <a:pt x="548571" y="433162"/>
                  <a:pt x="564352" y="420102"/>
                  <a:pt x="580677" y="419558"/>
                </a:cubicBezTo>
                <a:close/>
                <a:moveTo>
                  <a:pt x="743931" y="415748"/>
                </a:moveTo>
                <a:cubicBezTo>
                  <a:pt x="761888" y="414660"/>
                  <a:pt x="779846" y="432618"/>
                  <a:pt x="780390" y="452208"/>
                </a:cubicBezTo>
                <a:cubicBezTo>
                  <a:pt x="780934" y="471254"/>
                  <a:pt x="764065" y="488668"/>
                  <a:pt x="744475" y="489212"/>
                </a:cubicBezTo>
                <a:cubicBezTo>
                  <a:pt x="727061" y="489212"/>
                  <a:pt x="709103" y="472342"/>
                  <a:pt x="708559" y="453840"/>
                </a:cubicBezTo>
                <a:cubicBezTo>
                  <a:pt x="707471" y="435883"/>
                  <a:pt x="725428" y="416836"/>
                  <a:pt x="743931" y="415748"/>
                </a:cubicBezTo>
                <a:close/>
                <a:moveTo>
                  <a:pt x="908271" y="414116"/>
                </a:moveTo>
                <a:cubicBezTo>
                  <a:pt x="927861" y="411395"/>
                  <a:pt x="946907" y="431529"/>
                  <a:pt x="946363" y="453296"/>
                </a:cubicBezTo>
                <a:cubicBezTo>
                  <a:pt x="946363" y="473975"/>
                  <a:pt x="927317" y="491933"/>
                  <a:pt x="906638" y="491933"/>
                </a:cubicBezTo>
                <a:cubicBezTo>
                  <a:pt x="887048" y="491933"/>
                  <a:pt x="866913" y="473431"/>
                  <a:pt x="868546" y="452208"/>
                </a:cubicBezTo>
                <a:cubicBezTo>
                  <a:pt x="870179" y="428808"/>
                  <a:pt x="884871" y="413571"/>
                  <a:pt x="908271" y="414116"/>
                </a:cubicBezTo>
                <a:close/>
                <a:moveTo>
                  <a:pt x="1072068" y="409218"/>
                </a:moveTo>
                <a:cubicBezTo>
                  <a:pt x="1097100" y="410307"/>
                  <a:pt x="1113970" y="427720"/>
                  <a:pt x="1113970" y="452752"/>
                </a:cubicBezTo>
                <a:cubicBezTo>
                  <a:pt x="1113970" y="478329"/>
                  <a:pt x="1092203" y="495198"/>
                  <a:pt x="1070436" y="495198"/>
                </a:cubicBezTo>
                <a:cubicBezTo>
                  <a:pt x="1048124" y="494654"/>
                  <a:pt x="1027446" y="475063"/>
                  <a:pt x="1028534" y="451120"/>
                </a:cubicBezTo>
                <a:cubicBezTo>
                  <a:pt x="1029622" y="427720"/>
                  <a:pt x="1048669" y="408130"/>
                  <a:pt x="1072068" y="409218"/>
                </a:cubicBezTo>
                <a:close/>
                <a:moveTo>
                  <a:pt x="1235865" y="408130"/>
                </a:moveTo>
                <a:cubicBezTo>
                  <a:pt x="1258721" y="405953"/>
                  <a:pt x="1279400" y="427176"/>
                  <a:pt x="1279400" y="453296"/>
                </a:cubicBezTo>
                <a:cubicBezTo>
                  <a:pt x="1278855" y="478328"/>
                  <a:pt x="1258177" y="497374"/>
                  <a:pt x="1233689" y="497374"/>
                </a:cubicBezTo>
                <a:cubicBezTo>
                  <a:pt x="1209745" y="496830"/>
                  <a:pt x="1189066" y="476151"/>
                  <a:pt x="1189611" y="451664"/>
                </a:cubicBezTo>
                <a:cubicBezTo>
                  <a:pt x="1189611" y="429352"/>
                  <a:pt x="1209201" y="404864"/>
                  <a:pt x="1235865" y="408130"/>
                </a:cubicBezTo>
                <a:close/>
                <a:moveTo>
                  <a:pt x="1396941" y="403776"/>
                </a:moveTo>
                <a:cubicBezTo>
                  <a:pt x="1425238" y="403232"/>
                  <a:pt x="1445373" y="423911"/>
                  <a:pt x="1446461" y="450575"/>
                </a:cubicBezTo>
                <a:cubicBezTo>
                  <a:pt x="1447005" y="476696"/>
                  <a:pt x="1426327" y="500096"/>
                  <a:pt x="1399118" y="500640"/>
                </a:cubicBezTo>
                <a:cubicBezTo>
                  <a:pt x="1372453" y="501184"/>
                  <a:pt x="1349598" y="479961"/>
                  <a:pt x="1349598" y="453296"/>
                </a:cubicBezTo>
                <a:cubicBezTo>
                  <a:pt x="1349598" y="424999"/>
                  <a:pt x="1370277" y="404865"/>
                  <a:pt x="1396941" y="403776"/>
                </a:cubicBezTo>
                <a:close/>
                <a:moveTo>
                  <a:pt x="1560738" y="402144"/>
                </a:moveTo>
                <a:cubicBezTo>
                  <a:pt x="1588491" y="402144"/>
                  <a:pt x="1611347" y="427176"/>
                  <a:pt x="1611347" y="453297"/>
                </a:cubicBezTo>
                <a:cubicBezTo>
                  <a:pt x="1610803" y="476152"/>
                  <a:pt x="1590668" y="502817"/>
                  <a:pt x="1560194" y="502272"/>
                </a:cubicBezTo>
                <a:cubicBezTo>
                  <a:pt x="1534074" y="501728"/>
                  <a:pt x="1508498" y="479961"/>
                  <a:pt x="1511218" y="451664"/>
                </a:cubicBezTo>
                <a:cubicBezTo>
                  <a:pt x="1508498" y="425544"/>
                  <a:pt x="1534618" y="402144"/>
                  <a:pt x="1560738" y="402144"/>
                </a:cubicBezTo>
                <a:close/>
                <a:moveTo>
                  <a:pt x="1723991" y="399423"/>
                </a:moveTo>
                <a:cubicBezTo>
                  <a:pt x="1756097" y="402688"/>
                  <a:pt x="1777320" y="422278"/>
                  <a:pt x="1776776" y="452752"/>
                </a:cubicBezTo>
                <a:cubicBezTo>
                  <a:pt x="1776232" y="483226"/>
                  <a:pt x="1757730" y="501728"/>
                  <a:pt x="1725079" y="504993"/>
                </a:cubicBezTo>
                <a:cubicBezTo>
                  <a:pt x="1697870" y="507714"/>
                  <a:pt x="1670117" y="479961"/>
                  <a:pt x="1671750" y="452752"/>
                </a:cubicBezTo>
                <a:cubicBezTo>
                  <a:pt x="1673382" y="420102"/>
                  <a:pt x="1692428" y="403232"/>
                  <a:pt x="1723991" y="399423"/>
                </a:cubicBezTo>
                <a:close/>
                <a:moveTo>
                  <a:pt x="2051040" y="398335"/>
                </a:moveTo>
                <a:lnTo>
                  <a:pt x="2051041" y="398335"/>
                </a:lnTo>
                <a:lnTo>
                  <a:pt x="2051041" y="506936"/>
                </a:lnTo>
                <a:lnTo>
                  <a:pt x="2049952" y="507170"/>
                </a:lnTo>
                <a:cubicBezTo>
                  <a:pt x="2020566" y="506626"/>
                  <a:pt x="1995534" y="481593"/>
                  <a:pt x="1995534" y="452208"/>
                </a:cubicBezTo>
                <a:cubicBezTo>
                  <a:pt x="1996078" y="424455"/>
                  <a:pt x="2021655" y="397246"/>
                  <a:pt x="2051040" y="398335"/>
                </a:cubicBezTo>
                <a:close/>
                <a:moveTo>
                  <a:pt x="1888332" y="398335"/>
                </a:moveTo>
                <a:cubicBezTo>
                  <a:pt x="1915541" y="398879"/>
                  <a:pt x="1941661" y="423911"/>
                  <a:pt x="1941661" y="452208"/>
                </a:cubicBezTo>
                <a:cubicBezTo>
                  <a:pt x="1941661" y="481594"/>
                  <a:pt x="1916085" y="507170"/>
                  <a:pt x="1886699" y="506082"/>
                </a:cubicBezTo>
                <a:cubicBezTo>
                  <a:pt x="1857314" y="505538"/>
                  <a:pt x="1833914" y="481594"/>
                  <a:pt x="1833370" y="452208"/>
                </a:cubicBezTo>
                <a:cubicBezTo>
                  <a:pt x="1833370" y="423911"/>
                  <a:pt x="1860035" y="398335"/>
                  <a:pt x="1888332" y="398335"/>
                </a:cubicBezTo>
                <a:close/>
                <a:moveTo>
                  <a:pt x="12014" y="364052"/>
                </a:moveTo>
                <a:cubicBezTo>
                  <a:pt x="13102" y="365140"/>
                  <a:pt x="15279" y="367317"/>
                  <a:pt x="15823" y="370038"/>
                </a:cubicBezTo>
                <a:cubicBezTo>
                  <a:pt x="16911" y="374391"/>
                  <a:pt x="14191" y="377656"/>
                  <a:pt x="9293" y="377656"/>
                </a:cubicBezTo>
                <a:cubicBezTo>
                  <a:pt x="4940" y="377656"/>
                  <a:pt x="3307" y="374936"/>
                  <a:pt x="3307" y="371126"/>
                </a:cubicBezTo>
                <a:cubicBezTo>
                  <a:pt x="3307" y="367317"/>
                  <a:pt x="4940" y="364052"/>
                  <a:pt x="12014" y="364052"/>
                </a:cubicBezTo>
                <a:close/>
                <a:moveTo>
                  <a:pt x="172545" y="353713"/>
                </a:moveTo>
                <a:cubicBezTo>
                  <a:pt x="184517" y="353713"/>
                  <a:pt x="190503" y="359154"/>
                  <a:pt x="190503" y="370582"/>
                </a:cubicBezTo>
                <a:cubicBezTo>
                  <a:pt x="190503" y="381466"/>
                  <a:pt x="184517" y="387996"/>
                  <a:pt x="173090" y="387996"/>
                </a:cubicBezTo>
                <a:cubicBezTo>
                  <a:pt x="163839" y="388540"/>
                  <a:pt x="155676" y="381466"/>
                  <a:pt x="155676" y="371126"/>
                </a:cubicBezTo>
                <a:cubicBezTo>
                  <a:pt x="155676" y="362419"/>
                  <a:pt x="161662" y="352080"/>
                  <a:pt x="172545" y="353713"/>
                </a:cubicBezTo>
                <a:close/>
                <a:moveTo>
                  <a:pt x="336886" y="345550"/>
                </a:moveTo>
                <a:cubicBezTo>
                  <a:pt x="350490" y="346094"/>
                  <a:pt x="362462" y="358610"/>
                  <a:pt x="361374" y="371670"/>
                </a:cubicBezTo>
                <a:cubicBezTo>
                  <a:pt x="360286" y="385275"/>
                  <a:pt x="348858" y="395614"/>
                  <a:pt x="335798" y="395070"/>
                </a:cubicBezTo>
                <a:cubicBezTo>
                  <a:pt x="319472" y="394526"/>
                  <a:pt x="311854" y="381466"/>
                  <a:pt x="311854" y="370038"/>
                </a:cubicBezTo>
                <a:cubicBezTo>
                  <a:pt x="311854" y="356978"/>
                  <a:pt x="324370" y="345550"/>
                  <a:pt x="336886" y="345550"/>
                </a:cubicBezTo>
                <a:close/>
                <a:moveTo>
                  <a:pt x="499596" y="342284"/>
                </a:moveTo>
                <a:cubicBezTo>
                  <a:pt x="518642" y="341196"/>
                  <a:pt x="528437" y="354256"/>
                  <a:pt x="528437" y="370582"/>
                </a:cubicBezTo>
                <a:cubicBezTo>
                  <a:pt x="528437" y="386363"/>
                  <a:pt x="518642" y="399967"/>
                  <a:pt x="499051" y="399423"/>
                </a:cubicBezTo>
                <a:cubicBezTo>
                  <a:pt x="481094" y="399423"/>
                  <a:pt x="470210" y="387995"/>
                  <a:pt x="470210" y="370037"/>
                </a:cubicBezTo>
                <a:cubicBezTo>
                  <a:pt x="470754" y="352624"/>
                  <a:pt x="481638" y="341740"/>
                  <a:pt x="499596" y="342284"/>
                </a:cubicBezTo>
                <a:close/>
                <a:moveTo>
                  <a:pt x="663392" y="337387"/>
                </a:moveTo>
                <a:cubicBezTo>
                  <a:pt x="680262" y="337387"/>
                  <a:pt x="697675" y="354801"/>
                  <a:pt x="697131" y="371126"/>
                </a:cubicBezTo>
                <a:cubicBezTo>
                  <a:pt x="696043" y="390172"/>
                  <a:pt x="682982" y="404321"/>
                  <a:pt x="662304" y="404321"/>
                </a:cubicBezTo>
                <a:cubicBezTo>
                  <a:pt x="643258" y="405953"/>
                  <a:pt x="629109" y="389084"/>
                  <a:pt x="629109" y="371126"/>
                </a:cubicBezTo>
                <a:cubicBezTo>
                  <a:pt x="629109" y="352624"/>
                  <a:pt x="645434" y="337387"/>
                  <a:pt x="663392" y="337387"/>
                </a:cubicBezTo>
                <a:close/>
                <a:moveTo>
                  <a:pt x="825556" y="332489"/>
                </a:moveTo>
                <a:cubicBezTo>
                  <a:pt x="847323" y="333577"/>
                  <a:pt x="864193" y="349358"/>
                  <a:pt x="864737" y="370037"/>
                </a:cubicBezTo>
                <a:cubicBezTo>
                  <a:pt x="864193" y="391260"/>
                  <a:pt x="847323" y="409218"/>
                  <a:pt x="826645" y="409218"/>
                </a:cubicBezTo>
                <a:cubicBezTo>
                  <a:pt x="808687" y="412483"/>
                  <a:pt x="788008" y="387995"/>
                  <a:pt x="787464" y="371126"/>
                </a:cubicBezTo>
                <a:cubicBezTo>
                  <a:pt x="787464" y="353712"/>
                  <a:pt x="808687" y="331945"/>
                  <a:pt x="825556" y="332489"/>
                </a:cubicBezTo>
                <a:close/>
                <a:moveTo>
                  <a:pt x="989898" y="328680"/>
                </a:moveTo>
                <a:cubicBezTo>
                  <a:pt x="1013297" y="329224"/>
                  <a:pt x="1030167" y="347182"/>
                  <a:pt x="1031255" y="371126"/>
                </a:cubicBezTo>
                <a:cubicBezTo>
                  <a:pt x="1029623" y="396702"/>
                  <a:pt x="1010576" y="413027"/>
                  <a:pt x="989354" y="413027"/>
                </a:cubicBezTo>
                <a:cubicBezTo>
                  <a:pt x="964866" y="412483"/>
                  <a:pt x="946908" y="393981"/>
                  <a:pt x="947452" y="370037"/>
                </a:cubicBezTo>
                <a:cubicBezTo>
                  <a:pt x="947996" y="346094"/>
                  <a:pt x="964866" y="328680"/>
                  <a:pt x="989898" y="328680"/>
                </a:cubicBezTo>
                <a:close/>
                <a:moveTo>
                  <a:pt x="1153150" y="326504"/>
                </a:moveTo>
                <a:cubicBezTo>
                  <a:pt x="1177094" y="326504"/>
                  <a:pt x="1197228" y="347727"/>
                  <a:pt x="1197228" y="370582"/>
                </a:cubicBezTo>
                <a:cubicBezTo>
                  <a:pt x="1197228" y="392894"/>
                  <a:pt x="1176550" y="417925"/>
                  <a:pt x="1152606" y="414661"/>
                </a:cubicBezTo>
                <a:cubicBezTo>
                  <a:pt x="1130295" y="417925"/>
                  <a:pt x="1107984" y="393982"/>
                  <a:pt x="1108528" y="370038"/>
                </a:cubicBezTo>
                <a:cubicBezTo>
                  <a:pt x="1109072" y="347727"/>
                  <a:pt x="1129751" y="326504"/>
                  <a:pt x="1153150" y="326504"/>
                </a:cubicBezTo>
                <a:close/>
                <a:moveTo>
                  <a:pt x="1317492" y="323239"/>
                </a:moveTo>
                <a:cubicBezTo>
                  <a:pt x="1341979" y="322151"/>
                  <a:pt x="1367012" y="348271"/>
                  <a:pt x="1364835" y="372215"/>
                </a:cubicBezTo>
                <a:cubicBezTo>
                  <a:pt x="1361026" y="399968"/>
                  <a:pt x="1344700" y="416837"/>
                  <a:pt x="1314771" y="419014"/>
                </a:cubicBezTo>
                <a:cubicBezTo>
                  <a:pt x="1286474" y="415205"/>
                  <a:pt x="1267972" y="398879"/>
                  <a:pt x="1268516" y="370582"/>
                </a:cubicBezTo>
                <a:cubicBezTo>
                  <a:pt x="1268516" y="341197"/>
                  <a:pt x="1288650" y="324327"/>
                  <a:pt x="1317492" y="323239"/>
                </a:cubicBezTo>
                <a:close/>
                <a:moveTo>
                  <a:pt x="1479112" y="320517"/>
                </a:moveTo>
                <a:cubicBezTo>
                  <a:pt x="1503600" y="319973"/>
                  <a:pt x="1530265" y="343917"/>
                  <a:pt x="1529720" y="371670"/>
                </a:cubicBezTo>
                <a:cubicBezTo>
                  <a:pt x="1528632" y="395069"/>
                  <a:pt x="1506321" y="423366"/>
                  <a:pt x="1478568" y="420101"/>
                </a:cubicBezTo>
                <a:cubicBezTo>
                  <a:pt x="1452447" y="422822"/>
                  <a:pt x="1429592" y="397246"/>
                  <a:pt x="1429592" y="370037"/>
                </a:cubicBezTo>
                <a:cubicBezTo>
                  <a:pt x="1429592" y="342284"/>
                  <a:pt x="1455713" y="320517"/>
                  <a:pt x="1479112" y="320517"/>
                </a:cubicBezTo>
                <a:close/>
                <a:moveTo>
                  <a:pt x="1642364" y="318341"/>
                </a:moveTo>
                <a:cubicBezTo>
                  <a:pt x="1670661" y="318341"/>
                  <a:pt x="1692973" y="339020"/>
                  <a:pt x="1695694" y="370582"/>
                </a:cubicBezTo>
                <a:cubicBezTo>
                  <a:pt x="1696238" y="397791"/>
                  <a:pt x="1671206" y="423367"/>
                  <a:pt x="1643453" y="424455"/>
                </a:cubicBezTo>
                <a:cubicBezTo>
                  <a:pt x="1616788" y="425544"/>
                  <a:pt x="1589035" y="398335"/>
                  <a:pt x="1589035" y="371670"/>
                </a:cubicBezTo>
                <a:cubicBezTo>
                  <a:pt x="1589035" y="345006"/>
                  <a:pt x="1615155" y="317797"/>
                  <a:pt x="1642364" y="318341"/>
                </a:cubicBezTo>
                <a:close/>
                <a:moveTo>
                  <a:pt x="90919" y="273718"/>
                </a:moveTo>
                <a:cubicBezTo>
                  <a:pt x="96361" y="273174"/>
                  <a:pt x="106156" y="282425"/>
                  <a:pt x="106700" y="288411"/>
                </a:cubicBezTo>
                <a:cubicBezTo>
                  <a:pt x="106700" y="294941"/>
                  <a:pt x="97993" y="303648"/>
                  <a:pt x="91463" y="303648"/>
                </a:cubicBezTo>
                <a:cubicBezTo>
                  <a:pt x="84933" y="303648"/>
                  <a:pt x="76226" y="294941"/>
                  <a:pt x="76770" y="288411"/>
                </a:cubicBezTo>
                <a:cubicBezTo>
                  <a:pt x="76770" y="283513"/>
                  <a:pt x="86021" y="274262"/>
                  <a:pt x="90919" y="273718"/>
                </a:cubicBezTo>
                <a:close/>
                <a:moveTo>
                  <a:pt x="254716" y="267733"/>
                </a:moveTo>
                <a:cubicBezTo>
                  <a:pt x="267776" y="267733"/>
                  <a:pt x="276483" y="276440"/>
                  <a:pt x="276483" y="288956"/>
                </a:cubicBezTo>
                <a:cubicBezTo>
                  <a:pt x="276483" y="301472"/>
                  <a:pt x="266688" y="311811"/>
                  <a:pt x="254172" y="311811"/>
                </a:cubicBezTo>
                <a:cubicBezTo>
                  <a:pt x="243289" y="311811"/>
                  <a:pt x="232405" y="300384"/>
                  <a:pt x="232405" y="289500"/>
                </a:cubicBezTo>
                <a:cubicBezTo>
                  <a:pt x="232405" y="276984"/>
                  <a:pt x="242744" y="267733"/>
                  <a:pt x="254716" y="267733"/>
                </a:cubicBezTo>
                <a:close/>
                <a:moveTo>
                  <a:pt x="1941117" y="263202"/>
                </a:moveTo>
                <a:cubicBezTo>
                  <a:pt x="1937852" y="261570"/>
                  <a:pt x="1936219" y="263202"/>
                  <a:pt x="1936219" y="266467"/>
                </a:cubicBezTo>
                <a:cubicBezTo>
                  <a:pt x="1936763" y="268644"/>
                  <a:pt x="1937852" y="270276"/>
                  <a:pt x="1938396" y="272453"/>
                </a:cubicBezTo>
                <a:cubicBezTo>
                  <a:pt x="1944382" y="290955"/>
                  <a:pt x="1943838" y="308913"/>
                  <a:pt x="1932954" y="325782"/>
                </a:cubicBezTo>
                <a:cubicBezTo>
                  <a:pt x="1931866" y="327415"/>
                  <a:pt x="1931866" y="329047"/>
                  <a:pt x="1930777" y="331224"/>
                </a:cubicBezTo>
                <a:cubicBezTo>
                  <a:pt x="1932410" y="331224"/>
                  <a:pt x="1935131" y="331224"/>
                  <a:pt x="1936219" y="330136"/>
                </a:cubicBezTo>
                <a:cubicBezTo>
                  <a:pt x="1945470" y="323061"/>
                  <a:pt x="1955265" y="320885"/>
                  <a:pt x="1966693" y="320340"/>
                </a:cubicBezTo>
                <a:cubicBezTo>
                  <a:pt x="1978121" y="319796"/>
                  <a:pt x="1989004" y="323061"/>
                  <a:pt x="1998799" y="328503"/>
                </a:cubicBezTo>
                <a:cubicBezTo>
                  <a:pt x="2000432" y="329047"/>
                  <a:pt x="2001520" y="329592"/>
                  <a:pt x="2003153" y="330136"/>
                </a:cubicBezTo>
                <a:cubicBezTo>
                  <a:pt x="2002609" y="328503"/>
                  <a:pt x="2002609" y="326326"/>
                  <a:pt x="2001520" y="324694"/>
                </a:cubicBezTo>
                <a:cubicBezTo>
                  <a:pt x="1999344" y="319796"/>
                  <a:pt x="1995534" y="314899"/>
                  <a:pt x="1994446" y="309457"/>
                </a:cubicBezTo>
                <a:cubicBezTo>
                  <a:pt x="1992269" y="295308"/>
                  <a:pt x="1990093" y="281160"/>
                  <a:pt x="1998255" y="267555"/>
                </a:cubicBezTo>
                <a:cubicBezTo>
                  <a:pt x="2000432" y="267555"/>
                  <a:pt x="2000432" y="265923"/>
                  <a:pt x="2000976" y="263746"/>
                </a:cubicBezTo>
                <a:cubicBezTo>
                  <a:pt x="1998799" y="263746"/>
                  <a:pt x="1996623" y="262658"/>
                  <a:pt x="1995534" y="263746"/>
                </a:cubicBezTo>
                <a:cubicBezTo>
                  <a:pt x="1977577" y="272997"/>
                  <a:pt x="1959075" y="272997"/>
                  <a:pt x="1941117" y="263202"/>
                </a:cubicBezTo>
                <a:close/>
                <a:moveTo>
                  <a:pt x="417425" y="262291"/>
                </a:moveTo>
                <a:cubicBezTo>
                  <a:pt x="434839" y="262291"/>
                  <a:pt x="445178" y="272086"/>
                  <a:pt x="445178" y="288956"/>
                </a:cubicBezTo>
                <a:cubicBezTo>
                  <a:pt x="445178" y="305825"/>
                  <a:pt x="434839" y="316164"/>
                  <a:pt x="417969" y="317253"/>
                </a:cubicBezTo>
                <a:cubicBezTo>
                  <a:pt x="404909" y="317797"/>
                  <a:pt x="389672" y="306369"/>
                  <a:pt x="390216" y="290044"/>
                </a:cubicBezTo>
                <a:cubicBezTo>
                  <a:pt x="391305" y="272086"/>
                  <a:pt x="400011" y="262291"/>
                  <a:pt x="417425" y="262291"/>
                </a:cubicBezTo>
                <a:close/>
                <a:moveTo>
                  <a:pt x="580678" y="256304"/>
                </a:moveTo>
                <a:cubicBezTo>
                  <a:pt x="596459" y="255760"/>
                  <a:pt x="616049" y="273174"/>
                  <a:pt x="613872" y="288955"/>
                </a:cubicBezTo>
                <a:cubicBezTo>
                  <a:pt x="615505" y="304736"/>
                  <a:pt x="598635" y="322150"/>
                  <a:pt x="581222" y="322150"/>
                </a:cubicBezTo>
                <a:cubicBezTo>
                  <a:pt x="564352" y="322150"/>
                  <a:pt x="548571" y="308001"/>
                  <a:pt x="548027" y="289499"/>
                </a:cubicBezTo>
                <a:cubicBezTo>
                  <a:pt x="547483" y="272086"/>
                  <a:pt x="565441" y="256849"/>
                  <a:pt x="580678" y="256304"/>
                </a:cubicBezTo>
                <a:close/>
                <a:moveTo>
                  <a:pt x="743930" y="251951"/>
                </a:moveTo>
                <a:cubicBezTo>
                  <a:pt x="764609" y="251951"/>
                  <a:pt x="782566" y="268820"/>
                  <a:pt x="782022" y="289499"/>
                </a:cubicBezTo>
                <a:cubicBezTo>
                  <a:pt x="781478" y="311266"/>
                  <a:pt x="765153" y="326503"/>
                  <a:pt x="744474" y="326503"/>
                </a:cubicBezTo>
                <a:cubicBezTo>
                  <a:pt x="723795" y="326503"/>
                  <a:pt x="708014" y="311266"/>
                  <a:pt x="707470" y="289499"/>
                </a:cubicBezTo>
                <a:cubicBezTo>
                  <a:pt x="706926" y="271541"/>
                  <a:pt x="722163" y="252495"/>
                  <a:pt x="743930" y="251951"/>
                </a:cubicBezTo>
                <a:close/>
                <a:moveTo>
                  <a:pt x="907183" y="249775"/>
                </a:moveTo>
                <a:cubicBezTo>
                  <a:pt x="929494" y="249775"/>
                  <a:pt x="946908" y="263924"/>
                  <a:pt x="947452" y="289500"/>
                </a:cubicBezTo>
                <a:cubicBezTo>
                  <a:pt x="947996" y="311811"/>
                  <a:pt x="931127" y="330313"/>
                  <a:pt x="908271" y="329225"/>
                </a:cubicBezTo>
                <a:cubicBezTo>
                  <a:pt x="885960" y="330857"/>
                  <a:pt x="868002" y="312355"/>
                  <a:pt x="867458" y="290044"/>
                </a:cubicBezTo>
                <a:cubicBezTo>
                  <a:pt x="867458" y="266100"/>
                  <a:pt x="884872" y="249775"/>
                  <a:pt x="907183" y="249775"/>
                </a:cubicBezTo>
                <a:close/>
                <a:moveTo>
                  <a:pt x="1070435" y="245965"/>
                </a:moveTo>
                <a:cubicBezTo>
                  <a:pt x="1093291" y="245421"/>
                  <a:pt x="1116146" y="264467"/>
                  <a:pt x="1114513" y="290043"/>
                </a:cubicBezTo>
                <a:cubicBezTo>
                  <a:pt x="1115602" y="312899"/>
                  <a:pt x="1092202" y="334122"/>
                  <a:pt x="1069347" y="333578"/>
                </a:cubicBezTo>
                <a:cubicBezTo>
                  <a:pt x="1047036" y="333034"/>
                  <a:pt x="1026357" y="311266"/>
                  <a:pt x="1026357" y="288955"/>
                </a:cubicBezTo>
                <a:cubicBezTo>
                  <a:pt x="1026901" y="268276"/>
                  <a:pt x="1045403" y="245965"/>
                  <a:pt x="1070435" y="245965"/>
                </a:cubicBezTo>
                <a:close/>
                <a:moveTo>
                  <a:pt x="1233689" y="241613"/>
                </a:moveTo>
                <a:cubicBezTo>
                  <a:pt x="1257632" y="241068"/>
                  <a:pt x="1281032" y="263924"/>
                  <a:pt x="1282120" y="288412"/>
                </a:cubicBezTo>
                <a:cubicBezTo>
                  <a:pt x="1282665" y="312900"/>
                  <a:pt x="1260898" y="336299"/>
                  <a:pt x="1235321" y="335755"/>
                </a:cubicBezTo>
                <a:cubicBezTo>
                  <a:pt x="1206480" y="335211"/>
                  <a:pt x="1190155" y="318886"/>
                  <a:pt x="1187434" y="289500"/>
                </a:cubicBezTo>
                <a:cubicBezTo>
                  <a:pt x="1184713" y="266100"/>
                  <a:pt x="1208657" y="242701"/>
                  <a:pt x="1233689" y="241613"/>
                </a:cubicBezTo>
                <a:close/>
                <a:moveTo>
                  <a:pt x="1397485" y="238891"/>
                </a:moveTo>
                <a:cubicBezTo>
                  <a:pt x="1421973" y="237259"/>
                  <a:pt x="1448638" y="264467"/>
                  <a:pt x="1448094" y="288955"/>
                </a:cubicBezTo>
                <a:cubicBezTo>
                  <a:pt x="1447005" y="312355"/>
                  <a:pt x="1424150" y="341196"/>
                  <a:pt x="1398029" y="338475"/>
                </a:cubicBezTo>
                <a:cubicBezTo>
                  <a:pt x="1372453" y="340652"/>
                  <a:pt x="1347421" y="315620"/>
                  <a:pt x="1348509" y="289499"/>
                </a:cubicBezTo>
                <a:cubicBezTo>
                  <a:pt x="1349598" y="261202"/>
                  <a:pt x="1369732" y="240524"/>
                  <a:pt x="1397485" y="238891"/>
                </a:cubicBezTo>
                <a:close/>
                <a:moveTo>
                  <a:pt x="1559650" y="237258"/>
                </a:moveTo>
                <a:cubicBezTo>
                  <a:pt x="1590668" y="236170"/>
                  <a:pt x="1611891" y="259570"/>
                  <a:pt x="1613523" y="288955"/>
                </a:cubicBezTo>
                <a:cubicBezTo>
                  <a:pt x="1613523" y="316164"/>
                  <a:pt x="1587403" y="342829"/>
                  <a:pt x="1560738" y="342829"/>
                </a:cubicBezTo>
                <a:cubicBezTo>
                  <a:pt x="1534618" y="342829"/>
                  <a:pt x="1505776" y="315620"/>
                  <a:pt x="1507953" y="289499"/>
                </a:cubicBezTo>
                <a:cubicBezTo>
                  <a:pt x="1510130" y="261202"/>
                  <a:pt x="1526455" y="238347"/>
                  <a:pt x="1559650" y="237258"/>
                </a:cubicBezTo>
                <a:close/>
                <a:moveTo>
                  <a:pt x="9837" y="198078"/>
                </a:moveTo>
                <a:cubicBezTo>
                  <a:pt x="14190" y="198078"/>
                  <a:pt x="19632" y="202976"/>
                  <a:pt x="19632" y="207873"/>
                </a:cubicBezTo>
                <a:cubicBezTo>
                  <a:pt x="19632" y="212227"/>
                  <a:pt x="14190" y="217668"/>
                  <a:pt x="10381" y="218213"/>
                </a:cubicBezTo>
                <a:cubicBezTo>
                  <a:pt x="5483" y="218757"/>
                  <a:pt x="-503" y="212771"/>
                  <a:pt x="42" y="207873"/>
                </a:cubicBezTo>
                <a:cubicBezTo>
                  <a:pt x="42" y="202976"/>
                  <a:pt x="5483" y="198078"/>
                  <a:pt x="9837" y="198078"/>
                </a:cubicBezTo>
                <a:close/>
                <a:moveTo>
                  <a:pt x="173090" y="187739"/>
                </a:moveTo>
                <a:cubicBezTo>
                  <a:pt x="183429" y="188283"/>
                  <a:pt x="192136" y="196990"/>
                  <a:pt x="192136" y="207329"/>
                </a:cubicBezTo>
                <a:cubicBezTo>
                  <a:pt x="192136" y="217669"/>
                  <a:pt x="182341" y="228008"/>
                  <a:pt x="172546" y="227464"/>
                </a:cubicBezTo>
                <a:cubicBezTo>
                  <a:pt x="163839" y="226920"/>
                  <a:pt x="154588" y="217669"/>
                  <a:pt x="154044" y="208418"/>
                </a:cubicBezTo>
                <a:cubicBezTo>
                  <a:pt x="153500" y="198078"/>
                  <a:pt x="162751" y="187739"/>
                  <a:pt x="173090" y="187739"/>
                </a:cubicBezTo>
                <a:close/>
                <a:moveTo>
                  <a:pt x="336887" y="182297"/>
                </a:moveTo>
                <a:cubicBezTo>
                  <a:pt x="350491" y="182841"/>
                  <a:pt x="361919" y="191548"/>
                  <a:pt x="363007" y="207329"/>
                </a:cubicBezTo>
                <a:cubicBezTo>
                  <a:pt x="363551" y="219845"/>
                  <a:pt x="349947" y="233449"/>
                  <a:pt x="336887" y="233994"/>
                </a:cubicBezTo>
                <a:cubicBezTo>
                  <a:pt x="324371" y="233994"/>
                  <a:pt x="311311" y="221478"/>
                  <a:pt x="310766" y="208961"/>
                </a:cubicBezTo>
                <a:cubicBezTo>
                  <a:pt x="310222" y="195357"/>
                  <a:pt x="323282" y="181753"/>
                  <a:pt x="336887" y="182297"/>
                </a:cubicBezTo>
                <a:close/>
                <a:moveTo>
                  <a:pt x="1856225" y="180487"/>
                </a:moveTo>
                <a:cubicBezTo>
                  <a:pt x="1856225" y="182664"/>
                  <a:pt x="1855137" y="184841"/>
                  <a:pt x="1855681" y="185929"/>
                </a:cubicBezTo>
                <a:cubicBezTo>
                  <a:pt x="1863844" y="206064"/>
                  <a:pt x="1863844" y="226198"/>
                  <a:pt x="1851872" y="244700"/>
                </a:cubicBezTo>
                <a:cubicBezTo>
                  <a:pt x="1851328" y="245788"/>
                  <a:pt x="1851328" y="246877"/>
                  <a:pt x="1851328" y="247965"/>
                </a:cubicBezTo>
                <a:cubicBezTo>
                  <a:pt x="1852416" y="247965"/>
                  <a:pt x="1854049" y="247965"/>
                  <a:pt x="1854593" y="247421"/>
                </a:cubicBezTo>
                <a:cubicBezTo>
                  <a:pt x="1868197" y="237082"/>
                  <a:pt x="1883434" y="237082"/>
                  <a:pt x="1899215" y="238714"/>
                </a:cubicBezTo>
                <a:cubicBezTo>
                  <a:pt x="1904113" y="239258"/>
                  <a:pt x="1909010" y="241979"/>
                  <a:pt x="1913908" y="243067"/>
                </a:cubicBezTo>
                <a:cubicBezTo>
                  <a:pt x="1915541" y="243612"/>
                  <a:pt x="1917173" y="242523"/>
                  <a:pt x="1918806" y="242523"/>
                </a:cubicBezTo>
                <a:cubicBezTo>
                  <a:pt x="1918806" y="240891"/>
                  <a:pt x="1918806" y="239258"/>
                  <a:pt x="1918261" y="238170"/>
                </a:cubicBezTo>
                <a:cubicBezTo>
                  <a:pt x="1908466" y="220756"/>
                  <a:pt x="1910099" y="203887"/>
                  <a:pt x="1917173" y="185929"/>
                </a:cubicBezTo>
                <a:cubicBezTo>
                  <a:pt x="1917717" y="184297"/>
                  <a:pt x="1917717" y="183208"/>
                  <a:pt x="1918261" y="181576"/>
                </a:cubicBezTo>
                <a:cubicBezTo>
                  <a:pt x="1916629" y="182120"/>
                  <a:pt x="1914996" y="182120"/>
                  <a:pt x="1913908" y="182664"/>
                </a:cubicBezTo>
                <a:cubicBezTo>
                  <a:pt x="1895950" y="189738"/>
                  <a:pt x="1877992" y="190827"/>
                  <a:pt x="1860579" y="180487"/>
                </a:cubicBezTo>
                <a:cubicBezTo>
                  <a:pt x="1858946" y="181031"/>
                  <a:pt x="1857858" y="181031"/>
                  <a:pt x="1856225" y="180487"/>
                </a:cubicBezTo>
                <a:close/>
                <a:moveTo>
                  <a:pt x="499595" y="175767"/>
                </a:moveTo>
                <a:cubicBezTo>
                  <a:pt x="514832" y="175767"/>
                  <a:pt x="531702" y="193181"/>
                  <a:pt x="531158" y="207874"/>
                </a:cubicBezTo>
                <a:cubicBezTo>
                  <a:pt x="530613" y="223110"/>
                  <a:pt x="513744" y="239980"/>
                  <a:pt x="498507" y="238347"/>
                </a:cubicBezTo>
                <a:cubicBezTo>
                  <a:pt x="479461" y="236715"/>
                  <a:pt x="469666" y="224743"/>
                  <a:pt x="468033" y="207329"/>
                </a:cubicBezTo>
                <a:cubicBezTo>
                  <a:pt x="466945" y="192636"/>
                  <a:pt x="484903" y="175767"/>
                  <a:pt x="499595" y="175767"/>
                </a:cubicBezTo>
                <a:close/>
                <a:moveTo>
                  <a:pt x="662304" y="173046"/>
                </a:moveTo>
                <a:cubicBezTo>
                  <a:pt x="683527" y="171958"/>
                  <a:pt x="698220" y="189916"/>
                  <a:pt x="697676" y="207873"/>
                </a:cubicBezTo>
                <a:cubicBezTo>
                  <a:pt x="697131" y="227464"/>
                  <a:pt x="684615" y="243245"/>
                  <a:pt x="662304" y="242156"/>
                </a:cubicBezTo>
                <a:cubicBezTo>
                  <a:pt x="639993" y="241612"/>
                  <a:pt x="628565" y="229096"/>
                  <a:pt x="628021" y="207873"/>
                </a:cubicBezTo>
                <a:cubicBezTo>
                  <a:pt x="628021" y="187739"/>
                  <a:pt x="642714" y="172502"/>
                  <a:pt x="662304" y="173046"/>
                </a:cubicBezTo>
                <a:close/>
                <a:moveTo>
                  <a:pt x="826645" y="168148"/>
                </a:moveTo>
                <a:cubicBezTo>
                  <a:pt x="844602" y="168148"/>
                  <a:pt x="867458" y="187194"/>
                  <a:pt x="864737" y="207329"/>
                </a:cubicBezTo>
                <a:cubicBezTo>
                  <a:pt x="867458" y="229096"/>
                  <a:pt x="844058" y="247054"/>
                  <a:pt x="826100" y="247054"/>
                </a:cubicBezTo>
                <a:cubicBezTo>
                  <a:pt x="808687" y="247054"/>
                  <a:pt x="787464" y="228552"/>
                  <a:pt x="787464" y="207873"/>
                </a:cubicBezTo>
                <a:cubicBezTo>
                  <a:pt x="787464" y="187194"/>
                  <a:pt x="807054" y="168148"/>
                  <a:pt x="826645" y="168148"/>
                </a:cubicBezTo>
                <a:close/>
                <a:moveTo>
                  <a:pt x="987721" y="164883"/>
                </a:moveTo>
                <a:cubicBezTo>
                  <a:pt x="1012209" y="164339"/>
                  <a:pt x="1030711" y="181753"/>
                  <a:pt x="1031799" y="207329"/>
                </a:cubicBezTo>
                <a:cubicBezTo>
                  <a:pt x="1031255" y="232361"/>
                  <a:pt x="1011665" y="250319"/>
                  <a:pt x="988809" y="250319"/>
                </a:cubicBezTo>
                <a:cubicBezTo>
                  <a:pt x="965954" y="250319"/>
                  <a:pt x="946364" y="231273"/>
                  <a:pt x="945819" y="208417"/>
                </a:cubicBezTo>
                <a:cubicBezTo>
                  <a:pt x="945275" y="185018"/>
                  <a:pt x="962689" y="165428"/>
                  <a:pt x="987721" y="164883"/>
                </a:cubicBezTo>
                <a:close/>
                <a:moveTo>
                  <a:pt x="1153150" y="162707"/>
                </a:moveTo>
                <a:cubicBezTo>
                  <a:pt x="1177638" y="161619"/>
                  <a:pt x="1197772" y="180665"/>
                  <a:pt x="1197772" y="207874"/>
                </a:cubicBezTo>
                <a:cubicBezTo>
                  <a:pt x="1197772" y="235083"/>
                  <a:pt x="1176005" y="253584"/>
                  <a:pt x="1151517" y="253584"/>
                </a:cubicBezTo>
                <a:cubicBezTo>
                  <a:pt x="1128118" y="253040"/>
                  <a:pt x="1106895" y="234538"/>
                  <a:pt x="1107439" y="207329"/>
                </a:cubicBezTo>
                <a:cubicBezTo>
                  <a:pt x="1107983" y="179576"/>
                  <a:pt x="1129206" y="161075"/>
                  <a:pt x="1153150" y="162707"/>
                </a:cubicBezTo>
                <a:close/>
                <a:moveTo>
                  <a:pt x="1315315" y="158353"/>
                </a:moveTo>
                <a:cubicBezTo>
                  <a:pt x="1341435" y="156177"/>
                  <a:pt x="1365923" y="184474"/>
                  <a:pt x="1365379" y="206785"/>
                </a:cubicBezTo>
                <a:cubicBezTo>
                  <a:pt x="1365379" y="229640"/>
                  <a:pt x="1344156" y="256849"/>
                  <a:pt x="1315859" y="256305"/>
                </a:cubicBezTo>
                <a:cubicBezTo>
                  <a:pt x="1290283" y="256305"/>
                  <a:pt x="1267427" y="233994"/>
                  <a:pt x="1266883" y="207873"/>
                </a:cubicBezTo>
                <a:cubicBezTo>
                  <a:pt x="1265795" y="181209"/>
                  <a:pt x="1292460" y="157265"/>
                  <a:pt x="1315315" y="158353"/>
                </a:cubicBezTo>
                <a:close/>
                <a:moveTo>
                  <a:pt x="1478567" y="156721"/>
                </a:moveTo>
                <a:cubicBezTo>
                  <a:pt x="1510129" y="156721"/>
                  <a:pt x="1530264" y="180665"/>
                  <a:pt x="1529720" y="207329"/>
                </a:cubicBezTo>
                <a:cubicBezTo>
                  <a:pt x="1530264" y="236715"/>
                  <a:pt x="1510129" y="258482"/>
                  <a:pt x="1478567" y="258482"/>
                </a:cubicBezTo>
                <a:cubicBezTo>
                  <a:pt x="1449182" y="257938"/>
                  <a:pt x="1428503" y="238892"/>
                  <a:pt x="1427959" y="207874"/>
                </a:cubicBezTo>
                <a:cubicBezTo>
                  <a:pt x="1427415" y="179576"/>
                  <a:pt x="1447549" y="156721"/>
                  <a:pt x="1478567" y="156721"/>
                </a:cubicBezTo>
                <a:close/>
                <a:moveTo>
                  <a:pt x="1644541" y="153456"/>
                </a:moveTo>
                <a:cubicBezTo>
                  <a:pt x="1672294" y="154544"/>
                  <a:pt x="1697870" y="180665"/>
                  <a:pt x="1697326" y="209506"/>
                </a:cubicBezTo>
                <a:cubicBezTo>
                  <a:pt x="1696782" y="238347"/>
                  <a:pt x="1669573" y="263924"/>
                  <a:pt x="1641276" y="262835"/>
                </a:cubicBezTo>
                <a:cubicBezTo>
                  <a:pt x="1612979" y="261203"/>
                  <a:pt x="1587402" y="236715"/>
                  <a:pt x="1587947" y="206785"/>
                </a:cubicBezTo>
                <a:cubicBezTo>
                  <a:pt x="1587947" y="180121"/>
                  <a:pt x="1613523" y="152368"/>
                  <a:pt x="1644541" y="153456"/>
                </a:cubicBezTo>
                <a:close/>
                <a:moveTo>
                  <a:pt x="91463" y="109922"/>
                </a:moveTo>
                <a:cubicBezTo>
                  <a:pt x="97993" y="109922"/>
                  <a:pt x="107244" y="119173"/>
                  <a:pt x="107244" y="126247"/>
                </a:cubicBezTo>
                <a:cubicBezTo>
                  <a:pt x="107788" y="132777"/>
                  <a:pt x="98537" y="142028"/>
                  <a:pt x="91463" y="142028"/>
                </a:cubicBezTo>
                <a:cubicBezTo>
                  <a:pt x="83845" y="142028"/>
                  <a:pt x="75682" y="133866"/>
                  <a:pt x="75682" y="126247"/>
                </a:cubicBezTo>
                <a:cubicBezTo>
                  <a:pt x="75682" y="118629"/>
                  <a:pt x="84389" y="109922"/>
                  <a:pt x="91463" y="109922"/>
                </a:cubicBezTo>
                <a:close/>
                <a:moveTo>
                  <a:pt x="1942341" y="104915"/>
                </a:moveTo>
                <a:cubicBezTo>
                  <a:pt x="1941389" y="105799"/>
                  <a:pt x="1941389" y="107840"/>
                  <a:pt x="1942205" y="111377"/>
                </a:cubicBezTo>
                <a:cubicBezTo>
                  <a:pt x="1943294" y="118451"/>
                  <a:pt x="1944926" y="124437"/>
                  <a:pt x="1946559" y="131511"/>
                </a:cubicBezTo>
                <a:cubicBezTo>
                  <a:pt x="1944382" y="139674"/>
                  <a:pt x="1941661" y="148381"/>
                  <a:pt x="1939484" y="157088"/>
                </a:cubicBezTo>
                <a:cubicBezTo>
                  <a:pt x="1939484" y="158176"/>
                  <a:pt x="1941117" y="160353"/>
                  <a:pt x="1941117" y="160353"/>
                </a:cubicBezTo>
                <a:cubicBezTo>
                  <a:pt x="1955810" y="154367"/>
                  <a:pt x="1971046" y="150558"/>
                  <a:pt x="1986828" y="157088"/>
                </a:cubicBezTo>
                <a:cubicBezTo>
                  <a:pt x="1987372" y="157088"/>
                  <a:pt x="1987916" y="157088"/>
                  <a:pt x="1987916" y="157088"/>
                </a:cubicBezTo>
                <a:cubicBezTo>
                  <a:pt x="1994990" y="157632"/>
                  <a:pt x="1996623" y="155999"/>
                  <a:pt x="1993902" y="150013"/>
                </a:cubicBezTo>
                <a:cubicBezTo>
                  <a:pt x="1988460" y="136409"/>
                  <a:pt x="1988460" y="123349"/>
                  <a:pt x="1993902" y="109744"/>
                </a:cubicBezTo>
                <a:cubicBezTo>
                  <a:pt x="1995534" y="105935"/>
                  <a:pt x="1994446" y="103214"/>
                  <a:pt x="1989004" y="105391"/>
                </a:cubicBezTo>
                <a:cubicBezTo>
                  <a:pt x="1975400" y="109744"/>
                  <a:pt x="1961796" y="109744"/>
                  <a:pt x="1948191" y="105391"/>
                </a:cubicBezTo>
                <a:cubicBezTo>
                  <a:pt x="1945198" y="104303"/>
                  <a:pt x="1943294" y="104031"/>
                  <a:pt x="1942341" y="104915"/>
                </a:cubicBezTo>
                <a:close/>
                <a:moveTo>
                  <a:pt x="255804" y="103392"/>
                </a:moveTo>
                <a:cubicBezTo>
                  <a:pt x="269409" y="103392"/>
                  <a:pt x="277571" y="112643"/>
                  <a:pt x="277571" y="126791"/>
                </a:cubicBezTo>
                <a:cubicBezTo>
                  <a:pt x="277027" y="139852"/>
                  <a:pt x="267776" y="148558"/>
                  <a:pt x="254172" y="148014"/>
                </a:cubicBezTo>
                <a:cubicBezTo>
                  <a:pt x="241112" y="148014"/>
                  <a:pt x="231861" y="138763"/>
                  <a:pt x="232405" y="125159"/>
                </a:cubicBezTo>
                <a:cubicBezTo>
                  <a:pt x="232405" y="112099"/>
                  <a:pt x="242200" y="102848"/>
                  <a:pt x="255804" y="103392"/>
                </a:cubicBezTo>
                <a:close/>
                <a:moveTo>
                  <a:pt x="1773511" y="99405"/>
                </a:moveTo>
                <a:cubicBezTo>
                  <a:pt x="1773511" y="102126"/>
                  <a:pt x="1772966" y="104303"/>
                  <a:pt x="1773511" y="107023"/>
                </a:cubicBezTo>
                <a:cubicBezTo>
                  <a:pt x="1776232" y="114098"/>
                  <a:pt x="1778408" y="121716"/>
                  <a:pt x="1780585" y="130423"/>
                </a:cubicBezTo>
                <a:cubicBezTo>
                  <a:pt x="1778408" y="139130"/>
                  <a:pt x="1775687" y="147293"/>
                  <a:pt x="1773511" y="155999"/>
                </a:cubicBezTo>
                <a:cubicBezTo>
                  <a:pt x="1772966" y="157632"/>
                  <a:pt x="1772966" y="160897"/>
                  <a:pt x="1774055" y="161985"/>
                </a:cubicBezTo>
                <a:cubicBezTo>
                  <a:pt x="1775143" y="163074"/>
                  <a:pt x="1778408" y="163074"/>
                  <a:pt x="1780041" y="162529"/>
                </a:cubicBezTo>
                <a:cubicBezTo>
                  <a:pt x="1789836" y="155455"/>
                  <a:pt x="1800719" y="157632"/>
                  <a:pt x="1811059" y="157632"/>
                </a:cubicBezTo>
                <a:cubicBezTo>
                  <a:pt x="1817589" y="157632"/>
                  <a:pt x="1824119" y="156543"/>
                  <a:pt x="1829561" y="161985"/>
                </a:cubicBezTo>
                <a:cubicBezTo>
                  <a:pt x="1830649" y="163074"/>
                  <a:pt x="1834458" y="161985"/>
                  <a:pt x="1836635" y="161985"/>
                </a:cubicBezTo>
                <a:cubicBezTo>
                  <a:pt x="1835547" y="160353"/>
                  <a:pt x="1835002" y="158720"/>
                  <a:pt x="1833914" y="157088"/>
                </a:cubicBezTo>
                <a:cubicBezTo>
                  <a:pt x="1826840" y="139674"/>
                  <a:pt x="1826296" y="121716"/>
                  <a:pt x="1834458" y="104303"/>
                </a:cubicBezTo>
                <a:cubicBezTo>
                  <a:pt x="1835002" y="102670"/>
                  <a:pt x="1835547" y="101038"/>
                  <a:pt x="1835547" y="99405"/>
                </a:cubicBezTo>
                <a:cubicBezTo>
                  <a:pt x="1833914" y="99949"/>
                  <a:pt x="1832282" y="99949"/>
                  <a:pt x="1831193" y="101038"/>
                </a:cubicBezTo>
                <a:cubicBezTo>
                  <a:pt x="1814324" y="109200"/>
                  <a:pt x="1797454" y="109200"/>
                  <a:pt x="1780041" y="101582"/>
                </a:cubicBezTo>
                <a:cubicBezTo>
                  <a:pt x="1777864" y="100493"/>
                  <a:pt x="1775687" y="100493"/>
                  <a:pt x="1773511" y="99405"/>
                </a:cubicBezTo>
                <a:close/>
                <a:moveTo>
                  <a:pt x="417424" y="97950"/>
                </a:moveTo>
                <a:cubicBezTo>
                  <a:pt x="435382" y="97950"/>
                  <a:pt x="445721" y="108289"/>
                  <a:pt x="445721" y="126247"/>
                </a:cubicBezTo>
                <a:cubicBezTo>
                  <a:pt x="445721" y="143661"/>
                  <a:pt x="435382" y="153456"/>
                  <a:pt x="417424" y="153456"/>
                </a:cubicBezTo>
                <a:cubicBezTo>
                  <a:pt x="402187" y="155088"/>
                  <a:pt x="389127" y="141484"/>
                  <a:pt x="390215" y="125159"/>
                </a:cubicBezTo>
                <a:cubicBezTo>
                  <a:pt x="391304" y="107745"/>
                  <a:pt x="400555" y="97950"/>
                  <a:pt x="417424" y="97950"/>
                </a:cubicBezTo>
                <a:close/>
                <a:moveTo>
                  <a:pt x="580677" y="92508"/>
                </a:moveTo>
                <a:cubicBezTo>
                  <a:pt x="599724" y="92508"/>
                  <a:pt x="613328" y="106112"/>
                  <a:pt x="614960" y="125159"/>
                </a:cubicBezTo>
                <a:cubicBezTo>
                  <a:pt x="616049" y="141484"/>
                  <a:pt x="598091" y="161618"/>
                  <a:pt x="581766" y="158353"/>
                </a:cubicBezTo>
                <a:cubicBezTo>
                  <a:pt x="561631" y="158353"/>
                  <a:pt x="548571" y="145293"/>
                  <a:pt x="548571" y="125703"/>
                </a:cubicBezTo>
                <a:cubicBezTo>
                  <a:pt x="548571" y="106657"/>
                  <a:pt x="562175" y="92508"/>
                  <a:pt x="580677" y="92508"/>
                </a:cubicBezTo>
                <a:close/>
                <a:moveTo>
                  <a:pt x="745019" y="88154"/>
                </a:moveTo>
                <a:cubicBezTo>
                  <a:pt x="763521" y="87610"/>
                  <a:pt x="783111" y="107745"/>
                  <a:pt x="782567" y="126791"/>
                </a:cubicBezTo>
                <a:cubicBezTo>
                  <a:pt x="782023" y="147469"/>
                  <a:pt x="761344" y="164339"/>
                  <a:pt x="743930" y="164339"/>
                </a:cubicBezTo>
                <a:cubicBezTo>
                  <a:pt x="723796" y="163795"/>
                  <a:pt x="705838" y="144204"/>
                  <a:pt x="706382" y="125702"/>
                </a:cubicBezTo>
                <a:cubicBezTo>
                  <a:pt x="706926" y="109377"/>
                  <a:pt x="723252" y="87066"/>
                  <a:pt x="745019" y="88154"/>
                </a:cubicBezTo>
                <a:close/>
                <a:moveTo>
                  <a:pt x="1685898" y="84712"/>
                </a:moveTo>
                <a:lnTo>
                  <a:pt x="1685681" y="85147"/>
                </a:lnTo>
                <a:lnTo>
                  <a:pt x="1685354" y="85256"/>
                </a:lnTo>
                <a:cubicBezTo>
                  <a:pt x="1685354" y="85256"/>
                  <a:pt x="1685898" y="84712"/>
                  <a:pt x="1685898" y="84712"/>
                </a:cubicBezTo>
                <a:close/>
                <a:moveTo>
                  <a:pt x="907183" y="84345"/>
                </a:moveTo>
                <a:cubicBezTo>
                  <a:pt x="916978" y="84345"/>
                  <a:pt x="926773" y="87610"/>
                  <a:pt x="934935" y="95228"/>
                </a:cubicBezTo>
                <a:cubicBezTo>
                  <a:pt x="944187" y="103935"/>
                  <a:pt x="946907" y="114819"/>
                  <a:pt x="949628" y="125158"/>
                </a:cubicBezTo>
                <a:cubicBezTo>
                  <a:pt x="946907" y="150190"/>
                  <a:pt x="932759" y="166515"/>
                  <a:pt x="908271" y="167060"/>
                </a:cubicBezTo>
                <a:cubicBezTo>
                  <a:pt x="884871" y="167604"/>
                  <a:pt x="867458" y="150734"/>
                  <a:pt x="866369" y="125702"/>
                </a:cubicBezTo>
                <a:cubicBezTo>
                  <a:pt x="865825" y="103935"/>
                  <a:pt x="884871" y="83801"/>
                  <a:pt x="907183" y="84345"/>
                </a:cubicBezTo>
                <a:close/>
                <a:moveTo>
                  <a:pt x="1070979" y="82169"/>
                </a:moveTo>
                <a:cubicBezTo>
                  <a:pt x="1095467" y="79448"/>
                  <a:pt x="1115602" y="103936"/>
                  <a:pt x="1115602" y="126247"/>
                </a:cubicBezTo>
                <a:cubicBezTo>
                  <a:pt x="1115602" y="148014"/>
                  <a:pt x="1094923" y="170325"/>
                  <a:pt x="1071524" y="170325"/>
                </a:cubicBezTo>
                <a:cubicBezTo>
                  <a:pt x="1047580" y="170325"/>
                  <a:pt x="1026357" y="148558"/>
                  <a:pt x="1026357" y="125703"/>
                </a:cubicBezTo>
                <a:cubicBezTo>
                  <a:pt x="1026357" y="103936"/>
                  <a:pt x="1047036" y="79448"/>
                  <a:pt x="1070979" y="82169"/>
                </a:cubicBezTo>
                <a:close/>
                <a:moveTo>
                  <a:pt x="1684811" y="82168"/>
                </a:moveTo>
                <a:cubicBezTo>
                  <a:pt x="1684811" y="82168"/>
                  <a:pt x="1684266" y="82713"/>
                  <a:pt x="1684266" y="82713"/>
                </a:cubicBezTo>
                <a:lnTo>
                  <a:pt x="1684469" y="82365"/>
                </a:lnTo>
                <a:close/>
                <a:moveTo>
                  <a:pt x="1234777" y="78360"/>
                </a:moveTo>
                <a:cubicBezTo>
                  <a:pt x="1259809" y="76727"/>
                  <a:pt x="1284297" y="101759"/>
                  <a:pt x="1282664" y="126791"/>
                </a:cubicBezTo>
                <a:cubicBezTo>
                  <a:pt x="1280487" y="152912"/>
                  <a:pt x="1264162" y="171958"/>
                  <a:pt x="1234232" y="174135"/>
                </a:cubicBezTo>
                <a:cubicBezTo>
                  <a:pt x="1205935" y="172502"/>
                  <a:pt x="1186345" y="153456"/>
                  <a:pt x="1186889" y="126791"/>
                </a:cubicBezTo>
                <a:cubicBezTo>
                  <a:pt x="1187433" y="96318"/>
                  <a:pt x="1207024" y="79992"/>
                  <a:pt x="1234777" y="78360"/>
                </a:cubicBezTo>
                <a:close/>
                <a:moveTo>
                  <a:pt x="1398574" y="76182"/>
                </a:moveTo>
                <a:cubicBezTo>
                  <a:pt x="1424150" y="74006"/>
                  <a:pt x="1448638" y="99582"/>
                  <a:pt x="1448094" y="127335"/>
                </a:cubicBezTo>
                <a:cubicBezTo>
                  <a:pt x="1447549" y="151823"/>
                  <a:pt x="1426327" y="176311"/>
                  <a:pt x="1396941" y="175766"/>
                </a:cubicBezTo>
                <a:cubicBezTo>
                  <a:pt x="1367011" y="175222"/>
                  <a:pt x="1347421" y="151278"/>
                  <a:pt x="1347421" y="125702"/>
                </a:cubicBezTo>
                <a:cubicBezTo>
                  <a:pt x="1347421" y="99038"/>
                  <a:pt x="1369732" y="74006"/>
                  <a:pt x="1398574" y="76182"/>
                </a:cubicBezTo>
                <a:close/>
                <a:moveTo>
                  <a:pt x="1561282" y="72373"/>
                </a:moveTo>
                <a:cubicBezTo>
                  <a:pt x="1588491" y="72373"/>
                  <a:pt x="1614611" y="96861"/>
                  <a:pt x="1614611" y="126247"/>
                </a:cubicBezTo>
                <a:cubicBezTo>
                  <a:pt x="1614067" y="155632"/>
                  <a:pt x="1590667" y="180120"/>
                  <a:pt x="1560738" y="179576"/>
                </a:cubicBezTo>
                <a:cubicBezTo>
                  <a:pt x="1530808" y="179576"/>
                  <a:pt x="1507953" y="156176"/>
                  <a:pt x="1507409" y="126247"/>
                </a:cubicBezTo>
                <a:cubicBezTo>
                  <a:pt x="1506864" y="96861"/>
                  <a:pt x="1532441" y="72373"/>
                  <a:pt x="1561282" y="72373"/>
                </a:cubicBezTo>
                <a:close/>
                <a:moveTo>
                  <a:pt x="10381" y="33737"/>
                </a:moveTo>
                <a:cubicBezTo>
                  <a:pt x="15822" y="33737"/>
                  <a:pt x="20720" y="39179"/>
                  <a:pt x="20720" y="45165"/>
                </a:cubicBezTo>
                <a:cubicBezTo>
                  <a:pt x="20176" y="50606"/>
                  <a:pt x="14734" y="55504"/>
                  <a:pt x="9292" y="54960"/>
                </a:cubicBezTo>
                <a:cubicBezTo>
                  <a:pt x="4395" y="54416"/>
                  <a:pt x="41" y="49518"/>
                  <a:pt x="41" y="44621"/>
                </a:cubicBezTo>
                <a:cubicBezTo>
                  <a:pt x="-503" y="38635"/>
                  <a:pt x="4395" y="33737"/>
                  <a:pt x="10381" y="33737"/>
                </a:cubicBezTo>
                <a:close/>
                <a:moveTo>
                  <a:pt x="172546" y="23942"/>
                </a:moveTo>
                <a:cubicBezTo>
                  <a:pt x="181796" y="22854"/>
                  <a:pt x="193224" y="34826"/>
                  <a:pt x="193224" y="44621"/>
                </a:cubicBezTo>
                <a:cubicBezTo>
                  <a:pt x="193224" y="53872"/>
                  <a:pt x="182341" y="64755"/>
                  <a:pt x="173090" y="64755"/>
                </a:cubicBezTo>
                <a:cubicBezTo>
                  <a:pt x="164383" y="64755"/>
                  <a:pt x="152411" y="52784"/>
                  <a:pt x="152411" y="44621"/>
                </a:cubicBezTo>
                <a:cubicBezTo>
                  <a:pt x="152411" y="36458"/>
                  <a:pt x="164927" y="24486"/>
                  <a:pt x="172546" y="23942"/>
                </a:cubicBezTo>
                <a:close/>
                <a:moveTo>
                  <a:pt x="1861123" y="22132"/>
                </a:moveTo>
                <a:cubicBezTo>
                  <a:pt x="1861123" y="26485"/>
                  <a:pt x="1860035" y="31383"/>
                  <a:pt x="1861123" y="35737"/>
                </a:cubicBezTo>
                <a:cubicBezTo>
                  <a:pt x="1863844" y="44443"/>
                  <a:pt x="1864932" y="52606"/>
                  <a:pt x="1861123" y="61313"/>
                </a:cubicBezTo>
                <a:cubicBezTo>
                  <a:pt x="1860035" y="64034"/>
                  <a:pt x="1860035" y="67299"/>
                  <a:pt x="1858946" y="72740"/>
                </a:cubicBezTo>
                <a:cubicBezTo>
                  <a:pt x="1858402" y="76550"/>
                  <a:pt x="1861123" y="77638"/>
                  <a:pt x="1866021" y="76550"/>
                </a:cubicBezTo>
                <a:cubicBezTo>
                  <a:pt x="1868741" y="76006"/>
                  <a:pt x="1871462" y="76006"/>
                  <a:pt x="1873639" y="74917"/>
                </a:cubicBezTo>
                <a:cubicBezTo>
                  <a:pt x="1882346" y="71108"/>
                  <a:pt x="1891053" y="71108"/>
                  <a:pt x="1900304" y="74373"/>
                </a:cubicBezTo>
                <a:cubicBezTo>
                  <a:pt x="1902480" y="75461"/>
                  <a:pt x="1905201" y="76006"/>
                  <a:pt x="1907922" y="76006"/>
                </a:cubicBezTo>
                <a:cubicBezTo>
                  <a:pt x="1912276" y="76550"/>
                  <a:pt x="1914996" y="75461"/>
                  <a:pt x="1912820" y="70020"/>
                </a:cubicBezTo>
                <a:cubicBezTo>
                  <a:pt x="1907378" y="55871"/>
                  <a:pt x="1906834" y="41178"/>
                  <a:pt x="1912820" y="27030"/>
                </a:cubicBezTo>
                <a:cubicBezTo>
                  <a:pt x="1914996" y="22132"/>
                  <a:pt x="1911731" y="21588"/>
                  <a:pt x="1908466" y="22132"/>
                </a:cubicBezTo>
                <a:cubicBezTo>
                  <a:pt x="1906290" y="22676"/>
                  <a:pt x="1904657" y="24309"/>
                  <a:pt x="1902480" y="24309"/>
                </a:cubicBezTo>
                <a:cubicBezTo>
                  <a:pt x="1892685" y="24309"/>
                  <a:pt x="1882890" y="24853"/>
                  <a:pt x="1873095" y="24309"/>
                </a:cubicBezTo>
                <a:cubicBezTo>
                  <a:pt x="1868741" y="24309"/>
                  <a:pt x="1864932" y="22676"/>
                  <a:pt x="1861123" y="22132"/>
                </a:cubicBezTo>
                <a:close/>
                <a:moveTo>
                  <a:pt x="336886" y="17412"/>
                </a:moveTo>
                <a:cubicBezTo>
                  <a:pt x="347770" y="17412"/>
                  <a:pt x="363551" y="31016"/>
                  <a:pt x="363007" y="44077"/>
                </a:cubicBezTo>
                <a:cubicBezTo>
                  <a:pt x="363007" y="57681"/>
                  <a:pt x="350491" y="70741"/>
                  <a:pt x="337431" y="71285"/>
                </a:cubicBezTo>
                <a:cubicBezTo>
                  <a:pt x="324370" y="71830"/>
                  <a:pt x="310766" y="58769"/>
                  <a:pt x="310222" y="45165"/>
                </a:cubicBezTo>
                <a:cubicBezTo>
                  <a:pt x="309678" y="31016"/>
                  <a:pt x="323282" y="17956"/>
                  <a:pt x="336886" y="17412"/>
                </a:cubicBezTo>
                <a:close/>
                <a:moveTo>
                  <a:pt x="498507" y="13059"/>
                </a:moveTo>
                <a:cubicBezTo>
                  <a:pt x="514832" y="11970"/>
                  <a:pt x="531702" y="28296"/>
                  <a:pt x="531702" y="44621"/>
                </a:cubicBezTo>
                <a:cubicBezTo>
                  <a:pt x="531702" y="60402"/>
                  <a:pt x="515376" y="76183"/>
                  <a:pt x="499595" y="76727"/>
                </a:cubicBezTo>
                <a:cubicBezTo>
                  <a:pt x="483270" y="76727"/>
                  <a:pt x="467489" y="61490"/>
                  <a:pt x="467489" y="45165"/>
                </a:cubicBezTo>
                <a:cubicBezTo>
                  <a:pt x="467489" y="28840"/>
                  <a:pt x="482182" y="13059"/>
                  <a:pt x="498507" y="13059"/>
                </a:cubicBezTo>
                <a:close/>
                <a:moveTo>
                  <a:pt x="662303" y="7616"/>
                </a:moveTo>
                <a:cubicBezTo>
                  <a:pt x="680805" y="7072"/>
                  <a:pt x="698763" y="25030"/>
                  <a:pt x="698763" y="44076"/>
                </a:cubicBezTo>
                <a:cubicBezTo>
                  <a:pt x="698763" y="62578"/>
                  <a:pt x="680261" y="81624"/>
                  <a:pt x="662303" y="81080"/>
                </a:cubicBezTo>
                <a:cubicBezTo>
                  <a:pt x="644346" y="80536"/>
                  <a:pt x="626932" y="62578"/>
                  <a:pt x="626932" y="44076"/>
                </a:cubicBezTo>
                <a:cubicBezTo>
                  <a:pt x="626932" y="25574"/>
                  <a:pt x="643257" y="8160"/>
                  <a:pt x="662303" y="7616"/>
                </a:cubicBezTo>
                <a:close/>
                <a:moveTo>
                  <a:pt x="825557" y="5440"/>
                </a:moveTo>
                <a:cubicBezTo>
                  <a:pt x="847868" y="5440"/>
                  <a:pt x="865281" y="23942"/>
                  <a:pt x="865281" y="44621"/>
                </a:cubicBezTo>
                <a:cubicBezTo>
                  <a:pt x="865281" y="63667"/>
                  <a:pt x="847324" y="85978"/>
                  <a:pt x="826101" y="83257"/>
                </a:cubicBezTo>
                <a:cubicBezTo>
                  <a:pt x="805422" y="85978"/>
                  <a:pt x="786920" y="64211"/>
                  <a:pt x="786920" y="44621"/>
                </a:cubicBezTo>
                <a:cubicBezTo>
                  <a:pt x="786920" y="22854"/>
                  <a:pt x="805422" y="5440"/>
                  <a:pt x="825557" y="5440"/>
                </a:cubicBezTo>
                <a:close/>
                <a:moveTo>
                  <a:pt x="989353" y="1086"/>
                </a:moveTo>
                <a:cubicBezTo>
                  <a:pt x="1013297" y="1086"/>
                  <a:pt x="1032343" y="21220"/>
                  <a:pt x="1032343" y="43532"/>
                </a:cubicBezTo>
                <a:cubicBezTo>
                  <a:pt x="1032887" y="66931"/>
                  <a:pt x="1012753" y="88698"/>
                  <a:pt x="989897" y="87610"/>
                </a:cubicBezTo>
                <a:cubicBezTo>
                  <a:pt x="967042" y="88698"/>
                  <a:pt x="945819" y="65843"/>
                  <a:pt x="945819" y="44620"/>
                </a:cubicBezTo>
                <a:cubicBezTo>
                  <a:pt x="945819" y="23941"/>
                  <a:pt x="964321" y="1086"/>
                  <a:pt x="989353" y="1086"/>
                </a:cubicBezTo>
                <a:close/>
                <a:moveTo>
                  <a:pt x="1614056" y="0"/>
                </a:moveTo>
                <a:lnTo>
                  <a:pt x="1675529" y="0"/>
                </a:lnTo>
                <a:lnTo>
                  <a:pt x="1682905" y="4720"/>
                </a:lnTo>
                <a:lnTo>
                  <a:pt x="1933639" y="4720"/>
                </a:lnTo>
                <a:cubicBezTo>
                  <a:pt x="1966059" y="4720"/>
                  <a:pt x="1995409" y="17861"/>
                  <a:pt x="2016655" y="39107"/>
                </a:cubicBezTo>
                <a:lnTo>
                  <a:pt x="2028934" y="57318"/>
                </a:lnTo>
                <a:lnTo>
                  <a:pt x="2026008" y="71108"/>
                </a:lnTo>
                <a:cubicBezTo>
                  <a:pt x="2023832" y="74917"/>
                  <a:pt x="2026552" y="77094"/>
                  <a:pt x="2030906" y="75461"/>
                </a:cubicBezTo>
                <a:lnTo>
                  <a:pt x="2039929" y="73627"/>
                </a:lnTo>
                <a:lnTo>
                  <a:pt x="2041815" y="76424"/>
                </a:lnTo>
                <a:cubicBezTo>
                  <a:pt x="2047756" y="90470"/>
                  <a:pt x="2051041" y="105912"/>
                  <a:pt x="2051041" y="122122"/>
                </a:cubicBezTo>
                <a:lnTo>
                  <a:pt x="2051041" y="186473"/>
                </a:lnTo>
                <a:lnTo>
                  <a:pt x="2029818" y="186473"/>
                </a:lnTo>
                <a:cubicBezTo>
                  <a:pt x="2023832" y="184297"/>
                  <a:pt x="2022743" y="185929"/>
                  <a:pt x="2023287" y="192459"/>
                </a:cubicBezTo>
                <a:cubicBezTo>
                  <a:pt x="2023287" y="193548"/>
                  <a:pt x="2023287" y="195180"/>
                  <a:pt x="2023832" y="196268"/>
                </a:cubicBezTo>
                <a:cubicBezTo>
                  <a:pt x="2028185" y="210961"/>
                  <a:pt x="2026008" y="225110"/>
                  <a:pt x="2019478" y="239258"/>
                </a:cubicBezTo>
                <a:cubicBezTo>
                  <a:pt x="2018934" y="240347"/>
                  <a:pt x="2019478" y="241979"/>
                  <a:pt x="2020022" y="242523"/>
                </a:cubicBezTo>
                <a:cubicBezTo>
                  <a:pt x="2020566" y="243067"/>
                  <a:pt x="2022743" y="243612"/>
                  <a:pt x="2023287" y="243067"/>
                </a:cubicBezTo>
                <a:cubicBezTo>
                  <a:pt x="2032266" y="238986"/>
                  <a:pt x="2041245" y="237082"/>
                  <a:pt x="2050224" y="237150"/>
                </a:cubicBezTo>
                <a:lnTo>
                  <a:pt x="2051041" y="237329"/>
                </a:lnTo>
                <a:lnTo>
                  <a:pt x="2051041" y="348996"/>
                </a:lnTo>
                <a:lnTo>
                  <a:pt x="2036552" y="347754"/>
                </a:lnTo>
                <a:cubicBezTo>
                  <a:pt x="2031178" y="346733"/>
                  <a:pt x="2026009" y="344829"/>
                  <a:pt x="2021111" y="341019"/>
                </a:cubicBezTo>
                <a:cubicBezTo>
                  <a:pt x="2020022" y="339931"/>
                  <a:pt x="2018390" y="339387"/>
                  <a:pt x="2016757" y="338842"/>
                </a:cubicBezTo>
                <a:cubicBezTo>
                  <a:pt x="2016757" y="340475"/>
                  <a:pt x="2016757" y="343196"/>
                  <a:pt x="2017301" y="344284"/>
                </a:cubicBezTo>
                <a:cubicBezTo>
                  <a:pt x="2022743" y="354079"/>
                  <a:pt x="2026008" y="364419"/>
                  <a:pt x="2025464" y="376391"/>
                </a:cubicBezTo>
                <a:cubicBezTo>
                  <a:pt x="2024376" y="398702"/>
                  <a:pt x="2014580" y="413939"/>
                  <a:pt x="1994446" y="424278"/>
                </a:cubicBezTo>
                <a:cubicBezTo>
                  <a:pt x="1972135" y="435706"/>
                  <a:pt x="1950912" y="431352"/>
                  <a:pt x="1933498" y="416115"/>
                </a:cubicBezTo>
                <a:cubicBezTo>
                  <a:pt x="1917173" y="401967"/>
                  <a:pt x="1908466" y="378567"/>
                  <a:pt x="1920438" y="352447"/>
                </a:cubicBezTo>
                <a:cubicBezTo>
                  <a:pt x="1922615" y="348093"/>
                  <a:pt x="1923703" y="343196"/>
                  <a:pt x="1925336" y="338298"/>
                </a:cubicBezTo>
                <a:cubicBezTo>
                  <a:pt x="1920982" y="339931"/>
                  <a:pt x="1916085" y="341563"/>
                  <a:pt x="1911731" y="343196"/>
                </a:cubicBezTo>
                <a:cubicBezTo>
                  <a:pt x="1907378" y="344828"/>
                  <a:pt x="1903024" y="347005"/>
                  <a:pt x="1898671" y="347005"/>
                </a:cubicBezTo>
                <a:cubicBezTo>
                  <a:pt x="1882890" y="348638"/>
                  <a:pt x="1867653" y="348638"/>
                  <a:pt x="1854593" y="336666"/>
                </a:cubicBezTo>
                <a:lnTo>
                  <a:pt x="1847690" y="333480"/>
                </a:lnTo>
                <a:lnTo>
                  <a:pt x="1852961" y="344461"/>
                </a:lnTo>
                <a:cubicBezTo>
                  <a:pt x="1868742" y="372214"/>
                  <a:pt x="1855137" y="408674"/>
                  <a:pt x="1826840" y="420646"/>
                </a:cubicBezTo>
                <a:cubicBezTo>
                  <a:pt x="1803441" y="430985"/>
                  <a:pt x="1777864" y="422278"/>
                  <a:pt x="1765893" y="408130"/>
                </a:cubicBezTo>
                <a:cubicBezTo>
                  <a:pt x="1749567" y="388539"/>
                  <a:pt x="1744126" y="368405"/>
                  <a:pt x="1759362" y="342829"/>
                </a:cubicBezTo>
                <a:cubicBezTo>
                  <a:pt x="1771199" y="322422"/>
                  <a:pt x="1795584" y="313341"/>
                  <a:pt x="1815991" y="317193"/>
                </a:cubicBezTo>
                <a:cubicBezTo>
                  <a:pt x="1822793" y="318477"/>
                  <a:pt x="1829153" y="321198"/>
                  <a:pt x="1834459" y="325415"/>
                </a:cubicBezTo>
                <a:lnTo>
                  <a:pt x="1845023" y="330169"/>
                </a:lnTo>
                <a:lnTo>
                  <a:pt x="1840444" y="321429"/>
                </a:lnTo>
                <a:cubicBezTo>
                  <a:pt x="1831193" y="306736"/>
                  <a:pt x="1832282" y="290955"/>
                  <a:pt x="1834458" y="275174"/>
                </a:cubicBezTo>
                <a:cubicBezTo>
                  <a:pt x="1835002" y="269732"/>
                  <a:pt x="1838812" y="265379"/>
                  <a:pt x="1840988" y="259937"/>
                </a:cubicBezTo>
                <a:cubicBezTo>
                  <a:pt x="1841533" y="258849"/>
                  <a:pt x="1842077" y="257216"/>
                  <a:pt x="1842077" y="255584"/>
                </a:cubicBezTo>
                <a:cubicBezTo>
                  <a:pt x="1840444" y="256128"/>
                  <a:pt x="1838812" y="256672"/>
                  <a:pt x="1837723" y="257216"/>
                </a:cubicBezTo>
                <a:cubicBezTo>
                  <a:pt x="1831193" y="259937"/>
                  <a:pt x="1824663" y="263746"/>
                  <a:pt x="1817589" y="264834"/>
                </a:cubicBezTo>
                <a:cubicBezTo>
                  <a:pt x="1799631" y="268100"/>
                  <a:pt x="1782762" y="264290"/>
                  <a:pt x="1768069" y="251774"/>
                </a:cubicBezTo>
                <a:lnTo>
                  <a:pt x="1764740" y="250110"/>
                </a:lnTo>
                <a:lnTo>
                  <a:pt x="1773510" y="267189"/>
                </a:lnTo>
                <a:cubicBezTo>
                  <a:pt x="1786571" y="292765"/>
                  <a:pt x="1773510" y="323239"/>
                  <a:pt x="1750655" y="336843"/>
                </a:cubicBezTo>
                <a:cubicBezTo>
                  <a:pt x="1721270" y="354257"/>
                  <a:pt x="1685354" y="337388"/>
                  <a:pt x="1673926" y="310723"/>
                </a:cubicBezTo>
                <a:cubicBezTo>
                  <a:pt x="1664675" y="289500"/>
                  <a:pt x="1669029" y="271542"/>
                  <a:pt x="1681545" y="254673"/>
                </a:cubicBezTo>
                <a:cubicBezTo>
                  <a:pt x="1694605" y="237803"/>
                  <a:pt x="1712563" y="231817"/>
                  <a:pt x="1733786" y="235083"/>
                </a:cubicBezTo>
                <a:cubicBezTo>
                  <a:pt x="1739771" y="236171"/>
                  <a:pt x="1745757" y="239980"/>
                  <a:pt x="1751743" y="242157"/>
                </a:cubicBezTo>
                <a:lnTo>
                  <a:pt x="1762506" y="246769"/>
                </a:lnTo>
                <a:lnTo>
                  <a:pt x="1757185" y="236537"/>
                </a:lnTo>
                <a:cubicBezTo>
                  <a:pt x="1747934" y="219668"/>
                  <a:pt x="1747390" y="203343"/>
                  <a:pt x="1756097" y="185929"/>
                </a:cubicBezTo>
                <a:cubicBezTo>
                  <a:pt x="1757185" y="183752"/>
                  <a:pt x="1756641" y="180487"/>
                  <a:pt x="1757185" y="177766"/>
                </a:cubicBezTo>
                <a:cubicBezTo>
                  <a:pt x="1754464" y="177766"/>
                  <a:pt x="1751199" y="177222"/>
                  <a:pt x="1749023" y="178311"/>
                </a:cubicBezTo>
                <a:cubicBezTo>
                  <a:pt x="1722358" y="193003"/>
                  <a:pt x="1688075" y="178855"/>
                  <a:pt x="1676103" y="154911"/>
                </a:cubicBezTo>
                <a:cubicBezTo>
                  <a:pt x="1665220" y="133688"/>
                  <a:pt x="1667396" y="113554"/>
                  <a:pt x="1681001" y="94507"/>
                </a:cubicBezTo>
                <a:lnTo>
                  <a:pt x="1685681" y="85147"/>
                </a:lnTo>
                <a:lnTo>
                  <a:pt x="1693517" y="82536"/>
                </a:lnTo>
                <a:cubicBezTo>
                  <a:pt x="1710930" y="71108"/>
                  <a:pt x="1728888" y="71108"/>
                  <a:pt x="1747934" y="77638"/>
                </a:cubicBezTo>
                <a:cubicBezTo>
                  <a:pt x="1750655" y="78726"/>
                  <a:pt x="1753920" y="78726"/>
                  <a:pt x="1756641" y="79271"/>
                </a:cubicBezTo>
                <a:cubicBezTo>
                  <a:pt x="1756097" y="76550"/>
                  <a:pt x="1755553" y="74373"/>
                  <a:pt x="1754464" y="71652"/>
                </a:cubicBezTo>
                <a:cubicBezTo>
                  <a:pt x="1753920" y="70564"/>
                  <a:pt x="1753376" y="69475"/>
                  <a:pt x="1752832" y="68387"/>
                </a:cubicBezTo>
                <a:cubicBezTo>
                  <a:pt x="1747934" y="52062"/>
                  <a:pt x="1747390" y="35737"/>
                  <a:pt x="1756097" y="20500"/>
                </a:cubicBezTo>
                <a:cubicBezTo>
                  <a:pt x="1756641" y="19411"/>
                  <a:pt x="1757185" y="16690"/>
                  <a:pt x="1756641" y="16146"/>
                </a:cubicBezTo>
                <a:cubicBezTo>
                  <a:pt x="1755553" y="15058"/>
                  <a:pt x="1753376" y="14514"/>
                  <a:pt x="1751744" y="15058"/>
                </a:cubicBezTo>
                <a:cubicBezTo>
                  <a:pt x="1747934" y="16146"/>
                  <a:pt x="1744669" y="19411"/>
                  <a:pt x="1741404" y="19955"/>
                </a:cubicBezTo>
                <a:cubicBezTo>
                  <a:pt x="1724535" y="21588"/>
                  <a:pt x="1707121" y="23765"/>
                  <a:pt x="1691884" y="11249"/>
                </a:cubicBezTo>
                <a:lnTo>
                  <a:pt x="1685645" y="8369"/>
                </a:lnTo>
                <a:lnTo>
                  <a:pt x="1688620" y="14691"/>
                </a:lnTo>
                <a:cubicBezTo>
                  <a:pt x="1700048" y="32648"/>
                  <a:pt x="1700048" y="50606"/>
                  <a:pt x="1691885" y="69652"/>
                </a:cubicBezTo>
                <a:lnTo>
                  <a:pt x="1684469" y="82365"/>
                </a:lnTo>
                <a:lnTo>
                  <a:pt x="1663044" y="94684"/>
                </a:lnTo>
                <a:cubicBezTo>
                  <a:pt x="1651072" y="101759"/>
                  <a:pt x="1638556" y="100126"/>
                  <a:pt x="1626584" y="96861"/>
                </a:cubicBezTo>
                <a:cubicBezTo>
                  <a:pt x="1608082" y="91419"/>
                  <a:pt x="1595566" y="78359"/>
                  <a:pt x="1590124" y="60401"/>
                </a:cubicBezTo>
                <a:cubicBezTo>
                  <a:pt x="1586315" y="48974"/>
                  <a:pt x="1586315" y="37002"/>
                  <a:pt x="1591757" y="25030"/>
                </a:cubicBezTo>
                <a:close/>
                <a:moveTo>
                  <a:pt x="1460066" y="0"/>
                </a:moveTo>
                <a:lnTo>
                  <a:pt x="1498513" y="0"/>
                </a:lnTo>
                <a:lnTo>
                  <a:pt x="1517204" y="8092"/>
                </a:lnTo>
                <a:cubicBezTo>
                  <a:pt x="1526183" y="17411"/>
                  <a:pt x="1531352" y="30199"/>
                  <a:pt x="1531896" y="45164"/>
                </a:cubicBezTo>
                <a:cubicBezTo>
                  <a:pt x="1532985" y="71829"/>
                  <a:pt x="1505776" y="97949"/>
                  <a:pt x="1479111" y="97949"/>
                </a:cubicBezTo>
                <a:cubicBezTo>
                  <a:pt x="1451902" y="97949"/>
                  <a:pt x="1425238" y="71829"/>
                  <a:pt x="1426870" y="45164"/>
                </a:cubicBezTo>
                <a:cubicBezTo>
                  <a:pt x="1427687" y="29655"/>
                  <a:pt x="1432720" y="16867"/>
                  <a:pt x="1441631" y="7684"/>
                </a:cubicBezTo>
                <a:close/>
                <a:moveTo>
                  <a:pt x="1296749" y="0"/>
                </a:moveTo>
                <a:lnTo>
                  <a:pt x="1335755" y="0"/>
                </a:lnTo>
                <a:lnTo>
                  <a:pt x="1350278" y="10270"/>
                </a:lnTo>
                <a:cubicBezTo>
                  <a:pt x="1359937" y="19861"/>
                  <a:pt x="1366467" y="32649"/>
                  <a:pt x="1365923" y="45165"/>
                </a:cubicBezTo>
                <a:cubicBezTo>
                  <a:pt x="1364291" y="71829"/>
                  <a:pt x="1343068" y="93052"/>
                  <a:pt x="1315315" y="93052"/>
                </a:cubicBezTo>
                <a:cubicBezTo>
                  <a:pt x="1290283" y="95229"/>
                  <a:pt x="1266339" y="69109"/>
                  <a:pt x="1266339" y="44076"/>
                </a:cubicBezTo>
                <a:cubicBezTo>
                  <a:pt x="1266339" y="30472"/>
                  <a:pt x="1273141" y="18228"/>
                  <a:pt x="1282732" y="9317"/>
                </a:cubicBezTo>
                <a:close/>
                <a:moveTo>
                  <a:pt x="1148085" y="0"/>
                </a:moveTo>
                <a:lnTo>
                  <a:pt x="1161802" y="0"/>
                </a:lnTo>
                <a:lnTo>
                  <a:pt x="1169637" y="1315"/>
                </a:lnTo>
                <a:cubicBezTo>
                  <a:pt x="1186447" y="8432"/>
                  <a:pt x="1199813" y="26798"/>
                  <a:pt x="1199405" y="45164"/>
                </a:cubicBezTo>
                <a:cubicBezTo>
                  <a:pt x="1198861" y="69652"/>
                  <a:pt x="1175462" y="93596"/>
                  <a:pt x="1151518" y="91419"/>
                </a:cubicBezTo>
                <a:cubicBezTo>
                  <a:pt x="1123765" y="88154"/>
                  <a:pt x="1109072" y="72373"/>
                  <a:pt x="1105807" y="44620"/>
                </a:cubicBezTo>
                <a:cubicBezTo>
                  <a:pt x="1107440" y="30472"/>
                  <a:pt x="1111657" y="19588"/>
                  <a:pt x="1119139" y="11902"/>
                </a:cubicBezTo>
                <a:close/>
              </a:path>
            </a:pathLst>
          </a:custGeom>
          <a:solidFill>
            <a:srgbClr val="9AA8C5">
              <a:alpha val="17000"/>
            </a:srgbClr>
          </a:solidFill>
          <a:ln w="5432" cap="flat">
            <a:noFill/>
            <a:prstDash val="solid"/>
            <a:miter/>
          </a:ln>
        </p:spPr>
        <p:txBody>
          <a:bodyPr rtlCol="0" anchor="ctr"/>
          <a:lstStyle/>
          <a:p>
            <a:endParaRPr lang="en-IN"/>
          </a:p>
        </p:txBody>
      </p:sp>
    </p:spTree>
    <p:extLst>
      <p:ext uri="{BB962C8B-B14F-4D97-AF65-F5344CB8AC3E}">
        <p14:creationId xmlns:p14="http://schemas.microsoft.com/office/powerpoint/2010/main" val="367502514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1_titl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570BDB2-DDB8-4EF1-AB4B-BFA12F189CF0}"/>
              </a:ext>
            </a:extLst>
          </p:cNvPr>
          <p:cNvGraphicFramePr>
            <a:graphicFrameLocks noChangeAspect="1"/>
          </p:cNvGraphicFramePr>
          <p:nvPr>
            <p:custDataLst>
              <p:tags r:id="rId1"/>
            </p:custDataLst>
            <p:extLst>
              <p:ext uri="{D42A27DB-BD31-4B8C-83A1-F6EECF244321}">
                <p14:modId xmlns:p14="http://schemas.microsoft.com/office/powerpoint/2010/main" val="32171491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0" imgH="393" progId="TCLayout.ActiveDocument.1">
                  <p:embed/>
                </p:oleObj>
              </mc:Choice>
              <mc:Fallback>
                <p:oleObj name="think-cell Slide" r:id="rId3" imgW="400" imgH="393" progId="TCLayout.ActiveDocument.1">
                  <p:embed/>
                  <p:pic>
                    <p:nvPicPr>
                      <p:cNvPr id="3" name="Object 2" hidden="1">
                        <a:extLst>
                          <a:ext uri="{FF2B5EF4-FFF2-40B4-BE49-F238E27FC236}">
                            <a16:creationId xmlns:a16="http://schemas.microsoft.com/office/drawing/2014/main" id="{B570BDB2-DDB8-4EF1-AB4B-BFA12F189CF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1" name="Title 11">
            <a:extLst>
              <a:ext uri="{FF2B5EF4-FFF2-40B4-BE49-F238E27FC236}">
                <a16:creationId xmlns:a16="http://schemas.microsoft.com/office/drawing/2014/main" id="{DDA87447-1017-4301-A6CE-4D2A98BB0C96}"/>
              </a:ext>
            </a:extLst>
          </p:cNvPr>
          <p:cNvSpPr>
            <a:spLocks noGrp="1"/>
          </p:cNvSpPr>
          <p:nvPr>
            <p:ph type="title" hasCustomPrompt="1"/>
          </p:nvPr>
        </p:nvSpPr>
        <p:spPr>
          <a:xfrm>
            <a:off x="464908" y="185817"/>
            <a:ext cx="10515600" cy="608663"/>
          </a:xfrm>
          <a:prstGeom prst="rect">
            <a:avLst/>
          </a:prstGeom>
        </p:spPr>
        <p:txBody>
          <a:bodyPr vert="horz" lIns="0" tIns="0" rIns="0" bIns="0" rtlCol="0" anchor="ctr">
            <a:normAutofit/>
          </a:bodyPr>
          <a:lstStyle>
            <a:lvl1pPr>
              <a:defRPr lang="en-US" sz="2600" dirty="0">
                <a:solidFill>
                  <a:srgbClr val="334D8B"/>
                </a:solidFill>
              </a:defRPr>
            </a:lvl1pPr>
          </a:lstStyle>
          <a:p>
            <a:pPr lvl="0"/>
            <a:r>
              <a:rPr lang="en-US"/>
              <a:t>Write your Heading here</a:t>
            </a:r>
          </a:p>
        </p:txBody>
      </p:sp>
      <p:sp>
        <p:nvSpPr>
          <p:cNvPr id="10" name="Slide Number Placeholder 5">
            <a:extLst>
              <a:ext uri="{FF2B5EF4-FFF2-40B4-BE49-F238E27FC236}">
                <a16:creationId xmlns:a16="http://schemas.microsoft.com/office/drawing/2014/main" id="{117A13BD-91F9-45DA-A70C-AAC989718C05}"/>
              </a:ext>
            </a:extLst>
          </p:cNvPr>
          <p:cNvSpPr txBox="1">
            <a:spLocks/>
          </p:cNvSpPr>
          <p:nvPr userDrawn="1"/>
        </p:nvSpPr>
        <p:spPr>
          <a:xfrm>
            <a:off x="11373135" y="6506785"/>
            <a:ext cx="609600" cy="261610"/>
          </a:xfrm>
          <a:prstGeom prst="rect">
            <a:avLst/>
          </a:prstGeom>
          <a:noFill/>
        </p:spPr>
        <p:txBody>
          <a:bodyPr>
            <a:spAutoFit/>
          </a:bodyPr>
          <a:lstStyle>
            <a:defPPr>
              <a:defRPr lang="en-US"/>
            </a:defPPr>
            <a:lvl1pPr marL="0" algn="ctr" defTabSz="914400" rtl="0" eaLnBrk="1" latinLnBrk="0" hangingPunct="1">
              <a:defRPr lang="en-US" sz="1800" kern="1200" smtClean="0">
                <a:solidFill>
                  <a:schemeClr val="bg1"/>
                </a:solidFill>
                <a:latin typeface="Tahoma" pitchFamily="34" charset="0"/>
                <a:ea typeface="Tahoma" pitchFamily="34" charset="0"/>
                <a:cs typeface="Tahoma"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fld id="{3413C1ED-5599-4BB6-878F-244F2E6B8E4A}" type="slidenum">
              <a:rPr lang="en-IN" sz="1100">
                <a:solidFill>
                  <a:prstClr val="black">
                    <a:lumMod val="50000"/>
                    <a:lumOff val="50000"/>
                  </a:prstClr>
                </a:solidFill>
              </a:rPr>
              <a:pPr fontAlgn="auto">
                <a:spcBef>
                  <a:spcPts val="0"/>
                </a:spcBef>
                <a:spcAft>
                  <a:spcPts val="0"/>
                </a:spcAft>
                <a:defRPr/>
              </a:pPr>
              <a:t>‹#›</a:t>
            </a:fld>
            <a:endParaRPr lang="en-IN" sz="1100">
              <a:solidFill>
                <a:prstClr val="black">
                  <a:lumMod val="50000"/>
                  <a:lumOff val="50000"/>
                </a:prstClr>
              </a:solidFill>
            </a:endParaRPr>
          </a:p>
        </p:txBody>
      </p:sp>
      <p:pic>
        <p:nvPicPr>
          <p:cNvPr id="11" name="Picture 10">
            <a:extLst>
              <a:ext uri="{FF2B5EF4-FFF2-40B4-BE49-F238E27FC236}">
                <a16:creationId xmlns:a16="http://schemas.microsoft.com/office/drawing/2014/main" id="{ECFFD2CE-B1A5-43BD-8EF6-89F6B534427E}"/>
              </a:ext>
            </a:extLst>
          </p:cNvPr>
          <p:cNvPicPr>
            <a:picLocks noChangeAspect="1"/>
          </p:cNvPicPr>
          <p:nvPr userDrawn="1"/>
        </p:nvPicPr>
        <p:blipFill>
          <a:blip r:embed="rId5"/>
          <a:stretch>
            <a:fillRect/>
          </a:stretch>
        </p:blipFill>
        <p:spPr>
          <a:xfrm>
            <a:off x="464908" y="6506785"/>
            <a:ext cx="1148260" cy="138938"/>
          </a:xfrm>
          <a:prstGeom prst="rect">
            <a:avLst/>
          </a:prstGeom>
        </p:spPr>
      </p:pic>
      <p:sp>
        <p:nvSpPr>
          <p:cNvPr id="12" name="Freeform: Shape 14">
            <a:extLst>
              <a:ext uri="{FF2B5EF4-FFF2-40B4-BE49-F238E27FC236}">
                <a16:creationId xmlns:a16="http://schemas.microsoft.com/office/drawing/2014/main" id="{50B67F85-4CC9-4F40-9037-56B997F3C17C}"/>
              </a:ext>
            </a:extLst>
          </p:cNvPr>
          <p:cNvSpPr/>
          <p:nvPr userDrawn="1"/>
        </p:nvSpPr>
        <p:spPr>
          <a:xfrm rot="5400000" flipH="1">
            <a:off x="10650813" y="-6388"/>
            <a:ext cx="1528833" cy="1553542"/>
          </a:xfrm>
          <a:custGeom>
            <a:avLst/>
            <a:gdLst>
              <a:gd name="connsiteX0" fmla="*/ 2051041 w 2051041"/>
              <a:gd name="connsiteY0" fmla="*/ 2080382 h 2084191"/>
              <a:gd name="connsiteX1" fmla="*/ 2051041 w 2051041"/>
              <a:gd name="connsiteY1" fmla="*/ 2083967 h 2084191"/>
              <a:gd name="connsiteX2" fmla="*/ 2047231 w 2051041"/>
              <a:gd name="connsiteY2" fmla="*/ 2084191 h 2084191"/>
              <a:gd name="connsiteX3" fmla="*/ 2045599 w 2051041"/>
              <a:gd name="connsiteY3" fmla="*/ 2081470 h 2084191"/>
              <a:gd name="connsiteX4" fmla="*/ 1478568 w 2051041"/>
              <a:gd name="connsiteY4" fmla="*/ 1997668 h 2084191"/>
              <a:gd name="connsiteX5" fmla="*/ 1484554 w 2051041"/>
              <a:gd name="connsiteY5" fmla="*/ 2004743 h 2084191"/>
              <a:gd name="connsiteX6" fmla="*/ 1478568 w 2051041"/>
              <a:gd name="connsiteY6" fmla="*/ 2009096 h 2084191"/>
              <a:gd name="connsiteX7" fmla="*/ 1473126 w 2051041"/>
              <a:gd name="connsiteY7" fmla="*/ 2003654 h 2084191"/>
              <a:gd name="connsiteX8" fmla="*/ 1478568 w 2051041"/>
              <a:gd name="connsiteY8" fmla="*/ 1997668 h 2084191"/>
              <a:gd name="connsiteX9" fmla="*/ 1641820 w 2051041"/>
              <a:gd name="connsiteY9" fmla="*/ 1993859 h 2084191"/>
              <a:gd name="connsiteX10" fmla="*/ 1652160 w 2051041"/>
              <a:gd name="connsiteY10" fmla="*/ 2003654 h 2084191"/>
              <a:gd name="connsiteX11" fmla="*/ 1641820 w 2051041"/>
              <a:gd name="connsiteY11" fmla="*/ 2013449 h 2084191"/>
              <a:gd name="connsiteX12" fmla="*/ 1632025 w 2051041"/>
              <a:gd name="connsiteY12" fmla="*/ 2003654 h 2084191"/>
              <a:gd name="connsiteX13" fmla="*/ 1641820 w 2051041"/>
              <a:gd name="connsiteY13" fmla="*/ 1993859 h 2084191"/>
              <a:gd name="connsiteX14" fmla="*/ 1969414 w 2051041"/>
              <a:gd name="connsiteY14" fmla="*/ 1992226 h 2084191"/>
              <a:gd name="connsiteX15" fmla="*/ 1979753 w 2051041"/>
              <a:gd name="connsiteY15" fmla="*/ 2003654 h 2084191"/>
              <a:gd name="connsiteX16" fmla="*/ 1968325 w 2051041"/>
              <a:gd name="connsiteY16" fmla="*/ 2014537 h 2084191"/>
              <a:gd name="connsiteX17" fmla="*/ 1957986 w 2051041"/>
              <a:gd name="connsiteY17" fmla="*/ 2003110 h 2084191"/>
              <a:gd name="connsiteX18" fmla="*/ 1969414 w 2051041"/>
              <a:gd name="connsiteY18" fmla="*/ 1992226 h 2084191"/>
              <a:gd name="connsiteX19" fmla="*/ 1805073 w 2051041"/>
              <a:gd name="connsiteY19" fmla="*/ 1992226 h 2084191"/>
              <a:gd name="connsiteX20" fmla="*/ 1815956 w 2051041"/>
              <a:gd name="connsiteY20" fmla="*/ 2002565 h 2084191"/>
              <a:gd name="connsiteX21" fmla="*/ 1805073 w 2051041"/>
              <a:gd name="connsiteY21" fmla="*/ 2014537 h 2084191"/>
              <a:gd name="connsiteX22" fmla="*/ 1794189 w 2051041"/>
              <a:gd name="connsiteY22" fmla="*/ 2004198 h 2084191"/>
              <a:gd name="connsiteX23" fmla="*/ 1805073 w 2051041"/>
              <a:gd name="connsiteY23" fmla="*/ 1992226 h 2084191"/>
              <a:gd name="connsiteX24" fmla="*/ 1234233 w 2051041"/>
              <a:gd name="connsiteY24" fmla="*/ 1916042 h 2084191"/>
              <a:gd name="connsiteX25" fmla="*/ 1240219 w 2051041"/>
              <a:gd name="connsiteY25" fmla="*/ 1923660 h 2084191"/>
              <a:gd name="connsiteX26" fmla="*/ 1236953 w 2051041"/>
              <a:gd name="connsiteY26" fmla="*/ 1926381 h 2084191"/>
              <a:gd name="connsiteX27" fmla="*/ 1229335 w 2051041"/>
              <a:gd name="connsiteY27" fmla="*/ 1918762 h 2084191"/>
              <a:gd name="connsiteX28" fmla="*/ 1234233 w 2051041"/>
              <a:gd name="connsiteY28" fmla="*/ 1916042 h 2084191"/>
              <a:gd name="connsiteX29" fmla="*/ 1397486 w 2051041"/>
              <a:gd name="connsiteY29" fmla="*/ 1911144 h 2084191"/>
              <a:gd name="connsiteX30" fmla="*/ 1408369 w 2051041"/>
              <a:gd name="connsiteY30" fmla="*/ 1921483 h 2084191"/>
              <a:gd name="connsiteX31" fmla="*/ 1399118 w 2051041"/>
              <a:gd name="connsiteY31" fmla="*/ 1931823 h 2084191"/>
              <a:gd name="connsiteX32" fmla="*/ 1387146 w 2051041"/>
              <a:gd name="connsiteY32" fmla="*/ 1922028 h 2084191"/>
              <a:gd name="connsiteX33" fmla="*/ 1397486 w 2051041"/>
              <a:gd name="connsiteY33" fmla="*/ 1911144 h 2084191"/>
              <a:gd name="connsiteX34" fmla="*/ 1560194 w 2051041"/>
              <a:gd name="connsiteY34" fmla="*/ 1906790 h 2084191"/>
              <a:gd name="connsiteX35" fmla="*/ 1574342 w 2051041"/>
              <a:gd name="connsiteY35" fmla="*/ 1921482 h 2084191"/>
              <a:gd name="connsiteX36" fmla="*/ 1560738 w 2051041"/>
              <a:gd name="connsiteY36" fmla="*/ 1935631 h 2084191"/>
              <a:gd name="connsiteX37" fmla="*/ 1547134 w 2051041"/>
              <a:gd name="connsiteY37" fmla="*/ 1922027 h 2084191"/>
              <a:gd name="connsiteX38" fmla="*/ 1560194 w 2051041"/>
              <a:gd name="connsiteY38" fmla="*/ 1906790 h 2084191"/>
              <a:gd name="connsiteX39" fmla="*/ 2049952 w 2051041"/>
              <a:gd name="connsiteY39" fmla="*/ 1905702 h 2084191"/>
              <a:gd name="connsiteX40" fmla="*/ 2051041 w 2051041"/>
              <a:gd name="connsiteY40" fmla="*/ 1906027 h 2084191"/>
              <a:gd name="connsiteX41" fmla="*/ 2051041 w 2051041"/>
              <a:gd name="connsiteY41" fmla="*/ 1938133 h 2084191"/>
              <a:gd name="connsiteX42" fmla="*/ 2050496 w 2051041"/>
              <a:gd name="connsiteY42" fmla="*/ 1938353 h 2084191"/>
              <a:gd name="connsiteX43" fmla="*/ 2034171 w 2051041"/>
              <a:gd name="connsiteY43" fmla="*/ 1922572 h 2084191"/>
              <a:gd name="connsiteX44" fmla="*/ 2049952 w 2051041"/>
              <a:gd name="connsiteY44" fmla="*/ 1905702 h 2084191"/>
              <a:gd name="connsiteX45" fmla="*/ 1723447 w 2051041"/>
              <a:gd name="connsiteY45" fmla="*/ 1905702 h 2084191"/>
              <a:gd name="connsiteX46" fmla="*/ 1739772 w 2051041"/>
              <a:gd name="connsiteY46" fmla="*/ 1920939 h 2084191"/>
              <a:gd name="connsiteX47" fmla="*/ 1724535 w 2051041"/>
              <a:gd name="connsiteY47" fmla="*/ 1937264 h 2084191"/>
              <a:gd name="connsiteX48" fmla="*/ 1708210 w 2051041"/>
              <a:gd name="connsiteY48" fmla="*/ 1922027 h 2084191"/>
              <a:gd name="connsiteX49" fmla="*/ 1723447 w 2051041"/>
              <a:gd name="connsiteY49" fmla="*/ 1905702 h 2084191"/>
              <a:gd name="connsiteX50" fmla="*/ 1887787 w 2051041"/>
              <a:gd name="connsiteY50" fmla="*/ 1905158 h 2084191"/>
              <a:gd name="connsiteX51" fmla="*/ 1904113 w 2051041"/>
              <a:gd name="connsiteY51" fmla="*/ 1922028 h 2084191"/>
              <a:gd name="connsiteX52" fmla="*/ 1886699 w 2051041"/>
              <a:gd name="connsiteY52" fmla="*/ 1937809 h 2084191"/>
              <a:gd name="connsiteX53" fmla="*/ 1870918 w 2051041"/>
              <a:gd name="connsiteY53" fmla="*/ 1921483 h 2084191"/>
              <a:gd name="connsiteX54" fmla="*/ 1887787 w 2051041"/>
              <a:gd name="connsiteY54" fmla="*/ 1905158 h 2084191"/>
              <a:gd name="connsiteX55" fmla="*/ 1152606 w 2051041"/>
              <a:gd name="connsiteY55" fmla="*/ 1831693 h 2084191"/>
              <a:gd name="connsiteX56" fmla="*/ 1161313 w 2051041"/>
              <a:gd name="connsiteY56" fmla="*/ 1839312 h 2084191"/>
              <a:gd name="connsiteX57" fmla="*/ 1153694 w 2051041"/>
              <a:gd name="connsiteY57" fmla="*/ 1852916 h 2084191"/>
              <a:gd name="connsiteX58" fmla="*/ 1144988 w 2051041"/>
              <a:gd name="connsiteY58" fmla="*/ 1841489 h 2084191"/>
              <a:gd name="connsiteX59" fmla="*/ 1152606 w 2051041"/>
              <a:gd name="connsiteY59" fmla="*/ 1831693 h 2084191"/>
              <a:gd name="connsiteX60" fmla="*/ 1315315 w 2051041"/>
              <a:gd name="connsiteY60" fmla="*/ 1825708 h 2084191"/>
              <a:gd name="connsiteX61" fmla="*/ 1330552 w 2051041"/>
              <a:gd name="connsiteY61" fmla="*/ 1840401 h 2084191"/>
              <a:gd name="connsiteX62" fmla="*/ 1316404 w 2051041"/>
              <a:gd name="connsiteY62" fmla="*/ 1854549 h 2084191"/>
              <a:gd name="connsiteX63" fmla="*/ 1301711 w 2051041"/>
              <a:gd name="connsiteY63" fmla="*/ 1840945 h 2084191"/>
              <a:gd name="connsiteX64" fmla="*/ 1315315 w 2051041"/>
              <a:gd name="connsiteY64" fmla="*/ 1825708 h 2084191"/>
              <a:gd name="connsiteX65" fmla="*/ 1479656 w 2051041"/>
              <a:gd name="connsiteY65" fmla="*/ 1822987 h 2084191"/>
              <a:gd name="connsiteX66" fmla="*/ 1495981 w 2051041"/>
              <a:gd name="connsiteY66" fmla="*/ 1840401 h 2084191"/>
              <a:gd name="connsiteX67" fmla="*/ 1478567 w 2051041"/>
              <a:gd name="connsiteY67" fmla="*/ 1856182 h 2084191"/>
              <a:gd name="connsiteX68" fmla="*/ 1462242 w 2051041"/>
              <a:gd name="connsiteY68" fmla="*/ 1839312 h 2084191"/>
              <a:gd name="connsiteX69" fmla="*/ 1479656 w 2051041"/>
              <a:gd name="connsiteY69" fmla="*/ 1822987 h 2084191"/>
              <a:gd name="connsiteX70" fmla="*/ 1642365 w 2051041"/>
              <a:gd name="connsiteY70" fmla="*/ 1821355 h 2084191"/>
              <a:gd name="connsiteX71" fmla="*/ 1660867 w 2051041"/>
              <a:gd name="connsiteY71" fmla="*/ 1840401 h 2084191"/>
              <a:gd name="connsiteX72" fmla="*/ 1642365 w 2051041"/>
              <a:gd name="connsiteY72" fmla="*/ 1857270 h 2084191"/>
              <a:gd name="connsiteX73" fmla="*/ 1624407 w 2051041"/>
              <a:gd name="connsiteY73" fmla="*/ 1839857 h 2084191"/>
              <a:gd name="connsiteX74" fmla="*/ 1642365 w 2051041"/>
              <a:gd name="connsiteY74" fmla="*/ 1821355 h 2084191"/>
              <a:gd name="connsiteX75" fmla="*/ 1806162 w 2051041"/>
              <a:gd name="connsiteY75" fmla="*/ 1819723 h 2084191"/>
              <a:gd name="connsiteX76" fmla="*/ 1826840 w 2051041"/>
              <a:gd name="connsiteY76" fmla="*/ 1840945 h 2084191"/>
              <a:gd name="connsiteX77" fmla="*/ 1804529 w 2051041"/>
              <a:gd name="connsiteY77" fmla="*/ 1861080 h 2084191"/>
              <a:gd name="connsiteX78" fmla="*/ 1784395 w 2051041"/>
              <a:gd name="connsiteY78" fmla="*/ 1839313 h 2084191"/>
              <a:gd name="connsiteX79" fmla="*/ 1806162 w 2051041"/>
              <a:gd name="connsiteY79" fmla="*/ 1819723 h 2084191"/>
              <a:gd name="connsiteX80" fmla="*/ 1968870 w 2051041"/>
              <a:gd name="connsiteY80" fmla="*/ 1819178 h 2084191"/>
              <a:gd name="connsiteX81" fmla="*/ 1990093 w 2051041"/>
              <a:gd name="connsiteY81" fmla="*/ 1840401 h 2084191"/>
              <a:gd name="connsiteX82" fmla="*/ 1968870 w 2051041"/>
              <a:gd name="connsiteY82" fmla="*/ 1861624 h 2084191"/>
              <a:gd name="connsiteX83" fmla="*/ 1947647 w 2051041"/>
              <a:gd name="connsiteY83" fmla="*/ 1840401 h 2084191"/>
              <a:gd name="connsiteX84" fmla="*/ 1968870 w 2051041"/>
              <a:gd name="connsiteY84" fmla="*/ 1819178 h 2084191"/>
              <a:gd name="connsiteX85" fmla="*/ 1070436 w 2051041"/>
              <a:gd name="connsiteY85" fmla="*/ 1747347 h 2084191"/>
              <a:gd name="connsiteX86" fmla="*/ 1081863 w 2051041"/>
              <a:gd name="connsiteY86" fmla="*/ 1758231 h 2084191"/>
              <a:gd name="connsiteX87" fmla="*/ 1070980 w 2051041"/>
              <a:gd name="connsiteY87" fmla="*/ 1769658 h 2084191"/>
              <a:gd name="connsiteX88" fmla="*/ 1059552 w 2051041"/>
              <a:gd name="connsiteY88" fmla="*/ 1758775 h 2084191"/>
              <a:gd name="connsiteX89" fmla="*/ 1070436 w 2051041"/>
              <a:gd name="connsiteY89" fmla="*/ 1747347 h 2084191"/>
              <a:gd name="connsiteX90" fmla="*/ 1233688 w 2051041"/>
              <a:gd name="connsiteY90" fmla="*/ 1742449 h 2084191"/>
              <a:gd name="connsiteX91" fmla="*/ 1250558 w 2051041"/>
              <a:gd name="connsiteY91" fmla="*/ 1758774 h 2084191"/>
              <a:gd name="connsiteX92" fmla="*/ 1233688 w 2051041"/>
              <a:gd name="connsiteY92" fmla="*/ 1775099 h 2084191"/>
              <a:gd name="connsiteX93" fmla="*/ 1217907 w 2051041"/>
              <a:gd name="connsiteY93" fmla="*/ 1759318 h 2084191"/>
              <a:gd name="connsiteX94" fmla="*/ 1233688 w 2051041"/>
              <a:gd name="connsiteY94" fmla="*/ 1742449 h 2084191"/>
              <a:gd name="connsiteX95" fmla="*/ 1399662 w 2051041"/>
              <a:gd name="connsiteY95" fmla="*/ 1739728 h 2084191"/>
              <a:gd name="connsiteX96" fmla="*/ 1417076 w 2051041"/>
              <a:gd name="connsiteY96" fmla="*/ 1760407 h 2084191"/>
              <a:gd name="connsiteX97" fmla="*/ 1396941 w 2051041"/>
              <a:gd name="connsiteY97" fmla="*/ 1779453 h 2084191"/>
              <a:gd name="connsiteX98" fmla="*/ 1377895 w 2051041"/>
              <a:gd name="connsiteY98" fmla="*/ 1757686 h 2084191"/>
              <a:gd name="connsiteX99" fmla="*/ 1399662 w 2051041"/>
              <a:gd name="connsiteY99" fmla="*/ 1739728 h 2084191"/>
              <a:gd name="connsiteX100" fmla="*/ 1723991 w 2051041"/>
              <a:gd name="connsiteY100" fmla="*/ 1735919 h 2084191"/>
              <a:gd name="connsiteX101" fmla="*/ 1746847 w 2051041"/>
              <a:gd name="connsiteY101" fmla="*/ 1758774 h 2084191"/>
              <a:gd name="connsiteX102" fmla="*/ 1723991 w 2051041"/>
              <a:gd name="connsiteY102" fmla="*/ 1781086 h 2084191"/>
              <a:gd name="connsiteX103" fmla="*/ 1701680 w 2051041"/>
              <a:gd name="connsiteY103" fmla="*/ 1758774 h 2084191"/>
              <a:gd name="connsiteX104" fmla="*/ 1723991 w 2051041"/>
              <a:gd name="connsiteY104" fmla="*/ 1735919 h 2084191"/>
              <a:gd name="connsiteX105" fmla="*/ 1560194 w 2051041"/>
              <a:gd name="connsiteY105" fmla="*/ 1735919 h 2084191"/>
              <a:gd name="connsiteX106" fmla="*/ 1582505 w 2051041"/>
              <a:gd name="connsiteY106" fmla="*/ 1758230 h 2084191"/>
              <a:gd name="connsiteX107" fmla="*/ 1560738 w 2051041"/>
              <a:gd name="connsiteY107" fmla="*/ 1779997 h 2084191"/>
              <a:gd name="connsiteX108" fmla="*/ 1538427 w 2051041"/>
              <a:gd name="connsiteY108" fmla="*/ 1758230 h 2084191"/>
              <a:gd name="connsiteX109" fmla="*/ 1560194 w 2051041"/>
              <a:gd name="connsiteY109" fmla="*/ 1735919 h 2084191"/>
              <a:gd name="connsiteX110" fmla="*/ 2051041 w 2051041"/>
              <a:gd name="connsiteY110" fmla="*/ 1734831 h 2084191"/>
              <a:gd name="connsiteX111" fmla="*/ 2051041 w 2051041"/>
              <a:gd name="connsiteY111" fmla="*/ 1781438 h 2084191"/>
              <a:gd name="connsiteX112" fmla="*/ 2050496 w 2051041"/>
              <a:gd name="connsiteY112" fmla="*/ 1781630 h 2084191"/>
              <a:gd name="connsiteX113" fmla="*/ 2027097 w 2051041"/>
              <a:gd name="connsiteY113" fmla="*/ 1758775 h 2084191"/>
              <a:gd name="connsiteX114" fmla="*/ 2051041 w 2051041"/>
              <a:gd name="connsiteY114" fmla="*/ 1734831 h 2084191"/>
              <a:gd name="connsiteX115" fmla="*/ 1887788 w 2051041"/>
              <a:gd name="connsiteY115" fmla="*/ 1734831 h 2084191"/>
              <a:gd name="connsiteX116" fmla="*/ 1910099 w 2051041"/>
              <a:gd name="connsiteY116" fmla="*/ 1758775 h 2084191"/>
              <a:gd name="connsiteX117" fmla="*/ 1886699 w 2051041"/>
              <a:gd name="connsiteY117" fmla="*/ 1781086 h 2084191"/>
              <a:gd name="connsiteX118" fmla="*/ 1863844 w 2051041"/>
              <a:gd name="connsiteY118" fmla="*/ 1757687 h 2084191"/>
              <a:gd name="connsiteX119" fmla="*/ 1887788 w 2051041"/>
              <a:gd name="connsiteY119" fmla="*/ 1734831 h 2084191"/>
              <a:gd name="connsiteX120" fmla="*/ 826100 w 2051041"/>
              <a:gd name="connsiteY120" fmla="*/ 1671706 h 2084191"/>
              <a:gd name="connsiteX121" fmla="*/ 832086 w 2051041"/>
              <a:gd name="connsiteY121" fmla="*/ 1677692 h 2084191"/>
              <a:gd name="connsiteX122" fmla="*/ 825556 w 2051041"/>
              <a:gd name="connsiteY122" fmla="*/ 1683134 h 2084191"/>
              <a:gd name="connsiteX123" fmla="*/ 820658 w 2051041"/>
              <a:gd name="connsiteY123" fmla="*/ 1676603 h 2084191"/>
              <a:gd name="connsiteX124" fmla="*/ 826100 w 2051041"/>
              <a:gd name="connsiteY124" fmla="*/ 1671706 h 2084191"/>
              <a:gd name="connsiteX125" fmla="*/ 989354 w 2051041"/>
              <a:gd name="connsiteY125" fmla="*/ 1661912 h 2084191"/>
              <a:gd name="connsiteX126" fmla="*/ 1004046 w 2051041"/>
              <a:gd name="connsiteY126" fmla="*/ 1676604 h 2084191"/>
              <a:gd name="connsiteX127" fmla="*/ 989354 w 2051041"/>
              <a:gd name="connsiteY127" fmla="*/ 1690209 h 2084191"/>
              <a:gd name="connsiteX128" fmla="*/ 975205 w 2051041"/>
              <a:gd name="connsiteY128" fmla="*/ 1677693 h 2084191"/>
              <a:gd name="connsiteX129" fmla="*/ 989354 w 2051041"/>
              <a:gd name="connsiteY129" fmla="*/ 1661912 h 2084191"/>
              <a:gd name="connsiteX130" fmla="*/ 1153151 w 2051041"/>
              <a:gd name="connsiteY130" fmla="*/ 1659734 h 2084191"/>
              <a:gd name="connsiteX131" fmla="*/ 1170564 w 2051041"/>
              <a:gd name="connsiteY131" fmla="*/ 1677692 h 2084191"/>
              <a:gd name="connsiteX132" fmla="*/ 1152062 w 2051041"/>
              <a:gd name="connsiteY132" fmla="*/ 1694562 h 2084191"/>
              <a:gd name="connsiteX133" fmla="*/ 1135737 w 2051041"/>
              <a:gd name="connsiteY133" fmla="*/ 1677148 h 2084191"/>
              <a:gd name="connsiteX134" fmla="*/ 1153151 w 2051041"/>
              <a:gd name="connsiteY134" fmla="*/ 1659734 h 2084191"/>
              <a:gd name="connsiteX135" fmla="*/ 1315315 w 2051041"/>
              <a:gd name="connsiteY135" fmla="*/ 1655381 h 2084191"/>
              <a:gd name="connsiteX136" fmla="*/ 1337082 w 2051041"/>
              <a:gd name="connsiteY136" fmla="*/ 1676603 h 2084191"/>
              <a:gd name="connsiteX137" fmla="*/ 1315315 w 2051041"/>
              <a:gd name="connsiteY137" fmla="*/ 1698915 h 2084191"/>
              <a:gd name="connsiteX138" fmla="*/ 1294092 w 2051041"/>
              <a:gd name="connsiteY138" fmla="*/ 1677148 h 2084191"/>
              <a:gd name="connsiteX139" fmla="*/ 1315315 w 2051041"/>
              <a:gd name="connsiteY139" fmla="*/ 1655381 h 2084191"/>
              <a:gd name="connsiteX140" fmla="*/ 1479111 w 2051041"/>
              <a:gd name="connsiteY140" fmla="*/ 1654293 h 2084191"/>
              <a:gd name="connsiteX141" fmla="*/ 1501967 w 2051041"/>
              <a:gd name="connsiteY141" fmla="*/ 1677692 h 2084191"/>
              <a:gd name="connsiteX142" fmla="*/ 1479111 w 2051041"/>
              <a:gd name="connsiteY142" fmla="*/ 1700548 h 2084191"/>
              <a:gd name="connsiteX143" fmla="*/ 1455712 w 2051041"/>
              <a:gd name="connsiteY143" fmla="*/ 1676604 h 2084191"/>
              <a:gd name="connsiteX144" fmla="*/ 1479111 w 2051041"/>
              <a:gd name="connsiteY144" fmla="*/ 1654293 h 2084191"/>
              <a:gd name="connsiteX145" fmla="*/ 1643452 w 2051041"/>
              <a:gd name="connsiteY145" fmla="*/ 1650483 h 2084191"/>
              <a:gd name="connsiteX146" fmla="*/ 1668484 w 2051041"/>
              <a:gd name="connsiteY146" fmla="*/ 1676603 h 2084191"/>
              <a:gd name="connsiteX147" fmla="*/ 1643452 w 2051041"/>
              <a:gd name="connsiteY147" fmla="*/ 1703268 h 2084191"/>
              <a:gd name="connsiteX148" fmla="*/ 1617332 w 2051041"/>
              <a:gd name="connsiteY148" fmla="*/ 1677692 h 2084191"/>
              <a:gd name="connsiteX149" fmla="*/ 1643452 w 2051041"/>
              <a:gd name="connsiteY149" fmla="*/ 1650483 h 2084191"/>
              <a:gd name="connsiteX150" fmla="*/ 1968326 w 2051041"/>
              <a:gd name="connsiteY150" fmla="*/ 1649940 h 2084191"/>
              <a:gd name="connsiteX151" fmla="*/ 1995535 w 2051041"/>
              <a:gd name="connsiteY151" fmla="*/ 1676604 h 2084191"/>
              <a:gd name="connsiteX152" fmla="*/ 1968870 w 2051041"/>
              <a:gd name="connsiteY152" fmla="*/ 1704357 h 2084191"/>
              <a:gd name="connsiteX153" fmla="*/ 1941661 w 2051041"/>
              <a:gd name="connsiteY153" fmla="*/ 1677148 h 2084191"/>
              <a:gd name="connsiteX154" fmla="*/ 1968326 w 2051041"/>
              <a:gd name="connsiteY154" fmla="*/ 1649940 h 2084191"/>
              <a:gd name="connsiteX155" fmla="*/ 1805617 w 2051041"/>
              <a:gd name="connsiteY155" fmla="*/ 1649939 h 2084191"/>
              <a:gd name="connsiteX156" fmla="*/ 1832826 w 2051041"/>
              <a:gd name="connsiteY156" fmla="*/ 1677148 h 2084191"/>
              <a:gd name="connsiteX157" fmla="*/ 1805073 w 2051041"/>
              <a:gd name="connsiteY157" fmla="*/ 1704357 h 2084191"/>
              <a:gd name="connsiteX158" fmla="*/ 1778409 w 2051041"/>
              <a:gd name="connsiteY158" fmla="*/ 1677148 h 2084191"/>
              <a:gd name="connsiteX159" fmla="*/ 1805617 w 2051041"/>
              <a:gd name="connsiteY159" fmla="*/ 1649939 h 2084191"/>
              <a:gd name="connsiteX160" fmla="*/ 744474 w 2051041"/>
              <a:gd name="connsiteY160" fmla="*/ 1588992 h 2084191"/>
              <a:gd name="connsiteX161" fmla="*/ 751004 w 2051041"/>
              <a:gd name="connsiteY161" fmla="*/ 1594978 h 2084191"/>
              <a:gd name="connsiteX162" fmla="*/ 745562 w 2051041"/>
              <a:gd name="connsiteY162" fmla="*/ 1602052 h 2084191"/>
              <a:gd name="connsiteX163" fmla="*/ 738488 w 2051041"/>
              <a:gd name="connsiteY163" fmla="*/ 1594978 h 2084191"/>
              <a:gd name="connsiteX164" fmla="*/ 744474 w 2051041"/>
              <a:gd name="connsiteY164" fmla="*/ 1588992 h 2084191"/>
              <a:gd name="connsiteX165" fmla="*/ 907183 w 2051041"/>
              <a:gd name="connsiteY165" fmla="*/ 1579741 h 2084191"/>
              <a:gd name="connsiteX166" fmla="*/ 923508 w 2051041"/>
              <a:gd name="connsiteY166" fmla="*/ 1594978 h 2084191"/>
              <a:gd name="connsiteX167" fmla="*/ 908815 w 2051041"/>
              <a:gd name="connsiteY167" fmla="*/ 1610759 h 2084191"/>
              <a:gd name="connsiteX168" fmla="*/ 892490 w 2051041"/>
              <a:gd name="connsiteY168" fmla="*/ 1595522 h 2084191"/>
              <a:gd name="connsiteX169" fmla="*/ 907183 w 2051041"/>
              <a:gd name="connsiteY169" fmla="*/ 1579741 h 2084191"/>
              <a:gd name="connsiteX170" fmla="*/ 1071524 w 2051041"/>
              <a:gd name="connsiteY170" fmla="*/ 1574843 h 2084191"/>
              <a:gd name="connsiteX171" fmla="*/ 1091114 w 2051041"/>
              <a:gd name="connsiteY171" fmla="*/ 1595522 h 2084191"/>
              <a:gd name="connsiteX172" fmla="*/ 1070980 w 2051041"/>
              <a:gd name="connsiteY172" fmla="*/ 1615656 h 2084191"/>
              <a:gd name="connsiteX173" fmla="*/ 1050301 w 2051041"/>
              <a:gd name="connsiteY173" fmla="*/ 1595522 h 2084191"/>
              <a:gd name="connsiteX174" fmla="*/ 1071524 w 2051041"/>
              <a:gd name="connsiteY174" fmla="*/ 1574843 h 2084191"/>
              <a:gd name="connsiteX175" fmla="*/ 1233688 w 2051041"/>
              <a:gd name="connsiteY175" fmla="*/ 1573210 h 2084191"/>
              <a:gd name="connsiteX176" fmla="*/ 1256544 w 2051041"/>
              <a:gd name="connsiteY176" fmla="*/ 1595522 h 2084191"/>
              <a:gd name="connsiteX177" fmla="*/ 1233688 w 2051041"/>
              <a:gd name="connsiteY177" fmla="*/ 1618377 h 2084191"/>
              <a:gd name="connsiteX178" fmla="*/ 1211377 w 2051041"/>
              <a:gd name="connsiteY178" fmla="*/ 1596610 h 2084191"/>
              <a:gd name="connsiteX179" fmla="*/ 1233688 w 2051041"/>
              <a:gd name="connsiteY179" fmla="*/ 1573210 h 2084191"/>
              <a:gd name="connsiteX180" fmla="*/ 1398030 w 2051041"/>
              <a:gd name="connsiteY180" fmla="*/ 1569402 h 2084191"/>
              <a:gd name="connsiteX181" fmla="*/ 1423062 w 2051041"/>
              <a:gd name="connsiteY181" fmla="*/ 1595522 h 2084191"/>
              <a:gd name="connsiteX182" fmla="*/ 1397485 w 2051041"/>
              <a:gd name="connsiteY182" fmla="*/ 1621099 h 2084191"/>
              <a:gd name="connsiteX183" fmla="*/ 1371365 w 2051041"/>
              <a:gd name="connsiteY183" fmla="*/ 1595522 h 2084191"/>
              <a:gd name="connsiteX184" fmla="*/ 1398030 w 2051041"/>
              <a:gd name="connsiteY184" fmla="*/ 1569402 h 2084191"/>
              <a:gd name="connsiteX185" fmla="*/ 1560194 w 2051041"/>
              <a:gd name="connsiteY185" fmla="*/ 1568313 h 2084191"/>
              <a:gd name="connsiteX186" fmla="*/ 1587947 w 2051041"/>
              <a:gd name="connsiteY186" fmla="*/ 1594433 h 2084191"/>
              <a:gd name="connsiteX187" fmla="*/ 1560194 w 2051041"/>
              <a:gd name="connsiteY187" fmla="*/ 1622730 h 2084191"/>
              <a:gd name="connsiteX188" fmla="*/ 1532985 w 2051041"/>
              <a:gd name="connsiteY188" fmla="*/ 1594977 h 2084191"/>
              <a:gd name="connsiteX189" fmla="*/ 1560194 w 2051041"/>
              <a:gd name="connsiteY189" fmla="*/ 1568313 h 2084191"/>
              <a:gd name="connsiteX190" fmla="*/ 1887244 w 2051041"/>
              <a:gd name="connsiteY190" fmla="*/ 1567225 h 2084191"/>
              <a:gd name="connsiteX191" fmla="*/ 1915541 w 2051041"/>
              <a:gd name="connsiteY191" fmla="*/ 1594978 h 2084191"/>
              <a:gd name="connsiteX192" fmla="*/ 1886699 w 2051041"/>
              <a:gd name="connsiteY192" fmla="*/ 1623819 h 2084191"/>
              <a:gd name="connsiteX193" fmla="*/ 1858947 w 2051041"/>
              <a:gd name="connsiteY193" fmla="*/ 1594978 h 2084191"/>
              <a:gd name="connsiteX194" fmla="*/ 1887244 w 2051041"/>
              <a:gd name="connsiteY194" fmla="*/ 1567225 h 2084191"/>
              <a:gd name="connsiteX195" fmla="*/ 1724535 w 2051041"/>
              <a:gd name="connsiteY195" fmla="*/ 1567225 h 2084191"/>
              <a:gd name="connsiteX196" fmla="*/ 1752288 w 2051041"/>
              <a:gd name="connsiteY196" fmla="*/ 1594978 h 2084191"/>
              <a:gd name="connsiteX197" fmla="*/ 1724535 w 2051041"/>
              <a:gd name="connsiteY197" fmla="*/ 1623275 h 2084191"/>
              <a:gd name="connsiteX198" fmla="*/ 1696238 w 2051041"/>
              <a:gd name="connsiteY198" fmla="*/ 1594978 h 2084191"/>
              <a:gd name="connsiteX199" fmla="*/ 1724535 w 2051041"/>
              <a:gd name="connsiteY199" fmla="*/ 1567225 h 2084191"/>
              <a:gd name="connsiteX200" fmla="*/ 2050496 w 2051041"/>
              <a:gd name="connsiteY200" fmla="*/ 1566680 h 2084191"/>
              <a:gd name="connsiteX201" fmla="*/ 2051041 w 2051041"/>
              <a:gd name="connsiteY201" fmla="*/ 1566888 h 2084191"/>
              <a:gd name="connsiteX202" fmla="*/ 2051041 w 2051041"/>
              <a:gd name="connsiteY202" fmla="*/ 1623794 h 2084191"/>
              <a:gd name="connsiteX203" fmla="*/ 2049408 w 2051041"/>
              <a:gd name="connsiteY203" fmla="*/ 1624363 h 2084191"/>
              <a:gd name="connsiteX204" fmla="*/ 2021655 w 2051041"/>
              <a:gd name="connsiteY204" fmla="*/ 1594977 h 2084191"/>
              <a:gd name="connsiteX205" fmla="*/ 2050496 w 2051041"/>
              <a:gd name="connsiteY205" fmla="*/ 1566680 h 2084191"/>
              <a:gd name="connsiteX206" fmla="*/ 663392 w 2051041"/>
              <a:gd name="connsiteY206" fmla="*/ 1505188 h 2084191"/>
              <a:gd name="connsiteX207" fmla="*/ 674819 w 2051041"/>
              <a:gd name="connsiteY207" fmla="*/ 1513895 h 2084191"/>
              <a:gd name="connsiteX208" fmla="*/ 662848 w 2051041"/>
              <a:gd name="connsiteY208" fmla="*/ 1522058 h 2084191"/>
              <a:gd name="connsiteX209" fmla="*/ 654685 w 2051041"/>
              <a:gd name="connsiteY209" fmla="*/ 1513351 h 2084191"/>
              <a:gd name="connsiteX210" fmla="*/ 663392 w 2051041"/>
              <a:gd name="connsiteY210" fmla="*/ 1505188 h 2084191"/>
              <a:gd name="connsiteX211" fmla="*/ 826101 w 2051041"/>
              <a:gd name="connsiteY211" fmla="*/ 1497570 h 2084191"/>
              <a:gd name="connsiteX212" fmla="*/ 842970 w 2051041"/>
              <a:gd name="connsiteY212" fmla="*/ 1513351 h 2084191"/>
              <a:gd name="connsiteX213" fmla="*/ 826645 w 2051041"/>
              <a:gd name="connsiteY213" fmla="*/ 1529676 h 2084191"/>
              <a:gd name="connsiteX214" fmla="*/ 810319 w 2051041"/>
              <a:gd name="connsiteY214" fmla="*/ 1514983 h 2084191"/>
              <a:gd name="connsiteX215" fmla="*/ 826101 w 2051041"/>
              <a:gd name="connsiteY215" fmla="*/ 1497570 h 2084191"/>
              <a:gd name="connsiteX216" fmla="*/ 988265 w 2051041"/>
              <a:gd name="connsiteY216" fmla="*/ 1492128 h 2084191"/>
              <a:gd name="connsiteX217" fmla="*/ 1010577 w 2051041"/>
              <a:gd name="connsiteY217" fmla="*/ 1513351 h 2084191"/>
              <a:gd name="connsiteX218" fmla="*/ 989354 w 2051041"/>
              <a:gd name="connsiteY218" fmla="*/ 1534574 h 2084191"/>
              <a:gd name="connsiteX219" fmla="*/ 968131 w 2051041"/>
              <a:gd name="connsiteY219" fmla="*/ 1513895 h 2084191"/>
              <a:gd name="connsiteX220" fmla="*/ 988265 w 2051041"/>
              <a:gd name="connsiteY220" fmla="*/ 1492128 h 2084191"/>
              <a:gd name="connsiteX221" fmla="*/ 1152606 w 2051041"/>
              <a:gd name="connsiteY221" fmla="*/ 1490496 h 2084191"/>
              <a:gd name="connsiteX222" fmla="*/ 1176006 w 2051041"/>
              <a:gd name="connsiteY222" fmla="*/ 1513351 h 2084191"/>
              <a:gd name="connsiteX223" fmla="*/ 1152606 w 2051041"/>
              <a:gd name="connsiteY223" fmla="*/ 1537839 h 2084191"/>
              <a:gd name="connsiteX224" fmla="*/ 1129207 w 2051041"/>
              <a:gd name="connsiteY224" fmla="*/ 1514984 h 2084191"/>
              <a:gd name="connsiteX225" fmla="*/ 1152606 w 2051041"/>
              <a:gd name="connsiteY225" fmla="*/ 1490496 h 2084191"/>
              <a:gd name="connsiteX226" fmla="*/ 1316403 w 2051041"/>
              <a:gd name="connsiteY226" fmla="*/ 1487231 h 2084191"/>
              <a:gd name="connsiteX227" fmla="*/ 1342523 w 2051041"/>
              <a:gd name="connsiteY227" fmla="*/ 1513896 h 2084191"/>
              <a:gd name="connsiteX228" fmla="*/ 1315314 w 2051041"/>
              <a:gd name="connsiteY228" fmla="*/ 1540560 h 2084191"/>
              <a:gd name="connsiteX229" fmla="*/ 1288650 w 2051041"/>
              <a:gd name="connsiteY229" fmla="*/ 1513896 h 2084191"/>
              <a:gd name="connsiteX230" fmla="*/ 1316403 w 2051041"/>
              <a:gd name="connsiteY230" fmla="*/ 1487231 h 2084191"/>
              <a:gd name="connsiteX231" fmla="*/ 1479656 w 2051041"/>
              <a:gd name="connsiteY231" fmla="*/ 1485054 h 2084191"/>
              <a:gd name="connsiteX232" fmla="*/ 1507409 w 2051041"/>
              <a:gd name="connsiteY232" fmla="*/ 1513895 h 2084191"/>
              <a:gd name="connsiteX233" fmla="*/ 1479112 w 2051041"/>
              <a:gd name="connsiteY233" fmla="*/ 1541648 h 2084191"/>
              <a:gd name="connsiteX234" fmla="*/ 1451359 w 2051041"/>
              <a:gd name="connsiteY234" fmla="*/ 1513351 h 2084191"/>
              <a:gd name="connsiteX235" fmla="*/ 1479656 w 2051041"/>
              <a:gd name="connsiteY235" fmla="*/ 1485054 h 2084191"/>
              <a:gd name="connsiteX236" fmla="*/ 1641820 w 2051041"/>
              <a:gd name="connsiteY236" fmla="*/ 1482334 h 2084191"/>
              <a:gd name="connsiteX237" fmla="*/ 1673382 w 2051041"/>
              <a:gd name="connsiteY237" fmla="*/ 1512807 h 2084191"/>
              <a:gd name="connsiteX238" fmla="*/ 1642909 w 2051041"/>
              <a:gd name="connsiteY238" fmla="*/ 1544370 h 2084191"/>
              <a:gd name="connsiteX239" fmla="*/ 1612435 w 2051041"/>
              <a:gd name="connsiteY239" fmla="*/ 1513351 h 2084191"/>
              <a:gd name="connsiteX240" fmla="*/ 1641820 w 2051041"/>
              <a:gd name="connsiteY240" fmla="*/ 1482334 h 2084191"/>
              <a:gd name="connsiteX241" fmla="*/ 1804529 w 2051041"/>
              <a:gd name="connsiteY241" fmla="*/ 1481788 h 2084191"/>
              <a:gd name="connsiteX242" fmla="*/ 1837180 w 2051041"/>
              <a:gd name="connsiteY242" fmla="*/ 1513351 h 2084191"/>
              <a:gd name="connsiteX243" fmla="*/ 1805617 w 2051041"/>
              <a:gd name="connsiteY243" fmla="*/ 1545457 h 2084191"/>
              <a:gd name="connsiteX244" fmla="*/ 1773511 w 2051041"/>
              <a:gd name="connsiteY244" fmla="*/ 1514983 h 2084191"/>
              <a:gd name="connsiteX245" fmla="*/ 1804529 w 2051041"/>
              <a:gd name="connsiteY245" fmla="*/ 1481788 h 2084191"/>
              <a:gd name="connsiteX246" fmla="*/ 1968870 w 2051041"/>
              <a:gd name="connsiteY246" fmla="*/ 1480700 h 2084191"/>
              <a:gd name="connsiteX247" fmla="*/ 2000977 w 2051041"/>
              <a:gd name="connsiteY247" fmla="*/ 1513351 h 2084191"/>
              <a:gd name="connsiteX248" fmla="*/ 1968870 w 2051041"/>
              <a:gd name="connsiteY248" fmla="*/ 1545457 h 2084191"/>
              <a:gd name="connsiteX249" fmla="*/ 1936764 w 2051041"/>
              <a:gd name="connsiteY249" fmla="*/ 1513351 h 2084191"/>
              <a:gd name="connsiteX250" fmla="*/ 1968870 w 2051041"/>
              <a:gd name="connsiteY250" fmla="*/ 1480700 h 2084191"/>
              <a:gd name="connsiteX251" fmla="*/ 581221 w 2051041"/>
              <a:gd name="connsiteY251" fmla="*/ 1423562 h 2084191"/>
              <a:gd name="connsiteX252" fmla="*/ 588840 w 2051041"/>
              <a:gd name="connsiteY252" fmla="*/ 1431725 h 2084191"/>
              <a:gd name="connsiteX253" fmla="*/ 581765 w 2051041"/>
              <a:gd name="connsiteY253" fmla="*/ 1443153 h 2084191"/>
              <a:gd name="connsiteX254" fmla="*/ 573059 w 2051041"/>
              <a:gd name="connsiteY254" fmla="*/ 1432813 h 2084191"/>
              <a:gd name="connsiteX255" fmla="*/ 581221 w 2051041"/>
              <a:gd name="connsiteY255" fmla="*/ 1423562 h 2084191"/>
              <a:gd name="connsiteX256" fmla="*/ 745562 w 2051041"/>
              <a:gd name="connsiteY256" fmla="*/ 1414855 h 2084191"/>
              <a:gd name="connsiteX257" fmla="*/ 761344 w 2051041"/>
              <a:gd name="connsiteY257" fmla="*/ 1432269 h 2084191"/>
              <a:gd name="connsiteX258" fmla="*/ 745018 w 2051041"/>
              <a:gd name="connsiteY258" fmla="*/ 1448050 h 2084191"/>
              <a:gd name="connsiteX259" fmla="*/ 728693 w 2051041"/>
              <a:gd name="connsiteY259" fmla="*/ 1431725 h 2084191"/>
              <a:gd name="connsiteX260" fmla="*/ 745562 w 2051041"/>
              <a:gd name="connsiteY260" fmla="*/ 1414855 h 2084191"/>
              <a:gd name="connsiteX261" fmla="*/ 908815 w 2051041"/>
              <a:gd name="connsiteY261" fmla="*/ 1409958 h 2084191"/>
              <a:gd name="connsiteX262" fmla="*/ 930038 w 2051041"/>
              <a:gd name="connsiteY262" fmla="*/ 1431725 h 2084191"/>
              <a:gd name="connsiteX263" fmla="*/ 907183 w 2051041"/>
              <a:gd name="connsiteY263" fmla="*/ 1453492 h 2084191"/>
              <a:gd name="connsiteX264" fmla="*/ 885960 w 2051041"/>
              <a:gd name="connsiteY264" fmla="*/ 1431725 h 2084191"/>
              <a:gd name="connsiteX265" fmla="*/ 908815 w 2051041"/>
              <a:gd name="connsiteY265" fmla="*/ 1409958 h 2084191"/>
              <a:gd name="connsiteX266" fmla="*/ 1070436 w 2051041"/>
              <a:gd name="connsiteY266" fmla="*/ 1406693 h 2084191"/>
              <a:gd name="connsiteX267" fmla="*/ 1096012 w 2051041"/>
              <a:gd name="connsiteY267" fmla="*/ 1432269 h 2084191"/>
              <a:gd name="connsiteX268" fmla="*/ 1070436 w 2051041"/>
              <a:gd name="connsiteY268" fmla="*/ 1457846 h 2084191"/>
              <a:gd name="connsiteX269" fmla="*/ 1045404 w 2051041"/>
              <a:gd name="connsiteY269" fmla="*/ 1431181 h 2084191"/>
              <a:gd name="connsiteX270" fmla="*/ 1070436 w 2051041"/>
              <a:gd name="connsiteY270" fmla="*/ 1406693 h 2084191"/>
              <a:gd name="connsiteX271" fmla="*/ 1235865 w 2051041"/>
              <a:gd name="connsiteY271" fmla="*/ 1404516 h 2084191"/>
              <a:gd name="connsiteX272" fmla="*/ 1261986 w 2051041"/>
              <a:gd name="connsiteY272" fmla="*/ 1433358 h 2084191"/>
              <a:gd name="connsiteX273" fmla="*/ 1233689 w 2051041"/>
              <a:gd name="connsiteY273" fmla="*/ 1459478 h 2084191"/>
              <a:gd name="connsiteX274" fmla="*/ 1206480 w 2051041"/>
              <a:gd name="connsiteY274" fmla="*/ 1432269 h 2084191"/>
              <a:gd name="connsiteX275" fmla="*/ 1235865 w 2051041"/>
              <a:gd name="connsiteY275" fmla="*/ 1404516 h 2084191"/>
              <a:gd name="connsiteX276" fmla="*/ 1397485 w 2051041"/>
              <a:gd name="connsiteY276" fmla="*/ 1400162 h 2084191"/>
              <a:gd name="connsiteX277" fmla="*/ 1427959 w 2051041"/>
              <a:gd name="connsiteY277" fmla="*/ 1431724 h 2084191"/>
              <a:gd name="connsiteX278" fmla="*/ 1398029 w 2051041"/>
              <a:gd name="connsiteY278" fmla="*/ 1463287 h 2084191"/>
              <a:gd name="connsiteX279" fmla="*/ 1366467 w 2051041"/>
              <a:gd name="connsiteY279" fmla="*/ 1432813 h 2084191"/>
              <a:gd name="connsiteX280" fmla="*/ 1397485 w 2051041"/>
              <a:gd name="connsiteY280" fmla="*/ 1400162 h 2084191"/>
              <a:gd name="connsiteX281" fmla="*/ 1561282 w 2051041"/>
              <a:gd name="connsiteY281" fmla="*/ 1399618 h 2084191"/>
              <a:gd name="connsiteX282" fmla="*/ 1593388 w 2051041"/>
              <a:gd name="connsiteY282" fmla="*/ 1432269 h 2084191"/>
              <a:gd name="connsiteX283" fmla="*/ 1560738 w 2051041"/>
              <a:gd name="connsiteY283" fmla="*/ 1464375 h 2084191"/>
              <a:gd name="connsiteX284" fmla="*/ 1528631 w 2051041"/>
              <a:gd name="connsiteY284" fmla="*/ 1432813 h 2084191"/>
              <a:gd name="connsiteX285" fmla="*/ 1561282 w 2051041"/>
              <a:gd name="connsiteY285" fmla="*/ 1399618 h 2084191"/>
              <a:gd name="connsiteX286" fmla="*/ 1723446 w 2051041"/>
              <a:gd name="connsiteY286" fmla="*/ 1399074 h 2084191"/>
              <a:gd name="connsiteX287" fmla="*/ 1757185 w 2051041"/>
              <a:gd name="connsiteY287" fmla="*/ 1432269 h 2084191"/>
              <a:gd name="connsiteX288" fmla="*/ 1723991 w 2051041"/>
              <a:gd name="connsiteY288" fmla="*/ 1465464 h 2084191"/>
              <a:gd name="connsiteX289" fmla="*/ 1691340 w 2051041"/>
              <a:gd name="connsiteY289" fmla="*/ 1433357 h 2084191"/>
              <a:gd name="connsiteX290" fmla="*/ 1723446 w 2051041"/>
              <a:gd name="connsiteY290" fmla="*/ 1399074 h 2084191"/>
              <a:gd name="connsiteX291" fmla="*/ 1886700 w 2051041"/>
              <a:gd name="connsiteY291" fmla="*/ 1398530 h 2084191"/>
              <a:gd name="connsiteX292" fmla="*/ 1920439 w 2051041"/>
              <a:gd name="connsiteY292" fmla="*/ 1432269 h 2084191"/>
              <a:gd name="connsiteX293" fmla="*/ 1887788 w 2051041"/>
              <a:gd name="connsiteY293" fmla="*/ 1464920 h 2084191"/>
              <a:gd name="connsiteX294" fmla="*/ 1854049 w 2051041"/>
              <a:gd name="connsiteY294" fmla="*/ 1433358 h 2084191"/>
              <a:gd name="connsiteX295" fmla="*/ 1886700 w 2051041"/>
              <a:gd name="connsiteY295" fmla="*/ 1398530 h 2084191"/>
              <a:gd name="connsiteX296" fmla="*/ 2051041 w 2051041"/>
              <a:gd name="connsiteY296" fmla="*/ 1398217 h 2084191"/>
              <a:gd name="connsiteX297" fmla="*/ 2051041 w 2051041"/>
              <a:gd name="connsiteY297" fmla="*/ 1464535 h 2084191"/>
              <a:gd name="connsiteX298" fmla="*/ 2049953 w 2051041"/>
              <a:gd name="connsiteY298" fmla="*/ 1464920 h 2084191"/>
              <a:gd name="connsiteX299" fmla="*/ 2017302 w 2051041"/>
              <a:gd name="connsiteY299" fmla="*/ 1431725 h 2084191"/>
              <a:gd name="connsiteX300" fmla="*/ 2027709 w 2051041"/>
              <a:gd name="connsiteY300" fmla="*/ 1408121 h 2084191"/>
              <a:gd name="connsiteX301" fmla="*/ 500139 w 2051041"/>
              <a:gd name="connsiteY301" fmla="*/ 1341936 h 2084191"/>
              <a:gd name="connsiteX302" fmla="*/ 511023 w 2051041"/>
              <a:gd name="connsiteY302" fmla="*/ 1350643 h 2084191"/>
              <a:gd name="connsiteX303" fmla="*/ 499595 w 2051041"/>
              <a:gd name="connsiteY303" fmla="*/ 1358261 h 2084191"/>
              <a:gd name="connsiteX304" fmla="*/ 491432 w 2051041"/>
              <a:gd name="connsiteY304" fmla="*/ 1349010 h 2084191"/>
              <a:gd name="connsiteX305" fmla="*/ 500139 w 2051041"/>
              <a:gd name="connsiteY305" fmla="*/ 1341936 h 2084191"/>
              <a:gd name="connsiteX306" fmla="*/ 662848 w 2051041"/>
              <a:gd name="connsiteY306" fmla="*/ 1333773 h 2084191"/>
              <a:gd name="connsiteX307" fmla="*/ 679173 w 2051041"/>
              <a:gd name="connsiteY307" fmla="*/ 1350643 h 2084191"/>
              <a:gd name="connsiteX308" fmla="*/ 662848 w 2051041"/>
              <a:gd name="connsiteY308" fmla="*/ 1366424 h 2084191"/>
              <a:gd name="connsiteX309" fmla="*/ 647067 w 2051041"/>
              <a:gd name="connsiteY309" fmla="*/ 1350098 h 2084191"/>
              <a:gd name="connsiteX310" fmla="*/ 662848 w 2051041"/>
              <a:gd name="connsiteY310" fmla="*/ 1333773 h 2084191"/>
              <a:gd name="connsiteX311" fmla="*/ 826645 w 2051041"/>
              <a:gd name="connsiteY311" fmla="*/ 1328331 h 2084191"/>
              <a:gd name="connsiteX312" fmla="*/ 847868 w 2051041"/>
              <a:gd name="connsiteY312" fmla="*/ 1350642 h 2084191"/>
              <a:gd name="connsiteX313" fmla="*/ 825556 w 2051041"/>
              <a:gd name="connsiteY313" fmla="*/ 1372409 h 2084191"/>
              <a:gd name="connsiteX314" fmla="*/ 804334 w 2051041"/>
              <a:gd name="connsiteY314" fmla="*/ 1349554 h 2084191"/>
              <a:gd name="connsiteX315" fmla="*/ 826645 w 2051041"/>
              <a:gd name="connsiteY315" fmla="*/ 1328331 h 2084191"/>
              <a:gd name="connsiteX316" fmla="*/ 989353 w 2051041"/>
              <a:gd name="connsiteY316" fmla="*/ 1323978 h 2084191"/>
              <a:gd name="connsiteX317" fmla="*/ 1015473 w 2051041"/>
              <a:gd name="connsiteY317" fmla="*/ 1350098 h 2084191"/>
              <a:gd name="connsiteX318" fmla="*/ 989353 w 2051041"/>
              <a:gd name="connsiteY318" fmla="*/ 1376763 h 2084191"/>
              <a:gd name="connsiteX319" fmla="*/ 963777 w 2051041"/>
              <a:gd name="connsiteY319" fmla="*/ 1350642 h 2084191"/>
              <a:gd name="connsiteX320" fmla="*/ 989353 w 2051041"/>
              <a:gd name="connsiteY320" fmla="*/ 1323978 h 2084191"/>
              <a:gd name="connsiteX321" fmla="*/ 1152606 w 2051041"/>
              <a:gd name="connsiteY321" fmla="*/ 1322889 h 2084191"/>
              <a:gd name="connsiteX322" fmla="*/ 1181447 w 2051041"/>
              <a:gd name="connsiteY322" fmla="*/ 1350098 h 2084191"/>
              <a:gd name="connsiteX323" fmla="*/ 1152606 w 2051041"/>
              <a:gd name="connsiteY323" fmla="*/ 1379483 h 2084191"/>
              <a:gd name="connsiteX324" fmla="*/ 1124853 w 2051041"/>
              <a:gd name="connsiteY324" fmla="*/ 1350642 h 2084191"/>
              <a:gd name="connsiteX325" fmla="*/ 1152606 w 2051041"/>
              <a:gd name="connsiteY325" fmla="*/ 1322889 h 2084191"/>
              <a:gd name="connsiteX326" fmla="*/ 1315315 w 2051041"/>
              <a:gd name="connsiteY326" fmla="*/ 1318536 h 2084191"/>
              <a:gd name="connsiteX327" fmla="*/ 1347966 w 2051041"/>
              <a:gd name="connsiteY327" fmla="*/ 1350098 h 2084191"/>
              <a:gd name="connsiteX328" fmla="*/ 1315315 w 2051041"/>
              <a:gd name="connsiteY328" fmla="*/ 1381661 h 2084191"/>
              <a:gd name="connsiteX329" fmla="*/ 1284297 w 2051041"/>
              <a:gd name="connsiteY329" fmla="*/ 1350098 h 2084191"/>
              <a:gd name="connsiteX330" fmla="*/ 1315315 w 2051041"/>
              <a:gd name="connsiteY330" fmla="*/ 1318536 h 2084191"/>
              <a:gd name="connsiteX331" fmla="*/ 1480744 w 2051041"/>
              <a:gd name="connsiteY331" fmla="*/ 1317448 h 2084191"/>
              <a:gd name="connsiteX332" fmla="*/ 1512306 w 2051041"/>
              <a:gd name="connsiteY332" fmla="*/ 1351731 h 2084191"/>
              <a:gd name="connsiteX333" fmla="*/ 1477479 w 2051041"/>
              <a:gd name="connsiteY333" fmla="*/ 1383293 h 2084191"/>
              <a:gd name="connsiteX334" fmla="*/ 1446461 w 2051041"/>
              <a:gd name="connsiteY334" fmla="*/ 1349554 h 2084191"/>
              <a:gd name="connsiteX335" fmla="*/ 1480744 w 2051041"/>
              <a:gd name="connsiteY335" fmla="*/ 1317448 h 2084191"/>
              <a:gd name="connsiteX336" fmla="*/ 1642908 w 2051041"/>
              <a:gd name="connsiteY336" fmla="*/ 1315815 h 2084191"/>
              <a:gd name="connsiteX337" fmla="*/ 1676647 w 2051041"/>
              <a:gd name="connsiteY337" fmla="*/ 1351731 h 2084191"/>
              <a:gd name="connsiteX338" fmla="*/ 1640732 w 2051041"/>
              <a:gd name="connsiteY338" fmla="*/ 1383837 h 2084191"/>
              <a:gd name="connsiteX339" fmla="*/ 1608081 w 2051041"/>
              <a:gd name="connsiteY339" fmla="*/ 1349554 h 2084191"/>
              <a:gd name="connsiteX340" fmla="*/ 1642908 w 2051041"/>
              <a:gd name="connsiteY340" fmla="*/ 1315815 h 2084191"/>
              <a:gd name="connsiteX341" fmla="*/ 1968870 w 2051041"/>
              <a:gd name="connsiteY341" fmla="*/ 1314183 h 2084191"/>
              <a:gd name="connsiteX342" fmla="*/ 2005329 w 2051041"/>
              <a:gd name="connsiteY342" fmla="*/ 1351187 h 2084191"/>
              <a:gd name="connsiteX343" fmla="*/ 1967781 w 2051041"/>
              <a:gd name="connsiteY343" fmla="*/ 1388191 h 2084191"/>
              <a:gd name="connsiteX344" fmla="*/ 1931866 w 2051041"/>
              <a:gd name="connsiteY344" fmla="*/ 1350098 h 2084191"/>
              <a:gd name="connsiteX345" fmla="*/ 1968870 w 2051041"/>
              <a:gd name="connsiteY345" fmla="*/ 1314183 h 2084191"/>
              <a:gd name="connsiteX346" fmla="*/ 1806161 w 2051041"/>
              <a:gd name="connsiteY346" fmla="*/ 1313639 h 2084191"/>
              <a:gd name="connsiteX347" fmla="*/ 1841533 w 2051041"/>
              <a:gd name="connsiteY347" fmla="*/ 1351187 h 2084191"/>
              <a:gd name="connsiteX348" fmla="*/ 1830105 w 2051041"/>
              <a:gd name="connsiteY348" fmla="*/ 1376763 h 2084191"/>
              <a:gd name="connsiteX349" fmla="*/ 1803984 w 2051041"/>
              <a:gd name="connsiteY349" fmla="*/ 1387102 h 2084191"/>
              <a:gd name="connsiteX350" fmla="*/ 1768613 w 2051041"/>
              <a:gd name="connsiteY350" fmla="*/ 1350098 h 2084191"/>
              <a:gd name="connsiteX351" fmla="*/ 1806161 w 2051041"/>
              <a:gd name="connsiteY351" fmla="*/ 1313639 h 2084191"/>
              <a:gd name="connsiteX352" fmla="*/ 419057 w 2051041"/>
              <a:gd name="connsiteY352" fmla="*/ 1262486 h 2084191"/>
              <a:gd name="connsiteX353" fmla="*/ 424499 w 2051041"/>
              <a:gd name="connsiteY353" fmla="*/ 1269016 h 2084191"/>
              <a:gd name="connsiteX354" fmla="*/ 417969 w 2051041"/>
              <a:gd name="connsiteY354" fmla="*/ 1278811 h 2084191"/>
              <a:gd name="connsiteX355" fmla="*/ 411983 w 2051041"/>
              <a:gd name="connsiteY355" fmla="*/ 1269016 h 2084191"/>
              <a:gd name="connsiteX356" fmla="*/ 419057 w 2051041"/>
              <a:gd name="connsiteY356" fmla="*/ 1262486 h 2084191"/>
              <a:gd name="connsiteX357" fmla="*/ 581221 w 2051041"/>
              <a:gd name="connsiteY357" fmla="*/ 1252147 h 2084191"/>
              <a:gd name="connsiteX358" fmla="*/ 597547 w 2051041"/>
              <a:gd name="connsiteY358" fmla="*/ 1269017 h 2084191"/>
              <a:gd name="connsiteX359" fmla="*/ 580133 w 2051041"/>
              <a:gd name="connsiteY359" fmla="*/ 1284254 h 2084191"/>
              <a:gd name="connsiteX360" fmla="*/ 564896 w 2051041"/>
              <a:gd name="connsiteY360" fmla="*/ 1268472 h 2084191"/>
              <a:gd name="connsiteX361" fmla="*/ 581221 w 2051041"/>
              <a:gd name="connsiteY361" fmla="*/ 1252147 h 2084191"/>
              <a:gd name="connsiteX362" fmla="*/ 745018 w 2051041"/>
              <a:gd name="connsiteY362" fmla="*/ 1246705 h 2084191"/>
              <a:gd name="connsiteX363" fmla="*/ 766241 w 2051041"/>
              <a:gd name="connsiteY363" fmla="*/ 1269560 h 2084191"/>
              <a:gd name="connsiteX364" fmla="*/ 744474 w 2051041"/>
              <a:gd name="connsiteY364" fmla="*/ 1290783 h 2084191"/>
              <a:gd name="connsiteX365" fmla="*/ 722707 w 2051041"/>
              <a:gd name="connsiteY365" fmla="*/ 1267928 h 2084191"/>
              <a:gd name="connsiteX366" fmla="*/ 745018 w 2051041"/>
              <a:gd name="connsiteY366" fmla="*/ 1246705 h 2084191"/>
              <a:gd name="connsiteX367" fmla="*/ 907727 w 2051041"/>
              <a:gd name="connsiteY367" fmla="*/ 1241807 h 2084191"/>
              <a:gd name="connsiteX368" fmla="*/ 933847 w 2051041"/>
              <a:gd name="connsiteY368" fmla="*/ 1269016 h 2084191"/>
              <a:gd name="connsiteX369" fmla="*/ 907183 w 2051041"/>
              <a:gd name="connsiteY369" fmla="*/ 1295136 h 2084191"/>
              <a:gd name="connsiteX370" fmla="*/ 880518 w 2051041"/>
              <a:gd name="connsiteY370" fmla="*/ 1267927 h 2084191"/>
              <a:gd name="connsiteX371" fmla="*/ 907727 w 2051041"/>
              <a:gd name="connsiteY371" fmla="*/ 1241807 h 2084191"/>
              <a:gd name="connsiteX372" fmla="*/ 1070979 w 2051041"/>
              <a:gd name="connsiteY372" fmla="*/ 1240719 h 2084191"/>
              <a:gd name="connsiteX373" fmla="*/ 1099821 w 2051041"/>
              <a:gd name="connsiteY373" fmla="*/ 1268472 h 2084191"/>
              <a:gd name="connsiteX374" fmla="*/ 1070435 w 2051041"/>
              <a:gd name="connsiteY374" fmla="*/ 1297858 h 2084191"/>
              <a:gd name="connsiteX375" fmla="*/ 1042138 w 2051041"/>
              <a:gd name="connsiteY375" fmla="*/ 1269560 h 2084191"/>
              <a:gd name="connsiteX376" fmla="*/ 1070979 w 2051041"/>
              <a:gd name="connsiteY376" fmla="*/ 1240719 h 2084191"/>
              <a:gd name="connsiteX377" fmla="*/ 1234233 w 2051041"/>
              <a:gd name="connsiteY377" fmla="*/ 1235821 h 2084191"/>
              <a:gd name="connsiteX378" fmla="*/ 1266883 w 2051041"/>
              <a:gd name="connsiteY378" fmla="*/ 1269016 h 2084191"/>
              <a:gd name="connsiteX379" fmla="*/ 1234233 w 2051041"/>
              <a:gd name="connsiteY379" fmla="*/ 1300578 h 2084191"/>
              <a:gd name="connsiteX380" fmla="*/ 1201582 w 2051041"/>
              <a:gd name="connsiteY380" fmla="*/ 1267383 h 2084191"/>
              <a:gd name="connsiteX381" fmla="*/ 1234233 w 2051041"/>
              <a:gd name="connsiteY381" fmla="*/ 1235821 h 2084191"/>
              <a:gd name="connsiteX382" fmla="*/ 1396397 w 2051041"/>
              <a:gd name="connsiteY382" fmla="*/ 1234733 h 2084191"/>
              <a:gd name="connsiteX383" fmla="*/ 1431224 w 2051041"/>
              <a:gd name="connsiteY383" fmla="*/ 1268472 h 2084191"/>
              <a:gd name="connsiteX384" fmla="*/ 1396941 w 2051041"/>
              <a:gd name="connsiteY384" fmla="*/ 1302755 h 2084191"/>
              <a:gd name="connsiteX385" fmla="*/ 1363746 w 2051041"/>
              <a:gd name="connsiteY385" fmla="*/ 1269016 h 2084191"/>
              <a:gd name="connsiteX386" fmla="*/ 1396397 w 2051041"/>
              <a:gd name="connsiteY386" fmla="*/ 1234733 h 2084191"/>
              <a:gd name="connsiteX387" fmla="*/ 1559649 w 2051041"/>
              <a:gd name="connsiteY387" fmla="*/ 1232557 h 2084191"/>
              <a:gd name="connsiteX388" fmla="*/ 1597742 w 2051041"/>
              <a:gd name="connsiteY388" fmla="*/ 1268472 h 2084191"/>
              <a:gd name="connsiteX389" fmla="*/ 1561826 w 2051041"/>
              <a:gd name="connsiteY389" fmla="*/ 1305476 h 2084191"/>
              <a:gd name="connsiteX390" fmla="*/ 1523734 w 2051041"/>
              <a:gd name="connsiteY390" fmla="*/ 1269561 h 2084191"/>
              <a:gd name="connsiteX391" fmla="*/ 1559649 w 2051041"/>
              <a:gd name="connsiteY391" fmla="*/ 1232557 h 2084191"/>
              <a:gd name="connsiteX392" fmla="*/ 1723990 w 2051041"/>
              <a:gd name="connsiteY392" fmla="*/ 1231468 h 2084191"/>
              <a:gd name="connsiteX393" fmla="*/ 1762083 w 2051041"/>
              <a:gd name="connsiteY393" fmla="*/ 1268472 h 2084191"/>
              <a:gd name="connsiteX394" fmla="*/ 1724535 w 2051041"/>
              <a:gd name="connsiteY394" fmla="*/ 1307109 h 2084191"/>
              <a:gd name="connsiteX395" fmla="*/ 1686442 w 2051041"/>
              <a:gd name="connsiteY395" fmla="*/ 1270105 h 2084191"/>
              <a:gd name="connsiteX396" fmla="*/ 1723990 w 2051041"/>
              <a:gd name="connsiteY396" fmla="*/ 1231468 h 2084191"/>
              <a:gd name="connsiteX397" fmla="*/ 1888332 w 2051041"/>
              <a:gd name="connsiteY397" fmla="*/ 1230924 h 2084191"/>
              <a:gd name="connsiteX398" fmla="*/ 1925336 w 2051041"/>
              <a:gd name="connsiteY398" fmla="*/ 1269561 h 2084191"/>
              <a:gd name="connsiteX399" fmla="*/ 1887243 w 2051041"/>
              <a:gd name="connsiteY399" fmla="*/ 1307653 h 2084191"/>
              <a:gd name="connsiteX400" fmla="*/ 1849151 w 2051041"/>
              <a:gd name="connsiteY400" fmla="*/ 1267928 h 2084191"/>
              <a:gd name="connsiteX401" fmla="*/ 1888332 w 2051041"/>
              <a:gd name="connsiteY401" fmla="*/ 1230924 h 2084191"/>
              <a:gd name="connsiteX402" fmla="*/ 2049952 w 2051041"/>
              <a:gd name="connsiteY402" fmla="*/ 1230380 h 2084191"/>
              <a:gd name="connsiteX403" fmla="*/ 2051041 w 2051041"/>
              <a:gd name="connsiteY403" fmla="*/ 1230805 h 2084191"/>
              <a:gd name="connsiteX404" fmla="*/ 2051041 w 2051041"/>
              <a:gd name="connsiteY404" fmla="*/ 1307109 h 2084191"/>
              <a:gd name="connsiteX405" fmla="*/ 2012404 w 2051041"/>
              <a:gd name="connsiteY405" fmla="*/ 1268472 h 2084191"/>
              <a:gd name="connsiteX406" fmla="*/ 2049952 w 2051041"/>
              <a:gd name="connsiteY406" fmla="*/ 1230380 h 2084191"/>
              <a:gd name="connsiteX407" fmla="*/ 337431 w 2051041"/>
              <a:gd name="connsiteY407" fmla="*/ 1181404 h 2084191"/>
              <a:gd name="connsiteX408" fmla="*/ 345050 w 2051041"/>
              <a:gd name="connsiteY408" fmla="*/ 1187934 h 2084191"/>
              <a:gd name="connsiteX409" fmla="*/ 336343 w 2051041"/>
              <a:gd name="connsiteY409" fmla="*/ 1192288 h 2084191"/>
              <a:gd name="connsiteX410" fmla="*/ 330901 w 2051041"/>
              <a:gd name="connsiteY410" fmla="*/ 1185758 h 2084191"/>
              <a:gd name="connsiteX411" fmla="*/ 337431 w 2051041"/>
              <a:gd name="connsiteY411" fmla="*/ 1181404 h 2084191"/>
              <a:gd name="connsiteX412" fmla="*/ 499051 w 2051041"/>
              <a:gd name="connsiteY412" fmla="*/ 1171065 h 2084191"/>
              <a:gd name="connsiteX413" fmla="*/ 516465 w 2051041"/>
              <a:gd name="connsiteY413" fmla="*/ 1187390 h 2084191"/>
              <a:gd name="connsiteX414" fmla="*/ 500140 w 2051041"/>
              <a:gd name="connsiteY414" fmla="*/ 1202627 h 2084191"/>
              <a:gd name="connsiteX415" fmla="*/ 483814 w 2051041"/>
              <a:gd name="connsiteY415" fmla="*/ 1187390 h 2084191"/>
              <a:gd name="connsiteX416" fmla="*/ 499051 w 2051041"/>
              <a:gd name="connsiteY416" fmla="*/ 1171065 h 2084191"/>
              <a:gd name="connsiteX417" fmla="*/ 662848 w 2051041"/>
              <a:gd name="connsiteY417" fmla="*/ 1165623 h 2084191"/>
              <a:gd name="connsiteX418" fmla="*/ 684615 w 2051041"/>
              <a:gd name="connsiteY418" fmla="*/ 1187390 h 2084191"/>
              <a:gd name="connsiteX419" fmla="*/ 662848 w 2051041"/>
              <a:gd name="connsiteY419" fmla="*/ 1209157 h 2084191"/>
              <a:gd name="connsiteX420" fmla="*/ 641081 w 2051041"/>
              <a:gd name="connsiteY420" fmla="*/ 1186846 h 2084191"/>
              <a:gd name="connsiteX421" fmla="*/ 662848 w 2051041"/>
              <a:gd name="connsiteY421" fmla="*/ 1165623 h 2084191"/>
              <a:gd name="connsiteX422" fmla="*/ 825556 w 2051041"/>
              <a:gd name="connsiteY422" fmla="*/ 1160725 h 2084191"/>
              <a:gd name="connsiteX423" fmla="*/ 852765 w 2051041"/>
              <a:gd name="connsiteY423" fmla="*/ 1186846 h 2084191"/>
              <a:gd name="connsiteX424" fmla="*/ 826645 w 2051041"/>
              <a:gd name="connsiteY424" fmla="*/ 1213511 h 2084191"/>
              <a:gd name="connsiteX425" fmla="*/ 798892 w 2051041"/>
              <a:gd name="connsiteY425" fmla="*/ 1188479 h 2084191"/>
              <a:gd name="connsiteX426" fmla="*/ 825556 w 2051041"/>
              <a:gd name="connsiteY426" fmla="*/ 1160725 h 2084191"/>
              <a:gd name="connsiteX427" fmla="*/ 989353 w 2051041"/>
              <a:gd name="connsiteY427" fmla="*/ 1158004 h 2084191"/>
              <a:gd name="connsiteX428" fmla="*/ 1018195 w 2051041"/>
              <a:gd name="connsiteY428" fmla="*/ 1187934 h 2084191"/>
              <a:gd name="connsiteX429" fmla="*/ 988809 w 2051041"/>
              <a:gd name="connsiteY429" fmla="*/ 1216775 h 2084191"/>
              <a:gd name="connsiteX430" fmla="*/ 959968 w 2051041"/>
              <a:gd name="connsiteY430" fmla="*/ 1187934 h 2084191"/>
              <a:gd name="connsiteX431" fmla="*/ 989353 w 2051041"/>
              <a:gd name="connsiteY431" fmla="*/ 1158004 h 2084191"/>
              <a:gd name="connsiteX432" fmla="*/ 1152062 w 2051041"/>
              <a:gd name="connsiteY432" fmla="*/ 1153651 h 2084191"/>
              <a:gd name="connsiteX433" fmla="*/ 1185801 w 2051041"/>
              <a:gd name="connsiteY433" fmla="*/ 1186301 h 2084191"/>
              <a:gd name="connsiteX434" fmla="*/ 1153150 w 2051041"/>
              <a:gd name="connsiteY434" fmla="*/ 1219496 h 2084191"/>
              <a:gd name="connsiteX435" fmla="*/ 1119956 w 2051041"/>
              <a:gd name="connsiteY435" fmla="*/ 1187390 h 2084191"/>
              <a:gd name="connsiteX436" fmla="*/ 1152062 w 2051041"/>
              <a:gd name="connsiteY436" fmla="*/ 1153651 h 2084191"/>
              <a:gd name="connsiteX437" fmla="*/ 1315315 w 2051041"/>
              <a:gd name="connsiteY437" fmla="*/ 1152018 h 2084191"/>
              <a:gd name="connsiteX438" fmla="*/ 1351230 w 2051041"/>
              <a:gd name="connsiteY438" fmla="*/ 1186845 h 2084191"/>
              <a:gd name="connsiteX439" fmla="*/ 1315859 w 2051041"/>
              <a:gd name="connsiteY439" fmla="*/ 1221673 h 2084191"/>
              <a:gd name="connsiteX440" fmla="*/ 1281576 w 2051041"/>
              <a:gd name="connsiteY440" fmla="*/ 1187390 h 2084191"/>
              <a:gd name="connsiteX441" fmla="*/ 1315315 w 2051041"/>
              <a:gd name="connsiteY441" fmla="*/ 1152018 h 2084191"/>
              <a:gd name="connsiteX442" fmla="*/ 1479656 w 2051041"/>
              <a:gd name="connsiteY442" fmla="*/ 1149298 h 2084191"/>
              <a:gd name="connsiteX443" fmla="*/ 1516660 w 2051041"/>
              <a:gd name="connsiteY443" fmla="*/ 1188479 h 2084191"/>
              <a:gd name="connsiteX444" fmla="*/ 1478023 w 2051041"/>
              <a:gd name="connsiteY444" fmla="*/ 1224394 h 2084191"/>
              <a:gd name="connsiteX445" fmla="*/ 1441563 w 2051041"/>
              <a:gd name="connsiteY445" fmla="*/ 1185758 h 2084191"/>
              <a:gd name="connsiteX446" fmla="*/ 1479656 w 2051041"/>
              <a:gd name="connsiteY446" fmla="*/ 1149298 h 2084191"/>
              <a:gd name="connsiteX447" fmla="*/ 1642365 w 2051041"/>
              <a:gd name="connsiteY447" fmla="*/ 1148209 h 2084191"/>
              <a:gd name="connsiteX448" fmla="*/ 1681001 w 2051041"/>
              <a:gd name="connsiteY448" fmla="*/ 1187390 h 2084191"/>
              <a:gd name="connsiteX449" fmla="*/ 1641821 w 2051041"/>
              <a:gd name="connsiteY449" fmla="*/ 1226026 h 2084191"/>
              <a:gd name="connsiteX450" fmla="*/ 1603728 w 2051041"/>
              <a:gd name="connsiteY450" fmla="*/ 1186846 h 2084191"/>
              <a:gd name="connsiteX451" fmla="*/ 1642365 w 2051041"/>
              <a:gd name="connsiteY451" fmla="*/ 1148209 h 2084191"/>
              <a:gd name="connsiteX452" fmla="*/ 1969414 w 2051041"/>
              <a:gd name="connsiteY452" fmla="*/ 1147665 h 2084191"/>
              <a:gd name="connsiteX453" fmla="*/ 2009139 w 2051041"/>
              <a:gd name="connsiteY453" fmla="*/ 1187934 h 2084191"/>
              <a:gd name="connsiteX454" fmla="*/ 1968870 w 2051041"/>
              <a:gd name="connsiteY454" fmla="*/ 1227114 h 2084191"/>
              <a:gd name="connsiteX455" fmla="*/ 1929145 w 2051041"/>
              <a:gd name="connsiteY455" fmla="*/ 1186301 h 2084191"/>
              <a:gd name="connsiteX456" fmla="*/ 1969414 w 2051041"/>
              <a:gd name="connsiteY456" fmla="*/ 1147665 h 2084191"/>
              <a:gd name="connsiteX457" fmla="*/ 1805617 w 2051041"/>
              <a:gd name="connsiteY457" fmla="*/ 1147665 h 2084191"/>
              <a:gd name="connsiteX458" fmla="*/ 1844798 w 2051041"/>
              <a:gd name="connsiteY458" fmla="*/ 1187934 h 2084191"/>
              <a:gd name="connsiteX459" fmla="*/ 1805073 w 2051041"/>
              <a:gd name="connsiteY459" fmla="*/ 1226571 h 2084191"/>
              <a:gd name="connsiteX460" fmla="*/ 1766981 w 2051041"/>
              <a:gd name="connsiteY460" fmla="*/ 1186845 h 2084191"/>
              <a:gd name="connsiteX461" fmla="*/ 1805617 w 2051041"/>
              <a:gd name="connsiteY461" fmla="*/ 1147665 h 2084191"/>
              <a:gd name="connsiteX462" fmla="*/ 417425 w 2051041"/>
              <a:gd name="connsiteY462" fmla="*/ 1090527 h 2084191"/>
              <a:gd name="connsiteX463" fmla="*/ 432662 w 2051041"/>
              <a:gd name="connsiteY463" fmla="*/ 1105764 h 2084191"/>
              <a:gd name="connsiteX464" fmla="*/ 417969 w 2051041"/>
              <a:gd name="connsiteY464" fmla="*/ 1120457 h 2084191"/>
              <a:gd name="connsiteX465" fmla="*/ 402732 w 2051041"/>
              <a:gd name="connsiteY465" fmla="*/ 1105219 h 2084191"/>
              <a:gd name="connsiteX466" fmla="*/ 417425 w 2051041"/>
              <a:gd name="connsiteY466" fmla="*/ 1090527 h 2084191"/>
              <a:gd name="connsiteX467" fmla="*/ 580677 w 2051041"/>
              <a:gd name="connsiteY467" fmla="*/ 1083996 h 2084191"/>
              <a:gd name="connsiteX468" fmla="*/ 602444 w 2051041"/>
              <a:gd name="connsiteY468" fmla="*/ 1105219 h 2084191"/>
              <a:gd name="connsiteX469" fmla="*/ 581221 w 2051041"/>
              <a:gd name="connsiteY469" fmla="*/ 1127530 h 2084191"/>
              <a:gd name="connsiteX470" fmla="*/ 558910 w 2051041"/>
              <a:gd name="connsiteY470" fmla="*/ 1105219 h 2084191"/>
              <a:gd name="connsiteX471" fmla="*/ 580677 w 2051041"/>
              <a:gd name="connsiteY471" fmla="*/ 1083996 h 2084191"/>
              <a:gd name="connsiteX472" fmla="*/ 743386 w 2051041"/>
              <a:gd name="connsiteY472" fmla="*/ 1079099 h 2084191"/>
              <a:gd name="connsiteX473" fmla="*/ 770595 w 2051041"/>
              <a:gd name="connsiteY473" fmla="*/ 1105219 h 2084191"/>
              <a:gd name="connsiteX474" fmla="*/ 745019 w 2051041"/>
              <a:gd name="connsiteY474" fmla="*/ 1132428 h 2084191"/>
              <a:gd name="connsiteX475" fmla="*/ 717810 w 2051041"/>
              <a:gd name="connsiteY475" fmla="*/ 1106308 h 2084191"/>
              <a:gd name="connsiteX476" fmla="*/ 743386 w 2051041"/>
              <a:gd name="connsiteY476" fmla="*/ 1079099 h 2084191"/>
              <a:gd name="connsiteX477" fmla="*/ 907727 w 2051041"/>
              <a:gd name="connsiteY477" fmla="*/ 1076378 h 2084191"/>
              <a:gd name="connsiteX478" fmla="*/ 937112 w 2051041"/>
              <a:gd name="connsiteY478" fmla="*/ 1105219 h 2084191"/>
              <a:gd name="connsiteX479" fmla="*/ 908271 w 2051041"/>
              <a:gd name="connsiteY479" fmla="*/ 1134061 h 2084191"/>
              <a:gd name="connsiteX480" fmla="*/ 878885 w 2051041"/>
              <a:gd name="connsiteY480" fmla="*/ 1105764 h 2084191"/>
              <a:gd name="connsiteX481" fmla="*/ 907727 w 2051041"/>
              <a:gd name="connsiteY481" fmla="*/ 1076378 h 2084191"/>
              <a:gd name="connsiteX482" fmla="*/ 1071524 w 2051041"/>
              <a:gd name="connsiteY482" fmla="*/ 1072569 h 2084191"/>
              <a:gd name="connsiteX483" fmla="*/ 1104174 w 2051041"/>
              <a:gd name="connsiteY483" fmla="*/ 1105220 h 2084191"/>
              <a:gd name="connsiteX484" fmla="*/ 1070435 w 2051041"/>
              <a:gd name="connsiteY484" fmla="*/ 1137870 h 2084191"/>
              <a:gd name="connsiteX485" fmla="*/ 1038329 w 2051041"/>
              <a:gd name="connsiteY485" fmla="*/ 1105764 h 2084191"/>
              <a:gd name="connsiteX486" fmla="*/ 1071524 w 2051041"/>
              <a:gd name="connsiteY486" fmla="*/ 1072569 h 2084191"/>
              <a:gd name="connsiteX487" fmla="*/ 1235865 w 2051041"/>
              <a:gd name="connsiteY487" fmla="*/ 1068760 h 2084191"/>
              <a:gd name="connsiteX488" fmla="*/ 1271237 w 2051041"/>
              <a:gd name="connsiteY488" fmla="*/ 1106852 h 2084191"/>
              <a:gd name="connsiteX489" fmla="*/ 1234777 w 2051041"/>
              <a:gd name="connsiteY489" fmla="*/ 1142223 h 2084191"/>
              <a:gd name="connsiteX490" fmla="*/ 1198861 w 2051041"/>
              <a:gd name="connsiteY490" fmla="*/ 1105219 h 2084191"/>
              <a:gd name="connsiteX491" fmla="*/ 1235865 w 2051041"/>
              <a:gd name="connsiteY491" fmla="*/ 1068760 h 2084191"/>
              <a:gd name="connsiteX492" fmla="*/ 1396397 w 2051041"/>
              <a:gd name="connsiteY492" fmla="*/ 1067127 h 2084191"/>
              <a:gd name="connsiteX493" fmla="*/ 1435578 w 2051041"/>
              <a:gd name="connsiteY493" fmla="*/ 1105219 h 2084191"/>
              <a:gd name="connsiteX494" fmla="*/ 1396941 w 2051041"/>
              <a:gd name="connsiteY494" fmla="*/ 1143856 h 2084191"/>
              <a:gd name="connsiteX495" fmla="*/ 1358849 w 2051041"/>
              <a:gd name="connsiteY495" fmla="*/ 1105763 h 2084191"/>
              <a:gd name="connsiteX496" fmla="*/ 1396397 w 2051041"/>
              <a:gd name="connsiteY496" fmla="*/ 1067127 h 2084191"/>
              <a:gd name="connsiteX497" fmla="*/ 1560738 w 2051041"/>
              <a:gd name="connsiteY497" fmla="*/ 1066582 h 2084191"/>
              <a:gd name="connsiteX498" fmla="*/ 1599919 w 2051041"/>
              <a:gd name="connsiteY498" fmla="*/ 1105763 h 2084191"/>
              <a:gd name="connsiteX499" fmla="*/ 1560738 w 2051041"/>
              <a:gd name="connsiteY499" fmla="*/ 1144400 h 2084191"/>
              <a:gd name="connsiteX500" fmla="*/ 1521013 w 2051041"/>
              <a:gd name="connsiteY500" fmla="*/ 1105763 h 2084191"/>
              <a:gd name="connsiteX501" fmla="*/ 1560738 w 2051041"/>
              <a:gd name="connsiteY501" fmla="*/ 1066582 h 2084191"/>
              <a:gd name="connsiteX502" fmla="*/ 1723447 w 2051041"/>
              <a:gd name="connsiteY502" fmla="*/ 1064406 h 2084191"/>
              <a:gd name="connsiteX503" fmla="*/ 1764260 w 2051041"/>
              <a:gd name="connsiteY503" fmla="*/ 1104675 h 2084191"/>
              <a:gd name="connsiteX504" fmla="*/ 1724535 w 2051041"/>
              <a:gd name="connsiteY504" fmla="*/ 1146032 h 2084191"/>
              <a:gd name="connsiteX505" fmla="*/ 1683178 w 2051041"/>
              <a:gd name="connsiteY505" fmla="*/ 1105764 h 2084191"/>
              <a:gd name="connsiteX506" fmla="*/ 1723447 w 2051041"/>
              <a:gd name="connsiteY506" fmla="*/ 1064406 h 2084191"/>
              <a:gd name="connsiteX507" fmla="*/ 2051041 w 2051041"/>
              <a:gd name="connsiteY507" fmla="*/ 1063318 h 2084191"/>
              <a:gd name="connsiteX508" fmla="*/ 2051041 w 2051041"/>
              <a:gd name="connsiteY508" fmla="*/ 1147740 h 2084191"/>
              <a:gd name="connsiteX509" fmla="*/ 2049952 w 2051041"/>
              <a:gd name="connsiteY509" fmla="*/ 1148210 h 2084191"/>
              <a:gd name="connsiteX510" fmla="*/ 2008051 w 2051041"/>
              <a:gd name="connsiteY510" fmla="*/ 1105764 h 2084191"/>
              <a:gd name="connsiteX511" fmla="*/ 2051041 w 2051041"/>
              <a:gd name="connsiteY511" fmla="*/ 1063318 h 2084191"/>
              <a:gd name="connsiteX512" fmla="*/ 1887787 w 2051041"/>
              <a:gd name="connsiteY512" fmla="*/ 1062773 h 2084191"/>
              <a:gd name="connsiteX513" fmla="*/ 1929145 w 2051041"/>
              <a:gd name="connsiteY513" fmla="*/ 1105763 h 2084191"/>
              <a:gd name="connsiteX514" fmla="*/ 1886699 w 2051041"/>
              <a:gd name="connsiteY514" fmla="*/ 1147665 h 2084191"/>
              <a:gd name="connsiteX515" fmla="*/ 1844798 w 2051041"/>
              <a:gd name="connsiteY515" fmla="*/ 1105219 h 2084191"/>
              <a:gd name="connsiteX516" fmla="*/ 1887787 w 2051041"/>
              <a:gd name="connsiteY516" fmla="*/ 1062773 h 2084191"/>
              <a:gd name="connsiteX517" fmla="*/ 335798 w 2051041"/>
              <a:gd name="connsiteY517" fmla="*/ 1011621 h 2084191"/>
              <a:gd name="connsiteX518" fmla="*/ 348314 w 2051041"/>
              <a:gd name="connsiteY518" fmla="*/ 1023049 h 2084191"/>
              <a:gd name="connsiteX519" fmla="*/ 336886 w 2051041"/>
              <a:gd name="connsiteY519" fmla="*/ 1036109 h 2084191"/>
              <a:gd name="connsiteX520" fmla="*/ 324370 w 2051041"/>
              <a:gd name="connsiteY520" fmla="*/ 1024681 h 2084191"/>
              <a:gd name="connsiteX521" fmla="*/ 335798 w 2051041"/>
              <a:gd name="connsiteY521" fmla="*/ 1011621 h 2084191"/>
              <a:gd name="connsiteX522" fmla="*/ 499051 w 2051041"/>
              <a:gd name="connsiteY522" fmla="*/ 1002914 h 2084191"/>
              <a:gd name="connsiteX523" fmla="*/ 520818 w 2051041"/>
              <a:gd name="connsiteY523" fmla="*/ 1024137 h 2084191"/>
              <a:gd name="connsiteX524" fmla="*/ 499595 w 2051041"/>
              <a:gd name="connsiteY524" fmla="*/ 1045360 h 2084191"/>
              <a:gd name="connsiteX525" fmla="*/ 478372 w 2051041"/>
              <a:gd name="connsiteY525" fmla="*/ 1024137 h 2084191"/>
              <a:gd name="connsiteX526" fmla="*/ 499051 w 2051041"/>
              <a:gd name="connsiteY526" fmla="*/ 1002914 h 2084191"/>
              <a:gd name="connsiteX527" fmla="*/ 663392 w 2051041"/>
              <a:gd name="connsiteY527" fmla="*/ 997473 h 2084191"/>
              <a:gd name="connsiteX528" fmla="*/ 688424 w 2051041"/>
              <a:gd name="connsiteY528" fmla="*/ 1024138 h 2084191"/>
              <a:gd name="connsiteX529" fmla="*/ 661759 w 2051041"/>
              <a:gd name="connsiteY529" fmla="*/ 1050258 h 2084191"/>
              <a:gd name="connsiteX530" fmla="*/ 636727 w 2051041"/>
              <a:gd name="connsiteY530" fmla="*/ 1023593 h 2084191"/>
              <a:gd name="connsiteX531" fmla="*/ 663392 w 2051041"/>
              <a:gd name="connsiteY531" fmla="*/ 997473 h 2084191"/>
              <a:gd name="connsiteX532" fmla="*/ 826645 w 2051041"/>
              <a:gd name="connsiteY532" fmla="*/ 995840 h 2084191"/>
              <a:gd name="connsiteX533" fmla="*/ 854942 w 2051041"/>
              <a:gd name="connsiteY533" fmla="*/ 1024137 h 2084191"/>
              <a:gd name="connsiteX534" fmla="*/ 825557 w 2051041"/>
              <a:gd name="connsiteY534" fmla="*/ 1052978 h 2084191"/>
              <a:gd name="connsiteX535" fmla="*/ 797260 w 2051041"/>
              <a:gd name="connsiteY535" fmla="*/ 1023593 h 2084191"/>
              <a:gd name="connsiteX536" fmla="*/ 826645 w 2051041"/>
              <a:gd name="connsiteY536" fmla="*/ 995840 h 2084191"/>
              <a:gd name="connsiteX537" fmla="*/ 990441 w 2051041"/>
              <a:gd name="connsiteY537" fmla="*/ 990942 h 2084191"/>
              <a:gd name="connsiteX538" fmla="*/ 1022548 w 2051041"/>
              <a:gd name="connsiteY538" fmla="*/ 1025225 h 2084191"/>
              <a:gd name="connsiteX539" fmla="*/ 988809 w 2051041"/>
              <a:gd name="connsiteY539" fmla="*/ 1056787 h 2084191"/>
              <a:gd name="connsiteX540" fmla="*/ 956702 w 2051041"/>
              <a:gd name="connsiteY540" fmla="*/ 1023593 h 2084191"/>
              <a:gd name="connsiteX541" fmla="*/ 990441 w 2051041"/>
              <a:gd name="connsiteY541" fmla="*/ 990942 h 2084191"/>
              <a:gd name="connsiteX542" fmla="*/ 1150974 w 2051041"/>
              <a:gd name="connsiteY542" fmla="*/ 987678 h 2084191"/>
              <a:gd name="connsiteX543" fmla="*/ 1189610 w 2051041"/>
              <a:gd name="connsiteY543" fmla="*/ 1023593 h 2084191"/>
              <a:gd name="connsiteX544" fmla="*/ 1152062 w 2051041"/>
              <a:gd name="connsiteY544" fmla="*/ 1061685 h 2084191"/>
              <a:gd name="connsiteX545" fmla="*/ 1115058 w 2051041"/>
              <a:gd name="connsiteY545" fmla="*/ 1024682 h 2084191"/>
              <a:gd name="connsiteX546" fmla="*/ 1150974 w 2051041"/>
              <a:gd name="connsiteY546" fmla="*/ 987678 h 2084191"/>
              <a:gd name="connsiteX547" fmla="*/ 1315314 w 2051041"/>
              <a:gd name="connsiteY547" fmla="*/ 985501 h 2084191"/>
              <a:gd name="connsiteX548" fmla="*/ 1354495 w 2051041"/>
              <a:gd name="connsiteY548" fmla="*/ 1023593 h 2084191"/>
              <a:gd name="connsiteX549" fmla="*/ 1315858 w 2051041"/>
              <a:gd name="connsiteY549" fmla="*/ 1062230 h 2084191"/>
              <a:gd name="connsiteX550" fmla="*/ 1277222 w 2051041"/>
              <a:gd name="connsiteY550" fmla="*/ 1024137 h 2084191"/>
              <a:gd name="connsiteX551" fmla="*/ 1315314 w 2051041"/>
              <a:gd name="connsiteY551" fmla="*/ 985501 h 2084191"/>
              <a:gd name="connsiteX552" fmla="*/ 1479656 w 2051041"/>
              <a:gd name="connsiteY552" fmla="*/ 984412 h 2084191"/>
              <a:gd name="connsiteX553" fmla="*/ 1519380 w 2051041"/>
              <a:gd name="connsiteY553" fmla="*/ 1025225 h 2084191"/>
              <a:gd name="connsiteX554" fmla="*/ 1478567 w 2051041"/>
              <a:gd name="connsiteY554" fmla="*/ 1063318 h 2084191"/>
              <a:gd name="connsiteX555" fmla="*/ 1439387 w 2051041"/>
              <a:gd name="connsiteY555" fmla="*/ 1023593 h 2084191"/>
              <a:gd name="connsiteX556" fmla="*/ 1479656 w 2051041"/>
              <a:gd name="connsiteY556" fmla="*/ 984412 h 2084191"/>
              <a:gd name="connsiteX557" fmla="*/ 1641820 w 2051041"/>
              <a:gd name="connsiteY557" fmla="*/ 981691 h 2084191"/>
              <a:gd name="connsiteX558" fmla="*/ 1684810 w 2051041"/>
              <a:gd name="connsiteY558" fmla="*/ 1023592 h 2084191"/>
              <a:gd name="connsiteX559" fmla="*/ 1642909 w 2051041"/>
              <a:gd name="connsiteY559" fmla="*/ 1066038 h 2084191"/>
              <a:gd name="connsiteX560" fmla="*/ 1599919 w 2051041"/>
              <a:gd name="connsiteY560" fmla="*/ 1023592 h 2084191"/>
              <a:gd name="connsiteX561" fmla="*/ 1641820 w 2051041"/>
              <a:gd name="connsiteY561" fmla="*/ 981691 h 2084191"/>
              <a:gd name="connsiteX562" fmla="*/ 1806161 w 2051041"/>
              <a:gd name="connsiteY562" fmla="*/ 980603 h 2084191"/>
              <a:gd name="connsiteX563" fmla="*/ 1849151 w 2051041"/>
              <a:gd name="connsiteY563" fmla="*/ 1023592 h 2084191"/>
              <a:gd name="connsiteX564" fmla="*/ 1805617 w 2051041"/>
              <a:gd name="connsiteY564" fmla="*/ 1067127 h 2084191"/>
              <a:gd name="connsiteX565" fmla="*/ 1762083 w 2051041"/>
              <a:gd name="connsiteY565" fmla="*/ 1023592 h 2084191"/>
              <a:gd name="connsiteX566" fmla="*/ 1806161 w 2051041"/>
              <a:gd name="connsiteY566" fmla="*/ 980603 h 2084191"/>
              <a:gd name="connsiteX567" fmla="*/ 1969414 w 2051041"/>
              <a:gd name="connsiteY567" fmla="*/ 980059 h 2084191"/>
              <a:gd name="connsiteX568" fmla="*/ 2012404 w 2051041"/>
              <a:gd name="connsiteY568" fmla="*/ 1024137 h 2084191"/>
              <a:gd name="connsiteX569" fmla="*/ 1968870 w 2051041"/>
              <a:gd name="connsiteY569" fmla="*/ 1067127 h 2084191"/>
              <a:gd name="connsiteX570" fmla="*/ 1924792 w 2051041"/>
              <a:gd name="connsiteY570" fmla="*/ 1024137 h 2084191"/>
              <a:gd name="connsiteX571" fmla="*/ 1969414 w 2051041"/>
              <a:gd name="connsiteY571" fmla="*/ 980059 h 2084191"/>
              <a:gd name="connsiteX572" fmla="*/ 254171 w 2051041"/>
              <a:gd name="connsiteY572" fmla="*/ 931083 h 2084191"/>
              <a:gd name="connsiteX573" fmla="*/ 265599 w 2051041"/>
              <a:gd name="connsiteY573" fmla="*/ 941967 h 2084191"/>
              <a:gd name="connsiteX574" fmla="*/ 254171 w 2051041"/>
              <a:gd name="connsiteY574" fmla="*/ 952850 h 2084191"/>
              <a:gd name="connsiteX575" fmla="*/ 243832 w 2051041"/>
              <a:gd name="connsiteY575" fmla="*/ 941967 h 2084191"/>
              <a:gd name="connsiteX576" fmla="*/ 254171 w 2051041"/>
              <a:gd name="connsiteY576" fmla="*/ 931083 h 2084191"/>
              <a:gd name="connsiteX577" fmla="*/ 417968 w 2051041"/>
              <a:gd name="connsiteY577" fmla="*/ 922377 h 2084191"/>
              <a:gd name="connsiteX578" fmla="*/ 437559 w 2051041"/>
              <a:gd name="connsiteY578" fmla="*/ 942511 h 2084191"/>
              <a:gd name="connsiteX579" fmla="*/ 417968 w 2051041"/>
              <a:gd name="connsiteY579" fmla="*/ 961557 h 2084191"/>
              <a:gd name="connsiteX580" fmla="*/ 397834 w 2051041"/>
              <a:gd name="connsiteY580" fmla="*/ 941423 h 2084191"/>
              <a:gd name="connsiteX581" fmla="*/ 417968 w 2051041"/>
              <a:gd name="connsiteY581" fmla="*/ 922377 h 2084191"/>
              <a:gd name="connsiteX582" fmla="*/ 581222 w 2051041"/>
              <a:gd name="connsiteY582" fmla="*/ 916934 h 2084191"/>
              <a:gd name="connsiteX583" fmla="*/ 606798 w 2051041"/>
              <a:gd name="connsiteY583" fmla="*/ 943054 h 2084191"/>
              <a:gd name="connsiteX584" fmla="*/ 581222 w 2051041"/>
              <a:gd name="connsiteY584" fmla="*/ 967542 h 2084191"/>
              <a:gd name="connsiteX585" fmla="*/ 556190 w 2051041"/>
              <a:gd name="connsiteY585" fmla="*/ 943054 h 2084191"/>
              <a:gd name="connsiteX586" fmla="*/ 581222 w 2051041"/>
              <a:gd name="connsiteY586" fmla="*/ 916934 h 2084191"/>
              <a:gd name="connsiteX587" fmla="*/ 744474 w 2051041"/>
              <a:gd name="connsiteY587" fmla="*/ 913669 h 2084191"/>
              <a:gd name="connsiteX588" fmla="*/ 773315 w 2051041"/>
              <a:gd name="connsiteY588" fmla="*/ 942510 h 2084191"/>
              <a:gd name="connsiteX589" fmla="*/ 743930 w 2051041"/>
              <a:gd name="connsiteY589" fmla="*/ 970807 h 2084191"/>
              <a:gd name="connsiteX590" fmla="*/ 716177 w 2051041"/>
              <a:gd name="connsiteY590" fmla="*/ 941966 h 2084191"/>
              <a:gd name="connsiteX591" fmla="*/ 744474 w 2051041"/>
              <a:gd name="connsiteY591" fmla="*/ 913669 h 2084191"/>
              <a:gd name="connsiteX592" fmla="*/ 908271 w 2051041"/>
              <a:gd name="connsiteY592" fmla="*/ 908772 h 2084191"/>
              <a:gd name="connsiteX593" fmla="*/ 940377 w 2051041"/>
              <a:gd name="connsiteY593" fmla="*/ 944144 h 2084191"/>
              <a:gd name="connsiteX594" fmla="*/ 906094 w 2051041"/>
              <a:gd name="connsiteY594" fmla="*/ 975162 h 2084191"/>
              <a:gd name="connsiteX595" fmla="*/ 874532 w 2051041"/>
              <a:gd name="connsiteY595" fmla="*/ 940879 h 2084191"/>
              <a:gd name="connsiteX596" fmla="*/ 908271 w 2051041"/>
              <a:gd name="connsiteY596" fmla="*/ 908772 h 2084191"/>
              <a:gd name="connsiteX597" fmla="*/ 1072068 w 2051041"/>
              <a:gd name="connsiteY597" fmla="*/ 906051 h 2084191"/>
              <a:gd name="connsiteX598" fmla="*/ 1107984 w 2051041"/>
              <a:gd name="connsiteY598" fmla="*/ 942511 h 2084191"/>
              <a:gd name="connsiteX599" fmla="*/ 1070980 w 2051041"/>
              <a:gd name="connsiteY599" fmla="*/ 979515 h 2084191"/>
              <a:gd name="connsiteX600" fmla="*/ 1034520 w 2051041"/>
              <a:gd name="connsiteY600" fmla="*/ 942511 h 2084191"/>
              <a:gd name="connsiteX601" fmla="*/ 1072068 w 2051041"/>
              <a:gd name="connsiteY601" fmla="*/ 906051 h 2084191"/>
              <a:gd name="connsiteX602" fmla="*/ 1235321 w 2051041"/>
              <a:gd name="connsiteY602" fmla="*/ 903874 h 2084191"/>
              <a:gd name="connsiteX603" fmla="*/ 1272325 w 2051041"/>
              <a:gd name="connsiteY603" fmla="*/ 943054 h 2084191"/>
              <a:gd name="connsiteX604" fmla="*/ 1233688 w 2051041"/>
              <a:gd name="connsiteY604" fmla="*/ 981147 h 2084191"/>
              <a:gd name="connsiteX605" fmla="*/ 1195596 w 2051041"/>
              <a:gd name="connsiteY605" fmla="*/ 940878 h 2084191"/>
              <a:gd name="connsiteX606" fmla="*/ 1235321 w 2051041"/>
              <a:gd name="connsiteY606" fmla="*/ 903874 h 2084191"/>
              <a:gd name="connsiteX607" fmla="*/ 1397486 w 2051041"/>
              <a:gd name="connsiteY607" fmla="*/ 901153 h 2084191"/>
              <a:gd name="connsiteX608" fmla="*/ 1438299 w 2051041"/>
              <a:gd name="connsiteY608" fmla="*/ 942511 h 2084191"/>
              <a:gd name="connsiteX609" fmla="*/ 1396941 w 2051041"/>
              <a:gd name="connsiteY609" fmla="*/ 983324 h 2084191"/>
              <a:gd name="connsiteX610" fmla="*/ 1356128 w 2051041"/>
              <a:gd name="connsiteY610" fmla="*/ 941967 h 2084191"/>
              <a:gd name="connsiteX611" fmla="*/ 1397486 w 2051041"/>
              <a:gd name="connsiteY611" fmla="*/ 901153 h 2084191"/>
              <a:gd name="connsiteX612" fmla="*/ 1560738 w 2051041"/>
              <a:gd name="connsiteY612" fmla="*/ 898977 h 2084191"/>
              <a:gd name="connsiteX613" fmla="*/ 1603728 w 2051041"/>
              <a:gd name="connsiteY613" fmla="*/ 942511 h 2084191"/>
              <a:gd name="connsiteX614" fmla="*/ 1560738 w 2051041"/>
              <a:gd name="connsiteY614" fmla="*/ 985501 h 2084191"/>
              <a:gd name="connsiteX615" fmla="*/ 1517204 w 2051041"/>
              <a:gd name="connsiteY615" fmla="*/ 941423 h 2084191"/>
              <a:gd name="connsiteX616" fmla="*/ 1560738 w 2051041"/>
              <a:gd name="connsiteY616" fmla="*/ 898977 h 2084191"/>
              <a:gd name="connsiteX617" fmla="*/ 1723990 w 2051041"/>
              <a:gd name="connsiteY617" fmla="*/ 897888 h 2084191"/>
              <a:gd name="connsiteX618" fmla="*/ 1768069 w 2051041"/>
              <a:gd name="connsiteY618" fmla="*/ 942510 h 2084191"/>
              <a:gd name="connsiteX619" fmla="*/ 1723990 w 2051041"/>
              <a:gd name="connsiteY619" fmla="*/ 986589 h 2084191"/>
              <a:gd name="connsiteX620" fmla="*/ 1679912 w 2051041"/>
              <a:gd name="connsiteY620" fmla="*/ 941422 h 2084191"/>
              <a:gd name="connsiteX621" fmla="*/ 1723990 w 2051041"/>
              <a:gd name="connsiteY621" fmla="*/ 897888 h 2084191"/>
              <a:gd name="connsiteX622" fmla="*/ 2050497 w 2051041"/>
              <a:gd name="connsiteY622" fmla="*/ 897344 h 2084191"/>
              <a:gd name="connsiteX623" fmla="*/ 2051041 w 2051041"/>
              <a:gd name="connsiteY623" fmla="*/ 897453 h 2084191"/>
              <a:gd name="connsiteX624" fmla="*/ 2051041 w 2051041"/>
              <a:gd name="connsiteY624" fmla="*/ 986917 h 2084191"/>
              <a:gd name="connsiteX625" fmla="*/ 2049952 w 2051041"/>
              <a:gd name="connsiteY625" fmla="*/ 987133 h 2084191"/>
              <a:gd name="connsiteX626" fmla="*/ 2005330 w 2051041"/>
              <a:gd name="connsiteY626" fmla="*/ 941422 h 2084191"/>
              <a:gd name="connsiteX627" fmla="*/ 2050497 w 2051041"/>
              <a:gd name="connsiteY627" fmla="*/ 897344 h 2084191"/>
              <a:gd name="connsiteX628" fmla="*/ 1887243 w 2051041"/>
              <a:gd name="connsiteY628" fmla="*/ 897344 h 2084191"/>
              <a:gd name="connsiteX629" fmla="*/ 1931866 w 2051041"/>
              <a:gd name="connsiteY629" fmla="*/ 942511 h 2084191"/>
              <a:gd name="connsiteX630" fmla="*/ 1887243 w 2051041"/>
              <a:gd name="connsiteY630" fmla="*/ 986589 h 2084191"/>
              <a:gd name="connsiteX631" fmla="*/ 1843165 w 2051041"/>
              <a:gd name="connsiteY631" fmla="*/ 941422 h 2084191"/>
              <a:gd name="connsiteX632" fmla="*/ 1887243 w 2051041"/>
              <a:gd name="connsiteY632" fmla="*/ 897344 h 2084191"/>
              <a:gd name="connsiteX633" fmla="*/ 172545 w 2051041"/>
              <a:gd name="connsiteY633" fmla="*/ 854354 h 2084191"/>
              <a:gd name="connsiteX634" fmla="*/ 179619 w 2051041"/>
              <a:gd name="connsiteY634" fmla="*/ 860884 h 2084191"/>
              <a:gd name="connsiteX635" fmla="*/ 173634 w 2051041"/>
              <a:gd name="connsiteY635" fmla="*/ 866870 h 2084191"/>
              <a:gd name="connsiteX636" fmla="*/ 166015 w 2051041"/>
              <a:gd name="connsiteY636" fmla="*/ 861973 h 2084191"/>
              <a:gd name="connsiteX637" fmla="*/ 172545 w 2051041"/>
              <a:gd name="connsiteY637" fmla="*/ 854354 h 2084191"/>
              <a:gd name="connsiteX638" fmla="*/ 336342 w 2051041"/>
              <a:gd name="connsiteY638" fmla="*/ 843471 h 2084191"/>
              <a:gd name="connsiteX639" fmla="*/ 353211 w 2051041"/>
              <a:gd name="connsiteY639" fmla="*/ 860340 h 2084191"/>
              <a:gd name="connsiteX640" fmla="*/ 336886 w 2051041"/>
              <a:gd name="connsiteY640" fmla="*/ 877210 h 2084191"/>
              <a:gd name="connsiteX641" fmla="*/ 320017 w 2051041"/>
              <a:gd name="connsiteY641" fmla="*/ 860884 h 2084191"/>
              <a:gd name="connsiteX642" fmla="*/ 336342 w 2051041"/>
              <a:gd name="connsiteY642" fmla="*/ 843471 h 2084191"/>
              <a:gd name="connsiteX643" fmla="*/ 500139 w 2051041"/>
              <a:gd name="connsiteY643" fmla="*/ 837485 h 2084191"/>
              <a:gd name="connsiteX644" fmla="*/ 522994 w 2051041"/>
              <a:gd name="connsiteY644" fmla="*/ 861428 h 2084191"/>
              <a:gd name="connsiteX645" fmla="*/ 499595 w 2051041"/>
              <a:gd name="connsiteY645" fmla="*/ 884284 h 2084191"/>
              <a:gd name="connsiteX646" fmla="*/ 476739 w 2051041"/>
              <a:gd name="connsiteY646" fmla="*/ 860340 h 2084191"/>
              <a:gd name="connsiteX647" fmla="*/ 500139 w 2051041"/>
              <a:gd name="connsiteY647" fmla="*/ 837485 h 2084191"/>
              <a:gd name="connsiteX648" fmla="*/ 662848 w 2051041"/>
              <a:gd name="connsiteY648" fmla="*/ 832587 h 2084191"/>
              <a:gd name="connsiteX649" fmla="*/ 690057 w 2051041"/>
              <a:gd name="connsiteY649" fmla="*/ 860340 h 2084191"/>
              <a:gd name="connsiteX650" fmla="*/ 662848 w 2051041"/>
              <a:gd name="connsiteY650" fmla="*/ 888637 h 2084191"/>
              <a:gd name="connsiteX651" fmla="*/ 634551 w 2051041"/>
              <a:gd name="connsiteY651" fmla="*/ 861428 h 2084191"/>
              <a:gd name="connsiteX652" fmla="*/ 662848 w 2051041"/>
              <a:gd name="connsiteY652" fmla="*/ 832587 h 2084191"/>
              <a:gd name="connsiteX653" fmla="*/ 826101 w 2051041"/>
              <a:gd name="connsiteY653" fmla="*/ 827146 h 2084191"/>
              <a:gd name="connsiteX654" fmla="*/ 859295 w 2051041"/>
              <a:gd name="connsiteY654" fmla="*/ 860885 h 2084191"/>
              <a:gd name="connsiteX655" fmla="*/ 825556 w 2051041"/>
              <a:gd name="connsiteY655" fmla="*/ 892991 h 2084191"/>
              <a:gd name="connsiteX656" fmla="*/ 793450 w 2051041"/>
              <a:gd name="connsiteY656" fmla="*/ 860885 h 2084191"/>
              <a:gd name="connsiteX657" fmla="*/ 826101 w 2051041"/>
              <a:gd name="connsiteY657" fmla="*/ 827146 h 2084191"/>
              <a:gd name="connsiteX658" fmla="*/ 988809 w 2051041"/>
              <a:gd name="connsiteY658" fmla="*/ 824424 h 2084191"/>
              <a:gd name="connsiteX659" fmla="*/ 1025813 w 2051041"/>
              <a:gd name="connsiteY659" fmla="*/ 860339 h 2084191"/>
              <a:gd name="connsiteX660" fmla="*/ 989897 w 2051041"/>
              <a:gd name="connsiteY660" fmla="*/ 897344 h 2084191"/>
              <a:gd name="connsiteX661" fmla="*/ 953437 w 2051041"/>
              <a:gd name="connsiteY661" fmla="*/ 861972 h 2084191"/>
              <a:gd name="connsiteX662" fmla="*/ 988809 w 2051041"/>
              <a:gd name="connsiteY662" fmla="*/ 824424 h 2084191"/>
              <a:gd name="connsiteX663" fmla="*/ 1153695 w 2051041"/>
              <a:gd name="connsiteY663" fmla="*/ 821704 h 2084191"/>
              <a:gd name="connsiteX664" fmla="*/ 1191243 w 2051041"/>
              <a:gd name="connsiteY664" fmla="*/ 861429 h 2084191"/>
              <a:gd name="connsiteX665" fmla="*/ 1152606 w 2051041"/>
              <a:gd name="connsiteY665" fmla="*/ 899521 h 2084191"/>
              <a:gd name="connsiteX666" fmla="*/ 1114514 w 2051041"/>
              <a:gd name="connsiteY666" fmla="*/ 859252 h 2084191"/>
              <a:gd name="connsiteX667" fmla="*/ 1153695 w 2051041"/>
              <a:gd name="connsiteY667" fmla="*/ 821704 h 2084191"/>
              <a:gd name="connsiteX668" fmla="*/ 1316403 w 2051041"/>
              <a:gd name="connsiteY668" fmla="*/ 818982 h 2084191"/>
              <a:gd name="connsiteX669" fmla="*/ 1357216 w 2051041"/>
              <a:gd name="connsiteY669" fmla="*/ 860884 h 2084191"/>
              <a:gd name="connsiteX670" fmla="*/ 1315315 w 2051041"/>
              <a:gd name="connsiteY670" fmla="*/ 901697 h 2084191"/>
              <a:gd name="connsiteX671" fmla="*/ 1274501 w 2051041"/>
              <a:gd name="connsiteY671" fmla="*/ 860340 h 2084191"/>
              <a:gd name="connsiteX672" fmla="*/ 1316403 w 2051041"/>
              <a:gd name="connsiteY672" fmla="*/ 818982 h 2084191"/>
              <a:gd name="connsiteX673" fmla="*/ 1479112 w 2051041"/>
              <a:gd name="connsiteY673" fmla="*/ 816806 h 2084191"/>
              <a:gd name="connsiteX674" fmla="*/ 1522646 w 2051041"/>
              <a:gd name="connsiteY674" fmla="*/ 860340 h 2084191"/>
              <a:gd name="connsiteX675" fmla="*/ 1479656 w 2051041"/>
              <a:gd name="connsiteY675" fmla="*/ 904419 h 2084191"/>
              <a:gd name="connsiteX676" fmla="*/ 1435578 w 2051041"/>
              <a:gd name="connsiteY676" fmla="*/ 860884 h 2084191"/>
              <a:gd name="connsiteX677" fmla="*/ 1479112 w 2051041"/>
              <a:gd name="connsiteY677" fmla="*/ 816806 h 2084191"/>
              <a:gd name="connsiteX678" fmla="*/ 1642909 w 2051041"/>
              <a:gd name="connsiteY678" fmla="*/ 815718 h 2084191"/>
              <a:gd name="connsiteX679" fmla="*/ 1686987 w 2051041"/>
              <a:gd name="connsiteY679" fmla="*/ 860885 h 2084191"/>
              <a:gd name="connsiteX680" fmla="*/ 1641276 w 2051041"/>
              <a:gd name="connsiteY680" fmla="*/ 905507 h 2084191"/>
              <a:gd name="connsiteX681" fmla="*/ 1597742 w 2051041"/>
              <a:gd name="connsiteY681" fmla="*/ 860340 h 2084191"/>
              <a:gd name="connsiteX682" fmla="*/ 1642909 w 2051041"/>
              <a:gd name="connsiteY682" fmla="*/ 815718 h 2084191"/>
              <a:gd name="connsiteX683" fmla="*/ 1806161 w 2051041"/>
              <a:gd name="connsiteY683" fmla="*/ 815173 h 2084191"/>
              <a:gd name="connsiteX684" fmla="*/ 1852416 w 2051041"/>
              <a:gd name="connsiteY684" fmla="*/ 860884 h 2084191"/>
              <a:gd name="connsiteX685" fmla="*/ 1805617 w 2051041"/>
              <a:gd name="connsiteY685" fmla="*/ 906594 h 2084191"/>
              <a:gd name="connsiteX686" fmla="*/ 1759906 w 2051041"/>
              <a:gd name="connsiteY686" fmla="*/ 860884 h 2084191"/>
              <a:gd name="connsiteX687" fmla="*/ 1806161 w 2051041"/>
              <a:gd name="connsiteY687" fmla="*/ 815173 h 2084191"/>
              <a:gd name="connsiteX688" fmla="*/ 1968326 w 2051041"/>
              <a:gd name="connsiteY688" fmla="*/ 812453 h 2084191"/>
              <a:gd name="connsiteX689" fmla="*/ 2000977 w 2051041"/>
              <a:gd name="connsiteY689" fmla="*/ 826057 h 2084191"/>
              <a:gd name="connsiteX690" fmla="*/ 2015670 w 2051041"/>
              <a:gd name="connsiteY690" fmla="*/ 859796 h 2084191"/>
              <a:gd name="connsiteX691" fmla="*/ 1969415 w 2051041"/>
              <a:gd name="connsiteY691" fmla="*/ 907684 h 2084191"/>
              <a:gd name="connsiteX692" fmla="*/ 1922071 w 2051041"/>
              <a:gd name="connsiteY692" fmla="*/ 860885 h 2084191"/>
              <a:gd name="connsiteX693" fmla="*/ 1968326 w 2051041"/>
              <a:gd name="connsiteY693" fmla="*/ 812453 h 2084191"/>
              <a:gd name="connsiteX694" fmla="*/ 255260 w 2051041"/>
              <a:gd name="connsiteY694" fmla="*/ 762932 h 2084191"/>
              <a:gd name="connsiteX695" fmla="*/ 270497 w 2051041"/>
              <a:gd name="connsiteY695" fmla="*/ 779802 h 2084191"/>
              <a:gd name="connsiteX696" fmla="*/ 254172 w 2051041"/>
              <a:gd name="connsiteY696" fmla="*/ 795038 h 2084191"/>
              <a:gd name="connsiteX697" fmla="*/ 238935 w 2051041"/>
              <a:gd name="connsiteY697" fmla="*/ 778713 h 2084191"/>
              <a:gd name="connsiteX698" fmla="*/ 255260 w 2051041"/>
              <a:gd name="connsiteY698" fmla="*/ 762932 h 2084191"/>
              <a:gd name="connsiteX699" fmla="*/ 416881 w 2051041"/>
              <a:gd name="connsiteY699" fmla="*/ 756402 h 2084191"/>
              <a:gd name="connsiteX700" fmla="*/ 440280 w 2051041"/>
              <a:gd name="connsiteY700" fmla="*/ 778713 h 2084191"/>
              <a:gd name="connsiteX701" fmla="*/ 419057 w 2051041"/>
              <a:gd name="connsiteY701" fmla="*/ 801024 h 2084191"/>
              <a:gd name="connsiteX702" fmla="*/ 396202 w 2051041"/>
              <a:gd name="connsiteY702" fmla="*/ 779257 h 2084191"/>
              <a:gd name="connsiteX703" fmla="*/ 416881 w 2051041"/>
              <a:gd name="connsiteY703" fmla="*/ 756402 h 2084191"/>
              <a:gd name="connsiteX704" fmla="*/ 581766 w 2051041"/>
              <a:gd name="connsiteY704" fmla="*/ 751505 h 2084191"/>
              <a:gd name="connsiteX705" fmla="*/ 608975 w 2051041"/>
              <a:gd name="connsiteY705" fmla="*/ 779802 h 2084191"/>
              <a:gd name="connsiteX706" fmla="*/ 580678 w 2051041"/>
              <a:gd name="connsiteY706" fmla="*/ 806467 h 2084191"/>
              <a:gd name="connsiteX707" fmla="*/ 553469 w 2051041"/>
              <a:gd name="connsiteY707" fmla="*/ 778714 h 2084191"/>
              <a:gd name="connsiteX708" fmla="*/ 581766 w 2051041"/>
              <a:gd name="connsiteY708" fmla="*/ 751505 h 2084191"/>
              <a:gd name="connsiteX709" fmla="*/ 746107 w 2051041"/>
              <a:gd name="connsiteY709" fmla="*/ 746607 h 2084191"/>
              <a:gd name="connsiteX710" fmla="*/ 777125 w 2051041"/>
              <a:gd name="connsiteY710" fmla="*/ 780346 h 2084191"/>
              <a:gd name="connsiteX711" fmla="*/ 742842 w 2051041"/>
              <a:gd name="connsiteY711" fmla="*/ 811364 h 2084191"/>
              <a:gd name="connsiteX712" fmla="*/ 712368 w 2051041"/>
              <a:gd name="connsiteY712" fmla="*/ 778713 h 2084191"/>
              <a:gd name="connsiteX713" fmla="*/ 746107 w 2051041"/>
              <a:gd name="connsiteY713" fmla="*/ 746607 h 2084191"/>
              <a:gd name="connsiteX714" fmla="*/ 907727 w 2051041"/>
              <a:gd name="connsiteY714" fmla="*/ 741710 h 2084191"/>
              <a:gd name="connsiteX715" fmla="*/ 944187 w 2051041"/>
              <a:gd name="connsiteY715" fmla="*/ 778714 h 2084191"/>
              <a:gd name="connsiteX716" fmla="*/ 907727 w 2051041"/>
              <a:gd name="connsiteY716" fmla="*/ 815174 h 2084191"/>
              <a:gd name="connsiteX717" fmla="*/ 872355 w 2051041"/>
              <a:gd name="connsiteY717" fmla="*/ 779258 h 2084191"/>
              <a:gd name="connsiteX718" fmla="*/ 907727 w 2051041"/>
              <a:gd name="connsiteY718" fmla="*/ 741710 h 2084191"/>
              <a:gd name="connsiteX719" fmla="*/ 1070979 w 2051041"/>
              <a:gd name="connsiteY719" fmla="*/ 740621 h 2084191"/>
              <a:gd name="connsiteX720" fmla="*/ 1110160 w 2051041"/>
              <a:gd name="connsiteY720" fmla="*/ 779258 h 2084191"/>
              <a:gd name="connsiteX721" fmla="*/ 1070979 w 2051041"/>
              <a:gd name="connsiteY721" fmla="*/ 817894 h 2084191"/>
              <a:gd name="connsiteX722" fmla="*/ 1031799 w 2051041"/>
              <a:gd name="connsiteY722" fmla="*/ 778714 h 2084191"/>
              <a:gd name="connsiteX723" fmla="*/ 1070979 w 2051041"/>
              <a:gd name="connsiteY723" fmla="*/ 740621 h 2084191"/>
              <a:gd name="connsiteX724" fmla="*/ 1233688 w 2051041"/>
              <a:gd name="connsiteY724" fmla="*/ 736268 h 2084191"/>
              <a:gd name="connsiteX725" fmla="*/ 1276134 w 2051041"/>
              <a:gd name="connsiteY725" fmla="*/ 777625 h 2084191"/>
              <a:gd name="connsiteX726" fmla="*/ 1235320 w 2051041"/>
              <a:gd name="connsiteY726" fmla="*/ 820615 h 2084191"/>
              <a:gd name="connsiteX727" fmla="*/ 1192331 w 2051041"/>
              <a:gd name="connsiteY727" fmla="*/ 779258 h 2084191"/>
              <a:gd name="connsiteX728" fmla="*/ 1233688 w 2051041"/>
              <a:gd name="connsiteY728" fmla="*/ 736268 h 2084191"/>
              <a:gd name="connsiteX729" fmla="*/ 1397485 w 2051041"/>
              <a:gd name="connsiteY729" fmla="*/ 735724 h 2084191"/>
              <a:gd name="connsiteX730" fmla="*/ 1441019 w 2051041"/>
              <a:gd name="connsiteY730" fmla="*/ 779802 h 2084191"/>
              <a:gd name="connsiteX731" fmla="*/ 1396397 w 2051041"/>
              <a:gd name="connsiteY731" fmla="*/ 823336 h 2084191"/>
              <a:gd name="connsiteX732" fmla="*/ 1352863 w 2051041"/>
              <a:gd name="connsiteY732" fmla="*/ 779258 h 2084191"/>
              <a:gd name="connsiteX733" fmla="*/ 1397485 w 2051041"/>
              <a:gd name="connsiteY733" fmla="*/ 735724 h 2084191"/>
              <a:gd name="connsiteX734" fmla="*/ 1562371 w 2051041"/>
              <a:gd name="connsiteY734" fmla="*/ 734636 h 2084191"/>
              <a:gd name="connsiteX735" fmla="*/ 1605905 w 2051041"/>
              <a:gd name="connsiteY735" fmla="*/ 779802 h 2084191"/>
              <a:gd name="connsiteX736" fmla="*/ 1560194 w 2051041"/>
              <a:gd name="connsiteY736" fmla="*/ 823881 h 2084191"/>
              <a:gd name="connsiteX737" fmla="*/ 1515572 w 2051041"/>
              <a:gd name="connsiteY737" fmla="*/ 777626 h 2084191"/>
              <a:gd name="connsiteX738" fmla="*/ 1562371 w 2051041"/>
              <a:gd name="connsiteY738" fmla="*/ 734636 h 2084191"/>
              <a:gd name="connsiteX739" fmla="*/ 1724535 w 2051041"/>
              <a:gd name="connsiteY739" fmla="*/ 730827 h 2084191"/>
              <a:gd name="connsiteX740" fmla="*/ 1772422 w 2051041"/>
              <a:gd name="connsiteY740" fmla="*/ 779258 h 2084191"/>
              <a:gd name="connsiteX741" fmla="*/ 1723446 w 2051041"/>
              <a:gd name="connsiteY741" fmla="*/ 826602 h 2084191"/>
              <a:gd name="connsiteX742" fmla="*/ 1676647 w 2051041"/>
              <a:gd name="connsiteY742" fmla="*/ 778714 h 2084191"/>
              <a:gd name="connsiteX743" fmla="*/ 1724535 w 2051041"/>
              <a:gd name="connsiteY743" fmla="*/ 730827 h 2084191"/>
              <a:gd name="connsiteX744" fmla="*/ 1886699 w 2051041"/>
              <a:gd name="connsiteY744" fmla="*/ 730826 h 2084191"/>
              <a:gd name="connsiteX745" fmla="*/ 1935131 w 2051041"/>
              <a:gd name="connsiteY745" fmla="*/ 778713 h 2084191"/>
              <a:gd name="connsiteX746" fmla="*/ 1887244 w 2051041"/>
              <a:gd name="connsiteY746" fmla="*/ 827145 h 2084191"/>
              <a:gd name="connsiteX747" fmla="*/ 1838812 w 2051041"/>
              <a:gd name="connsiteY747" fmla="*/ 778713 h 2084191"/>
              <a:gd name="connsiteX748" fmla="*/ 1886699 w 2051041"/>
              <a:gd name="connsiteY748" fmla="*/ 730826 h 2084191"/>
              <a:gd name="connsiteX749" fmla="*/ 2050496 w 2051041"/>
              <a:gd name="connsiteY749" fmla="*/ 730282 h 2084191"/>
              <a:gd name="connsiteX750" fmla="*/ 2051041 w 2051041"/>
              <a:gd name="connsiteY750" fmla="*/ 730396 h 2084191"/>
              <a:gd name="connsiteX751" fmla="*/ 2051041 w 2051041"/>
              <a:gd name="connsiteY751" fmla="*/ 826942 h 2084191"/>
              <a:gd name="connsiteX752" fmla="*/ 2049952 w 2051041"/>
              <a:gd name="connsiteY752" fmla="*/ 827145 h 2084191"/>
              <a:gd name="connsiteX753" fmla="*/ 2002065 w 2051041"/>
              <a:gd name="connsiteY753" fmla="*/ 778169 h 2084191"/>
              <a:gd name="connsiteX754" fmla="*/ 2050496 w 2051041"/>
              <a:gd name="connsiteY754" fmla="*/ 730282 h 2084191"/>
              <a:gd name="connsiteX755" fmla="*/ 173634 w 2051041"/>
              <a:gd name="connsiteY755" fmla="*/ 685660 h 2084191"/>
              <a:gd name="connsiteX756" fmla="*/ 184518 w 2051041"/>
              <a:gd name="connsiteY756" fmla="*/ 698176 h 2084191"/>
              <a:gd name="connsiteX757" fmla="*/ 172546 w 2051041"/>
              <a:gd name="connsiteY757" fmla="*/ 709059 h 2084191"/>
              <a:gd name="connsiteX758" fmla="*/ 161118 w 2051041"/>
              <a:gd name="connsiteY758" fmla="*/ 697088 h 2084191"/>
              <a:gd name="connsiteX759" fmla="*/ 173634 w 2051041"/>
              <a:gd name="connsiteY759" fmla="*/ 685660 h 2084191"/>
              <a:gd name="connsiteX760" fmla="*/ 335798 w 2051041"/>
              <a:gd name="connsiteY760" fmla="*/ 675320 h 2084191"/>
              <a:gd name="connsiteX761" fmla="*/ 357565 w 2051041"/>
              <a:gd name="connsiteY761" fmla="*/ 696543 h 2084191"/>
              <a:gd name="connsiteX762" fmla="*/ 336342 w 2051041"/>
              <a:gd name="connsiteY762" fmla="*/ 718854 h 2084191"/>
              <a:gd name="connsiteX763" fmla="*/ 315120 w 2051041"/>
              <a:gd name="connsiteY763" fmla="*/ 697631 h 2084191"/>
              <a:gd name="connsiteX764" fmla="*/ 335798 w 2051041"/>
              <a:gd name="connsiteY764" fmla="*/ 675320 h 2084191"/>
              <a:gd name="connsiteX765" fmla="*/ 499051 w 2051041"/>
              <a:gd name="connsiteY765" fmla="*/ 670423 h 2084191"/>
              <a:gd name="connsiteX766" fmla="*/ 526804 w 2051041"/>
              <a:gd name="connsiteY766" fmla="*/ 697088 h 2084191"/>
              <a:gd name="connsiteX767" fmla="*/ 499595 w 2051041"/>
              <a:gd name="connsiteY767" fmla="*/ 724296 h 2084191"/>
              <a:gd name="connsiteX768" fmla="*/ 472930 w 2051041"/>
              <a:gd name="connsiteY768" fmla="*/ 697632 h 2084191"/>
              <a:gd name="connsiteX769" fmla="*/ 499051 w 2051041"/>
              <a:gd name="connsiteY769" fmla="*/ 670423 h 2084191"/>
              <a:gd name="connsiteX770" fmla="*/ 662848 w 2051041"/>
              <a:gd name="connsiteY770" fmla="*/ 665525 h 2084191"/>
              <a:gd name="connsiteX771" fmla="*/ 694954 w 2051041"/>
              <a:gd name="connsiteY771" fmla="*/ 697087 h 2084191"/>
              <a:gd name="connsiteX772" fmla="*/ 663392 w 2051041"/>
              <a:gd name="connsiteY772" fmla="*/ 729194 h 2084191"/>
              <a:gd name="connsiteX773" fmla="*/ 632374 w 2051041"/>
              <a:gd name="connsiteY773" fmla="*/ 698176 h 2084191"/>
              <a:gd name="connsiteX774" fmla="*/ 662848 w 2051041"/>
              <a:gd name="connsiteY774" fmla="*/ 665525 h 2084191"/>
              <a:gd name="connsiteX775" fmla="*/ 825013 w 2051041"/>
              <a:gd name="connsiteY775" fmla="*/ 663349 h 2084191"/>
              <a:gd name="connsiteX776" fmla="*/ 860384 w 2051041"/>
              <a:gd name="connsiteY776" fmla="*/ 697632 h 2084191"/>
              <a:gd name="connsiteX777" fmla="*/ 826101 w 2051041"/>
              <a:gd name="connsiteY777" fmla="*/ 731915 h 2084191"/>
              <a:gd name="connsiteX778" fmla="*/ 791818 w 2051041"/>
              <a:gd name="connsiteY778" fmla="*/ 698176 h 2084191"/>
              <a:gd name="connsiteX779" fmla="*/ 825013 w 2051041"/>
              <a:gd name="connsiteY779" fmla="*/ 663349 h 2084191"/>
              <a:gd name="connsiteX780" fmla="*/ 988809 w 2051041"/>
              <a:gd name="connsiteY780" fmla="*/ 658995 h 2084191"/>
              <a:gd name="connsiteX781" fmla="*/ 1027446 w 2051041"/>
              <a:gd name="connsiteY781" fmla="*/ 697087 h 2084191"/>
              <a:gd name="connsiteX782" fmla="*/ 989353 w 2051041"/>
              <a:gd name="connsiteY782" fmla="*/ 735723 h 2084191"/>
              <a:gd name="connsiteX783" fmla="*/ 950717 w 2051041"/>
              <a:gd name="connsiteY783" fmla="*/ 697631 h 2084191"/>
              <a:gd name="connsiteX784" fmla="*/ 988809 w 2051041"/>
              <a:gd name="connsiteY784" fmla="*/ 658995 h 2084191"/>
              <a:gd name="connsiteX785" fmla="*/ 1152607 w 2051041"/>
              <a:gd name="connsiteY785" fmla="*/ 655729 h 2084191"/>
              <a:gd name="connsiteX786" fmla="*/ 1195052 w 2051041"/>
              <a:gd name="connsiteY786" fmla="*/ 697087 h 2084191"/>
              <a:gd name="connsiteX787" fmla="*/ 1153151 w 2051041"/>
              <a:gd name="connsiteY787" fmla="*/ 739533 h 2084191"/>
              <a:gd name="connsiteX788" fmla="*/ 1110705 w 2051041"/>
              <a:gd name="connsiteY788" fmla="*/ 697631 h 2084191"/>
              <a:gd name="connsiteX789" fmla="*/ 1152607 w 2051041"/>
              <a:gd name="connsiteY789" fmla="*/ 655729 h 2084191"/>
              <a:gd name="connsiteX790" fmla="*/ 1316948 w 2051041"/>
              <a:gd name="connsiteY790" fmla="*/ 653554 h 2084191"/>
              <a:gd name="connsiteX791" fmla="*/ 1359937 w 2051041"/>
              <a:gd name="connsiteY791" fmla="*/ 697632 h 2084191"/>
              <a:gd name="connsiteX792" fmla="*/ 1315315 w 2051041"/>
              <a:gd name="connsiteY792" fmla="*/ 740622 h 2084191"/>
              <a:gd name="connsiteX793" fmla="*/ 1271781 w 2051041"/>
              <a:gd name="connsiteY793" fmla="*/ 696544 h 2084191"/>
              <a:gd name="connsiteX794" fmla="*/ 1316948 w 2051041"/>
              <a:gd name="connsiteY794" fmla="*/ 653554 h 2084191"/>
              <a:gd name="connsiteX795" fmla="*/ 1479112 w 2051041"/>
              <a:gd name="connsiteY795" fmla="*/ 651921 h 2084191"/>
              <a:gd name="connsiteX796" fmla="*/ 1524823 w 2051041"/>
              <a:gd name="connsiteY796" fmla="*/ 697088 h 2084191"/>
              <a:gd name="connsiteX797" fmla="*/ 1479112 w 2051041"/>
              <a:gd name="connsiteY797" fmla="*/ 742254 h 2084191"/>
              <a:gd name="connsiteX798" fmla="*/ 1433945 w 2051041"/>
              <a:gd name="connsiteY798" fmla="*/ 697088 h 2084191"/>
              <a:gd name="connsiteX799" fmla="*/ 1479112 w 2051041"/>
              <a:gd name="connsiteY799" fmla="*/ 651921 h 2084191"/>
              <a:gd name="connsiteX800" fmla="*/ 1642909 w 2051041"/>
              <a:gd name="connsiteY800" fmla="*/ 649744 h 2084191"/>
              <a:gd name="connsiteX801" fmla="*/ 1690796 w 2051041"/>
              <a:gd name="connsiteY801" fmla="*/ 697087 h 2084191"/>
              <a:gd name="connsiteX802" fmla="*/ 1642909 w 2051041"/>
              <a:gd name="connsiteY802" fmla="*/ 745519 h 2084191"/>
              <a:gd name="connsiteX803" fmla="*/ 1594477 w 2051041"/>
              <a:gd name="connsiteY803" fmla="*/ 697632 h 2084191"/>
              <a:gd name="connsiteX804" fmla="*/ 1642909 w 2051041"/>
              <a:gd name="connsiteY804" fmla="*/ 649744 h 2084191"/>
              <a:gd name="connsiteX805" fmla="*/ 1805617 w 2051041"/>
              <a:gd name="connsiteY805" fmla="*/ 648112 h 2084191"/>
              <a:gd name="connsiteX806" fmla="*/ 1854593 w 2051041"/>
              <a:gd name="connsiteY806" fmla="*/ 698176 h 2084191"/>
              <a:gd name="connsiteX807" fmla="*/ 1805073 w 2051041"/>
              <a:gd name="connsiteY807" fmla="*/ 746607 h 2084191"/>
              <a:gd name="connsiteX808" fmla="*/ 1756097 w 2051041"/>
              <a:gd name="connsiteY808" fmla="*/ 697087 h 2084191"/>
              <a:gd name="connsiteX809" fmla="*/ 1805617 w 2051041"/>
              <a:gd name="connsiteY809" fmla="*/ 648112 h 2084191"/>
              <a:gd name="connsiteX810" fmla="*/ 1969414 w 2051041"/>
              <a:gd name="connsiteY810" fmla="*/ 647023 h 2084191"/>
              <a:gd name="connsiteX811" fmla="*/ 2018934 w 2051041"/>
              <a:gd name="connsiteY811" fmla="*/ 698176 h 2084191"/>
              <a:gd name="connsiteX812" fmla="*/ 1968326 w 2051041"/>
              <a:gd name="connsiteY812" fmla="*/ 746063 h 2084191"/>
              <a:gd name="connsiteX813" fmla="*/ 1918806 w 2051041"/>
              <a:gd name="connsiteY813" fmla="*/ 697087 h 2084191"/>
              <a:gd name="connsiteX814" fmla="*/ 1969414 w 2051041"/>
              <a:gd name="connsiteY814" fmla="*/ 647023 h 2084191"/>
              <a:gd name="connsiteX815" fmla="*/ 90919 w 2051041"/>
              <a:gd name="connsiteY815" fmla="*/ 606754 h 2084191"/>
              <a:gd name="connsiteX816" fmla="*/ 99626 w 2051041"/>
              <a:gd name="connsiteY816" fmla="*/ 615460 h 2084191"/>
              <a:gd name="connsiteX817" fmla="*/ 92007 w 2051041"/>
              <a:gd name="connsiteY817" fmla="*/ 627976 h 2084191"/>
              <a:gd name="connsiteX818" fmla="*/ 82756 w 2051041"/>
              <a:gd name="connsiteY818" fmla="*/ 616005 h 2084191"/>
              <a:gd name="connsiteX819" fmla="*/ 90919 w 2051041"/>
              <a:gd name="connsiteY819" fmla="*/ 606754 h 2084191"/>
              <a:gd name="connsiteX820" fmla="*/ 254172 w 2051041"/>
              <a:gd name="connsiteY820" fmla="*/ 598047 h 2084191"/>
              <a:gd name="connsiteX821" fmla="*/ 272674 w 2051041"/>
              <a:gd name="connsiteY821" fmla="*/ 614917 h 2084191"/>
              <a:gd name="connsiteX822" fmla="*/ 255260 w 2051041"/>
              <a:gd name="connsiteY822" fmla="*/ 633419 h 2084191"/>
              <a:gd name="connsiteX823" fmla="*/ 236758 w 2051041"/>
              <a:gd name="connsiteY823" fmla="*/ 616005 h 2084191"/>
              <a:gd name="connsiteX824" fmla="*/ 254172 w 2051041"/>
              <a:gd name="connsiteY824" fmla="*/ 598047 h 2084191"/>
              <a:gd name="connsiteX825" fmla="*/ 418513 w 2051041"/>
              <a:gd name="connsiteY825" fmla="*/ 590429 h 2084191"/>
              <a:gd name="connsiteX826" fmla="*/ 443001 w 2051041"/>
              <a:gd name="connsiteY826" fmla="*/ 614917 h 2084191"/>
              <a:gd name="connsiteX827" fmla="*/ 419058 w 2051041"/>
              <a:gd name="connsiteY827" fmla="*/ 640493 h 2084191"/>
              <a:gd name="connsiteX828" fmla="*/ 392937 w 2051041"/>
              <a:gd name="connsiteY828" fmla="*/ 616005 h 2084191"/>
              <a:gd name="connsiteX829" fmla="*/ 418513 w 2051041"/>
              <a:gd name="connsiteY829" fmla="*/ 590429 h 2084191"/>
              <a:gd name="connsiteX830" fmla="*/ 581222 w 2051041"/>
              <a:gd name="connsiteY830" fmla="*/ 587163 h 2084191"/>
              <a:gd name="connsiteX831" fmla="*/ 610063 w 2051041"/>
              <a:gd name="connsiteY831" fmla="*/ 616549 h 2084191"/>
              <a:gd name="connsiteX832" fmla="*/ 580677 w 2051041"/>
              <a:gd name="connsiteY832" fmla="*/ 645390 h 2084191"/>
              <a:gd name="connsiteX833" fmla="*/ 551836 w 2051041"/>
              <a:gd name="connsiteY833" fmla="*/ 615461 h 2084191"/>
              <a:gd name="connsiteX834" fmla="*/ 581222 w 2051041"/>
              <a:gd name="connsiteY834" fmla="*/ 587163 h 2084191"/>
              <a:gd name="connsiteX835" fmla="*/ 743930 w 2051041"/>
              <a:gd name="connsiteY835" fmla="*/ 582266 h 2084191"/>
              <a:gd name="connsiteX836" fmla="*/ 779301 w 2051041"/>
              <a:gd name="connsiteY836" fmla="*/ 616005 h 2084191"/>
              <a:gd name="connsiteX837" fmla="*/ 745563 w 2051041"/>
              <a:gd name="connsiteY837" fmla="*/ 649744 h 2084191"/>
              <a:gd name="connsiteX838" fmla="*/ 711824 w 2051041"/>
              <a:gd name="connsiteY838" fmla="*/ 616549 h 2084191"/>
              <a:gd name="connsiteX839" fmla="*/ 743930 w 2051041"/>
              <a:gd name="connsiteY839" fmla="*/ 582266 h 2084191"/>
              <a:gd name="connsiteX840" fmla="*/ 907183 w 2051041"/>
              <a:gd name="connsiteY840" fmla="*/ 577913 h 2084191"/>
              <a:gd name="connsiteX841" fmla="*/ 945276 w 2051041"/>
              <a:gd name="connsiteY841" fmla="*/ 615461 h 2084191"/>
              <a:gd name="connsiteX842" fmla="*/ 907727 w 2051041"/>
              <a:gd name="connsiteY842" fmla="*/ 654098 h 2084191"/>
              <a:gd name="connsiteX843" fmla="*/ 869091 w 2051041"/>
              <a:gd name="connsiteY843" fmla="*/ 616006 h 2084191"/>
              <a:gd name="connsiteX844" fmla="*/ 907183 w 2051041"/>
              <a:gd name="connsiteY844" fmla="*/ 577913 h 2084191"/>
              <a:gd name="connsiteX845" fmla="*/ 1069891 w 2051041"/>
              <a:gd name="connsiteY845" fmla="*/ 574648 h 2084191"/>
              <a:gd name="connsiteX846" fmla="*/ 1111248 w 2051041"/>
              <a:gd name="connsiteY846" fmla="*/ 615461 h 2084191"/>
              <a:gd name="connsiteX847" fmla="*/ 1070435 w 2051041"/>
              <a:gd name="connsiteY847" fmla="*/ 656274 h 2084191"/>
              <a:gd name="connsiteX848" fmla="*/ 1029622 w 2051041"/>
              <a:gd name="connsiteY848" fmla="*/ 614917 h 2084191"/>
              <a:gd name="connsiteX849" fmla="*/ 1069891 w 2051041"/>
              <a:gd name="connsiteY849" fmla="*/ 574648 h 2084191"/>
              <a:gd name="connsiteX850" fmla="*/ 1235321 w 2051041"/>
              <a:gd name="connsiteY850" fmla="*/ 572472 h 2084191"/>
              <a:gd name="connsiteX851" fmla="*/ 1277222 w 2051041"/>
              <a:gd name="connsiteY851" fmla="*/ 616550 h 2084191"/>
              <a:gd name="connsiteX852" fmla="*/ 1233688 w 2051041"/>
              <a:gd name="connsiteY852" fmla="*/ 660084 h 2084191"/>
              <a:gd name="connsiteX853" fmla="*/ 1190154 w 2051041"/>
              <a:gd name="connsiteY853" fmla="*/ 614917 h 2084191"/>
              <a:gd name="connsiteX854" fmla="*/ 1235321 w 2051041"/>
              <a:gd name="connsiteY854" fmla="*/ 572472 h 2084191"/>
              <a:gd name="connsiteX855" fmla="*/ 1397485 w 2051041"/>
              <a:gd name="connsiteY855" fmla="*/ 569206 h 2084191"/>
              <a:gd name="connsiteX856" fmla="*/ 1443196 w 2051041"/>
              <a:gd name="connsiteY856" fmla="*/ 616005 h 2084191"/>
              <a:gd name="connsiteX857" fmla="*/ 1396941 w 2051041"/>
              <a:gd name="connsiteY857" fmla="*/ 661172 h 2084191"/>
              <a:gd name="connsiteX858" fmla="*/ 1351775 w 2051041"/>
              <a:gd name="connsiteY858" fmla="*/ 614373 h 2084191"/>
              <a:gd name="connsiteX859" fmla="*/ 1397485 w 2051041"/>
              <a:gd name="connsiteY859" fmla="*/ 569206 h 2084191"/>
              <a:gd name="connsiteX860" fmla="*/ 1560738 w 2051041"/>
              <a:gd name="connsiteY860" fmla="*/ 567029 h 2084191"/>
              <a:gd name="connsiteX861" fmla="*/ 1609714 w 2051041"/>
              <a:gd name="connsiteY861" fmla="*/ 615461 h 2084191"/>
              <a:gd name="connsiteX862" fmla="*/ 1561283 w 2051041"/>
              <a:gd name="connsiteY862" fmla="*/ 663892 h 2084191"/>
              <a:gd name="connsiteX863" fmla="*/ 1512851 w 2051041"/>
              <a:gd name="connsiteY863" fmla="*/ 616005 h 2084191"/>
              <a:gd name="connsiteX864" fmla="*/ 1560738 w 2051041"/>
              <a:gd name="connsiteY864" fmla="*/ 567029 h 2084191"/>
              <a:gd name="connsiteX865" fmla="*/ 1725624 w 2051041"/>
              <a:gd name="connsiteY865" fmla="*/ 565397 h 2084191"/>
              <a:gd name="connsiteX866" fmla="*/ 1774599 w 2051041"/>
              <a:gd name="connsiteY866" fmla="*/ 616005 h 2084191"/>
              <a:gd name="connsiteX867" fmla="*/ 1723447 w 2051041"/>
              <a:gd name="connsiteY867" fmla="*/ 664981 h 2084191"/>
              <a:gd name="connsiteX868" fmla="*/ 1674471 w 2051041"/>
              <a:gd name="connsiteY868" fmla="*/ 615461 h 2084191"/>
              <a:gd name="connsiteX869" fmla="*/ 1725624 w 2051041"/>
              <a:gd name="connsiteY869" fmla="*/ 565397 h 2084191"/>
              <a:gd name="connsiteX870" fmla="*/ 1886699 w 2051041"/>
              <a:gd name="connsiteY870" fmla="*/ 564853 h 2084191"/>
              <a:gd name="connsiteX871" fmla="*/ 1938396 w 2051041"/>
              <a:gd name="connsiteY871" fmla="*/ 614917 h 2084191"/>
              <a:gd name="connsiteX872" fmla="*/ 1887787 w 2051041"/>
              <a:gd name="connsiteY872" fmla="*/ 665525 h 2084191"/>
              <a:gd name="connsiteX873" fmla="*/ 1837179 w 2051041"/>
              <a:gd name="connsiteY873" fmla="*/ 615461 h 2084191"/>
              <a:gd name="connsiteX874" fmla="*/ 1886699 w 2051041"/>
              <a:gd name="connsiteY874" fmla="*/ 564853 h 2084191"/>
              <a:gd name="connsiteX875" fmla="*/ 2050496 w 2051041"/>
              <a:gd name="connsiteY875" fmla="*/ 564852 h 2084191"/>
              <a:gd name="connsiteX876" fmla="*/ 2051041 w 2051041"/>
              <a:gd name="connsiteY876" fmla="*/ 564962 h 2084191"/>
              <a:gd name="connsiteX877" fmla="*/ 2051041 w 2051041"/>
              <a:gd name="connsiteY877" fmla="*/ 665899 h 2084191"/>
              <a:gd name="connsiteX878" fmla="*/ 2049952 w 2051041"/>
              <a:gd name="connsiteY878" fmla="*/ 666069 h 2084191"/>
              <a:gd name="connsiteX879" fmla="*/ 1999344 w 2051041"/>
              <a:gd name="connsiteY879" fmla="*/ 615460 h 2084191"/>
              <a:gd name="connsiteX880" fmla="*/ 2050496 w 2051041"/>
              <a:gd name="connsiteY880" fmla="*/ 564852 h 2084191"/>
              <a:gd name="connsiteX881" fmla="*/ 173090 w 2051041"/>
              <a:gd name="connsiteY881" fmla="*/ 517509 h 2084191"/>
              <a:gd name="connsiteX882" fmla="*/ 189959 w 2051041"/>
              <a:gd name="connsiteY882" fmla="*/ 533834 h 2084191"/>
              <a:gd name="connsiteX883" fmla="*/ 173634 w 2051041"/>
              <a:gd name="connsiteY883" fmla="*/ 550160 h 2084191"/>
              <a:gd name="connsiteX884" fmla="*/ 157308 w 2051041"/>
              <a:gd name="connsiteY884" fmla="*/ 534923 h 2084191"/>
              <a:gd name="connsiteX885" fmla="*/ 173090 w 2051041"/>
              <a:gd name="connsiteY885" fmla="*/ 517509 h 2084191"/>
              <a:gd name="connsiteX886" fmla="*/ 335798 w 2051041"/>
              <a:gd name="connsiteY886" fmla="*/ 511523 h 2084191"/>
              <a:gd name="connsiteX887" fmla="*/ 358654 w 2051041"/>
              <a:gd name="connsiteY887" fmla="*/ 533834 h 2084191"/>
              <a:gd name="connsiteX888" fmla="*/ 336343 w 2051041"/>
              <a:gd name="connsiteY888" fmla="*/ 556689 h 2084191"/>
              <a:gd name="connsiteX889" fmla="*/ 312943 w 2051041"/>
              <a:gd name="connsiteY889" fmla="*/ 534378 h 2084191"/>
              <a:gd name="connsiteX890" fmla="*/ 335798 w 2051041"/>
              <a:gd name="connsiteY890" fmla="*/ 511523 h 2084191"/>
              <a:gd name="connsiteX891" fmla="*/ 500139 w 2051041"/>
              <a:gd name="connsiteY891" fmla="*/ 506626 h 2084191"/>
              <a:gd name="connsiteX892" fmla="*/ 527348 w 2051041"/>
              <a:gd name="connsiteY892" fmla="*/ 535467 h 2084191"/>
              <a:gd name="connsiteX893" fmla="*/ 497963 w 2051041"/>
              <a:gd name="connsiteY893" fmla="*/ 561587 h 2084191"/>
              <a:gd name="connsiteX894" fmla="*/ 471842 w 2051041"/>
              <a:gd name="connsiteY894" fmla="*/ 533290 h 2084191"/>
              <a:gd name="connsiteX895" fmla="*/ 500139 w 2051041"/>
              <a:gd name="connsiteY895" fmla="*/ 506626 h 2084191"/>
              <a:gd name="connsiteX896" fmla="*/ 662304 w 2051041"/>
              <a:gd name="connsiteY896" fmla="*/ 500639 h 2084191"/>
              <a:gd name="connsiteX897" fmla="*/ 696042 w 2051041"/>
              <a:gd name="connsiteY897" fmla="*/ 533290 h 2084191"/>
              <a:gd name="connsiteX898" fmla="*/ 663392 w 2051041"/>
              <a:gd name="connsiteY898" fmla="*/ 566485 h 2084191"/>
              <a:gd name="connsiteX899" fmla="*/ 630197 w 2051041"/>
              <a:gd name="connsiteY899" fmla="*/ 534378 h 2084191"/>
              <a:gd name="connsiteX900" fmla="*/ 662304 w 2051041"/>
              <a:gd name="connsiteY900" fmla="*/ 500639 h 2084191"/>
              <a:gd name="connsiteX901" fmla="*/ 825557 w 2051041"/>
              <a:gd name="connsiteY901" fmla="*/ 496830 h 2084191"/>
              <a:gd name="connsiteX902" fmla="*/ 863649 w 2051041"/>
              <a:gd name="connsiteY902" fmla="*/ 534923 h 2084191"/>
              <a:gd name="connsiteX903" fmla="*/ 825557 w 2051041"/>
              <a:gd name="connsiteY903" fmla="*/ 571383 h 2084191"/>
              <a:gd name="connsiteX904" fmla="*/ 788553 w 2051041"/>
              <a:gd name="connsiteY904" fmla="*/ 534379 h 2084191"/>
              <a:gd name="connsiteX905" fmla="*/ 825557 w 2051041"/>
              <a:gd name="connsiteY905" fmla="*/ 496830 h 2084191"/>
              <a:gd name="connsiteX906" fmla="*/ 989898 w 2051041"/>
              <a:gd name="connsiteY906" fmla="*/ 494110 h 2084191"/>
              <a:gd name="connsiteX907" fmla="*/ 1029078 w 2051041"/>
              <a:gd name="connsiteY907" fmla="*/ 534923 h 2084191"/>
              <a:gd name="connsiteX908" fmla="*/ 989353 w 2051041"/>
              <a:gd name="connsiteY908" fmla="*/ 574104 h 2084191"/>
              <a:gd name="connsiteX909" fmla="*/ 949629 w 2051041"/>
              <a:gd name="connsiteY909" fmla="*/ 533835 h 2084191"/>
              <a:gd name="connsiteX910" fmla="*/ 989898 w 2051041"/>
              <a:gd name="connsiteY910" fmla="*/ 494110 h 2084191"/>
              <a:gd name="connsiteX911" fmla="*/ 1152062 w 2051041"/>
              <a:gd name="connsiteY911" fmla="*/ 490301 h 2084191"/>
              <a:gd name="connsiteX912" fmla="*/ 1196140 w 2051041"/>
              <a:gd name="connsiteY912" fmla="*/ 533835 h 2084191"/>
              <a:gd name="connsiteX913" fmla="*/ 1152606 w 2051041"/>
              <a:gd name="connsiteY913" fmla="*/ 577369 h 2084191"/>
              <a:gd name="connsiteX914" fmla="*/ 1109072 w 2051041"/>
              <a:gd name="connsiteY914" fmla="*/ 534379 h 2084191"/>
              <a:gd name="connsiteX915" fmla="*/ 1152062 w 2051041"/>
              <a:gd name="connsiteY915" fmla="*/ 490301 h 2084191"/>
              <a:gd name="connsiteX916" fmla="*/ 1316947 w 2051041"/>
              <a:gd name="connsiteY916" fmla="*/ 489212 h 2084191"/>
              <a:gd name="connsiteX917" fmla="*/ 1361570 w 2051041"/>
              <a:gd name="connsiteY917" fmla="*/ 534923 h 2084191"/>
              <a:gd name="connsiteX918" fmla="*/ 1315859 w 2051041"/>
              <a:gd name="connsiteY918" fmla="*/ 580090 h 2084191"/>
              <a:gd name="connsiteX919" fmla="*/ 1270693 w 2051041"/>
              <a:gd name="connsiteY919" fmla="*/ 533835 h 2084191"/>
              <a:gd name="connsiteX920" fmla="*/ 1316947 w 2051041"/>
              <a:gd name="connsiteY920" fmla="*/ 489212 h 2084191"/>
              <a:gd name="connsiteX921" fmla="*/ 1479112 w 2051041"/>
              <a:gd name="connsiteY921" fmla="*/ 484315 h 2084191"/>
              <a:gd name="connsiteX922" fmla="*/ 1528087 w 2051041"/>
              <a:gd name="connsiteY922" fmla="*/ 533835 h 2084191"/>
              <a:gd name="connsiteX923" fmla="*/ 1479656 w 2051041"/>
              <a:gd name="connsiteY923" fmla="*/ 582267 h 2084191"/>
              <a:gd name="connsiteX924" fmla="*/ 1431224 w 2051041"/>
              <a:gd name="connsiteY924" fmla="*/ 533835 h 2084191"/>
              <a:gd name="connsiteX925" fmla="*/ 1479112 w 2051041"/>
              <a:gd name="connsiteY925" fmla="*/ 484315 h 2084191"/>
              <a:gd name="connsiteX926" fmla="*/ 1643452 w 2051041"/>
              <a:gd name="connsiteY926" fmla="*/ 484314 h 2084191"/>
              <a:gd name="connsiteX927" fmla="*/ 1692973 w 2051041"/>
              <a:gd name="connsiteY927" fmla="*/ 534923 h 2084191"/>
              <a:gd name="connsiteX928" fmla="*/ 1641276 w 2051041"/>
              <a:gd name="connsiteY928" fmla="*/ 583898 h 2084191"/>
              <a:gd name="connsiteX929" fmla="*/ 1592300 w 2051041"/>
              <a:gd name="connsiteY929" fmla="*/ 532202 h 2084191"/>
              <a:gd name="connsiteX930" fmla="*/ 1643452 w 2051041"/>
              <a:gd name="connsiteY930" fmla="*/ 484314 h 2084191"/>
              <a:gd name="connsiteX931" fmla="*/ 1806162 w 2051041"/>
              <a:gd name="connsiteY931" fmla="*/ 481594 h 2084191"/>
              <a:gd name="connsiteX932" fmla="*/ 1857858 w 2051041"/>
              <a:gd name="connsiteY932" fmla="*/ 536011 h 2084191"/>
              <a:gd name="connsiteX933" fmla="*/ 1803441 w 2051041"/>
              <a:gd name="connsiteY933" fmla="*/ 586075 h 2084191"/>
              <a:gd name="connsiteX934" fmla="*/ 1753377 w 2051041"/>
              <a:gd name="connsiteY934" fmla="*/ 533290 h 2084191"/>
              <a:gd name="connsiteX935" fmla="*/ 1806162 w 2051041"/>
              <a:gd name="connsiteY935" fmla="*/ 481594 h 2084191"/>
              <a:gd name="connsiteX936" fmla="*/ 1968326 w 2051041"/>
              <a:gd name="connsiteY936" fmla="*/ 480505 h 2084191"/>
              <a:gd name="connsiteX937" fmla="*/ 2022200 w 2051041"/>
              <a:gd name="connsiteY937" fmla="*/ 534379 h 2084191"/>
              <a:gd name="connsiteX938" fmla="*/ 1969415 w 2051041"/>
              <a:gd name="connsiteY938" fmla="*/ 588252 h 2084191"/>
              <a:gd name="connsiteX939" fmla="*/ 1915541 w 2051041"/>
              <a:gd name="connsiteY939" fmla="*/ 534923 h 2084191"/>
              <a:gd name="connsiteX940" fmla="*/ 1968326 w 2051041"/>
              <a:gd name="connsiteY940" fmla="*/ 480505 h 2084191"/>
              <a:gd name="connsiteX941" fmla="*/ 91464 w 2051041"/>
              <a:gd name="connsiteY941" fmla="*/ 440780 h 2084191"/>
              <a:gd name="connsiteX942" fmla="*/ 102891 w 2051041"/>
              <a:gd name="connsiteY942" fmla="*/ 451664 h 2084191"/>
              <a:gd name="connsiteX943" fmla="*/ 92008 w 2051041"/>
              <a:gd name="connsiteY943" fmla="*/ 464179 h 2084191"/>
              <a:gd name="connsiteX944" fmla="*/ 80036 w 2051041"/>
              <a:gd name="connsiteY944" fmla="*/ 452752 h 2084191"/>
              <a:gd name="connsiteX945" fmla="*/ 91464 w 2051041"/>
              <a:gd name="connsiteY945" fmla="*/ 440780 h 2084191"/>
              <a:gd name="connsiteX946" fmla="*/ 254172 w 2051041"/>
              <a:gd name="connsiteY946" fmla="*/ 430441 h 2084191"/>
              <a:gd name="connsiteX947" fmla="*/ 275939 w 2051041"/>
              <a:gd name="connsiteY947" fmla="*/ 452208 h 2084191"/>
              <a:gd name="connsiteX948" fmla="*/ 254716 w 2051041"/>
              <a:gd name="connsiteY948" fmla="*/ 473975 h 2084191"/>
              <a:gd name="connsiteX949" fmla="*/ 232405 w 2051041"/>
              <a:gd name="connsiteY949" fmla="*/ 452752 h 2084191"/>
              <a:gd name="connsiteX950" fmla="*/ 254172 w 2051041"/>
              <a:gd name="connsiteY950" fmla="*/ 430441 h 2084191"/>
              <a:gd name="connsiteX951" fmla="*/ 417969 w 2051041"/>
              <a:gd name="connsiteY951" fmla="*/ 424999 h 2084191"/>
              <a:gd name="connsiteX952" fmla="*/ 444634 w 2051041"/>
              <a:gd name="connsiteY952" fmla="*/ 452752 h 2084191"/>
              <a:gd name="connsiteX953" fmla="*/ 417425 w 2051041"/>
              <a:gd name="connsiteY953" fmla="*/ 479417 h 2084191"/>
              <a:gd name="connsiteX954" fmla="*/ 390760 w 2051041"/>
              <a:gd name="connsiteY954" fmla="*/ 452208 h 2084191"/>
              <a:gd name="connsiteX955" fmla="*/ 417969 w 2051041"/>
              <a:gd name="connsiteY955" fmla="*/ 424999 h 2084191"/>
              <a:gd name="connsiteX956" fmla="*/ 580677 w 2051041"/>
              <a:gd name="connsiteY956" fmla="*/ 419558 h 2084191"/>
              <a:gd name="connsiteX957" fmla="*/ 612783 w 2051041"/>
              <a:gd name="connsiteY957" fmla="*/ 452208 h 2084191"/>
              <a:gd name="connsiteX958" fmla="*/ 581221 w 2051041"/>
              <a:gd name="connsiteY958" fmla="*/ 484315 h 2084191"/>
              <a:gd name="connsiteX959" fmla="*/ 549115 w 2051041"/>
              <a:gd name="connsiteY959" fmla="*/ 452208 h 2084191"/>
              <a:gd name="connsiteX960" fmla="*/ 580677 w 2051041"/>
              <a:gd name="connsiteY960" fmla="*/ 419558 h 2084191"/>
              <a:gd name="connsiteX961" fmla="*/ 743931 w 2051041"/>
              <a:gd name="connsiteY961" fmla="*/ 415748 h 2084191"/>
              <a:gd name="connsiteX962" fmla="*/ 780390 w 2051041"/>
              <a:gd name="connsiteY962" fmla="*/ 452208 h 2084191"/>
              <a:gd name="connsiteX963" fmla="*/ 744475 w 2051041"/>
              <a:gd name="connsiteY963" fmla="*/ 489212 h 2084191"/>
              <a:gd name="connsiteX964" fmla="*/ 708559 w 2051041"/>
              <a:gd name="connsiteY964" fmla="*/ 453840 h 2084191"/>
              <a:gd name="connsiteX965" fmla="*/ 743931 w 2051041"/>
              <a:gd name="connsiteY965" fmla="*/ 415748 h 2084191"/>
              <a:gd name="connsiteX966" fmla="*/ 908271 w 2051041"/>
              <a:gd name="connsiteY966" fmla="*/ 414116 h 2084191"/>
              <a:gd name="connsiteX967" fmla="*/ 946363 w 2051041"/>
              <a:gd name="connsiteY967" fmla="*/ 453296 h 2084191"/>
              <a:gd name="connsiteX968" fmla="*/ 906638 w 2051041"/>
              <a:gd name="connsiteY968" fmla="*/ 491933 h 2084191"/>
              <a:gd name="connsiteX969" fmla="*/ 868546 w 2051041"/>
              <a:gd name="connsiteY969" fmla="*/ 452208 h 2084191"/>
              <a:gd name="connsiteX970" fmla="*/ 908271 w 2051041"/>
              <a:gd name="connsiteY970" fmla="*/ 414116 h 2084191"/>
              <a:gd name="connsiteX971" fmla="*/ 1072068 w 2051041"/>
              <a:gd name="connsiteY971" fmla="*/ 409218 h 2084191"/>
              <a:gd name="connsiteX972" fmla="*/ 1113970 w 2051041"/>
              <a:gd name="connsiteY972" fmla="*/ 452752 h 2084191"/>
              <a:gd name="connsiteX973" fmla="*/ 1070436 w 2051041"/>
              <a:gd name="connsiteY973" fmla="*/ 495198 h 2084191"/>
              <a:gd name="connsiteX974" fmla="*/ 1028534 w 2051041"/>
              <a:gd name="connsiteY974" fmla="*/ 451120 h 2084191"/>
              <a:gd name="connsiteX975" fmla="*/ 1072068 w 2051041"/>
              <a:gd name="connsiteY975" fmla="*/ 409218 h 2084191"/>
              <a:gd name="connsiteX976" fmla="*/ 1235865 w 2051041"/>
              <a:gd name="connsiteY976" fmla="*/ 408130 h 2084191"/>
              <a:gd name="connsiteX977" fmla="*/ 1279400 w 2051041"/>
              <a:gd name="connsiteY977" fmla="*/ 453296 h 2084191"/>
              <a:gd name="connsiteX978" fmla="*/ 1233689 w 2051041"/>
              <a:gd name="connsiteY978" fmla="*/ 497374 h 2084191"/>
              <a:gd name="connsiteX979" fmla="*/ 1189611 w 2051041"/>
              <a:gd name="connsiteY979" fmla="*/ 451664 h 2084191"/>
              <a:gd name="connsiteX980" fmla="*/ 1235865 w 2051041"/>
              <a:gd name="connsiteY980" fmla="*/ 408130 h 2084191"/>
              <a:gd name="connsiteX981" fmla="*/ 1396941 w 2051041"/>
              <a:gd name="connsiteY981" fmla="*/ 403776 h 2084191"/>
              <a:gd name="connsiteX982" fmla="*/ 1446461 w 2051041"/>
              <a:gd name="connsiteY982" fmla="*/ 450575 h 2084191"/>
              <a:gd name="connsiteX983" fmla="*/ 1399118 w 2051041"/>
              <a:gd name="connsiteY983" fmla="*/ 500640 h 2084191"/>
              <a:gd name="connsiteX984" fmla="*/ 1349598 w 2051041"/>
              <a:gd name="connsiteY984" fmla="*/ 453296 h 2084191"/>
              <a:gd name="connsiteX985" fmla="*/ 1396941 w 2051041"/>
              <a:gd name="connsiteY985" fmla="*/ 403776 h 2084191"/>
              <a:gd name="connsiteX986" fmla="*/ 1560738 w 2051041"/>
              <a:gd name="connsiteY986" fmla="*/ 402144 h 2084191"/>
              <a:gd name="connsiteX987" fmla="*/ 1611347 w 2051041"/>
              <a:gd name="connsiteY987" fmla="*/ 453297 h 2084191"/>
              <a:gd name="connsiteX988" fmla="*/ 1560194 w 2051041"/>
              <a:gd name="connsiteY988" fmla="*/ 502272 h 2084191"/>
              <a:gd name="connsiteX989" fmla="*/ 1511218 w 2051041"/>
              <a:gd name="connsiteY989" fmla="*/ 451664 h 2084191"/>
              <a:gd name="connsiteX990" fmla="*/ 1560738 w 2051041"/>
              <a:gd name="connsiteY990" fmla="*/ 402144 h 2084191"/>
              <a:gd name="connsiteX991" fmla="*/ 1723991 w 2051041"/>
              <a:gd name="connsiteY991" fmla="*/ 399423 h 2084191"/>
              <a:gd name="connsiteX992" fmla="*/ 1776776 w 2051041"/>
              <a:gd name="connsiteY992" fmla="*/ 452752 h 2084191"/>
              <a:gd name="connsiteX993" fmla="*/ 1725079 w 2051041"/>
              <a:gd name="connsiteY993" fmla="*/ 504993 h 2084191"/>
              <a:gd name="connsiteX994" fmla="*/ 1671750 w 2051041"/>
              <a:gd name="connsiteY994" fmla="*/ 452752 h 2084191"/>
              <a:gd name="connsiteX995" fmla="*/ 1723991 w 2051041"/>
              <a:gd name="connsiteY995" fmla="*/ 399423 h 2084191"/>
              <a:gd name="connsiteX996" fmla="*/ 2051040 w 2051041"/>
              <a:gd name="connsiteY996" fmla="*/ 398335 h 2084191"/>
              <a:gd name="connsiteX997" fmla="*/ 2051041 w 2051041"/>
              <a:gd name="connsiteY997" fmla="*/ 398335 h 2084191"/>
              <a:gd name="connsiteX998" fmla="*/ 2051041 w 2051041"/>
              <a:gd name="connsiteY998" fmla="*/ 506936 h 2084191"/>
              <a:gd name="connsiteX999" fmla="*/ 2049952 w 2051041"/>
              <a:gd name="connsiteY999" fmla="*/ 507170 h 2084191"/>
              <a:gd name="connsiteX1000" fmla="*/ 1995534 w 2051041"/>
              <a:gd name="connsiteY1000" fmla="*/ 452208 h 2084191"/>
              <a:gd name="connsiteX1001" fmla="*/ 2051040 w 2051041"/>
              <a:gd name="connsiteY1001" fmla="*/ 398335 h 2084191"/>
              <a:gd name="connsiteX1002" fmla="*/ 1888332 w 2051041"/>
              <a:gd name="connsiteY1002" fmla="*/ 398335 h 2084191"/>
              <a:gd name="connsiteX1003" fmla="*/ 1941661 w 2051041"/>
              <a:gd name="connsiteY1003" fmla="*/ 452208 h 2084191"/>
              <a:gd name="connsiteX1004" fmla="*/ 1886699 w 2051041"/>
              <a:gd name="connsiteY1004" fmla="*/ 506082 h 2084191"/>
              <a:gd name="connsiteX1005" fmla="*/ 1833370 w 2051041"/>
              <a:gd name="connsiteY1005" fmla="*/ 452208 h 2084191"/>
              <a:gd name="connsiteX1006" fmla="*/ 1888332 w 2051041"/>
              <a:gd name="connsiteY1006" fmla="*/ 398335 h 2084191"/>
              <a:gd name="connsiteX1007" fmla="*/ 12014 w 2051041"/>
              <a:gd name="connsiteY1007" fmla="*/ 364052 h 2084191"/>
              <a:gd name="connsiteX1008" fmla="*/ 15823 w 2051041"/>
              <a:gd name="connsiteY1008" fmla="*/ 370038 h 2084191"/>
              <a:gd name="connsiteX1009" fmla="*/ 9293 w 2051041"/>
              <a:gd name="connsiteY1009" fmla="*/ 377656 h 2084191"/>
              <a:gd name="connsiteX1010" fmla="*/ 3307 w 2051041"/>
              <a:gd name="connsiteY1010" fmla="*/ 371126 h 2084191"/>
              <a:gd name="connsiteX1011" fmla="*/ 12014 w 2051041"/>
              <a:gd name="connsiteY1011" fmla="*/ 364052 h 2084191"/>
              <a:gd name="connsiteX1012" fmla="*/ 172545 w 2051041"/>
              <a:gd name="connsiteY1012" fmla="*/ 353713 h 2084191"/>
              <a:gd name="connsiteX1013" fmla="*/ 190503 w 2051041"/>
              <a:gd name="connsiteY1013" fmla="*/ 370582 h 2084191"/>
              <a:gd name="connsiteX1014" fmla="*/ 173090 w 2051041"/>
              <a:gd name="connsiteY1014" fmla="*/ 387996 h 2084191"/>
              <a:gd name="connsiteX1015" fmla="*/ 155676 w 2051041"/>
              <a:gd name="connsiteY1015" fmla="*/ 371126 h 2084191"/>
              <a:gd name="connsiteX1016" fmla="*/ 172545 w 2051041"/>
              <a:gd name="connsiteY1016" fmla="*/ 353713 h 2084191"/>
              <a:gd name="connsiteX1017" fmla="*/ 336886 w 2051041"/>
              <a:gd name="connsiteY1017" fmla="*/ 345550 h 2084191"/>
              <a:gd name="connsiteX1018" fmla="*/ 361374 w 2051041"/>
              <a:gd name="connsiteY1018" fmla="*/ 371670 h 2084191"/>
              <a:gd name="connsiteX1019" fmla="*/ 335798 w 2051041"/>
              <a:gd name="connsiteY1019" fmla="*/ 395070 h 2084191"/>
              <a:gd name="connsiteX1020" fmla="*/ 311854 w 2051041"/>
              <a:gd name="connsiteY1020" fmla="*/ 370038 h 2084191"/>
              <a:gd name="connsiteX1021" fmla="*/ 336886 w 2051041"/>
              <a:gd name="connsiteY1021" fmla="*/ 345550 h 2084191"/>
              <a:gd name="connsiteX1022" fmla="*/ 499596 w 2051041"/>
              <a:gd name="connsiteY1022" fmla="*/ 342284 h 2084191"/>
              <a:gd name="connsiteX1023" fmla="*/ 528437 w 2051041"/>
              <a:gd name="connsiteY1023" fmla="*/ 370582 h 2084191"/>
              <a:gd name="connsiteX1024" fmla="*/ 499051 w 2051041"/>
              <a:gd name="connsiteY1024" fmla="*/ 399423 h 2084191"/>
              <a:gd name="connsiteX1025" fmla="*/ 470210 w 2051041"/>
              <a:gd name="connsiteY1025" fmla="*/ 370037 h 2084191"/>
              <a:gd name="connsiteX1026" fmla="*/ 499596 w 2051041"/>
              <a:gd name="connsiteY1026" fmla="*/ 342284 h 2084191"/>
              <a:gd name="connsiteX1027" fmla="*/ 663392 w 2051041"/>
              <a:gd name="connsiteY1027" fmla="*/ 337387 h 2084191"/>
              <a:gd name="connsiteX1028" fmla="*/ 697131 w 2051041"/>
              <a:gd name="connsiteY1028" fmla="*/ 371126 h 2084191"/>
              <a:gd name="connsiteX1029" fmla="*/ 662304 w 2051041"/>
              <a:gd name="connsiteY1029" fmla="*/ 404321 h 2084191"/>
              <a:gd name="connsiteX1030" fmla="*/ 629109 w 2051041"/>
              <a:gd name="connsiteY1030" fmla="*/ 371126 h 2084191"/>
              <a:gd name="connsiteX1031" fmla="*/ 663392 w 2051041"/>
              <a:gd name="connsiteY1031" fmla="*/ 337387 h 2084191"/>
              <a:gd name="connsiteX1032" fmla="*/ 825556 w 2051041"/>
              <a:gd name="connsiteY1032" fmla="*/ 332489 h 2084191"/>
              <a:gd name="connsiteX1033" fmla="*/ 864737 w 2051041"/>
              <a:gd name="connsiteY1033" fmla="*/ 370037 h 2084191"/>
              <a:gd name="connsiteX1034" fmla="*/ 826645 w 2051041"/>
              <a:gd name="connsiteY1034" fmla="*/ 409218 h 2084191"/>
              <a:gd name="connsiteX1035" fmla="*/ 787464 w 2051041"/>
              <a:gd name="connsiteY1035" fmla="*/ 371126 h 2084191"/>
              <a:gd name="connsiteX1036" fmla="*/ 825556 w 2051041"/>
              <a:gd name="connsiteY1036" fmla="*/ 332489 h 2084191"/>
              <a:gd name="connsiteX1037" fmla="*/ 989898 w 2051041"/>
              <a:gd name="connsiteY1037" fmla="*/ 328680 h 2084191"/>
              <a:gd name="connsiteX1038" fmla="*/ 1031255 w 2051041"/>
              <a:gd name="connsiteY1038" fmla="*/ 371126 h 2084191"/>
              <a:gd name="connsiteX1039" fmla="*/ 989354 w 2051041"/>
              <a:gd name="connsiteY1039" fmla="*/ 413027 h 2084191"/>
              <a:gd name="connsiteX1040" fmla="*/ 947452 w 2051041"/>
              <a:gd name="connsiteY1040" fmla="*/ 370037 h 2084191"/>
              <a:gd name="connsiteX1041" fmla="*/ 989898 w 2051041"/>
              <a:gd name="connsiteY1041" fmla="*/ 328680 h 2084191"/>
              <a:gd name="connsiteX1042" fmla="*/ 1153150 w 2051041"/>
              <a:gd name="connsiteY1042" fmla="*/ 326504 h 2084191"/>
              <a:gd name="connsiteX1043" fmla="*/ 1197228 w 2051041"/>
              <a:gd name="connsiteY1043" fmla="*/ 370582 h 2084191"/>
              <a:gd name="connsiteX1044" fmla="*/ 1152606 w 2051041"/>
              <a:gd name="connsiteY1044" fmla="*/ 414661 h 2084191"/>
              <a:gd name="connsiteX1045" fmla="*/ 1108528 w 2051041"/>
              <a:gd name="connsiteY1045" fmla="*/ 370038 h 2084191"/>
              <a:gd name="connsiteX1046" fmla="*/ 1153150 w 2051041"/>
              <a:gd name="connsiteY1046" fmla="*/ 326504 h 2084191"/>
              <a:gd name="connsiteX1047" fmla="*/ 1317492 w 2051041"/>
              <a:gd name="connsiteY1047" fmla="*/ 323239 h 2084191"/>
              <a:gd name="connsiteX1048" fmla="*/ 1364835 w 2051041"/>
              <a:gd name="connsiteY1048" fmla="*/ 372215 h 2084191"/>
              <a:gd name="connsiteX1049" fmla="*/ 1314771 w 2051041"/>
              <a:gd name="connsiteY1049" fmla="*/ 419014 h 2084191"/>
              <a:gd name="connsiteX1050" fmla="*/ 1268516 w 2051041"/>
              <a:gd name="connsiteY1050" fmla="*/ 370582 h 2084191"/>
              <a:gd name="connsiteX1051" fmla="*/ 1317492 w 2051041"/>
              <a:gd name="connsiteY1051" fmla="*/ 323239 h 2084191"/>
              <a:gd name="connsiteX1052" fmla="*/ 1479112 w 2051041"/>
              <a:gd name="connsiteY1052" fmla="*/ 320517 h 2084191"/>
              <a:gd name="connsiteX1053" fmla="*/ 1529720 w 2051041"/>
              <a:gd name="connsiteY1053" fmla="*/ 371670 h 2084191"/>
              <a:gd name="connsiteX1054" fmla="*/ 1478568 w 2051041"/>
              <a:gd name="connsiteY1054" fmla="*/ 420101 h 2084191"/>
              <a:gd name="connsiteX1055" fmla="*/ 1429592 w 2051041"/>
              <a:gd name="connsiteY1055" fmla="*/ 370037 h 2084191"/>
              <a:gd name="connsiteX1056" fmla="*/ 1479112 w 2051041"/>
              <a:gd name="connsiteY1056" fmla="*/ 320517 h 2084191"/>
              <a:gd name="connsiteX1057" fmla="*/ 1642364 w 2051041"/>
              <a:gd name="connsiteY1057" fmla="*/ 318341 h 2084191"/>
              <a:gd name="connsiteX1058" fmla="*/ 1695694 w 2051041"/>
              <a:gd name="connsiteY1058" fmla="*/ 370582 h 2084191"/>
              <a:gd name="connsiteX1059" fmla="*/ 1643453 w 2051041"/>
              <a:gd name="connsiteY1059" fmla="*/ 424455 h 2084191"/>
              <a:gd name="connsiteX1060" fmla="*/ 1589035 w 2051041"/>
              <a:gd name="connsiteY1060" fmla="*/ 371670 h 2084191"/>
              <a:gd name="connsiteX1061" fmla="*/ 1642364 w 2051041"/>
              <a:gd name="connsiteY1061" fmla="*/ 318341 h 2084191"/>
              <a:gd name="connsiteX1062" fmla="*/ 90919 w 2051041"/>
              <a:gd name="connsiteY1062" fmla="*/ 273718 h 2084191"/>
              <a:gd name="connsiteX1063" fmla="*/ 106700 w 2051041"/>
              <a:gd name="connsiteY1063" fmla="*/ 288411 h 2084191"/>
              <a:gd name="connsiteX1064" fmla="*/ 91463 w 2051041"/>
              <a:gd name="connsiteY1064" fmla="*/ 303648 h 2084191"/>
              <a:gd name="connsiteX1065" fmla="*/ 76770 w 2051041"/>
              <a:gd name="connsiteY1065" fmla="*/ 288411 h 2084191"/>
              <a:gd name="connsiteX1066" fmla="*/ 90919 w 2051041"/>
              <a:gd name="connsiteY1066" fmla="*/ 273718 h 2084191"/>
              <a:gd name="connsiteX1067" fmla="*/ 254716 w 2051041"/>
              <a:gd name="connsiteY1067" fmla="*/ 267733 h 2084191"/>
              <a:gd name="connsiteX1068" fmla="*/ 276483 w 2051041"/>
              <a:gd name="connsiteY1068" fmla="*/ 288956 h 2084191"/>
              <a:gd name="connsiteX1069" fmla="*/ 254172 w 2051041"/>
              <a:gd name="connsiteY1069" fmla="*/ 311811 h 2084191"/>
              <a:gd name="connsiteX1070" fmla="*/ 232405 w 2051041"/>
              <a:gd name="connsiteY1070" fmla="*/ 289500 h 2084191"/>
              <a:gd name="connsiteX1071" fmla="*/ 254716 w 2051041"/>
              <a:gd name="connsiteY1071" fmla="*/ 267733 h 2084191"/>
              <a:gd name="connsiteX1072" fmla="*/ 1941117 w 2051041"/>
              <a:gd name="connsiteY1072" fmla="*/ 263202 h 2084191"/>
              <a:gd name="connsiteX1073" fmla="*/ 1936219 w 2051041"/>
              <a:gd name="connsiteY1073" fmla="*/ 266467 h 2084191"/>
              <a:gd name="connsiteX1074" fmla="*/ 1938396 w 2051041"/>
              <a:gd name="connsiteY1074" fmla="*/ 272453 h 2084191"/>
              <a:gd name="connsiteX1075" fmla="*/ 1932954 w 2051041"/>
              <a:gd name="connsiteY1075" fmla="*/ 325782 h 2084191"/>
              <a:gd name="connsiteX1076" fmla="*/ 1930777 w 2051041"/>
              <a:gd name="connsiteY1076" fmla="*/ 331224 h 2084191"/>
              <a:gd name="connsiteX1077" fmla="*/ 1936219 w 2051041"/>
              <a:gd name="connsiteY1077" fmla="*/ 330136 h 2084191"/>
              <a:gd name="connsiteX1078" fmla="*/ 1966693 w 2051041"/>
              <a:gd name="connsiteY1078" fmla="*/ 320340 h 2084191"/>
              <a:gd name="connsiteX1079" fmla="*/ 1998799 w 2051041"/>
              <a:gd name="connsiteY1079" fmla="*/ 328503 h 2084191"/>
              <a:gd name="connsiteX1080" fmla="*/ 2003153 w 2051041"/>
              <a:gd name="connsiteY1080" fmla="*/ 330136 h 2084191"/>
              <a:gd name="connsiteX1081" fmla="*/ 2001520 w 2051041"/>
              <a:gd name="connsiteY1081" fmla="*/ 324694 h 2084191"/>
              <a:gd name="connsiteX1082" fmla="*/ 1994446 w 2051041"/>
              <a:gd name="connsiteY1082" fmla="*/ 309457 h 2084191"/>
              <a:gd name="connsiteX1083" fmla="*/ 1998255 w 2051041"/>
              <a:gd name="connsiteY1083" fmla="*/ 267555 h 2084191"/>
              <a:gd name="connsiteX1084" fmla="*/ 2000976 w 2051041"/>
              <a:gd name="connsiteY1084" fmla="*/ 263746 h 2084191"/>
              <a:gd name="connsiteX1085" fmla="*/ 1995534 w 2051041"/>
              <a:gd name="connsiteY1085" fmla="*/ 263746 h 2084191"/>
              <a:gd name="connsiteX1086" fmla="*/ 1941117 w 2051041"/>
              <a:gd name="connsiteY1086" fmla="*/ 263202 h 2084191"/>
              <a:gd name="connsiteX1087" fmla="*/ 417425 w 2051041"/>
              <a:gd name="connsiteY1087" fmla="*/ 262291 h 2084191"/>
              <a:gd name="connsiteX1088" fmla="*/ 445178 w 2051041"/>
              <a:gd name="connsiteY1088" fmla="*/ 288956 h 2084191"/>
              <a:gd name="connsiteX1089" fmla="*/ 417969 w 2051041"/>
              <a:gd name="connsiteY1089" fmla="*/ 317253 h 2084191"/>
              <a:gd name="connsiteX1090" fmla="*/ 390216 w 2051041"/>
              <a:gd name="connsiteY1090" fmla="*/ 290044 h 2084191"/>
              <a:gd name="connsiteX1091" fmla="*/ 417425 w 2051041"/>
              <a:gd name="connsiteY1091" fmla="*/ 262291 h 2084191"/>
              <a:gd name="connsiteX1092" fmla="*/ 580678 w 2051041"/>
              <a:gd name="connsiteY1092" fmla="*/ 256304 h 2084191"/>
              <a:gd name="connsiteX1093" fmla="*/ 613872 w 2051041"/>
              <a:gd name="connsiteY1093" fmla="*/ 288955 h 2084191"/>
              <a:gd name="connsiteX1094" fmla="*/ 581222 w 2051041"/>
              <a:gd name="connsiteY1094" fmla="*/ 322150 h 2084191"/>
              <a:gd name="connsiteX1095" fmla="*/ 548027 w 2051041"/>
              <a:gd name="connsiteY1095" fmla="*/ 289499 h 2084191"/>
              <a:gd name="connsiteX1096" fmla="*/ 580678 w 2051041"/>
              <a:gd name="connsiteY1096" fmla="*/ 256304 h 2084191"/>
              <a:gd name="connsiteX1097" fmla="*/ 743930 w 2051041"/>
              <a:gd name="connsiteY1097" fmla="*/ 251951 h 2084191"/>
              <a:gd name="connsiteX1098" fmla="*/ 782022 w 2051041"/>
              <a:gd name="connsiteY1098" fmla="*/ 289499 h 2084191"/>
              <a:gd name="connsiteX1099" fmla="*/ 744474 w 2051041"/>
              <a:gd name="connsiteY1099" fmla="*/ 326503 h 2084191"/>
              <a:gd name="connsiteX1100" fmla="*/ 707470 w 2051041"/>
              <a:gd name="connsiteY1100" fmla="*/ 289499 h 2084191"/>
              <a:gd name="connsiteX1101" fmla="*/ 743930 w 2051041"/>
              <a:gd name="connsiteY1101" fmla="*/ 251951 h 2084191"/>
              <a:gd name="connsiteX1102" fmla="*/ 907183 w 2051041"/>
              <a:gd name="connsiteY1102" fmla="*/ 249775 h 2084191"/>
              <a:gd name="connsiteX1103" fmla="*/ 947452 w 2051041"/>
              <a:gd name="connsiteY1103" fmla="*/ 289500 h 2084191"/>
              <a:gd name="connsiteX1104" fmla="*/ 908271 w 2051041"/>
              <a:gd name="connsiteY1104" fmla="*/ 329225 h 2084191"/>
              <a:gd name="connsiteX1105" fmla="*/ 867458 w 2051041"/>
              <a:gd name="connsiteY1105" fmla="*/ 290044 h 2084191"/>
              <a:gd name="connsiteX1106" fmla="*/ 907183 w 2051041"/>
              <a:gd name="connsiteY1106" fmla="*/ 249775 h 2084191"/>
              <a:gd name="connsiteX1107" fmla="*/ 1070435 w 2051041"/>
              <a:gd name="connsiteY1107" fmla="*/ 245965 h 2084191"/>
              <a:gd name="connsiteX1108" fmla="*/ 1114513 w 2051041"/>
              <a:gd name="connsiteY1108" fmla="*/ 290043 h 2084191"/>
              <a:gd name="connsiteX1109" fmla="*/ 1069347 w 2051041"/>
              <a:gd name="connsiteY1109" fmla="*/ 333578 h 2084191"/>
              <a:gd name="connsiteX1110" fmla="*/ 1026357 w 2051041"/>
              <a:gd name="connsiteY1110" fmla="*/ 288955 h 2084191"/>
              <a:gd name="connsiteX1111" fmla="*/ 1070435 w 2051041"/>
              <a:gd name="connsiteY1111" fmla="*/ 245965 h 2084191"/>
              <a:gd name="connsiteX1112" fmla="*/ 1233689 w 2051041"/>
              <a:gd name="connsiteY1112" fmla="*/ 241613 h 2084191"/>
              <a:gd name="connsiteX1113" fmla="*/ 1282120 w 2051041"/>
              <a:gd name="connsiteY1113" fmla="*/ 288412 h 2084191"/>
              <a:gd name="connsiteX1114" fmla="*/ 1235321 w 2051041"/>
              <a:gd name="connsiteY1114" fmla="*/ 335755 h 2084191"/>
              <a:gd name="connsiteX1115" fmla="*/ 1187434 w 2051041"/>
              <a:gd name="connsiteY1115" fmla="*/ 289500 h 2084191"/>
              <a:gd name="connsiteX1116" fmla="*/ 1233689 w 2051041"/>
              <a:gd name="connsiteY1116" fmla="*/ 241613 h 2084191"/>
              <a:gd name="connsiteX1117" fmla="*/ 1397485 w 2051041"/>
              <a:gd name="connsiteY1117" fmla="*/ 238891 h 2084191"/>
              <a:gd name="connsiteX1118" fmla="*/ 1448094 w 2051041"/>
              <a:gd name="connsiteY1118" fmla="*/ 288955 h 2084191"/>
              <a:gd name="connsiteX1119" fmla="*/ 1398029 w 2051041"/>
              <a:gd name="connsiteY1119" fmla="*/ 338475 h 2084191"/>
              <a:gd name="connsiteX1120" fmla="*/ 1348509 w 2051041"/>
              <a:gd name="connsiteY1120" fmla="*/ 289499 h 2084191"/>
              <a:gd name="connsiteX1121" fmla="*/ 1397485 w 2051041"/>
              <a:gd name="connsiteY1121" fmla="*/ 238891 h 2084191"/>
              <a:gd name="connsiteX1122" fmla="*/ 1559650 w 2051041"/>
              <a:gd name="connsiteY1122" fmla="*/ 237258 h 2084191"/>
              <a:gd name="connsiteX1123" fmla="*/ 1613523 w 2051041"/>
              <a:gd name="connsiteY1123" fmla="*/ 288955 h 2084191"/>
              <a:gd name="connsiteX1124" fmla="*/ 1560738 w 2051041"/>
              <a:gd name="connsiteY1124" fmla="*/ 342829 h 2084191"/>
              <a:gd name="connsiteX1125" fmla="*/ 1507953 w 2051041"/>
              <a:gd name="connsiteY1125" fmla="*/ 289499 h 2084191"/>
              <a:gd name="connsiteX1126" fmla="*/ 1559650 w 2051041"/>
              <a:gd name="connsiteY1126" fmla="*/ 237258 h 2084191"/>
              <a:gd name="connsiteX1127" fmla="*/ 9837 w 2051041"/>
              <a:gd name="connsiteY1127" fmla="*/ 198078 h 2084191"/>
              <a:gd name="connsiteX1128" fmla="*/ 19632 w 2051041"/>
              <a:gd name="connsiteY1128" fmla="*/ 207873 h 2084191"/>
              <a:gd name="connsiteX1129" fmla="*/ 10381 w 2051041"/>
              <a:gd name="connsiteY1129" fmla="*/ 218213 h 2084191"/>
              <a:gd name="connsiteX1130" fmla="*/ 42 w 2051041"/>
              <a:gd name="connsiteY1130" fmla="*/ 207873 h 2084191"/>
              <a:gd name="connsiteX1131" fmla="*/ 9837 w 2051041"/>
              <a:gd name="connsiteY1131" fmla="*/ 198078 h 2084191"/>
              <a:gd name="connsiteX1132" fmla="*/ 173090 w 2051041"/>
              <a:gd name="connsiteY1132" fmla="*/ 187739 h 2084191"/>
              <a:gd name="connsiteX1133" fmla="*/ 192136 w 2051041"/>
              <a:gd name="connsiteY1133" fmla="*/ 207329 h 2084191"/>
              <a:gd name="connsiteX1134" fmla="*/ 172546 w 2051041"/>
              <a:gd name="connsiteY1134" fmla="*/ 227464 h 2084191"/>
              <a:gd name="connsiteX1135" fmla="*/ 154044 w 2051041"/>
              <a:gd name="connsiteY1135" fmla="*/ 208418 h 2084191"/>
              <a:gd name="connsiteX1136" fmla="*/ 173090 w 2051041"/>
              <a:gd name="connsiteY1136" fmla="*/ 187739 h 2084191"/>
              <a:gd name="connsiteX1137" fmla="*/ 336887 w 2051041"/>
              <a:gd name="connsiteY1137" fmla="*/ 182297 h 2084191"/>
              <a:gd name="connsiteX1138" fmla="*/ 363007 w 2051041"/>
              <a:gd name="connsiteY1138" fmla="*/ 207329 h 2084191"/>
              <a:gd name="connsiteX1139" fmla="*/ 336887 w 2051041"/>
              <a:gd name="connsiteY1139" fmla="*/ 233994 h 2084191"/>
              <a:gd name="connsiteX1140" fmla="*/ 310766 w 2051041"/>
              <a:gd name="connsiteY1140" fmla="*/ 208961 h 2084191"/>
              <a:gd name="connsiteX1141" fmla="*/ 336887 w 2051041"/>
              <a:gd name="connsiteY1141" fmla="*/ 182297 h 2084191"/>
              <a:gd name="connsiteX1142" fmla="*/ 1856225 w 2051041"/>
              <a:gd name="connsiteY1142" fmla="*/ 180487 h 2084191"/>
              <a:gd name="connsiteX1143" fmla="*/ 1855681 w 2051041"/>
              <a:gd name="connsiteY1143" fmla="*/ 185929 h 2084191"/>
              <a:gd name="connsiteX1144" fmla="*/ 1851872 w 2051041"/>
              <a:gd name="connsiteY1144" fmla="*/ 244700 h 2084191"/>
              <a:gd name="connsiteX1145" fmla="*/ 1851328 w 2051041"/>
              <a:gd name="connsiteY1145" fmla="*/ 247965 h 2084191"/>
              <a:gd name="connsiteX1146" fmla="*/ 1854593 w 2051041"/>
              <a:gd name="connsiteY1146" fmla="*/ 247421 h 2084191"/>
              <a:gd name="connsiteX1147" fmla="*/ 1899215 w 2051041"/>
              <a:gd name="connsiteY1147" fmla="*/ 238714 h 2084191"/>
              <a:gd name="connsiteX1148" fmla="*/ 1913908 w 2051041"/>
              <a:gd name="connsiteY1148" fmla="*/ 243067 h 2084191"/>
              <a:gd name="connsiteX1149" fmla="*/ 1918806 w 2051041"/>
              <a:gd name="connsiteY1149" fmla="*/ 242523 h 2084191"/>
              <a:gd name="connsiteX1150" fmla="*/ 1918261 w 2051041"/>
              <a:gd name="connsiteY1150" fmla="*/ 238170 h 2084191"/>
              <a:gd name="connsiteX1151" fmla="*/ 1917173 w 2051041"/>
              <a:gd name="connsiteY1151" fmla="*/ 185929 h 2084191"/>
              <a:gd name="connsiteX1152" fmla="*/ 1918261 w 2051041"/>
              <a:gd name="connsiteY1152" fmla="*/ 181576 h 2084191"/>
              <a:gd name="connsiteX1153" fmla="*/ 1913908 w 2051041"/>
              <a:gd name="connsiteY1153" fmla="*/ 182664 h 2084191"/>
              <a:gd name="connsiteX1154" fmla="*/ 1860579 w 2051041"/>
              <a:gd name="connsiteY1154" fmla="*/ 180487 h 2084191"/>
              <a:gd name="connsiteX1155" fmla="*/ 1856225 w 2051041"/>
              <a:gd name="connsiteY1155" fmla="*/ 180487 h 2084191"/>
              <a:gd name="connsiteX1156" fmla="*/ 499595 w 2051041"/>
              <a:gd name="connsiteY1156" fmla="*/ 175767 h 2084191"/>
              <a:gd name="connsiteX1157" fmla="*/ 531158 w 2051041"/>
              <a:gd name="connsiteY1157" fmla="*/ 207874 h 2084191"/>
              <a:gd name="connsiteX1158" fmla="*/ 498507 w 2051041"/>
              <a:gd name="connsiteY1158" fmla="*/ 238347 h 2084191"/>
              <a:gd name="connsiteX1159" fmla="*/ 468033 w 2051041"/>
              <a:gd name="connsiteY1159" fmla="*/ 207329 h 2084191"/>
              <a:gd name="connsiteX1160" fmla="*/ 499595 w 2051041"/>
              <a:gd name="connsiteY1160" fmla="*/ 175767 h 2084191"/>
              <a:gd name="connsiteX1161" fmla="*/ 662304 w 2051041"/>
              <a:gd name="connsiteY1161" fmla="*/ 173046 h 2084191"/>
              <a:gd name="connsiteX1162" fmla="*/ 697676 w 2051041"/>
              <a:gd name="connsiteY1162" fmla="*/ 207873 h 2084191"/>
              <a:gd name="connsiteX1163" fmla="*/ 662304 w 2051041"/>
              <a:gd name="connsiteY1163" fmla="*/ 242156 h 2084191"/>
              <a:gd name="connsiteX1164" fmla="*/ 628021 w 2051041"/>
              <a:gd name="connsiteY1164" fmla="*/ 207873 h 2084191"/>
              <a:gd name="connsiteX1165" fmla="*/ 662304 w 2051041"/>
              <a:gd name="connsiteY1165" fmla="*/ 173046 h 2084191"/>
              <a:gd name="connsiteX1166" fmla="*/ 826645 w 2051041"/>
              <a:gd name="connsiteY1166" fmla="*/ 168148 h 2084191"/>
              <a:gd name="connsiteX1167" fmla="*/ 864737 w 2051041"/>
              <a:gd name="connsiteY1167" fmla="*/ 207329 h 2084191"/>
              <a:gd name="connsiteX1168" fmla="*/ 826100 w 2051041"/>
              <a:gd name="connsiteY1168" fmla="*/ 247054 h 2084191"/>
              <a:gd name="connsiteX1169" fmla="*/ 787464 w 2051041"/>
              <a:gd name="connsiteY1169" fmla="*/ 207873 h 2084191"/>
              <a:gd name="connsiteX1170" fmla="*/ 826645 w 2051041"/>
              <a:gd name="connsiteY1170" fmla="*/ 168148 h 2084191"/>
              <a:gd name="connsiteX1171" fmla="*/ 987721 w 2051041"/>
              <a:gd name="connsiteY1171" fmla="*/ 164883 h 2084191"/>
              <a:gd name="connsiteX1172" fmla="*/ 1031799 w 2051041"/>
              <a:gd name="connsiteY1172" fmla="*/ 207329 h 2084191"/>
              <a:gd name="connsiteX1173" fmla="*/ 988809 w 2051041"/>
              <a:gd name="connsiteY1173" fmla="*/ 250319 h 2084191"/>
              <a:gd name="connsiteX1174" fmla="*/ 945819 w 2051041"/>
              <a:gd name="connsiteY1174" fmla="*/ 208417 h 2084191"/>
              <a:gd name="connsiteX1175" fmla="*/ 987721 w 2051041"/>
              <a:gd name="connsiteY1175" fmla="*/ 164883 h 2084191"/>
              <a:gd name="connsiteX1176" fmla="*/ 1153150 w 2051041"/>
              <a:gd name="connsiteY1176" fmla="*/ 162707 h 2084191"/>
              <a:gd name="connsiteX1177" fmla="*/ 1197772 w 2051041"/>
              <a:gd name="connsiteY1177" fmla="*/ 207874 h 2084191"/>
              <a:gd name="connsiteX1178" fmla="*/ 1151517 w 2051041"/>
              <a:gd name="connsiteY1178" fmla="*/ 253584 h 2084191"/>
              <a:gd name="connsiteX1179" fmla="*/ 1107439 w 2051041"/>
              <a:gd name="connsiteY1179" fmla="*/ 207329 h 2084191"/>
              <a:gd name="connsiteX1180" fmla="*/ 1153150 w 2051041"/>
              <a:gd name="connsiteY1180" fmla="*/ 162707 h 2084191"/>
              <a:gd name="connsiteX1181" fmla="*/ 1315315 w 2051041"/>
              <a:gd name="connsiteY1181" fmla="*/ 158353 h 2084191"/>
              <a:gd name="connsiteX1182" fmla="*/ 1365379 w 2051041"/>
              <a:gd name="connsiteY1182" fmla="*/ 206785 h 2084191"/>
              <a:gd name="connsiteX1183" fmla="*/ 1315859 w 2051041"/>
              <a:gd name="connsiteY1183" fmla="*/ 256305 h 2084191"/>
              <a:gd name="connsiteX1184" fmla="*/ 1266883 w 2051041"/>
              <a:gd name="connsiteY1184" fmla="*/ 207873 h 2084191"/>
              <a:gd name="connsiteX1185" fmla="*/ 1315315 w 2051041"/>
              <a:gd name="connsiteY1185" fmla="*/ 158353 h 2084191"/>
              <a:gd name="connsiteX1186" fmla="*/ 1478567 w 2051041"/>
              <a:gd name="connsiteY1186" fmla="*/ 156721 h 2084191"/>
              <a:gd name="connsiteX1187" fmla="*/ 1529720 w 2051041"/>
              <a:gd name="connsiteY1187" fmla="*/ 207329 h 2084191"/>
              <a:gd name="connsiteX1188" fmla="*/ 1478567 w 2051041"/>
              <a:gd name="connsiteY1188" fmla="*/ 258482 h 2084191"/>
              <a:gd name="connsiteX1189" fmla="*/ 1427959 w 2051041"/>
              <a:gd name="connsiteY1189" fmla="*/ 207874 h 2084191"/>
              <a:gd name="connsiteX1190" fmla="*/ 1478567 w 2051041"/>
              <a:gd name="connsiteY1190" fmla="*/ 156721 h 2084191"/>
              <a:gd name="connsiteX1191" fmla="*/ 1644541 w 2051041"/>
              <a:gd name="connsiteY1191" fmla="*/ 153456 h 2084191"/>
              <a:gd name="connsiteX1192" fmla="*/ 1697326 w 2051041"/>
              <a:gd name="connsiteY1192" fmla="*/ 209506 h 2084191"/>
              <a:gd name="connsiteX1193" fmla="*/ 1641276 w 2051041"/>
              <a:gd name="connsiteY1193" fmla="*/ 262835 h 2084191"/>
              <a:gd name="connsiteX1194" fmla="*/ 1587947 w 2051041"/>
              <a:gd name="connsiteY1194" fmla="*/ 206785 h 2084191"/>
              <a:gd name="connsiteX1195" fmla="*/ 1644541 w 2051041"/>
              <a:gd name="connsiteY1195" fmla="*/ 153456 h 2084191"/>
              <a:gd name="connsiteX1196" fmla="*/ 91463 w 2051041"/>
              <a:gd name="connsiteY1196" fmla="*/ 109922 h 2084191"/>
              <a:gd name="connsiteX1197" fmla="*/ 107244 w 2051041"/>
              <a:gd name="connsiteY1197" fmla="*/ 126247 h 2084191"/>
              <a:gd name="connsiteX1198" fmla="*/ 91463 w 2051041"/>
              <a:gd name="connsiteY1198" fmla="*/ 142028 h 2084191"/>
              <a:gd name="connsiteX1199" fmla="*/ 75682 w 2051041"/>
              <a:gd name="connsiteY1199" fmla="*/ 126247 h 2084191"/>
              <a:gd name="connsiteX1200" fmla="*/ 91463 w 2051041"/>
              <a:gd name="connsiteY1200" fmla="*/ 109922 h 2084191"/>
              <a:gd name="connsiteX1201" fmla="*/ 1942341 w 2051041"/>
              <a:gd name="connsiteY1201" fmla="*/ 104915 h 2084191"/>
              <a:gd name="connsiteX1202" fmla="*/ 1942205 w 2051041"/>
              <a:gd name="connsiteY1202" fmla="*/ 111377 h 2084191"/>
              <a:gd name="connsiteX1203" fmla="*/ 1946559 w 2051041"/>
              <a:gd name="connsiteY1203" fmla="*/ 131511 h 2084191"/>
              <a:gd name="connsiteX1204" fmla="*/ 1939484 w 2051041"/>
              <a:gd name="connsiteY1204" fmla="*/ 157088 h 2084191"/>
              <a:gd name="connsiteX1205" fmla="*/ 1941117 w 2051041"/>
              <a:gd name="connsiteY1205" fmla="*/ 160353 h 2084191"/>
              <a:gd name="connsiteX1206" fmla="*/ 1986828 w 2051041"/>
              <a:gd name="connsiteY1206" fmla="*/ 157088 h 2084191"/>
              <a:gd name="connsiteX1207" fmla="*/ 1987916 w 2051041"/>
              <a:gd name="connsiteY1207" fmla="*/ 157088 h 2084191"/>
              <a:gd name="connsiteX1208" fmla="*/ 1993902 w 2051041"/>
              <a:gd name="connsiteY1208" fmla="*/ 150013 h 2084191"/>
              <a:gd name="connsiteX1209" fmla="*/ 1993902 w 2051041"/>
              <a:gd name="connsiteY1209" fmla="*/ 109744 h 2084191"/>
              <a:gd name="connsiteX1210" fmla="*/ 1989004 w 2051041"/>
              <a:gd name="connsiteY1210" fmla="*/ 105391 h 2084191"/>
              <a:gd name="connsiteX1211" fmla="*/ 1948191 w 2051041"/>
              <a:gd name="connsiteY1211" fmla="*/ 105391 h 2084191"/>
              <a:gd name="connsiteX1212" fmla="*/ 1942341 w 2051041"/>
              <a:gd name="connsiteY1212" fmla="*/ 104915 h 2084191"/>
              <a:gd name="connsiteX1213" fmla="*/ 255804 w 2051041"/>
              <a:gd name="connsiteY1213" fmla="*/ 103392 h 2084191"/>
              <a:gd name="connsiteX1214" fmla="*/ 277571 w 2051041"/>
              <a:gd name="connsiteY1214" fmla="*/ 126791 h 2084191"/>
              <a:gd name="connsiteX1215" fmla="*/ 254172 w 2051041"/>
              <a:gd name="connsiteY1215" fmla="*/ 148014 h 2084191"/>
              <a:gd name="connsiteX1216" fmla="*/ 232405 w 2051041"/>
              <a:gd name="connsiteY1216" fmla="*/ 125159 h 2084191"/>
              <a:gd name="connsiteX1217" fmla="*/ 255804 w 2051041"/>
              <a:gd name="connsiteY1217" fmla="*/ 103392 h 2084191"/>
              <a:gd name="connsiteX1218" fmla="*/ 1773511 w 2051041"/>
              <a:gd name="connsiteY1218" fmla="*/ 99405 h 2084191"/>
              <a:gd name="connsiteX1219" fmla="*/ 1773511 w 2051041"/>
              <a:gd name="connsiteY1219" fmla="*/ 107023 h 2084191"/>
              <a:gd name="connsiteX1220" fmla="*/ 1780585 w 2051041"/>
              <a:gd name="connsiteY1220" fmla="*/ 130423 h 2084191"/>
              <a:gd name="connsiteX1221" fmla="*/ 1773511 w 2051041"/>
              <a:gd name="connsiteY1221" fmla="*/ 155999 h 2084191"/>
              <a:gd name="connsiteX1222" fmla="*/ 1774055 w 2051041"/>
              <a:gd name="connsiteY1222" fmla="*/ 161985 h 2084191"/>
              <a:gd name="connsiteX1223" fmla="*/ 1780041 w 2051041"/>
              <a:gd name="connsiteY1223" fmla="*/ 162529 h 2084191"/>
              <a:gd name="connsiteX1224" fmla="*/ 1811059 w 2051041"/>
              <a:gd name="connsiteY1224" fmla="*/ 157632 h 2084191"/>
              <a:gd name="connsiteX1225" fmla="*/ 1829561 w 2051041"/>
              <a:gd name="connsiteY1225" fmla="*/ 161985 h 2084191"/>
              <a:gd name="connsiteX1226" fmla="*/ 1836635 w 2051041"/>
              <a:gd name="connsiteY1226" fmla="*/ 161985 h 2084191"/>
              <a:gd name="connsiteX1227" fmla="*/ 1833914 w 2051041"/>
              <a:gd name="connsiteY1227" fmla="*/ 157088 h 2084191"/>
              <a:gd name="connsiteX1228" fmla="*/ 1834458 w 2051041"/>
              <a:gd name="connsiteY1228" fmla="*/ 104303 h 2084191"/>
              <a:gd name="connsiteX1229" fmla="*/ 1835547 w 2051041"/>
              <a:gd name="connsiteY1229" fmla="*/ 99405 h 2084191"/>
              <a:gd name="connsiteX1230" fmla="*/ 1831193 w 2051041"/>
              <a:gd name="connsiteY1230" fmla="*/ 101038 h 2084191"/>
              <a:gd name="connsiteX1231" fmla="*/ 1780041 w 2051041"/>
              <a:gd name="connsiteY1231" fmla="*/ 101582 h 2084191"/>
              <a:gd name="connsiteX1232" fmla="*/ 1773511 w 2051041"/>
              <a:gd name="connsiteY1232" fmla="*/ 99405 h 2084191"/>
              <a:gd name="connsiteX1233" fmla="*/ 417424 w 2051041"/>
              <a:gd name="connsiteY1233" fmla="*/ 97950 h 2084191"/>
              <a:gd name="connsiteX1234" fmla="*/ 445721 w 2051041"/>
              <a:gd name="connsiteY1234" fmla="*/ 126247 h 2084191"/>
              <a:gd name="connsiteX1235" fmla="*/ 417424 w 2051041"/>
              <a:gd name="connsiteY1235" fmla="*/ 153456 h 2084191"/>
              <a:gd name="connsiteX1236" fmla="*/ 390215 w 2051041"/>
              <a:gd name="connsiteY1236" fmla="*/ 125159 h 2084191"/>
              <a:gd name="connsiteX1237" fmla="*/ 417424 w 2051041"/>
              <a:gd name="connsiteY1237" fmla="*/ 97950 h 2084191"/>
              <a:gd name="connsiteX1238" fmla="*/ 580677 w 2051041"/>
              <a:gd name="connsiteY1238" fmla="*/ 92508 h 2084191"/>
              <a:gd name="connsiteX1239" fmla="*/ 614960 w 2051041"/>
              <a:gd name="connsiteY1239" fmla="*/ 125159 h 2084191"/>
              <a:gd name="connsiteX1240" fmla="*/ 581766 w 2051041"/>
              <a:gd name="connsiteY1240" fmla="*/ 158353 h 2084191"/>
              <a:gd name="connsiteX1241" fmla="*/ 548571 w 2051041"/>
              <a:gd name="connsiteY1241" fmla="*/ 125703 h 2084191"/>
              <a:gd name="connsiteX1242" fmla="*/ 580677 w 2051041"/>
              <a:gd name="connsiteY1242" fmla="*/ 92508 h 2084191"/>
              <a:gd name="connsiteX1243" fmla="*/ 745019 w 2051041"/>
              <a:gd name="connsiteY1243" fmla="*/ 88154 h 2084191"/>
              <a:gd name="connsiteX1244" fmla="*/ 782567 w 2051041"/>
              <a:gd name="connsiteY1244" fmla="*/ 126791 h 2084191"/>
              <a:gd name="connsiteX1245" fmla="*/ 743930 w 2051041"/>
              <a:gd name="connsiteY1245" fmla="*/ 164339 h 2084191"/>
              <a:gd name="connsiteX1246" fmla="*/ 706382 w 2051041"/>
              <a:gd name="connsiteY1246" fmla="*/ 125702 h 2084191"/>
              <a:gd name="connsiteX1247" fmla="*/ 745019 w 2051041"/>
              <a:gd name="connsiteY1247" fmla="*/ 88154 h 2084191"/>
              <a:gd name="connsiteX1248" fmla="*/ 1685898 w 2051041"/>
              <a:gd name="connsiteY1248" fmla="*/ 84712 h 2084191"/>
              <a:gd name="connsiteX1249" fmla="*/ 1685681 w 2051041"/>
              <a:gd name="connsiteY1249" fmla="*/ 85147 h 2084191"/>
              <a:gd name="connsiteX1250" fmla="*/ 1685354 w 2051041"/>
              <a:gd name="connsiteY1250" fmla="*/ 85256 h 2084191"/>
              <a:gd name="connsiteX1251" fmla="*/ 1685898 w 2051041"/>
              <a:gd name="connsiteY1251" fmla="*/ 84712 h 2084191"/>
              <a:gd name="connsiteX1252" fmla="*/ 907183 w 2051041"/>
              <a:gd name="connsiteY1252" fmla="*/ 84345 h 2084191"/>
              <a:gd name="connsiteX1253" fmla="*/ 934935 w 2051041"/>
              <a:gd name="connsiteY1253" fmla="*/ 95228 h 2084191"/>
              <a:gd name="connsiteX1254" fmla="*/ 949628 w 2051041"/>
              <a:gd name="connsiteY1254" fmla="*/ 125158 h 2084191"/>
              <a:gd name="connsiteX1255" fmla="*/ 908271 w 2051041"/>
              <a:gd name="connsiteY1255" fmla="*/ 167060 h 2084191"/>
              <a:gd name="connsiteX1256" fmla="*/ 866369 w 2051041"/>
              <a:gd name="connsiteY1256" fmla="*/ 125702 h 2084191"/>
              <a:gd name="connsiteX1257" fmla="*/ 907183 w 2051041"/>
              <a:gd name="connsiteY1257" fmla="*/ 84345 h 2084191"/>
              <a:gd name="connsiteX1258" fmla="*/ 1070979 w 2051041"/>
              <a:gd name="connsiteY1258" fmla="*/ 82169 h 2084191"/>
              <a:gd name="connsiteX1259" fmla="*/ 1115602 w 2051041"/>
              <a:gd name="connsiteY1259" fmla="*/ 126247 h 2084191"/>
              <a:gd name="connsiteX1260" fmla="*/ 1071524 w 2051041"/>
              <a:gd name="connsiteY1260" fmla="*/ 170325 h 2084191"/>
              <a:gd name="connsiteX1261" fmla="*/ 1026357 w 2051041"/>
              <a:gd name="connsiteY1261" fmla="*/ 125703 h 2084191"/>
              <a:gd name="connsiteX1262" fmla="*/ 1070979 w 2051041"/>
              <a:gd name="connsiteY1262" fmla="*/ 82169 h 2084191"/>
              <a:gd name="connsiteX1263" fmla="*/ 1684811 w 2051041"/>
              <a:gd name="connsiteY1263" fmla="*/ 82168 h 2084191"/>
              <a:gd name="connsiteX1264" fmla="*/ 1684266 w 2051041"/>
              <a:gd name="connsiteY1264" fmla="*/ 82713 h 2084191"/>
              <a:gd name="connsiteX1265" fmla="*/ 1684469 w 2051041"/>
              <a:gd name="connsiteY1265" fmla="*/ 82365 h 2084191"/>
              <a:gd name="connsiteX1266" fmla="*/ 1234777 w 2051041"/>
              <a:gd name="connsiteY1266" fmla="*/ 78360 h 2084191"/>
              <a:gd name="connsiteX1267" fmla="*/ 1282664 w 2051041"/>
              <a:gd name="connsiteY1267" fmla="*/ 126791 h 2084191"/>
              <a:gd name="connsiteX1268" fmla="*/ 1234232 w 2051041"/>
              <a:gd name="connsiteY1268" fmla="*/ 174135 h 2084191"/>
              <a:gd name="connsiteX1269" fmla="*/ 1186889 w 2051041"/>
              <a:gd name="connsiteY1269" fmla="*/ 126791 h 2084191"/>
              <a:gd name="connsiteX1270" fmla="*/ 1234777 w 2051041"/>
              <a:gd name="connsiteY1270" fmla="*/ 78360 h 2084191"/>
              <a:gd name="connsiteX1271" fmla="*/ 1398574 w 2051041"/>
              <a:gd name="connsiteY1271" fmla="*/ 76182 h 2084191"/>
              <a:gd name="connsiteX1272" fmla="*/ 1448094 w 2051041"/>
              <a:gd name="connsiteY1272" fmla="*/ 127335 h 2084191"/>
              <a:gd name="connsiteX1273" fmla="*/ 1396941 w 2051041"/>
              <a:gd name="connsiteY1273" fmla="*/ 175766 h 2084191"/>
              <a:gd name="connsiteX1274" fmla="*/ 1347421 w 2051041"/>
              <a:gd name="connsiteY1274" fmla="*/ 125702 h 2084191"/>
              <a:gd name="connsiteX1275" fmla="*/ 1398574 w 2051041"/>
              <a:gd name="connsiteY1275" fmla="*/ 76182 h 2084191"/>
              <a:gd name="connsiteX1276" fmla="*/ 1561282 w 2051041"/>
              <a:gd name="connsiteY1276" fmla="*/ 72373 h 2084191"/>
              <a:gd name="connsiteX1277" fmla="*/ 1614611 w 2051041"/>
              <a:gd name="connsiteY1277" fmla="*/ 126247 h 2084191"/>
              <a:gd name="connsiteX1278" fmla="*/ 1560738 w 2051041"/>
              <a:gd name="connsiteY1278" fmla="*/ 179576 h 2084191"/>
              <a:gd name="connsiteX1279" fmla="*/ 1507409 w 2051041"/>
              <a:gd name="connsiteY1279" fmla="*/ 126247 h 2084191"/>
              <a:gd name="connsiteX1280" fmla="*/ 1561282 w 2051041"/>
              <a:gd name="connsiteY1280" fmla="*/ 72373 h 2084191"/>
              <a:gd name="connsiteX1281" fmla="*/ 10381 w 2051041"/>
              <a:gd name="connsiteY1281" fmla="*/ 33737 h 2084191"/>
              <a:gd name="connsiteX1282" fmla="*/ 20720 w 2051041"/>
              <a:gd name="connsiteY1282" fmla="*/ 45165 h 2084191"/>
              <a:gd name="connsiteX1283" fmla="*/ 9292 w 2051041"/>
              <a:gd name="connsiteY1283" fmla="*/ 54960 h 2084191"/>
              <a:gd name="connsiteX1284" fmla="*/ 41 w 2051041"/>
              <a:gd name="connsiteY1284" fmla="*/ 44621 h 2084191"/>
              <a:gd name="connsiteX1285" fmla="*/ 10381 w 2051041"/>
              <a:gd name="connsiteY1285" fmla="*/ 33737 h 2084191"/>
              <a:gd name="connsiteX1286" fmla="*/ 172546 w 2051041"/>
              <a:gd name="connsiteY1286" fmla="*/ 23942 h 2084191"/>
              <a:gd name="connsiteX1287" fmla="*/ 193224 w 2051041"/>
              <a:gd name="connsiteY1287" fmla="*/ 44621 h 2084191"/>
              <a:gd name="connsiteX1288" fmla="*/ 173090 w 2051041"/>
              <a:gd name="connsiteY1288" fmla="*/ 64755 h 2084191"/>
              <a:gd name="connsiteX1289" fmla="*/ 152411 w 2051041"/>
              <a:gd name="connsiteY1289" fmla="*/ 44621 h 2084191"/>
              <a:gd name="connsiteX1290" fmla="*/ 172546 w 2051041"/>
              <a:gd name="connsiteY1290" fmla="*/ 23942 h 2084191"/>
              <a:gd name="connsiteX1291" fmla="*/ 1861123 w 2051041"/>
              <a:gd name="connsiteY1291" fmla="*/ 22132 h 2084191"/>
              <a:gd name="connsiteX1292" fmla="*/ 1861123 w 2051041"/>
              <a:gd name="connsiteY1292" fmla="*/ 35737 h 2084191"/>
              <a:gd name="connsiteX1293" fmla="*/ 1861123 w 2051041"/>
              <a:gd name="connsiteY1293" fmla="*/ 61313 h 2084191"/>
              <a:gd name="connsiteX1294" fmla="*/ 1858946 w 2051041"/>
              <a:gd name="connsiteY1294" fmla="*/ 72740 h 2084191"/>
              <a:gd name="connsiteX1295" fmla="*/ 1866021 w 2051041"/>
              <a:gd name="connsiteY1295" fmla="*/ 76550 h 2084191"/>
              <a:gd name="connsiteX1296" fmla="*/ 1873639 w 2051041"/>
              <a:gd name="connsiteY1296" fmla="*/ 74917 h 2084191"/>
              <a:gd name="connsiteX1297" fmla="*/ 1900304 w 2051041"/>
              <a:gd name="connsiteY1297" fmla="*/ 74373 h 2084191"/>
              <a:gd name="connsiteX1298" fmla="*/ 1907922 w 2051041"/>
              <a:gd name="connsiteY1298" fmla="*/ 76006 h 2084191"/>
              <a:gd name="connsiteX1299" fmla="*/ 1912820 w 2051041"/>
              <a:gd name="connsiteY1299" fmla="*/ 70020 h 2084191"/>
              <a:gd name="connsiteX1300" fmla="*/ 1912820 w 2051041"/>
              <a:gd name="connsiteY1300" fmla="*/ 27030 h 2084191"/>
              <a:gd name="connsiteX1301" fmla="*/ 1908466 w 2051041"/>
              <a:gd name="connsiteY1301" fmla="*/ 22132 h 2084191"/>
              <a:gd name="connsiteX1302" fmla="*/ 1902480 w 2051041"/>
              <a:gd name="connsiteY1302" fmla="*/ 24309 h 2084191"/>
              <a:gd name="connsiteX1303" fmla="*/ 1873095 w 2051041"/>
              <a:gd name="connsiteY1303" fmla="*/ 24309 h 2084191"/>
              <a:gd name="connsiteX1304" fmla="*/ 1861123 w 2051041"/>
              <a:gd name="connsiteY1304" fmla="*/ 22132 h 2084191"/>
              <a:gd name="connsiteX1305" fmla="*/ 336886 w 2051041"/>
              <a:gd name="connsiteY1305" fmla="*/ 17412 h 2084191"/>
              <a:gd name="connsiteX1306" fmla="*/ 363007 w 2051041"/>
              <a:gd name="connsiteY1306" fmla="*/ 44077 h 2084191"/>
              <a:gd name="connsiteX1307" fmla="*/ 337431 w 2051041"/>
              <a:gd name="connsiteY1307" fmla="*/ 71285 h 2084191"/>
              <a:gd name="connsiteX1308" fmla="*/ 310222 w 2051041"/>
              <a:gd name="connsiteY1308" fmla="*/ 45165 h 2084191"/>
              <a:gd name="connsiteX1309" fmla="*/ 336886 w 2051041"/>
              <a:gd name="connsiteY1309" fmla="*/ 17412 h 2084191"/>
              <a:gd name="connsiteX1310" fmla="*/ 498507 w 2051041"/>
              <a:gd name="connsiteY1310" fmla="*/ 13059 h 2084191"/>
              <a:gd name="connsiteX1311" fmla="*/ 531702 w 2051041"/>
              <a:gd name="connsiteY1311" fmla="*/ 44621 h 2084191"/>
              <a:gd name="connsiteX1312" fmla="*/ 499595 w 2051041"/>
              <a:gd name="connsiteY1312" fmla="*/ 76727 h 2084191"/>
              <a:gd name="connsiteX1313" fmla="*/ 467489 w 2051041"/>
              <a:gd name="connsiteY1313" fmla="*/ 45165 h 2084191"/>
              <a:gd name="connsiteX1314" fmla="*/ 498507 w 2051041"/>
              <a:gd name="connsiteY1314" fmla="*/ 13059 h 2084191"/>
              <a:gd name="connsiteX1315" fmla="*/ 662303 w 2051041"/>
              <a:gd name="connsiteY1315" fmla="*/ 7616 h 2084191"/>
              <a:gd name="connsiteX1316" fmla="*/ 698763 w 2051041"/>
              <a:gd name="connsiteY1316" fmla="*/ 44076 h 2084191"/>
              <a:gd name="connsiteX1317" fmla="*/ 662303 w 2051041"/>
              <a:gd name="connsiteY1317" fmla="*/ 81080 h 2084191"/>
              <a:gd name="connsiteX1318" fmla="*/ 626932 w 2051041"/>
              <a:gd name="connsiteY1318" fmla="*/ 44076 h 2084191"/>
              <a:gd name="connsiteX1319" fmla="*/ 662303 w 2051041"/>
              <a:gd name="connsiteY1319" fmla="*/ 7616 h 2084191"/>
              <a:gd name="connsiteX1320" fmla="*/ 825557 w 2051041"/>
              <a:gd name="connsiteY1320" fmla="*/ 5440 h 2084191"/>
              <a:gd name="connsiteX1321" fmla="*/ 865281 w 2051041"/>
              <a:gd name="connsiteY1321" fmla="*/ 44621 h 2084191"/>
              <a:gd name="connsiteX1322" fmla="*/ 826101 w 2051041"/>
              <a:gd name="connsiteY1322" fmla="*/ 83257 h 2084191"/>
              <a:gd name="connsiteX1323" fmla="*/ 786920 w 2051041"/>
              <a:gd name="connsiteY1323" fmla="*/ 44621 h 2084191"/>
              <a:gd name="connsiteX1324" fmla="*/ 825557 w 2051041"/>
              <a:gd name="connsiteY1324" fmla="*/ 5440 h 2084191"/>
              <a:gd name="connsiteX1325" fmla="*/ 989353 w 2051041"/>
              <a:gd name="connsiteY1325" fmla="*/ 1086 h 2084191"/>
              <a:gd name="connsiteX1326" fmla="*/ 1032343 w 2051041"/>
              <a:gd name="connsiteY1326" fmla="*/ 43532 h 2084191"/>
              <a:gd name="connsiteX1327" fmla="*/ 989897 w 2051041"/>
              <a:gd name="connsiteY1327" fmla="*/ 87610 h 2084191"/>
              <a:gd name="connsiteX1328" fmla="*/ 945819 w 2051041"/>
              <a:gd name="connsiteY1328" fmla="*/ 44620 h 2084191"/>
              <a:gd name="connsiteX1329" fmla="*/ 989353 w 2051041"/>
              <a:gd name="connsiteY1329" fmla="*/ 1086 h 2084191"/>
              <a:gd name="connsiteX1330" fmla="*/ 1614056 w 2051041"/>
              <a:gd name="connsiteY1330" fmla="*/ 0 h 2084191"/>
              <a:gd name="connsiteX1331" fmla="*/ 1675529 w 2051041"/>
              <a:gd name="connsiteY1331" fmla="*/ 0 h 2084191"/>
              <a:gd name="connsiteX1332" fmla="*/ 1682905 w 2051041"/>
              <a:gd name="connsiteY1332" fmla="*/ 4720 h 2084191"/>
              <a:gd name="connsiteX1333" fmla="*/ 1933639 w 2051041"/>
              <a:gd name="connsiteY1333" fmla="*/ 4720 h 2084191"/>
              <a:gd name="connsiteX1334" fmla="*/ 2016655 w 2051041"/>
              <a:gd name="connsiteY1334" fmla="*/ 39107 h 2084191"/>
              <a:gd name="connsiteX1335" fmla="*/ 2028934 w 2051041"/>
              <a:gd name="connsiteY1335" fmla="*/ 57318 h 2084191"/>
              <a:gd name="connsiteX1336" fmla="*/ 2026008 w 2051041"/>
              <a:gd name="connsiteY1336" fmla="*/ 71108 h 2084191"/>
              <a:gd name="connsiteX1337" fmla="*/ 2030906 w 2051041"/>
              <a:gd name="connsiteY1337" fmla="*/ 75461 h 2084191"/>
              <a:gd name="connsiteX1338" fmla="*/ 2039929 w 2051041"/>
              <a:gd name="connsiteY1338" fmla="*/ 73627 h 2084191"/>
              <a:gd name="connsiteX1339" fmla="*/ 2041815 w 2051041"/>
              <a:gd name="connsiteY1339" fmla="*/ 76424 h 2084191"/>
              <a:gd name="connsiteX1340" fmla="*/ 2051041 w 2051041"/>
              <a:gd name="connsiteY1340" fmla="*/ 122122 h 2084191"/>
              <a:gd name="connsiteX1341" fmla="*/ 2051041 w 2051041"/>
              <a:gd name="connsiteY1341" fmla="*/ 186473 h 2084191"/>
              <a:gd name="connsiteX1342" fmla="*/ 2029818 w 2051041"/>
              <a:gd name="connsiteY1342" fmla="*/ 186473 h 2084191"/>
              <a:gd name="connsiteX1343" fmla="*/ 2023287 w 2051041"/>
              <a:gd name="connsiteY1343" fmla="*/ 192459 h 2084191"/>
              <a:gd name="connsiteX1344" fmla="*/ 2023832 w 2051041"/>
              <a:gd name="connsiteY1344" fmla="*/ 196268 h 2084191"/>
              <a:gd name="connsiteX1345" fmla="*/ 2019478 w 2051041"/>
              <a:gd name="connsiteY1345" fmla="*/ 239258 h 2084191"/>
              <a:gd name="connsiteX1346" fmla="*/ 2020022 w 2051041"/>
              <a:gd name="connsiteY1346" fmla="*/ 242523 h 2084191"/>
              <a:gd name="connsiteX1347" fmla="*/ 2023287 w 2051041"/>
              <a:gd name="connsiteY1347" fmla="*/ 243067 h 2084191"/>
              <a:gd name="connsiteX1348" fmla="*/ 2050224 w 2051041"/>
              <a:gd name="connsiteY1348" fmla="*/ 237150 h 2084191"/>
              <a:gd name="connsiteX1349" fmla="*/ 2051041 w 2051041"/>
              <a:gd name="connsiteY1349" fmla="*/ 237329 h 2084191"/>
              <a:gd name="connsiteX1350" fmla="*/ 2051041 w 2051041"/>
              <a:gd name="connsiteY1350" fmla="*/ 348996 h 2084191"/>
              <a:gd name="connsiteX1351" fmla="*/ 2036552 w 2051041"/>
              <a:gd name="connsiteY1351" fmla="*/ 347754 h 2084191"/>
              <a:gd name="connsiteX1352" fmla="*/ 2021111 w 2051041"/>
              <a:gd name="connsiteY1352" fmla="*/ 341019 h 2084191"/>
              <a:gd name="connsiteX1353" fmla="*/ 2016757 w 2051041"/>
              <a:gd name="connsiteY1353" fmla="*/ 338842 h 2084191"/>
              <a:gd name="connsiteX1354" fmla="*/ 2017301 w 2051041"/>
              <a:gd name="connsiteY1354" fmla="*/ 344284 h 2084191"/>
              <a:gd name="connsiteX1355" fmla="*/ 2025464 w 2051041"/>
              <a:gd name="connsiteY1355" fmla="*/ 376391 h 2084191"/>
              <a:gd name="connsiteX1356" fmla="*/ 1994446 w 2051041"/>
              <a:gd name="connsiteY1356" fmla="*/ 424278 h 2084191"/>
              <a:gd name="connsiteX1357" fmla="*/ 1933498 w 2051041"/>
              <a:gd name="connsiteY1357" fmla="*/ 416115 h 2084191"/>
              <a:gd name="connsiteX1358" fmla="*/ 1920438 w 2051041"/>
              <a:gd name="connsiteY1358" fmla="*/ 352447 h 2084191"/>
              <a:gd name="connsiteX1359" fmla="*/ 1925336 w 2051041"/>
              <a:gd name="connsiteY1359" fmla="*/ 338298 h 2084191"/>
              <a:gd name="connsiteX1360" fmla="*/ 1911731 w 2051041"/>
              <a:gd name="connsiteY1360" fmla="*/ 343196 h 2084191"/>
              <a:gd name="connsiteX1361" fmla="*/ 1898671 w 2051041"/>
              <a:gd name="connsiteY1361" fmla="*/ 347005 h 2084191"/>
              <a:gd name="connsiteX1362" fmla="*/ 1854593 w 2051041"/>
              <a:gd name="connsiteY1362" fmla="*/ 336666 h 2084191"/>
              <a:gd name="connsiteX1363" fmla="*/ 1847690 w 2051041"/>
              <a:gd name="connsiteY1363" fmla="*/ 333480 h 2084191"/>
              <a:gd name="connsiteX1364" fmla="*/ 1852961 w 2051041"/>
              <a:gd name="connsiteY1364" fmla="*/ 344461 h 2084191"/>
              <a:gd name="connsiteX1365" fmla="*/ 1826840 w 2051041"/>
              <a:gd name="connsiteY1365" fmla="*/ 420646 h 2084191"/>
              <a:gd name="connsiteX1366" fmla="*/ 1765893 w 2051041"/>
              <a:gd name="connsiteY1366" fmla="*/ 408130 h 2084191"/>
              <a:gd name="connsiteX1367" fmla="*/ 1759362 w 2051041"/>
              <a:gd name="connsiteY1367" fmla="*/ 342829 h 2084191"/>
              <a:gd name="connsiteX1368" fmla="*/ 1815991 w 2051041"/>
              <a:gd name="connsiteY1368" fmla="*/ 317193 h 2084191"/>
              <a:gd name="connsiteX1369" fmla="*/ 1834459 w 2051041"/>
              <a:gd name="connsiteY1369" fmla="*/ 325415 h 2084191"/>
              <a:gd name="connsiteX1370" fmla="*/ 1845023 w 2051041"/>
              <a:gd name="connsiteY1370" fmla="*/ 330169 h 2084191"/>
              <a:gd name="connsiteX1371" fmla="*/ 1840444 w 2051041"/>
              <a:gd name="connsiteY1371" fmla="*/ 321429 h 2084191"/>
              <a:gd name="connsiteX1372" fmla="*/ 1834458 w 2051041"/>
              <a:gd name="connsiteY1372" fmla="*/ 275174 h 2084191"/>
              <a:gd name="connsiteX1373" fmla="*/ 1840988 w 2051041"/>
              <a:gd name="connsiteY1373" fmla="*/ 259937 h 2084191"/>
              <a:gd name="connsiteX1374" fmla="*/ 1842077 w 2051041"/>
              <a:gd name="connsiteY1374" fmla="*/ 255584 h 2084191"/>
              <a:gd name="connsiteX1375" fmla="*/ 1837723 w 2051041"/>
              <a:gd name="connsiteY1375" fmla="*/ 257216 h 2084191"/>
              <a:gd name="connsiteX1376" fmla="*/ 1817589 w 2051041"/>
              <a:gd name="connsiteY1376" fmla="*/ 264834 h 2084191"/>
              <a:gd name="connsiteX1377" fmla="*/ 1768069 w 2051041"/>
              <a:gd name="connsiteY1377" fmla="*/ 251774 h 2084191"/>
              <a:gd name="connsiteX1378" fmla="*/ 1764740 w 2051041"/>
              <a:gd name="connsiteY1378" fmla="*/ 250110 h 2084191"/>
              <a:gd name="connsiteX1379" fmla="*/ 1773510 w 2051041"/>
              <a:gd name="connsiteY1379" fmla="*/ 267189 h 2084191"/>
              <a:gd name="connsiteX1380" fmla="*/ 1750655 w 2051041"/>
              <a:gd name="connsiteY1380" fmla="*/ 336843 h 2084191"/>
              <a:gd name="connsiteX1381" fmla="*/ 1673926 w 2051041"/>
              <a:gd name="connsiteY1381" fmla="*/ 310723 h 2084191"/>
              <a:gd name="connsiteX1382" fmla="*/ 1681545 w 2051041"/>
              <a:gd name="connsiteY1382" fmla="*/ 254673 h 2084191"/>
              <a:gd name="connsiteX1383" fmla="*/ 1733786 w 2051041"/>
              <a:gd name="connsiteY1383" fmla="*/ 235083 h 2084191"/>
              <a:gd name="connsiteX1384" fmla="*/ 1751743 w 2051041"/>
              <a:gd name="connsiteY1384" fmla="*/ 242157 h 2084191"/>
              <a:gd name="connsiteX1385" fmla="*/ 1762506 w 2051041"/>
              <a:gd name="connsiteY1385" fmla="*/ 246769 h 2084191"/>
              <a:gd name="connsiteX1386" fmla="*/ 1757185 w 2051041"/>
              <a:gd name="connsiteY1386" fmla="*/ 236537 h 2084191"/>
              <a:gd name="connsiteX1387" fmla="*/ 1756097 w 2051041"/>
              <a:gd name="connsiteY1387" fmla="*/ 185929 h 2084191"/>
              <a:gd name="connsiteX1388" fmla="*/ 1757185 w 2051041"/>
              <a:gd name="connsiteY1388" fmla="*/ 177766 h 2084191"/>
              <a:gd name="connsiteX1389" fmla="*/ 1749023 w 2051041"/>
              <a:gd name="connsiteY1389" fmla="*/ 178311 h 2084191"/>
              <a:gd name="connsiteX1390" fmla="*/ 1676103 w 2051041"/>
              <a:gd name="connsiteY1390" fmla="*/ 154911 h 2084191"/>
              <a:gd name="connsiteX1391" fmla="*/ 1681001 w 2051041"/>
              <a:gd name="connsiteY1391" fmla="*/ 94507 h 2084191"/>
              <a:gd name="connsiteX1392" fmla="*/ 1685681 w 2051041"/>
              <a:gd name="connsiteY1392" fmla="*/ 85147 h 2084191"/>
              <a:gd name="connsiteX1393" fmla="*/ 1693517 w 2051041"/>
              <a:gd name="connsiteY1393" fmla="*/ 82536 h 2084191"/>
              <a:gd name="connsiteX1394" fmla="*/ 1747934 w 2051041"/>
              <a:gd name="connsiteY1394" fmla="*/ 77638 h 2084191"/>
              <a:gd name="connsiteX1395" fmla="*/ 1756641 w 2051041"/>
              <a:gd name="connsiteY1395" fmla="*/ 79271 h 2084191"/>
              <a:gd name="connsiteX1396" fmla="*/ 1754464 w 2051041"/>
              <a:gd name="connsiteY1396" fmla="*/ 71652 h 2084191"/>
              <a:gd name="connsiteX1397" fmla="*/ 1752832 w 2051041"/>
              <a:gd name="connsiteY1397" fmla="*/ 68387 h 2084191"/>
              <a:gd name="connsiteX1398" fmla="*/ 1756097 w 2051041"/>
              <a:gd name="connsiteY1398" fmla="*/ 20500 h 2084191"/>
              <a:gd name="connsiteX1399" fmla="*/ 1756641 w 2051041"/>
              <a:gd name="connsiteY1399" fmla="*/ 16146 h 2084191"/>
              <a:gd name="connsiteX1400" fmla="*/ 1751744 w 2051041"/>
              <a:gd name="connsiteY1400" fmla="*/ 15058 h 2084191"/>
              <a:gd name="connsiteX1401" fmla="*/ 1741404 w 2051041"/>
              <a:gd name="connsiteY1401" fmla="*/ 19955 h 2084191"/>
              <a:gd name="connsiteX1402" fmla="*/ 1691884 w 2051041"/>
              <a:gd name="connsiteY1402" fmla="*/ 11249 h 2084191"/>
              <a:gd name="connsiteX1403" fmla="*/ 1685645 w 2051041"/>
              <a:gd name="connsiteY1403" fmla="*/ 8369 h 2084191"/>
              <a:gd name="connsiteX1404" fmla="*/ 1688620 w 2051041"/>
              <a:gd name="connsiteY1404" fmla="*/ 14691 h 2084191"/>
              <a:gd name="connsiteX1405" fmla="*/ 1691885 w 2051041"/>
              <a:gd name="connsiteY1405" fmla="*/ 69652 h 2084191"/>
              <a:gd name="connsiteX1406" fmla="*/ 1684469 w 2051041"/>
              <a:gd name="connsiteY1406" fmla="*/ 82365 h 2084191"/>
              <a:gd name="connsiteX1407" fmla="*/ 1663044 w 2051041"/>
              <a:gd name="connsiteY1407" fmla="*/ 94684 h 2084191"/>
              <a:gd name="connsiteX1408" fmla="*/ 1626584 w 2051041"/>
              <a:gd name="connsiteY1408" fmla="*/ 96861 h 2084191"/>
              <a:gd name="connsiteX1409" fmla="*/ 1590124 w 2051041"/>
              <a:gd name="connsiteY1409" fmla="*/ 60401 h 2084191"/>
              <a:gd name="connsiteX1410" fmla="*/ 1591757 w 2051041"/>
              <a:gd name="connsiteY1410" fmla="*/ 25030 h 2084191"/>
              <a:gd name="connsiteX1411" fmla="*/ 1460066 w 2051041"/>
              <a:gd name="connsiteY1411" fmla="*/ 0 h 2084191"/>
              <a:gd name="connsiteX1412" fmla="*/ 1498513 w 2051041"/>
              <a:gd name="connsiteY1412" fmla="*/ 0 h 2084191"/>
              <a:gd name="connsiteX1413" fmla="*/ 1517204 w 2051041"/>
              <a:gd name="connsiteY1413" fmla="*/ 8092 h 2084191"/>
              <a:gd name="connsiteX1414" fmla="*/ 1531896 w 2051041"/>
              <a:gd name="connsiteY1414" fmla="*/ 45164 h 2084191"/>
              <a:gd name="connsiteX1415" fmla="*/ 1479111 w 2051041"/>
              <a:gd name="connsiteY1415" fmla="*/ 97949 h 2084191"/>
              <a:gd name="connsiteX1416" fmla="*/ 1426870 w 2051041"/>
              <a:gd name="connsiteY1416" fmla="*/ 45164 h 2084191"/>
              <a:gd name="connsiteX1417" fmla="*/ 1441631 w 2051041"/>
              <a:gd name="connsiteY1417" fmla="*/ 7684 h 2084191"/>
              <a:gd name="connsiteX1418" fmla="*/ 1296749 w 2051041"/>
              <a:gd name="connsiteY1418" fmla="*/ 0 h 2084191"/>
              <a:gd name="connsiteX1419" fmla="*/ 1335755 w 2051041"/>
              <a:gd name="connsiteY1419" fmla="*/ 0 h 2084191"/>
              <a:gd name="connsiteX1420" fmla="*/ 1350278 w 2051041"/>
              <a:gd name="connsiteY1420" fmla="*/ 10270 h 2084191"/>
              <a:gd name="connsiteX1421" fmla="*/ 1365923 w 2051041"/>
              <a:gd name="connsiteY1421" fmla="*/ 45165 h 2084191"/>
              <a:gd name="connsiteX1422" fmla="*/ 1315315 w 2051041"/>
              <a:gd name="connsiteY1422" fmla="*/ 93052 h 2084191"/>
              <a:gd name="connsiteX1423" fmla="*/ 1266339 w 2051041"/>
              <a:gd name="connsiteY1423" fmla="*/ 44076 h 2084191"/>
              <a:gd name="connsiteX1424" fmla="*/ 1282732 w 2051041"/>
              <a:gd name="connsiteY1424" fmla="*/ 9317 h 2084191"/>
              <a:gd name="connsiteX1425" fmla="*/ 1148085 w 2051041"/>
              <a:gd name="connsiteY1425" fmla="*/ 0 h 2084191"/>
              <a:gd name="connsiteX1426" fmla="*/ 1161802 w 2051041"/>
              <a:gd name="connsiteY1426" fmla="*/ 0 h 2084191"/>
              <a:gd name="connsiteX1427" fmla="*/ 1169637 w 2051041"/>
              <a:gd name="connsiteY1427" fmla="*/ 1315 h 2084191"/>
              <a:gd name="connsiteX1428" fmla="*/ 1199405 w 2051041"/>
              <a:gd name="connsiteY1428" fmla="*/ 45164 h 2084191"/>
              <a:gd name="connsiteX1429" fmla="*/ 1151518 w 2051041"/>
              <a:gd name="connsiteY1429" fmla="*/ 91419 h 2084191"/>
              <a:gd name="connsiteX1430" fmla="*/ 1105807 w 2051041"/>
              <a:gd name="connsiteY1430" fmla="*/ 44620 h 2084191"/>
              <a:gd name="connsiteX1431" fmla="*/ 1119139 w 2051041"/>
              <a:gd name="connsiteY1431" fmla="*/ 11902 h 20841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Lst>
            <a:rect l="l" t="t" r="r" b="b"/>
            <a:pathLst>
              <a:path w="2051041" h="2084191">
                <a:moveTo>
                  <a:pt x="2051041" y="2080382"/>
                </a:moveTo>
                <a:lnTo>
                  <a:pt x="2051041" y="2083967"/>
                </a:lnTo>
                <a:lnTo>
                  <a:pt x="2047231" y="2084191"/>
                </a:lnTo>
                <a:cubicBezTo>
                  <a:pt x="2046687" y="2084191"/>
                  <a:pt x="2046143" y="2082559"/>
                  <a:pt x="2045599" y="2081470"/>
                </a:cubicBezTo>
                <a:close/>
                <a:moveTo>
                  <a:pt x="1478568" y="1997668"/>
                </a:moveTo>
                <a:cubicBezTo>
                  <a:pt x="1484010" y="1997668"/>
                  <a:pt x="1485642" y="2000933"/>
                  <a:pt x="1484554" y="2004743"/>
                </a:cubicBezTo>
                <a:cubicBezTo>
                  <a:pt x="1484010" y="2006919"/>
                  <a:pt x="1480745" y="2008551"/>
                  <a:pt x="1478568" y="2009096"/>
                </a:cubicBezTo>
                <a:cubicBezTo>
                  <a:pt x="1474759" y="2009640"/>
                  <a:pt x="1473126" y="2007463"/>
                  <a:pt x="1473126" y="2003654"/>
                </a:cubicBezTo>
                <a:cubicBezTo>
                  <a:pt x="1473126" y="1998756"/>
                  <a:pt x="1475303" y="1997124"/>
                  <a:pt x="1478568" y="1997668"/>
                </a:cubicBezTo>
                <a:close/>
                <a:moveTo>
                  <a:pt x="1641820" y="1993859"/>
                </a:moveTo>
                <a:cubicBezTo>
                  <a:pt x="1646718" y="1993314"/>
                  <a:pt x="1652160" y="1999300"/>
                  <a:pt x="1652160" y="2003654"/>
                </a:cubicBezTo>
                <a:cubicBezTo>
                  <a:pt x="1652160" y="2008551"/>
                  <a:pt x="1646718" y="2013449"/>
                  <a:pt x="1641820" y="2013449"/>
                </a:cubicBezTo>
                <a:cubicBezTo>
                  <a:pt x="1636923" y="2013449"/>
                  <a:pt x="1632025" y="2008007"/>
                  <a:pt x="1632025" y="2003654"/>
                </a:cubicBezTo>
                <a:cubicBezTo>
                  <a:pt x="1632025" y="1999300"/>
                  <a:pt x="1638011" y="1993859"/>
                  <a:pt x="1641820" y="1993859"/>
                </a:cubicBezTo>
                <a:close/>
                <a:moveTo>
                  <a:pt x="1969414" y="1992226"/>
                </a:moveTo>
                <a:cubicBezTo>
                  <a:pt x="1976488" y="1992226"/>
                  <a:pt x="1979753" y="1996035"/>
                  <a:pt x="1979753" y="2003654"/>
                </a:cubicBezTo>
                <a:cubicBezTo>
                  <a:pt x="1979753" y="2011272"/>
                  <a:pt x="1975944" y="2014537"/>
                  <a:pt x="1968325" y="2014537"/>
                </a:cubicBezTo>
                <a:cubicBezTo>
                  <a:pt x="1960707" y="2014537"/>
                  <a:pt x="1957442" y="2010728"/>
                  <a:pt x="1957986" y="2003110"/>
                </a:cubicBezTo>
                <a:cubicBezTo>
                  <a:pt x="1957986" y="1994947"/>
                  <a:pt x="1961251" y="1992226"/>
                  <a:pt x="1969414" y="1992226"/>
                </a:cubicBezTo>
                <a:close/>
                <a:moveTo>
                  <a:pt x="1805073" y="1992226"/>
                </a:moveTo>
                <a:cubicBezTo>
                  <a:pt x="1811058" y="1992226"/>
                  <a:pt x="1815956" y="1996035"/>
                  <a:pt x="1815956" y="2002565"/>
                </a:cubicBezTo>
                <a:cubicBezTo>
                  <a:pt x="1816500" y="2009096"/>
                  <a:pt x="1812147" y="2014537"/>
                  <a:pt x="1805073" y="2014537"/>
                </a:cubicBezTo>
                <a:cubicBezTo>
                  <a:pt x="1799087" y="2014537"/>
                  <a:pt x="1794189" y="2010184"/>
                  <a:pt x="1794189" y="2004198"/>
                </a:cubicBezTo>
                <a:cubicBezTo>
                  <a:pt x="1794189" y="1997668"/>
                  <a:pt x="1799087" y="1992770"/>
                  <a:pt x="1805073" y="1992226"/>
                </a:cubicBezTo>
                <a:close/>
                <a:moveTo>
                  <a:pt x="1234233" y="1916042"/>
                </a:moveTo>
                <a:cubicBezTo>
                  <a:pt x="1238586" y="1915497"/>
                  <a:pt x="1240763" y="1917674"/>
                  <a:pt x="1240219" y="1923660"/>
                </a:cubicBezTo>
                <a:cubicBezTo>
                  <a:pt x="1239674" y="1924204"/>
                  <a:pt x="1237498" y="1926381"/>
                  <a:pt x="1236953" y="1926381"/>
                </a:cubicBezTo>
                <a:cubicBezTo>
                  <a:pt x="1234233" y="1924204"/>
                  <a:pt x="1231512" y="1921483"/>
                  <a:pt x="1229335" y="1918762"/>
                </a:cubicBezTo>
                <a:cubicBezTo>
                  <a:pt x="1230968" y="1917674"/>
                  <a:pt x="1232600" y="1916586"/>
                  <a:pt x="1234233" y="1916042"/>
                </a:cubicBezTo>
                <a:close/>
                <a:moveTo>
                  <a:pt x="1397486" y="1911144"/>
                </a:moveTo>
                <a:cubicBezTo>
                  <a:pt x="1402927" y="1911144"/>
                  <a:pt x="1408369" y="1916041"/>
                  <a:pt x="1408369" y="1921483"/>
                </a:cubicBezTo>
                <a:cubicBezTo>
                  <a:pt x="1408369" y="1926925"/>
                  <a:pt x="1404016" y="1931279"/>
                  <a:pt x="1399118" y="1931823"/>
                </a:cubicBezTo>
                <a:cubicBezTo>
                  <a:pt x="1392588" y="1932367"/>
                  <a:pt x="1387146" y="1928013"/>
                  <a:pt x="1387146" y="1922028"/>
                </a:cubicBezTo>
                <a:cubicBezTo>
                  <a:pt x="1386602" y="1916586"/>
                  <a:pt x="1391500" y="1911144"/>
                  <a:pt x="1397486" y="1911144"/>
                </a:cubicBezTo>
                <a:close/>
                <a:moveTo>
                  <a:pt x="1560194" y="1906790"/>
                </a:moveTo>
                <a:cubicBezTo>
                  <a:pt x="1566180" y="1906790"/>
                  <a:pt x="1574342" y="1914953"/>
                  <a:pt x="1574342" y="1921482"/>
                </a:cubicBezTo>
                <a:cubicBezTo>
                  <a:pt x="1574342" y="1928013"/>
                  <a:pt x="1566724" y="1936175"/>
                  <a:pt x="1560738" y="1935631"/>
                </a:cubicBezTo>
                <a:cubicBezTo>
                  <a:pt x="1554752" y="1935631"/>
                  <a:pt x="1547678" y="1928557"/>
                  <a:pt x="1547134" y="1922027"/>
                </a:cubicBezTo>
                <a:cubicBezTo>
                  <a:pt x="1546589" y="1915497"/>
                  <a:pt x="1554208" y="1907334"/>
                  <a:pt x="1560194" y="1906790"/>
                </a:cubicBezTo>
                <a:close/>
                <a:moveTo>
                  <a:pt x="2049952" y="1905702"/>
                </a:moveTo>
                <a:lnTo>
                  <a:pt x="2051041" y="1906027"/>
                </a:lnTo>
                <a:lnTo>
                  <a:pt x="2051041" y="1938133"/>
                </a:lnTo>
                <a:lnTo>
                  <a:pt x="2050496" y="1938353"/>
                </a:lnTo>
                <a:cubicBezTo>
                  <a:pt x="2039613" y="1937808"/>
                  <a:pt x="2034715" y="1933455"/>
                  <a:pt x="2034171" y="1922572"/>
                </a:cubicBezTo>
                <a:cubicBezTo>
                  <a:pt x="2034171" y="1911144"/>
                  <a:pt x="2039069" y="1905702"/>
                  <a:pt x="2049952" y="1905702"/>
                </a:cubicBezTo>
                <a:close/>
                <a:moveTo>
                  <a:pt x="1723447" y="1905702"/>
                </a:moveTo>
                <a:cubicBezTo>
                  <a:pt x="1730521" y="1905702"/>
                  <a:pt x="1739772" y="1914409"/>
                  <a:pt x="1739772" y="1920939"/>
                </a:cubicBezTo>
                <a:cubicBezTo>
                  <a:pt x="1740316" y="1929101"/>
                  <a:pt x="1732698" y="1936720"/>
                  <a:pt x="1724535" y="1937264"/>
                </a:cubicBezTo>
                <a:cubicBezTo>
                  <a:pt x="1716373" y="1937264"/>
                  <a:pt x="1708754" y="1930190"/>
                  <a:pt x="1708210" y="1922027"/>
                </a:cubicBezTo>
                <a:cubicBezTo>
                  <a:pt x="1708210" y="1914953"/>
                  <a:pt x="1716373" y="1905702"/>
                  <a:pt x="1723447" y="1905702"/>
                </a:cubicBezTo>
                <a:close/>
                <a:moveTo>
                  <a:pt x="1887787" y="1905158"/>
                </a:moveTo>
                <a:cubicBezTo>
                  <a:pt x="1898671" y="1905158"/>
                  <a:pt x="1904113" y="1911144"/>
                  <a:pt x="1904113" y="1922028"/>
                </a:cubicBezTo>
                <a:cubicBezTo>
                  <a:pt x="1904113" y="1932367"/>
                  <a:pt x="1898127" y="1937809"/>
                  <a:pt x="1886699" y="1937809"/>
                </a:cubicBezTo>
                <a:cubicBezTo>
                  <a:pt x="1876360" y="1937809"/>
                  <a:pt x="1870918" y="1931823"/>
                  <a:pt x="1870918" y="1921483"/>
                </a:cubicBezTo>
                <a:cubicBezTo>
                  <a:pt x="1870918" y="1910600"/>
                  <a:pt x="1876904" y="1904614"/>
                  <a:pt x="1887787" y="1905158"/>
                </a:cubicBezTo>
                <a:close/>
                <a:moveTo>
                  <a:pt x="1152606" y="1831693"/>
                </a:moveTo>
                <a:cubicBezTo>
                  <a:pt x="1155871" y="1832782"/>
                  <a:pt x="1160769" y="1836591"/>
                  <a:pt x="1161313" y="1839312"/>
                </a:cubicBezTo>
                <a:cubicBezTo>
                  <a:pt x="1160769" y="1843121"/>
                  <a:pt x="1156959" y="1846931"/>
                  <a:pt x="1153694" y="1852916"/>
                </a:cubicBezTo>
                <a:cubicBezTo>
                  <a:pt x="1149341" y="1847475"/>
                  <a:pt x="1146076" y="1844754"/>
                  <a:pt x="1144988" y="1841489"/>
                </a:cubicBezTo>
                <a:cubicBezTo>
                  <a:pt x="1143355" y="1837135"/>
                  <a:pt x="1148797" y="1830605"/>
                  <a:pt x="1152606" y="1831693"/>
                </a:cubicBezTo>
                <a:close/>
                <a:moveTo>
                  <a:pt x="1315315" y="1825708"/>
                </a:moveTo>
                <a:cubicBezTo>
                  <a:pt x="1321301" y="1825164"/>
                  <a:pt x="1331096" y="1834415"/>
                  <a:pt x="1330552" y="1840401"/>
                </a:cubicBezTo>
                <a:cubicBezTo>
                  <a:pt x="1330552" y="1845298"/>
                  <a:pt x="1321301" y="1854549"/>
                  <a:pt x="1316404" y="1854549"/>
                </a:cubicBezTo>
                <a:cubicBezTo>
                  <a:pt x="1310962" y="1855094"/>
                  <a:pt x="1302255" y="1846387"/>
                  <a:pt x="1301711" y="1840945"/>
                </a:cubicBezTo>
                <a:cubicBezTo>
                  <a:pt x="1301167" y="1834959"/>
                  <a:pt x="1309329" y="1826252"/>
                  <a:pt x="1315315" y="1825708"/>
                </a:cubicBezTo>
                <a:close/>
                <a:moveTo>
                  <a:pt x="1479656" y="1822987"/>
                </a:moveTo>
                <a:cubicBezTo>
                  <a:pt x="1489995" y="1823531"/>
                  <a:pt x="1495981" y="1830061"/>
                  <a:pt x="1495981" y="1840401"/>
                </a:cubicBezTo>
                <a:cubicBezTo>
                  <a:pt x="1495981" y="1851284"/>
                  <a:pt x="1490539" y="1856726"/>
                  <a:pt x="1478567" y="1856182"/>
                </a:cubicBezTo>
                <a:cubicBezTo>
                  <a:pt x="1467140" y="1856182"/>
                  <a:pt x="1462242" y="1850740"/>
                  <a:pt x="1462242" y="1839312"/>
                </a:cubicBezTo>
                <a:cubicBezTo>
                  <a:pt x="1462242" y="1828429"/>
                  <a:pt x="1468772" y="1822443"/>
                  <a:pt x="1479656" y="1822987"/>
                </a:cubicBezTo>
                <a:close/>
                <a:moveTo>
                  <a:pt x="1642365" y="1821355"/>
                </a:moveTo>
                <a:cubicBezTo>
                  <a:pt x="1653248" y="1821355"/>
                  <a:pt x="1661955" y="1829518"/>
                  <a:pt x="1660867" y="1840401"/>
                </a:cubicBezTo>
                <a:cubicBezTo>
                  <a:pt x="1659778" y="1853461"/>
                  <a:pt x="1653792" y="1857270"/>
                  <a:pt x="1642365" y="1857270"/>
                </a:cubicBezTo>
                <a:cubicBezTo>
                  <a:pt x="1630937" y="1857270"/>
                  <a:pt x="1624407" y="1850740"/>
                  <a:pt x="1624407" y="1839857"/>
                </a:cubicBezTo>
                <a:cubicBezTo>
                  <a:pt x="1624407" y="1828973"/>
                  <a:pt x="1632025" y="1821355"/>
                  <a:pt x="1642365" y="1821355"/>
                </a:cubicBezTo>
                <a:close/>
                <a:moveTo>
                  <a:pt x="1806162" y="1819723"/>
                </a:moveTo>
                <a:cubicBezTo>
                  <a:pt x="1816501" y="1819723"/>
                  <a:pt x="1827385" y="1831150"/>
                  <a:pt x="1826840" y="1840945"/>
                </a:cubicBezTo>
                <a:cubicBezTo>
                  <a:pt x="1826296" y="1850740"/>
                  <a:pt x="1813780" y="1862168"/>
                  <a:pt x="1804529" y="1861080"/>
                </a:cubicBezTo>
                <a:cubicBezTo>
                  <a:pt x="1795278" y="1860536"/>
                  <a:pt x="1783851" y="1847476"/>
                  <a:pt x="1784395" y="1839313"/>
                </a:cubicBezTo>
                <a:cubicBezTo>
                  <a:pt x="1784939" y="1828973"/>
                  <a:pt x="1796367" y="1819178"/>
                  <a:pt x="1806162" y="1819723"/>
                </a:cubicBezTo>
                <a:close/>
                <a:moveTo>
                  <a:pt x="1968870" y="1819178"/>
                </a:moveTo>
                <a:cubicBezTo>
                  <a:pt x="1980298" y="1819178"/>
                  <a:pt x="1990093" y="1828973"/>
                  <a:pt x="1990093" y="1840401"/>
                </a:cubicBezTo>
                <a:cubicBezTo>
                  <a:pt x="1990093" y="1851285"/>
                  <a:pt x="1980298" y="1861624"/>
                  <a:pt x="1968870" y="1861624"/>
                </a:cubicBezTo>
                <a:cubicBezTo>
                  <a:pt x="1957986" y="1861624"/>
                  <a:pt x="1947647" y="1851285"/>
                  <a:pt x="1947647" y="1840401"/>
                </a:cubicBezTo>
                <a:cubicBezTo>
                  <a:pt x="1947647" y="1828973"/>
                  <a:pt x="1957986" y="1819178"/>
                  <a:pt x="1968870" y="1819178"/>
                </a:cubicBezTo>
                <a:close/>
                <a:moveTo>
                  <a:pt x="1070436" y="1747347"/>
                </a:moveTo>
                <a:cubicBezTo>
                  <a:pt x="1078598" y="1747347"/>
                  <a:pt x="1081863" y="1750612"/>
                  <a:pt x="1081863" y="1758231"/>
                </a:cubicBezTo>
                <a:cubicBezTo>
                  <a:pt x="1081863" y="1766393"/>
                  <a:pt x="1078598" y="1769658"/>
                  <a:pt x="1070980" y="1769658"/>
                </a:cubicBezTo>
                <a:cubicBezTo>
                  <a:pt x="1063361" y="1769658"/>
                  <a:pt x="1060096" y="1766393"/>
                  <a:pt x="1059552" y="1758775"/>
                </a:cubicBezTo>
                <a:cubicBezTo>
                  <a:pt x="1059552" y="1751156"/>
                  <a:pt x="1062817" y="1747347"/>
                  <a:pt x="1070436" y="1747347"/>
                </a:cubicBezTo>
                <a:close/>
                <a:moveTo>
                  <a:pt x="1233688" y="1742449"/>
                </a:moveTo>
                <a:cubicBezTo>
                  <a:pt x="1242939" y="1741904"/>
                  <a:pt x="1250558" y="1750067"/>
                  <a:pt x="1250558" y="1758774"/>
                </a:cubicBezTo>
                <a:cubicBezTo>
                  <a:pt x="1250558" y="1767481"/>
                  <a:pt x="1242939" y="1775099"/>
                  <a:pt x="1233688" y="1775099"/>
                </a:cubicBezTo>
                <a:cubicBezTo>
                  <a:pt x="1224981" y="1775099"/>
                  <a:pt x="1218451" y="1768025"/>
                  <a:pt x="1217907" y="1759318"/>
                </a:cubicBezTo>
                <a:cubicBezTo>
                  <a:pt x="1217907" y="1750067"/>
                  <a:pt x="1224981" y="1742449"/>
                  <a:pt x="1233688" y="1742449"/>
                </a:cubicBezTo>
                <a:close/>
                <a:moveTo>
                  <a:pt x="1399662" y="1739728"/>
                </a:moveTo>
                <a:cubicBezTo>
                  <a:pt x="1410002" y="1740817"/>
                  <a:pt x="1418164" y="1750068"/>
                  <a:pt x="1417076" y="1760407"/>
                </a:cubicBezTo>
                <a:cubicBezTo>
                  <a:pt x="1415988" y="1769114"/>
                  <a:pt x="1404560" y="1779997"/>
                  <a:pt x="1396941" y="1779453"/>
                </a:cubicBezTo>
                <a:cubicBezTo>
                  <a:pt x="1388779" y="1778909"/>
                  <a:pt x="1376807" y="1765305"/>
                  <a:pt x="1377895" y="1757686"/>
                </a:cubicBezTo>
                <a:cubicBezTo>
                  <a:pt x="1379528" y="1746803"/>
                  <a:pt x="1389867" y="1738640"/>
                  <a:pt x="1399662" y="1739728"/>
                </a:cubicBezTo>
                <a:close/>
                <a:moveTo>
                  <a:pt x="1723991" y="1735919"/>
                </a:moveTo>
                <a:cubicBezTo>
                  <a:pt x="1738140" y="1735919"/>
                  <a:pt x="1746847" y="1744626"/>
                  <a:pt x="1746847" y="1758774"/>
                </a:cubicBezTo>
                <a:cubicBezTo>
                  <a:pt x="1746847" y="1772379"/>
                  <a:pt x="1738140" y="1781086"/>
                  <a:pt x="1723991" y="1781086"/>
                </a:cubicBezTo>
                <a:cubicBezTo>
                  <a:pt x="1709299" y="1781086"/>
                  <a:pt x="1701680" y="1773467"/>
                  <a:pt x="1701680" y="1758774"/>
                </a:cubicBezTo>
                <a:cubicBezTo>
                  <a:pt x="1701680" y="1744626"/>
                  <a:pt x="1709843" y="1735919"/>
                  <a:pt x="1723991" y="1735919"/>
                </a:cubicBezTo>
                <a:close/>
                <a:moveTo>
                  <a:pt x="1560194" y="1735919"/>
                </a:moveTo>
                <a:cubicBezTo>
                  <a:pt x="1572710" y="1736463"/>
                  <a:pt x="1582505" y="1746258"/>
                  <a:pt x="1582505" y="1758230"/>
                </a:cubicBezTo>
                <a:cubicBezTo>
                  <a:pt x="1582505" y="1770202"/>
                  <a:pt x="1572710" y="1779997"/>
                  <a:pt x="1560738" y="1779997"/>
                </a:cubicBezTo>
                <a:cubicBezTo>
                  <a:pt x="1549855" y="1779997"/>
                  <a:pt x="1538427" y="1769114"/>
                  <a:pt x="1538427" y="1758230"/>
                </a:cubicBezTo>
                <a:cubicBezTo>
                  <a:pt x="1538427" y="1746803"/>
                  <a:pt x="1548766" y="1735919"/>
                  <a:pt x="1560194" y="1735919"/>
                </a:cubicBezTo>
                <a:close/>
                <a:moveTo>
                  <a:pt x="2051041" y="1734831"/>
                </a:moveTo>
                <a:lnTo>
                  <a:pt x="2051041" y="1781438"/>
                </a:lnTo>
                <a:lnTo>
                  <a:pt x="2050496" y="1781630"/>
                </a:lnTo>
                <a:cubicBezTo>
                  <a:pt x="2033627" y="1782174"/>
                  <a:pt x="2027097" y="1772379"/>
                  <a:pt x="2027097" y="1758775"/>
                </a:cubicBezTo>
                <a:cubicBezTo>
                  <a:pt x="2027097" y="1744082"/>
                  <a:pt x="2033627" y="1734831"/>
                  <a:pt x="2051041" y="1734831"/>
                </a:cubicBezTo>
                <a:close/>
                <a:moveTo>
                  <a:pt x="1887788" y="1734831"/>
                </a:moveTo>
                <a:cubicBezTo>
                  <a:pt x="1902481" y="1735375"/>
                  <a:pt x="1910099" y="1742994"/>
                  <a:pt x="1910099" y="1758775"/>
                </a:cubicBezTo>
                <a:cubicBezTo>
                  <a:pt x="1910099" y="1771835"/>
                  <a:pt x="1903025" y="1782718"/>
                  <a:pt x="1886699" y="1781086"/>
                </a:cubicBezTo>
                <a:cubicBezTo>
                  <a:pt x="1872551" y="1782174"/>
                  <a:pt x="1863844" y="1770203"/>
                  <a:pt x="1863844" y="1757687"/>
                </a:cubicBezTo>
                <a:cubicBezTo>
                  <a:pt x="1863844" y="1742994"/>
                  <a:pt x="1874728" y="1734287"/>
                  <a:pt x="1887788" y="1734831"/>
                </a:cubicBezTo>
                <a:close/>
                <a:moveTo>
                  <a:pt x="826100" y="1671706"/>
                </a:moveTo>
                <a:cubicBezTo>
                  <a:pt x="830454" y="1670618"/>
                  <a:pt x="832086" y="1673338"/>
                  <a:pt x="832086" y="1677692"/>
                </a:cubicBezTo>
                <a:cubicBezTo>
                  <a:pt x="832086" y="1681501"/>
                  <a:pt x="829365" y="1683134"/>
                  <a:pt x="825556" y="1683134"/>
                </a:cubicBezTo>
                <a:cubicBezTo>
                  <a:pt x="821203" y="1683134"/>
                  <a:pt x="819570" y="1679869"/>
                  <a:pt x="820658" y="1676603"/>
                </a:cubicBezTo>
                <a:cubicBezTo>
                  <a:pt x="821203" y="1674427"/>
                  <a:pt x="823924" y="1672250"/>
                  <a:pt x="826100" y="1671706"/>
                </a:cubicBezTo>
                <a:close/>
                <a:moveTo>
                  <a:pt x="989354" y="1661912"/>
                </a:moveTo>
                <a:cubicBezTo>
                  <a:pt x="994251" y="1661912"/>
                  <a:pt x="1004046" y="1671707"/>
                  <a:pt x="1004046" y="1676604"/>
                </a:cubicBezTo>
                <a:cubicBezTo>
                  <a:pt x="1004046" y="1682590"/>
                  <a:pt x="996428" y="1690209"/>
                  <a:pt x="989354" y="1690209"/>
                </a:cubicBezTo>
                <a:cubicBezTo>
                  <a:pt x="982823" y="1690209"/>
                  <a:pt x="975749" y="1683679"/>
                  <a:pt x="975205" y="1677693"/>
                </a:cubicBezTo>
                <a:cubicBezTo>
                  <a:pt x="974661" y="1671707"/>
                  <a:pt x="983912" y="1661367"/>
                  <a:pt x="989354" y="1661912"/>
                </a:cubicBezTo>
                <a:close/>
                <a:moveTo>
                  <a:pt x="1153151" y="1659734"/>
                </a:moveTo>
                <a:cubicBezTo>
                  <a:pt x="1162946" y="1658646"/>
                  <a:pt x="1171108" y="1667353"/>
                  <a:pt x="1170564" y="1677692"/>
                </a:cubicBezTo>
                <a:cubicBezTo>
                  <a:pt x="1170020" y="1688575"/>
                  <a:pt x="1162946" y="1694562"/>
                  <a:pt x="1152062" y="1694562"/>
                </a:cubicBezTo>
                <a:cubicBezTo>
                  <a:pt x="1141179" y="1694017"/>
                  <a:pt x="1135737" y="1688031"/>
                  <a:pt x="1135737" y="1677148"/>
                </a:cubicBezTo>
                <a:cubicBezTo>
                  <a:pt x="1135737" y="1664632"/>
                  <a:pt x="1141179" y="1659190"/>
                  <a:pt x="1153151" y="1659734"/>
                </a:cubicBezTo>
                <a:close/>
                <a:moveTo>
                  <a:pt x="1315315" y="1655381"/>
                </a:moveTo>
                <a:cubicBezTo>
                  <a:pt x="1327287" y="1654836"/>
                  <a:pt x="1337082" y="1664088"/>
                  <a:pt x="1337082" y="1676603"/>
                </a:cubicBezTo>
                <a:cubicBezTo>
                  <a:pt x="1337082" y="1688575"/>
                  <a:pt x="1326743" y="1698915"/>
                  <a:pt x="1315315" y="1698915"/>
                </a:cubicBezTo>
                <a:cubicBezTo>
                  <a:pt x="1304976" y="1698915"/>
                  <a:pt x="1294092" y="1687487"/>
                  <a:pt x="1294092" y="1677148"/>
                </a:cubicBezTo>
                <a:cubicBezTo>
                  <a:pt x="1294092" y="1666264"/>
                  <a:pt x="1304431" y="1655925"/>
                  <a:pt x="1315315" y="1655381"/>
                </a:cubicBezTo>
                <a:close/>
                <a:moveTo>
                  <a:pt x="1479111" y="1654293"/>
                </a:moveTo>
                <a:cubicBezTo>
                  <a:pt x="1495437" y="1653204"/>
                  <a:pt x="1501967" y="1664632"/>
                  <a:pt x="1501967" y="1677692"/>
                </a:cubicBezTo>
                <a:cubicBezTo>
                  <a:pt x="1501967" y="1689664"/>
                  <a:pt x="1492716" y="1700548"/>
                  <a:pt x="1479111" y="1700548"/>
                </a:cubicBezTo>
                <a:cubicBezTo>
                  <a:pt x="1466596" y="1700548"/>
                  <a:pt x="1455712" y="1690208"/>
                  <a:pt x="1455712" y="1676604"/>
                </a:cubicBezTo>
                <a:cubicBezTo>
                  <a:pt x="1456256" y="1663544"/>
                  <a:pt x="1464963" y="1653204"/>
                  <a:pt x="1479111" y="1654293"/>
                </a:cubicBezTo>
                <a:close/>
                <a:moveTo>
                  <a:pt x="1643452" y="1650483"/>
                </a:moveTo>
                <a:cubicBezTo>
                  <a:pt x="1654880" y="1651027"/>
                  <a:pt x="1667940" y="1664087"/>
                  <a:pt x="1668484" y="1676603"/>
                </a:cubicBezTo>
                <a:cubicBezTo>
                  <a:pt x="1669029" y="1689120"/>
                  <a:pt x="1655968" y="1702724"/>
                  <a:pt x="1643452" y="1703268"/>
                </a:cubicBezTo>
                <a:cubicBezTo>
                  <a:pt x="1631480" y="1703812"/>
                  <a:pt x="1617332" y="1690208"/>
                  <a:pt x="1617332" y="1677692"/>
                </a:cubicBezTo>
                <a:cubicBezTo>
                  <a:pt x="1616788" y="1664632"/>
                  <a:pt x="1630392" y="1650483"/>
                  <a:pt x="1643452" y="1650483"/>
                </a:cubicBezTo>
                <a:close/>
                <a:moveTo>
                  <a:pt x="1968326" y="1649940"/>
                </a:moveTo>
                <a:cubicBezTo>
                  <a:pt x="1983019" y="1649395"/>
                  <a:pt x="1997167" y="1664088"/>
                  <a:pt x="1995535" y="1676604"/>
                </a:cubicBezTo>
                <a:cubicBezTo>
                  <a:pt x="1997167" y="1689664"/>
                  <a:pt x="1982474" y="1704901"/>
                  <a:pt x="1968870" y="1704357"/>
                </a:cubicBezTo>
                <a:cubicBezTo>
                  <a:pt x="1954177" y="1703813"/>
                  <a:pt x="1942205" y="1691841"/>
                  <a:pt x="1941661" y="1677148"/>
                </a:cubicBezTo>
                <a:cubicBezTo>
                  <a:pt x="1941117" y="1662456"/>
                  <a:pt x="1956354" y="1649940"/>
                  <a:pt x="1968326" y="1649940"/>
                </a:cubicBezTo>
                <a:close/>
                <a:moveTo>
                  <a:pt x="1805617" y="1649939"/>
                </a:moveTo>
                <a:cubicBezTo>
                  <a:pt x="1819222" y="1648851"/>
                  <a:pt x="1832826" y="1664088"/>
                  <a:pt x="1832826" y="1677148"/>
                </a:cubicBezTo>
                <a:cubicBezTo>
                  <a:pt x="1832282" y="1690752"/>
                  <a:pt x="1819222" y="1703812"/>
                  <a:pt x="1805073" y="1704357"/>
                </a:cubicBezTo>
                <a:cubicBezTo>
                  <a:pt x="1792557" y="1704901"/>
                  <a:pt x="1777864" y="1688031"/>
                  <a:pt x="1778409" y="1677148"/>
                </a:cubicBezTo>
                <a:cubicBezTo>
                  <a:pt x="1779497" y="1662999"/>
                  <a:pt x="1791469" y="1649939"/>
                  <a:pt x="1805617" y="1649939"/>
                </a:cubicBezTo>
                <a:close/>
                <a:moveTo>
                  <a:pt x="744474" y="1588992"/>
                </a:moveTo>
                <a:cubicBezTo>
                  <a:pt x="748827" y="1588992"/>
                  <a:pt x="751004" y="1590624"/>
                  <a:pt x="751004" y="1594978"/>
                </a:cubicBezTo>
                <a:cubicBezTo>
                  <a:pt x="751004" y="1598787"/>
                  <a:pt x="749916" y="1601508"/>
                  <a:pt x="745562" y="1602052"/>
                </a:cubicBezTo>
                <a:cubicBezTo>
                  <a:pt x="740665" y="1602052"/>
                  <a:pt x="738488" y="1600420"/>
                  <a:pt x="738488" y="1594978"/>
                </a:cubicBezTo>
                <a:cubicBezTo>
                  <a:pt x="737944" y="1590624"/>
                  <a:pt x="740121" y="1588992"/>
                  <a:pt x="744474" y="1588992"/>
                </a:cubicBezTo>
                <a:close/>
                <a:moveTo>
                  <a:pt x="907183" y="1579741"/>
                </a:moveTo>
                <a:cubicBezTo>
                  <a:pt x="913169" y="1579197"/>
                  <a:pt x="923508" y="1588992"/>
                  <a:pt x="923508" y="1594978"/>
                </a:cubicBezTo>
                <a:cubicBezTo>
                  <a:pt x="923508" y="1600964"/>
                  <a:pt x="915345" y="1610215"/>
                  <a:pt x="908815" y="1610759"/>
                </a:cubicBezTo>
                <a:cubicBezTo>
                  <a:pt x="901197" y="1611303"/>
                  <a:pt x="892490" y="1603685"/>
                  <a:pt x="892490" y="1595522"/>
                </a:cubicBezTo>
                <a:cubicBezTo>
                  <a:pt x="892490" y="1588448"/>
                  <a:pt x="900653" y="1579741"/>
                  <a:pt x="907183" y="1579741"/>
                </a:cubicBezTo>
                <a:close/>
                <a:moveTo>
                  <a:pt x="1071524" y="1574843"/>
                </a:moveTo>
                <a:cubicBezTo>
                  <a:pt x="1081319" y="1575387"/>
                  <a:pt x="1091114" y="1585726"/>
                  <a:pt x="1091114" y="1595522"/>
                </a:cubicBezTo>
                <a:cubicBezTo>
                  <a:pt x="1091114" y="1605317"/>
                  <a:pt x="1080231" y="1615656"/>
                  <a:pt x="1070980" y="1615656"/>
                </a:cubicBezTo>
                <a:cubicBezTo>
                  <a:pt x="1062273" y="1615656"/>
                  <a:pt x="1050845" y="1604228"/>
                  <a:pt x="1050301" y="1595522"/>
                </a:cubicBezTo>
                <a:cubicBezTo>
                  <a:pt x="1050301" y="1586270"/>
                  <a:pt x="1062273" y="1574299"/>
                  <a:pt x="1071524" y="1574843"/>
                </a:cubicBezTo>
                <a:close/>
                <a:moveTo>
                  <a:pt x="1233688" y="1573210"/>
                </a:moveTo>
                <a:cubicBezTo>
                  <a:pt x="1247837" y="1573210"/>
                  <a:pt x="1256544" y="1581373"/>
                  <a:pt x="1256544" y="1595522"/>
                </a:cubicBezTo>
                <a:cubicBezTo>
                  <a:pt x="1256544" y="1609670"/>
                  <a:pt x="1247837" y="1618377"/>
                  <a:pt x="1233688" y="1618377"/>
                </a:cubicBezTo>
                <a:cubicBezTo>
                  <a:pt x="1221172" y="1618377"/>
                  <a:pt x="1212465" y="1608582"/>
                  <a:pt x="1211377" y="1596610"/>
                </a:cubicBezTo>
                <a:cubicBezTo>
                  <a:pt x="1210289" y="1584638"/>
                  <a:pt x="1222261" y="1571034"/>
                  <a:pt x="1233688" y="1573210"/>
                </a:cubicBezTo>
                <a:close/>
                <a:moveTo>
                  <a:pt x="1398030" y="1569402"/>
                </a:moveTo>
                <a:cubicBezTo>
                  <a:pt x="1411634" y="1569946"/>
                  <a:pt x="1423606" y="1582462"/>
                  <a:pt x="1423062" y="1595522"/>
                </a:cubicBezTo>
                <a:cubicBezTo>
                  <a:pt x="1423062" y="1608582"/>
                  <a:pt x="1410546" y="1621099"/>
                  <a:pt x="1397485" y="1621099"/>
                </a:cubicBezTo>
                <a:cubicBezTo>
                  <a:pt x="1384969" y="1621099"/>
                  <a:pt x="1371365" y="1608038"/>
                  <a:pt x="1371365" y="1595522"/>
                </a:cubicBezTo>
                <a:cubicBezTo>
                  <a:pt x="1371365" y="1582462"/>
                  <a:pt x="1384969" y="1568857"/>
                  <a:pt x="1398030" y="1569402"/>
                </a:cubicBezTo>
                <a:close/>
                <a:moveTo>
                  <a:pt x="1560194" y="1568313"/>
                </a:moveTo>
                <a:cubicBezTo>
                  <a:pt x="1574342" y="1566680"/>
                  <a:pt x="1587403" y="1581373"/>
                  <a:pt x="1587947" y="1594433"/>
                </a:cubicBezTo>
                <a:cubicBezTo>
                  <a:pt x="1588491" y="1608582"/>
                  <a:pt x="1574887" y="1622730"/>
                  <a:pt x="1560194" y="1622730"/>
                </a:cubicBezTo>
                <a:cubicBezTo>
                  <a:pt x="1547134" y="1622730"/>
                  <a:pt x="1532985" y="1608582"/>
                  <a:pt x="1532985" y="1594977"/>
                </a:cubicBezTo>
                <a:cubicBezTo>
                  <a:pt x="1532985" y="1581917"/>
                  <a:pt x="1547134" y="1566680"/>
                  <a:pt x="1560194" y="1568313"/>
                </a:cubicBezTo>
                <a:close/>
                <a:moveTo>
                  <a:pt x="1887244" y="1567225"/>
                </a:moveTo>
                <a:cubicBezTo>
                  <a:pt x="1905202" y="1567225"/>
                  <a:pt x="1915541" y="1578109"/>
                  <a:pt x="1915541" y="1594978"/>
                </a:cubicBezTo>
                <a:cubicBezTo>
                  <a:pt x="1915541" y="1612392"/>
                  <a:pt x="1903569" y="1624363"/>
                  <a:pt x="1886699" y="1623819"/>
                </a:cubicBezTo>
                <a:cubicBezTo>
                  <a:pt x="1872551" y="1623819"/>
                  <a:pt x="1857314" y="1613480"/>
                  <a:pt x="1858947" y="1594978"/>
                </a:cubicBezTo>
                <a:cubicBezTo>
                  <a:pt x="1857858" y="1577564"/>
                  <a:pt x="1870918" y="1567225"/>
                  <a:pt x="1887244" y="1567225"/>
                </a:cubicBezTo>
                <a:close/>
                <a:moveTo>
                  <a:pt x="1724535" y="1567225"/>
                </a:moveTo>
                <a:cubicBezTo>
                  <a:pt x="1743037" y="1567225"/>
                  <a:pt x="1752288" y="1581373"/>
                  <a:pt x="1752288" y="1594978"/>
                </a:cubicBezTo>
                <a:cubicBezTo>
                  <a:pt x="1752288" y="1609127"/>
                  <a:pt x="1741949" y="1623275"/>
                  <a:pt x="1724535" y="1623275"/>
                </a:cubicBezTo>
                <a:cubicBezTo>
                  <a:pt x="1710930" y="1623819"/>
                  <a:pt x="1694605" y="1613480"/>
                  <a:pt x="1696238" y="1594978"/>
                </a:cubicBezTo>
                <a:cubicBezTo>
                  <a:pt x="1694605" y="1577564"/>
                  <a:pt x="1708754" y="1567225"/>
                  <a:pt x="1724535" y="1567225"/>
                </a:cubicBezTo>
                <a:close/>
                <a:moveTo>
                  <a:pt x="2050496" y="1566680"/>
                </a:moveTo>
                <a:lnTo>
                  <a:pt x="2051041" y="1566888"/>
                </a:lnTo>
                <a:lnTo>
                  <a:pt x="2051041" y="1623794"/>
                </a:lnTo>
                <a:lnTo>
                  <a:pt x="2049408" y="1624363"/>
                </a:lnTo>
                <a:cubicBezTo>
                  <a:pt x="2033083" y="1623818"/>
                  <a:pt x="2021111" y="1611302"/>
                  <a:pt x="2021655" y="1594977"/>
                </a:cubicBezTo>
                <a:cubicBezTo>
                  <a:pt x="2022199" y="1575931"/>
                  <a:pt x="2033627" y="1567224"/>
                  <a:pt x="2050496" y="1566680"/>
                </a:cubicBezTo>
                <a:close/>
                <a:moveTo>
                  <a:pt x="663392" y="1505188"/>
                </a:moveTo>
                <a:cubicBezTo>
                  <a:pt x="666113" y="1505188"/>
                  <a:pt x="669922" y="1510086"/>
                  <a:pt x="674819" y="1513895"/>
                </a:cubicBezTo>
                <a:cubicBezTo>
                  <a:pt x="669378" y="1517704"/>
                  <a:pt x="665569" y="1522602"/>
                  <a:pt x="662848" y="1522058"/>
                </a:cubicBezTo>
                <a:cubicBezTo>
                  <a:pt x="659583" y="1521513"/>
                  <a:pt x="654685" y="1516072"/>
                  <a:pt x="654685" y="1513351"/>
                </a:cubicBezTo>
                <a:cubicBezTo>
                  <a:pt x="654685" y="1510086"/>
                  <a:pt x="660127" y="1505188"/>
                  <a:pt x="663392" y="1505188"/>
                </a:cubicBezTo>
                <a:close/>
                <a:moveTo>
                  <a:pt x="826101" y="1497570"/>
                </a:moveTo>
                <a:cubicBezTo>
                  <a:pt x="834263" y="1497025"/>
                  <a:pt x="842426" y="1505188"/>
                  <a:pt x="842970" y="1513351"/>
                </a:cubicBezTo>
                <a:cubicBezTo>
                  <a:pt x="842970" y="1522058"/>
                  <a:pt x="835352" y="1529676"/>
                  <a:pt x="826645" y="1529676"/>
                </a:cubicBezTo>
                <a:cubicBezTo>
                  <a:pt x="818482" y="1529676"/>
                  <a:pt x="810864" y="1523146"/>
                  <a:pt x="810319" y="1514983"/>
                </a:cubicBezTo>
                <a:cubicBezTo>
                  <a:pt x="809775" y="1506276"/>
                  <a:pt x="817394" y="1498114"/>
                  <a:pt x="826101" y="1497570"/>
                </a:cubicBezTo>
                <a:close/>
                <a:moveTo>
                  <a:pt x="988265" y="1492128"/>
                </a:moveTo>
                <a:cubicBezTo>
                  <a:pt x="998605" y="1492128"/>
                  <a:pt x="1010577" y="1501379"/>
                  <a:pt x="1010577" y="1513351"/>
                </a:cubicBezTo>
                <a:cubicBezTo>
                  <a:pt x="1010577" y="1524234"/>
                  <a:pt x="1000237" y="1534574"/>
                  <a:pt x="989354" y="1534574"/>
                </a:cubicBezTo>
                <a:cubicBezTo>
                  <a:pt x="979559" y="1534574"/>
                  <a:pt x="968675" y="1523690"/>
                  <a:pt x="968131" y="1513895"/>
                </a:cubicBezTo>
                <a:cubicBezTo>
                  <a:pt x="968131" y="1503556"/>
                  <a:pt x="977926" y="1492672"/>
                  <a:pt x="988265" y="1492128"/>
                </a:cubicBezTo>
                <a:close/>
                <a:moveTo>
                  <a:pt x="1152606" y="1490496"/>
                </a:moveTo>
                <a:cubicBezTo>
                  <a:pt x="1167299" y="1489407"/>
                  <a:pt x="1176006" y="1498658"/>
                  <a:pt x="1176006" y="1513351"/>
                </a:cubicBezTo>
                <a:cubicBezTo>
                  <a:pt x="1176006" y="1530764"/>
                  <a:pt x="1166755" y="1537295"/>
                  <a:pt x="1152606" y="1537839"/>
                </a:cubicBezTo>
                <a:cubicBezTo>
                  <a:pt x="1139546" y="1537839"/>
                  <a:pt x="1129207" y="1530764"/>
                  <a:pt x="1129207" y="1514984"/>
                </a:cubicBezTo>
                <a:cubicBezTo>
                  <a:pt x="1129207" y="1498114"/>
                  <a:pt x="1138458" y="1491040"/>
                  <a:pt x="1152606" y="1490496"/>
                </a:cubicBezTo>
                <a:close/>
                <a:moveTo>
                  <a:pt x="1316403" y="1487231"/>
                </a:moveTo>
                <a:cubicBezTo>
                  <a:pt x="1331095" y="1487775"/>
                  <a:pt x="1342523" y="1499203"/>
                  <a:pt x="1342523" y="1513896"/>
                </a:cubicBezTo>
                <a:cubicBezTo>
                  <a:pt x="1342523" y="1528588"/>
                  <a:pt x="1330551" y="1540560"/>
                  <a:pt x="1315314" y="1540560"/>
                </a:cubicBezTo>
                <a:cubicBezTo>
                  <a:pt x="1303887" y="1542193"/>
                  <a:pt x="1288106" y="1527500"/>
                  <a:pt x="1288650" y="1513896"/>
                </a:cubicBezTo>
                <a:cubicBezTo>
                  <a:pt x="1289194" y="1498659"/>
                  <a:pt x="1301166" y="1486687"/>
                  <a:pt x="1316403" y="1487231"/>
                </a:cubicBezTo>
                <a:close/>
                <a:moveTo>
                  <a:pt x="1479656" y="1485054"/>
                </a:moveTo>
                <a:cubicBezTo>
                  <a:pt x="1495437" y="1485598"/>
                  <a:pt x="1508497" y="1496482"/>
                  <a:pt x="1507409" y="1513895"/>
                </a:cubicBezTo>
                <a:cubicBezTo>
                  <a:pt x="1508497" y="1527500"/>
                  <a:pt x="1498158" y="1542192"/>
                  <a:pt x="1479112" y="1541648"/>
                </a:cubicBezTo>
                <a:cubicBezTo>
                  <a:pt x="1462787" y="1541648"/>
                  <a:pt x="1451359" y="1529676"/>
                  <a:pt x="1451359" y="1513351"/>
                </a:cubicBezTo>
                <a:cubicBezTo>
                  <a:pt x="1451359" y="1493761"/>
                  <a:pt x="1466596" y="1485054"/>
                  <a:pt x="1479656" y="1485054"/>
                </a:cubicBezTo>
                <a:close/>
                <a:moveTo>
                  <a:pt x="1641820" y="1482334"/>
                </a:moveTo>
                <a:cubicBezTo>
                  <a:pt x="1657057" y="1481789"/>
                  <a:pt x="1672838" y="1496482"/>
                  <a:pt x="1673382" y="1512807"/>
                </a:cubicBezTo>
                <a:cubicBezTo>
                  <a:pt x="1673927" y="1528044"/>
                  <a:pt x="1658145" y="1544370"/>
                  <a:pt x="1642909" y="1544370"/>
                </a:cubicBezTo>
                <a:cubicBezTo>
                  <a:pt x="1626039" y="1542193"/>
                  <a:pt x="1612979" y="1532942"/>
                  <a:pt x="1612435" y="1513351"/>
                </a:cubicBezTo>
                <a:cubicBezTo>
                  <a:pt x="1611890" y="1497571"/>
                  <a:pt x="1626583" y="1483422"/>
                  <a:pt x="1641820" y="1482334"/>
                </a:cubicBezTo>
                <a:close/>
                <a:moveTo>
                  <a:pt x="1804529" y="1481788"/>
                </a:moveTo>
                <a:cubicBezTo>
                  <a:pt x="1820855" y="1481244"/>
                  <a:pt x="1836091" y="1494304"/>
                  <a:pt x="1837180" y="1513351"/>
                </a:cubicBezTo>
                <a:cubicBezTo>
                  <a:pt x="1838812" y="1528043"/>
                  <a:pt x="1825208" y="1544913"/>
                  <a:pt x="1805617" y="1545457"/>
                </a:cubicBezTo>
                <a:cubicBezTo>
                  <a:pt x="1787660" y="1544913"/>
                  <a:pt x="1774055" y="1532397"/>
                  <a:pt x="1773511" y="1514983"/>
                </a:cubicBezTo>
                <a:cubicBezTo>
                  <a:pt x="1772967" y="1494849"/>
                  <a:pt x="1788204" y="1482333"/>
                  <a:pt x="1804529" y="1481788"/>
                </a:cubicBezTo>
                <a:close/>
                <a:moveTo>
                  <a:pt x="1968870" y="1480700"/>
                </a:moveTo>
                <a:cubicBezTo>
                  <a:pt x="1984651" y="1480700"/>
                  <a:pt x="2000977" y="1495937"/>
                  <a:pt x="2000977" y="1513351"/>
                </a:cubicBezTo>
                <a:cubicBezTo>
                  <a:pt x="2001521" y="1529132"/>
                  <a:pt x="1987916" y="1546001"/>
                  <a:pt x="1968870" y="1545457"/>
                </a:cubicBezTo>
                <a:cubicBezTo>
                  <a:pt x="1949824" y="1545457"/>
                  <a:pt x="1936764" y="1530764"/>
                  <a:pt x="1936764" y="1513351"/>
                </a:cubicBezTo>
                <a:cubicBezTo>
                  <a:pt x="1936764" y="1493760"/>
                  <a:pt x="1953633" y="1480700"/>
                  <a:pt x="1968870" y="1480700"/>
                </a:cubicBezTo>
                <a:close/>
                <a:moveTo>
                  <a:pt x="581221" y="1423562"/>
                </a:moveTo>
                <a:cubicBezTo>
                  <a:pt x="586663" y="1423562"/>
                  <a:pt x="589384" y="1427371"/>
                  <a:pt x="588840" y="1431725"/>
                </a:cubicBezTo>
                <a:cubicBezTo>
                  <a:pt x="588840" y="1434990"/>
                  <a:pt x="585030" y="1438255"/>
                  <a:pt x="581765" y="1443153"/>
                </a:cubicBezTo>
                <a:cubicBezTo>
                  <a:pt x="577412" y="1438255"/>
                  <a:pt x="574147" y="1436078"/>
                  <a:pt x="573059" y="1432813"/>
                </a:cubicBezTo>
                <a:cubicBezTo>
                  <a:pt x="571426" y="1429004"/>
                  <a:pt x="576868" y="1423562"/>
                  <a:pt x="581221" y="1423562"/>
                </a:cubicBezTo>
                <a:close/>
                <a:moveTo>
                  <a:pt x="745562" y="1414855"/>
                </a:moveTo>
                <a:cubicBezTo>
                  <a:pt x="754269" y="1415399"/>
                  <a:pt x="761344" y="1423018"/>
                  <a:pt x="761344" y="1432269"/>
                </a:cubicBezTo>
                <a:cubicBezTo>
                  <a:pt x="761344" y="1442064"/>
                  <a:pt x="754813" y="1448050"/>
                  <a:pt x="745018" y="1448050"/>
                </a:cubicBezTo>
                <a:cubicBezTo>
                  <a:pt x="734679" y="1448050"/>
                  <a:pt x="728693" y="1442064"/>
                  <a:pt x="728693" y="1431725"/>
                </a:cubicBezTo>
                <a:cubicBezTo>
                  <a:pt x="728693" y="1421386"/>
                  <a:pt x="735223" y="1414311"/>
                  <a:pt x="745562" y="1414855"/>
                </a:cubicBezTo>
                <a:close/>
                <a:moveTo>
                  <a:pt x="908815" y="1409958"/>
                </a:moveTo>
                <a:cubicBezTo>
                  <a:pt x="920243" y="1410502"/>
                  <a:pt x="930038" y="1420297"/>
                  <a:pt x="930038" y="1431725"/>
                </a:cubicBezTo>
                <a:cubicBezTo>
                  <a:pt x="929494" y="1443697"/>
                  <a:pt x="919155" y="1454036"/>
                  <a:pt x="907183" y="1453492"/>
                </a:cubicBezTo>
                <a:cubicBezTo>
                  <a:pt x="896844" y="1453492"/>
                  <a:pt x="885960" y="1442064"/>
                  <a:pt x="885960" y="1431725"/>
                </a:cubicBezTo>
                <a:cubicBezTo>
                  <a:pt x="885960" y="1420297"/>
                  <a:pt x="897388" y="1409414"/>
                  <a:pt x="908815" y="1409958"/>
                </a:cubicBezTo>
                <a:close/>
                <a:moveTo>
                  <a:pt x="1070436" y="1406693"/>
                </a:moveTo>
                <a:cubicBezTo>
                  <a:pt x="1084584" y="1406693"/>
                  <a:pt x="1096012" y="1418121"/>
                  <a:pt x="1096012" y="1432269"/>
                </a:cubicBezTo>
                <a:cubicBezTo>
                  <a:pt x="1096012" y="1445329"/>
                  <a:pt x="1082952" y="1458390"/>
                  <a:pt x="1070436" y="1457846"/>
                </a:cubicBezTo>
                <a:cubicBezTo>
                  <a:pt x="1058464" y="1457301"/>
                  <a:pt x="1044860" y="1443153"/>
                  <a:pt x="1045404" y="1431181"/>
                </a:cubicBezTo>
                <a:cubicBezTo>
                  <a:pt x="1045948" y="1418665"/>
                  <a:pt x="1057920" y="1406693"/>
                  <a:pt x="1070436" y="1406693"/>
                </a:cubicBezTo>
                <a:close/>
                <a:moveTo>
                  <a:pt x="1235865" y="1404516"/>
                </a:moveTo>
                <a:cubicBezTo>
                  <a:pt x="1252191" y="1405605"/>
                  <a:pt x="1262530" y="1415944"/>
                  <a:pt x="1261986" y="1433358"/>
                </a:cubicBezTo>
                <a:cubicBezTo>
                  <a:pt x="1261442" y="1449683"/>
                  <a:pt x="1251102" y="1459478"/>
                  <a:pt x="1233689" y="1459478"/>
                </a:cubicBezTo>
                <a:cubicBezTo>
                  <a:pt x="1218452" y="1461655"/>
                  <a:pt x="1206480" y="1445329"/>
                  <a:pt x="1206480" y="1432269"/>
                </a:cubicBezTo>
                <a:cubicBezTo>
                  <a:pt x="1206480" y="1417032"/>
                  <a:pt x="1220084" y="1403428"/>
                  <a:pt x="1235865" y="1404516"/>
                </a:cubicBezTo>
                <a:close/>
                <a:moveTo>
                  <a:pt x="1397485" y="1400162"/>
                </a:moveTo>
                <a:cubicBezTo>
                  <a:pt x="1412178" y="1400162"/>
                  <a:pt x="1427959" y="1416487"/>
                  <a:pt x="1427959" y="1431724"/>
                </a:cubicBezTo>
                <a:cubicBezTo>
                  <a:pt x="1428503" y="1446961"/>
                  <a:pt x="1413810" y="1462198"/>
                  <a:pt x="1398029" y="1463287"/>
                </a:cubicBezTo>
                <a:cubicBezTo>
                  <a:pt x="1384425" y="1464375"/>
                  <a:pt x="1367555" y="1448049"/>
                  <a:pt x="1366467" y="1432813"/>
                </a:cubicBezTo>
                <a:cubicBezTo>
                  <a:pt x="1365923" y="1418120"/>
                  <a:pt x="1382792" y="1400162"/>
                  <a:pt x="1397485" y="1400162"/>
                </a:cubicBezTo>
                <a:close/>
                <a:moveTo>
                  <a:pt x="1561282" y="1399618"/>
                </a:moveTo>
                <a:cubicBezTo>
                  <a:pt x="1575975" y="1399618"/>
                  <a:pt x="1593388" y="1415943"/>
                  <a:pt x="1593388" y="1432269"/>
                </a:cubicBezTo>
                <a:cubicBezTo>
                  <a:pt x="1593388" y="1446961"/>
                  <a:pt x="1578696" y="1464919"/>
                  <a:pt x="1560738" y="1464375"/>
                </a:cubicBezTo>
                <a:cubicBezTo>
                  <a:pt x="1542236" y="1463831"/>
                  <a:pt x="1529176" y="1450226"/>
                  <a:pt x="1528631" y="1432813"/>
                </a:cubicBezTo>
                <a:cubicBezTo>
                  <a:pt x="1528087" y="1414311"/>
                  <a:pt x="1545501" y="1399618"/>
                  <a:pt x="1561282" y="1399618"/>
                </a:cubicBezTo>
                <a:close/>
                <a:moveTo>
                  <a:pt x="1723446" y="1399074"/>
                </a:moveTo>
                <a:cubicBezTo>
                  <a:pt x="1741948" y="1399074"/>
                  <a:pt x="1757185" y="1413767"/>
                  <a:pt x="1757185" y="1432269"/>
                </a:cubicBezTo>
                <a:cubicBezTo>
                  <a:pt x="1757185" y="1451315"/>
                  <a:pt x="1743037" y="1463831"/>
                  <a:pt x="1723991" y="1465464"/>
                </a:cubicBezTo>
                <a:cubicBezTo>
                  <a:pt x="1707121" y="1466552"/>
                  <a:pt x="1690252" y="1448594"/>
                  <a:pt x="1691340" y="1433357"/>
                </a:cubicBezTo>
                <a:cubicBezTo>
                  <a:pt x="1692428" y="1412678"/>
                  <a:pt x="1704400" y="1399074"/>
                  <a:pt x="1723446" y="1399074"/>
                </a:cubicBezTo>
                <a:close/>
                <a:moveTo>
                  <a:pt x="1886700" y="1398530"/>
                </a:moveTo>
                <a:cubicBezTo>
                  <a:pt x="1904113" y="1396898"/>
                  <a:pt x="1922071" y="1415944"/>
                  <a:pt x="1920439" y="1432269"/>
                </a:cubicBezTo>
                <a:cubicBezTo>
                  <a:pt x="1919350" y="1451315"/>
                  <a:pt x="1907378" y="1464920"/>
                  <a:pt x="1887788" y="1464920"/>
                </a:cubicBezTo>
                <a:cubicBezTo>
                  <a:pt x="1867109" y="1464920"/>
                  <a:pt x="1854049" y="1452948"/>
                  <a:pt x="1854049" y="1433358"/>
                </a:cubicBezTo>
                <a:cubicBezTo>
                  <a:pt x="1854049" y="1412679"/>
                  <a:pt x="1867109" y="1400163"/>
                  <a:pt x="1886700" y="1398530"/>
                </a:cubicBezTo>
                <a:close/>
                <a:moveTo>
                  <a:pt x="2051041" y="1398217"/>
                </a:moveTo>
                <a:lnTo>
                  <a:pt x="2051041" y="1464535"/>
                </a:lnTo>
                <a:lnTo>
                  <a:pt x="2049953" y="1464920"/>
                </a:lnTo>
                <a:cubicBezTo>
                  <a:pt x="2032539" y="1467096"/>
                  <a:pt x="2017302" y="1450771"/>
                  <a:pt x="2017302" y="1431725"/>
                </a:cubicBezTo>
                <a:cubicBezTo>
                  <a:pt x="2017302" y="1422746"/>
                  <a:pt x="2021383" y="1414311"/>
                  <a:pt x="2027709" y="1408121"/>
                </a:cubicBezTo>
                <a:close/>
                <a:moveTo>
                  <a:pt x="500139" y="1341936"/>
                </a:moveTo>
                <a:cubicBezTo>
                  <a:pt x="503404" y="1343568"/>
                  <a:pt x="506125" y="1346833"/>
                  <a:pt x="511023" y="1350643"/>
                </a:cubicBezTo>
                <a:cubicBezTo>
                  <a:pt x="506125" y="1354452"/>
                  <a:pt x="502860" y="1357717"/>
                  <a:pt x="499595" y="1358261"/>
                </a:cubicBezTo>
                <a:cubicBezTo>
                  <a:pt x="495241" y="1359349"/>
                  <a:pt x="490888" y="1353908"/>
                  <a:pt x="491432" y="1349010"/>
                </a:cubicBezTo>
                <a:cubicBezTo>
                  <a:pt x="491976" y="1344112"/>
                  <a:pt x="495241" y="1340848"/>
                  <a:pt x="500139" y="1341936"/>
                </a:cubicBezTo>
                <a:close/>
                <a:moveTo>
                  <a:pt x="662848" y="1333773"/>
                </a:moveTo>
                <a:cubicBezTo>
                  <a:pt x="673187" y="1333773"/>
                  <a:pt x="679173" y="1340303"/>
                  <a:pt x="679173" y="1350643"/>
                </a:cubicBezTo>
                <a:cubicBezTo>
                  <a:pt x="679173" y="1359894"/>
                  <a:pt x="672099" y="1366424"/>
                  <a:pt x="662848" y="1366424"/>
                </a:cubicBezTo>
                <a:cubicBezTo>
                  <a:pt x="653053" y="1366424"/>
                  <a:pt x="647067" y="1359894"/>
                  <a:pt x="647067" y="1350098"/>
                </a:cubicBezTo>
                <a:cubicBezTo>
                  <a:pt x="647067" y="1339759"/>
                  <a:pt x="653053" y="1333773"/>
                  <a:pt x="662848" y="1333773"/>
                </a:cubicBezTo>
                <a:close/>
                <a:moveTo>
                  <a:pt x="826645" y="1328331"/>
                </a:moveTo>
                <a:cubicBezTo>
                  <a:pt x="838617" y="1328331"/>
                  <a:pt x="848412" y="1338670"/>
                  <a:pt x="847868" y="1350642"/>
                </a:cubicBezTo>
                <a:cubicBezTo>
                  <a:pt x="847868" y="1362070"/>
                  <a:pt x="836984" y="1372409"/>
                  <a:pt x="825556" y="1372409"/>
                </a:cubicBezTo>
                <a:cubicBezTo>
                  <a:pt x="814673" y="1372409"/>
                  <a:pt x="803789" y="1360982"/>
                  <a:pt x="804334" y="1349554"/>
                </a:cubicBezTo>
                <a:cubicBezTo>
                  <a:pt x="804334" y="1337582"/>
                  <a:pt x="814673" y="1328331"/>
                  <a:pt x="826645" y="1328331"/>
                </a:cubicBezTo>
                <a:close/>
                <a:moveTo>
                  <a:pt x="989353" y="1323978"/>
                </a:moveTo>
                <a:cubicBezTo>
                  <a:pt x="1002957" y="1324522"/>
                  <a:pt x="1014385" y="1334861"/>
                  <a:pt x="1015473" y="1350098"/>
                </a:cubicBezTo>
                <a:cubicBezTo>
                  <a:pt x="1014929" y="1363702"/>
                  <a:pt x="1004046" y="1376219"/>
                  <a:pt x="989353" y="1376763"/>
                </a:cubicBezTo>
                <a:cubicBezTo>
                  <a:pt x="976293" y="1376763"/>
                  <a:pt x="963777" y="1364791"/>
                  <a:pt x="963777" y="1350642"/>
                </a:cubicBezTo>
                <a:cubicBezTo>
                  <a:pt x="963233" y="1334861"/>
                  <a:pt x="977925" y="1323434"/>
                  <a:pt x="989353" y="1323978"/>
                </a:cubicBezTo>
                <a:close/>
                <a:moveTo>
                  <a:pt x="1152606" y="1322889"/>
                </a:moveTo>
                <a:cubicBezTo>
                  <a:pt x="1170564" y="1320712"/>
                  <a:pt x="1180903" y="1335405"/>
                  <a:pt x="1181447" y="1350098"/>
                </a:cubicBezTo>
                <a:cubicBezTo>
                  <a:pt x="1181447" y="1364791"/>
                  <a:pt x="1171108" y="1379483"/>
                  <a:pt x="1152606" y="1379483"/>
                </a:cubicBezTo>
                <a:cubicBezTo>
                  <a:pt x="1137913" y="1379483"/>
                  <a:pt x="1124853" y="1367511"/>
                  <a:pt x="1124853" y="1350642"/>
                </a:cubicBezTo>
                <a:cubicBezTo>
                  <a:pt x="1124309" y="1333228"/>
                  <a:pt x="1137913" y="1320712"/>
                  <a:pt x="1152606" y="1322889"/>
                </a:cubicBezTo>
                <a:close/>
                <a:moveTo>
                  <a:pt x="1315315" y="1318536"/>
                </a:moveTo>
                <a:cubicBezTo>
                  <a:pt x="1334361" y="1318536"/>
                  <a:pt x="1345789" y="1331596"/>
                  <a:pt x="1347966" y="1350098"/>
                </a:cubicBezTo>
                <a:cubicBezTo>
                  <a:pt x="1345245" y="1369144"/>
                  <a:pt x="1334905" y="1382205"/>
                  <a:pt x="1315315" y="1381661"/>
                </a:cubicBezTo>
                <a:cubicBezTo>
                  <a:pt x="1296813" y="1381116"/>
                  <a:pt x="1284841" y="1369144"/>
                  <a:pt x="1284297" y="1350098"/>
                </a:cubicBezTo>
                <a:cubicBezTo>
                  <a:pt x="1284297" y="1331052"/>
                  <a:pt x="1297357" y="1319080"/>
                  <a:pt x="1315315" y="1318536"/>
                </a:cubicBezTo>
                <a:close/>
                <a:moveTo>
                  <a:pt x="1480744" y="1317448"/>
                </a:moveTo>
                <a:cubicBezTo>
                  <a:pt x="1499246" y="1317992"/>
                  <a:pt x="1512851" y="1332140"/>
                  <a:pt x="1512306" y="1351731"/>
                </a:cubicBezTo>
                <a:cubicBezTo>
                  <a:pt x="1511762" y="1370233"/>
                  <a:pt x="1497070" y="1383837"/>
                  <a:pt x="1477479" y="1383293"/>
                </a:cubicBezTo>
                <a:cubicBezTo>
                  <a:pt x="1458977" y="1382749"/>
                  <a:pt x="1447550" y="1368600"/>
                  <a:pt x="1446461" y="1349554"/>
                </a:cubicBezTo>
                <a:cubicBezTo>
                  <a:pt x="1445373" y="1333773"/>
                  <a:pt x="1463331" y="1314727"/>
                  <a:pt x="1480744" y="1317448"/>
                </a:cubicBezTo>
                <a:close/>
                <a:moveTo>
                  <a:pt x="1642908" y="1315815"/>
                </a:moveTo>
                <a:cubicBezTo>
                  <a:pt x="1663043" y="1315815"/>
                  <a:pt x="1677735" y="1333229"/>
                  <a:pt x="1676647" y="1351731"/>
                </a:cubicBezTo>
                <a:cubicBezTo>
                  <a:pt x="1675559" y="1371865"/>
                  <a:pt x="1661954" y="1384381"/>
                  <a:pt x="1640732" y="1383837"/>
                </a:cubicBezTo>
                <a:cubicBezTo>
                  <a:pt x="1620597" y="1384381"/>
                  <a:pt x="1608081" y="1368056"/>
                  <a:pt x="1608081" y="1349554"/>
                </a:cubicBezTo>
                <a:cubicBezTo>
                  <a:pt x="1608081" y="1329964"/>
                  <a:pt x="1623318" y="1315815"/>
                  <a:pt x="1642908" y="1315815"/>
                </a:cubicBezTo>
                <a:close/>
                <a:moveTo>
                  <a:pt x="1968870" y="1314183"/>
                </a:moveTo>
                <a:cubicBezTo>
                  <a:pt x="1989548" y="1314727"/>
                  <a:pt x="2004785" y="1329420"/>
                  <a:pt x="2005329" y="1351187"/>
                </a:cubicBezTo>
                <a:cubicBezTo>
                  <a:pt x="2004785" y="1370233"/>
                  <a:pt x="1985739" y="1388735"/>
                  <a:pt x="1967781" y="1388191"/>
                </a:cubicBezTo>
                <a:cubicBezTo>
                  <a:pt x="1949823" y="1387647"/>
                  <a:pt x="1931322" y="1367512"/>
                  <a:pt x="1931866" y="1350098"/>
                </a:cubicBezTo>
                <a:cubicBezTo>
                  <a:pt x="1932410" y="1331596"/>
                  <a:pt x="1950912" y="1313094"/>
                  <a:pt x="1968870" y="1314183"/>
                </a:cubicBezTo>
                <a:close/>
                <a:moveTo>
                  <a:pt x="1806161" y="1313639"/>
                </a:moveTo>
                <a:cubicBezTo>
                  <a:pt x="1825207" y="1314183"/>
                  <a:pt x="1843165" y="1332141"/>
                  <a:pt x="1841533" y="1351187"/>
                </a:cubicBezTo>
                <a:cubicBezTo>
                  <a:pt x="1840988" y="1360438"/>
                  <a:pt x="1838267" y="1370233"/>
                  <a:pt x="1830105" y="1376763"/>
                </a:cubicBezTo>
                <a:cubicBezTo>
                  <a:pt x="1822486" y="1383293"/>
                  <a:pt x="1813235" y="1387102"/>
                  <a:pt x="1803984" y="1387102"/>
                </a:cubicBezTo>
                <a:cubicBezTo>
                  <a:pt x="1786027" y="1387102"/>
                  <a:pt x="1768613" y="1367512"/>
                  <a:pt x="1768613" y="1350098"/>
                </a:cubicBezTo>
                <a:cubicBezTo>
                  <a:pt x="1769157" y="1331596"/>
                  <a:pt x="1788203" y="1313094"/>
                  <a:pt x="1806161" y="1313639"/>
                </a:cubicBezTo>
                <a:close/>
                <a:moveTo>
                  <a:pt x="419057" y="1262486"/>
                </a:moveTo>
                <a:cubicBezTo>
                  <a:pt x="423410" y="1262486"/>
                  <a:pt x="425587" y="1265207"/>
                  <a:pt x="424499" y="1269016"/>
                </a:cubicBezTo>
                <a:cubicBezTo>
                  <a:pt x="423410" y="1271737"/>
                  <a:pt x="421234" y="1273914"/>
                  <a:pt x="417969" y="1278811"/>
                </a:cubicBezTo>
                <a:cubicBezTo>
                  <a:pt x="414704" y="1273914"/>
                  <a:pt x="412527" y="1271737"/>
                  <a:pt x="411983" y="1269016"/>
                </a:cubicBezTo>
                <a:cubicBezTo>
                  <a:pt x="410894" y="1264118"/>
                  <a:pt x="414159" y="1262486"/>
                  <a:pt x="419057" y="1262486"/>
                </a:cubicBezTo>
                <a:close/>
                <a:moveTo>
                  <a:pt x="581221" y="1252147"/>
                </a:moveTo>
                <a:cubicBezTo>
                  <a:pt x="591016" y="1252691"/>
                  <a:pt x="598091" y="1260310"/>
                  <a:pt x="597547" y="1269017"/>
                </a:cubicBezTo>
                <a:cubicBezTo>
                  <a:pt x="597547" y="1278268"/>
                  <a:pt x="589928" y="1284798"/>
                  <a:pt x="580133" y="1284254"/>
                </a:cubicBezTo>
                <a:cubicBezTo>
                  <a:pt x="570882" y="1283709"/>
                  <a:pt x="564896" y="1277179"/>
                  <a:pt x="564896" y="1268472"/>
                </a:cubicBezTo>
                <a:cubicBezTo>
                  <a:pt x="564896" y="1259222"/>
                  <a:pt x="571970" y="1252147"/>
                  <a:pt x="581221" y="1252147"/>
                </a:cubicBezTo>
                <a:close/>
                <a:moveTo>
                  <a:pt x="745018" y="1246705"/>
                </a:moveTo>
                <a:cubicBezTo>
                  <a:pt x="757534" y="1246705"/>
                  <a:pt x="766785" y="1257044"/>
                  <a:pt x="766241" y="1269560"/>
                </a:cubicBezTo>
                <a:cubicBezTo>
                  <a:pt x="765697" y="1280988"/>
                  <a:pt x="755358" y="1290783"/>
                  <a:pt x="744474" y="1290783"/>
                </a:cubicBezTo>
                <a:cubicBezTo>
                  <a:pt x="733046" y="1290783"/>
                  <a:pt x="722707" y="1279900"/>
                  <a:pt x="722707" y="1267928"/>
                </a:cubicBezTo>
                <a:cubicBezTo>
                  <a:pt x="722707" y="1255956"/>
                  <a:pt x="733046" y="1246705"/>
                  <a:pt x="745018" y="1246705"/>
                </a:cubicBezTo>
                <a:close/>
                <a:moveTo>
                  <a:pt x="907727" y="1241807"/>
                </a:moveTo>
                <a:cubicBezTo>
                  <a:pt x="921331" y="1241807"/>
                  <a:pt x="934391" y="1257044"/>
                  <a:pt x="933847" y="1269016"/>
                </a:cubicBezTo>
                <a:cubicBezTo>
                  <a:pt x="933847" y="1282620"/>
                  <a:pt x="920787" y="1295680"/>
                  <a:pt x="907183" y="1295136"/>
                </a:cubicBezTo>
                <a:cubicBezTo>
                  <a:pt x="893578" y="1294592"/>
                  <a:pt x="880518" y="1280988"/>
                  <a:pt x="880518" y="1267927"/>
                </a:cubicBezTo>
                <a:cubicBezTo>
                  <a:pt x="881062" y="1254323"/>
                  <a:pt x="894122" y="1242351"/>
                  <a:pt x="907727" y="1241807"/>
                </a:cubicBezTo>
                <a:close/>
                <a:moveTo>
                  <a:pt x="1070979" y="1240719"/>
                </a:moveTo>
                <a:cubicBezTo>
                  <a:pt x="1091114" y="1240175"/>
                  <a:pt x="1099276" y="1252691"/>
                  <a:pt x="1099821" y="1268472"/>
                </a:cubicBezTo>
                <a:cubicBezTo>
                  <a:pt x="1099821" y="1285886"/>
                  <a:pt x="1088393" y="1297858"/>
                  <a:pt x="1070435" y="1297858"/>
                </a:cubicBezTo>
                <a:cubicBezTo>
                  <a:pt x="1053566" y="1297858"/>
                  <a:pt x="1042138" y="1286430"/>
                  <a:pt x="1042138" y="1269560"/>
                </a:cubicBezTo>
                <a:cubicBezTo>
                  <a:pt x="1042138" y="1250514"/>
                  <a:pt x="1053566" y="1240719"/>
                  <a:pt x="1070979" y="1240719"/>
                </a:cubicBezTo>
                <a:close/>
                <a:moveTo>
                  <a:pt x="1234233" y="1235821"/>
                </a:moveTo>
                <a:cubicBezTo>
                  <a:pt x="1250558" y="1235821"/>
                  <a:pt x="1267972" y="1252691"/>
                  <a:pt x="1266883" y="1269016"/>
                </a:cubicBezTo>
                <a:cubicBezTo>
                  <a:pt x="1266339" y="1285885"/>
                  <a:pt x="1251646" y="1301122"/>
                  <a:pt x="1234233" y="1300578"/>
                </a:cubicBezTo>
                <a:cubicBezTo>
                  <a:pt x="1216275" y="1300578"/>
                  <a:pt x="1201582" y="1286430"/>
                  <a:pt x="1201582" y="1267383"/>
                </a:cubicBezTo>
                <a:cubicBezTo>
                  <a:pt x="1201582" y="1249425"/>
                  <a:pt x="1217907" y="1235821"/>
                  <a:pt x="1234233" y="1235821"/>
                </a:cubicBezTo>
                <a:close/>
                <a:moveTo>
                  <a:pt x="1396397" y="1234733"/>
                </a:moveTo>
                <a:cubicBezTo>
                  <a:pt x="1413810" y="1233645"/>
                  <a:pt x="1433945" y="1250514"/>
                  <a:pt x="1431224" y="1268472"/>
                </a:cubicBezTo>
                <a:cubicBezTo>
                  <a:pt x="1433401" y="1286430"/>
                  <a:pt x="1415443" y="1303299"/>
                  <a:pt x="1396941" y="1302755"/>
                </a:cubicBezTo>
                <a:cubicBezTo>
                  <a:pt x="1381160" y="1302211"/>
                  <a:pt x="1363202" y="1290783"/>
                  <a:pt x="1363746" y="1269016"/>
                </a:cubicBezTo>
                <a:cubicBezTo>
                  <a:pt x="1364290" y="1248881"/>
                  <a:pt x="1376806" y="1235821"/>
                  <a:pt x="1396397" y="1234733"/>
                </a:cubicBezTo>
                <a:close/>
                <a:moveTo>
                  <a:pt x="1559649" y="1232557"/>
                </a:moveTo>
                <a:cubicBezTo>
                  <a:pt x="1580328" y="1232013"/>
                  <a:pt x="1595021" y="1246705"/>
                  <a:pt x="1597742" y="1268472"/>
                </a:cubicBezTo>
                <a:cubicBezTo>
                  <a:pt x="1598286" y="1286974"/>
                  <a:pt x="1580872" y="1304932"/>
                  <a:pt x="1561826" y="1305476"/>
                </a:cubicBezTo>
                <a:cubicBezTo>
                  <a:pt x="1543868" y="1306564"/>
                  <a:pt x="1524822" y="1288063"/>
                  <a:pt x="1523734" y="1269561"/>
                </a:cubicBezTo>
                <a:cubicBezTo>
                  <a:pt x="1522645" y="1252147"/>
                  <a:pt x="1541147" y="1232557"/>
                  <a:pt x="1559649" y="1232557"/>
                </a:cubicBezTo>
                <a:close/>
                <a:moveTo>
                  <a:pt x="1723990" y="1231468"/>
                </a:moveTo>
                <a:cubicBezTo>
                  <a:pt x="1743037" y="1231468"/>
                  <a:pt x="1761539" y="1249426"/>
                  <a:pt x="1762083" y="1268472"/>
                </a:cubicBezTo>
                <a:cubicBezTo>
                  <a:pt x="1762627" y="1290239"/>
                  <a:pt x="1741404" y="1306020"/>
                  <a:pt x="1724535" y="1307109"/>
                </a:cubicBezTo>
                <a:cubicBezTo>
                  <a:pt x="1706033" y="1306564"/>
                  <a:pt x="1687531" y="1290239"/>
                  <a:pt x="1686442" y="1270105"/>
                </a:cubicBezTo>
                <a:cubicBezTo>
                  <a:pt x="1685354" y="1254323"/>
                  <a:pt x="1701679" y="1231468"/>
                  <a:pt x="1723990" y="1231468"/>
                </a:cubicBezTo>
                <a:close/>
                <a:moveTo>
                  <a:pt x="1888332" y="1230924"/>
                </a:moveTo>
                <a:cubicBezTo>
                  <a:pt x="1905745" y="1229836"/>
                  <a:pt x="1928056" y="1250514"/>
                  <a:pt x="1925336" y="1269561"/>
                </a:cubicBezTo>
                <a:cubicBezTo>
                  <a:pt x="1925336" y="1289695"/>
                  <a:pt x="1907378" y="1306564"/>
                  <a:pt x="1887243" y="1307653"/>
                </a:cubicBezTo>
                <a:cubicBezTo>
                  <a:pt x="1870918" y="1308197"/>
                  <a:pt x="1847519" y="1288063"/>
                  <a:pt x="1849151" y="1267928"/>
                </a:cubicBezTo>
                <a:cubicBezTo>
                  <a:pt x="1850239" y="1247794"/>
                  <a:pt x="1867653" y="1231468"/>
                  <a:pt x="1888332" y="1230924"/>
                </a:cubicBezTo>
                <a:close/>
                <a:moveTo>
                  <a:pt x="2049952" y="1230380"/>
                </a:moveTo>
                <a:lnTo>
                  <a:pt x="2051041" y="1230805"/>
                </a:lnTo>
                <a:lnTo>
                  <a:pt x="2051041" y="1307109"/>
                </a:lnTo>
                <a:cubicBezTo>
                  <a:pt x="2033627" y="1309830"/>
                  <a:pt x="2011316" y="1286974"/>
                  <a:pt x="2012404" y="1268472"/>
                </a:cubicBezTo>
                <a:cubicBezTo>
                  <a:pt x="2013493" y="1247794"/>
                  <a:pt x="2029274" y="1230380"/>
                  <a:pt x="2049952" y="1230380"/>
                </a:cubicBezTo>
                <a:close/>
                <a:moveTo>
                  <a:pt x="337431" y="1181404"/>
                </a:moveTo>
                <a:cubicBezTo>
                  <a:pt x="339608" y="1182493"/>
                  <a:pt x="341240" y="1184669"/>
                  <a:pt x="345050" y="1187934"/>
                </a:cubicBezTo>
                <a:cubicBezTo>
                  <a:pt x="340696" y="1190111"/>
                  <a:pt x="338519" y="1192288"/>
                  <a:pt x="336343" y="1192288"/>
                </a:cubicBezTo>
                <a:cubicBezTo>
                  <a:pt x="331445" y="1192832"/>
                  <a:pt x="330901" y="1189567"/>
                  <a:pt x="330901" y="1185758"/>
                </a:cubicBezTo>
                <a:cubicBezTo>
                  <a:pt x="330901" y="1181404"/>
                  <a:pt x="334166" y="1180860"/>
                  <a:pt x="337431" y="1181404"/>
                </a:cubicBezTo>
                <a:close/>
                <a:moveTo>
                  <a:pt x="499051" y="1171065"/>
                </a:moveTo>
                <a:cubicBezTo>
                  <a:pt x="506125" y="1170521"/>
                  <a:pt x="516465" y="1179772"/>
                  <a:pt x="516465" y="1187390"/>
                </a:cubicBezTo>
                <a:cubicBezTo>
                  <a:pt x="515921" y="1193920"/>
                  <a:pt x="507214" y="1202627"/>
                  <a:pt x="500140" y="1202627"/>
                </a:cubicBezTo>
                <a:cubicBezTo>
                  <a:pt x="493065" y="1202627"/>
                  <a:pt x="484358" y="1195008"/>
                  <a:pt x="483814" y="1187390"/>
                </a:cubicBezTo>
                <a:cubicBezTo>
                  <a:pt x="483270" y="1180316"/>
                  <a:pt x="491977" y="1171065"/>
                  <a:pt x="499051" y="1171065"/>
                </a:cubicBezTo>
                <a:close/>
                <a:moveTo>
                  <a:pt x="662848" y="1165623"/>
                </a:moveTo>
                <a:cubicBezTo>
                  <a:pt x="675364" y="1165623"/>
                  <a:pt x="684615" y="1174874"/>
                  <a:pt x="684615" y="1187390"/>
                </a:cubicBezTo>
                <a:cubicBezTo>
                  <a:pt x="684615" y="1199362"/>
                  <a:pt x="674820" y="1209157"/>
                  <a:pt x="662848" y="1209157"/>
                </a:cubicBezTo>
                <a:cubicBezTo>
                  <a:pt x="651420" y="1209157"/>
                  <a:pt x="641081" y="1198274"/>
                  <a:pt x="641081" y="1186846"/>
                </a:cubicBezTo>
                <a:cubicBezTo>
                  <a:pt x="641081" y="1175418"/>
                  <a:pt x="651420" y="1165623"/>
                  <a:pt x="662848" y="1165623"/>
                </a:cubicBezTo>
                <a:close/>
                <a:moveTo>
                  <a:pt x="825556" y="1160725"/>
                </a:moveTo>
                <a:cubicBezTo>
                  <a:pt x="840249" y="1161270"/>
                  <a:pt x="851677" y="1171609"/>
                  <a:pt x="852765" y="1186846"/>
                </a:cubicBezTo>
                <a:cubicBezTo>
                  <a:pt x="853309" y="1199906"/>
                  <a:pt x="840249" y="1213511"/>
                  <a:pt x="826645" y="1213511"/>
                </a:cubicBezTo>
                <a:cubicBezTo>
                  <a:pt x="813585" y="1214055"/>
                  <a:pt x="799980" y="1200995"/>
                  <a:pt x="798892" y="1188479"/>
                </a:cubicBezTo>
                <a:cubicBezTo>
                  <a:pt x="797803" y="1173241"/>
                  <a:pt x="814129" y="1160181"/>
                  <a:pt x="825556" y="1160725"/>
                </a:cubicBezTo>
                <a:close/>
                <a:moveTo>
                  <a:pt x="989353" y="1158004"/>
                </a:moveTo>
                <a:cubicBezTo>
                  <a:pt x="1007855" y="1159092"/>
                  <a:pt x="1018739" y="1168888"/>
                  <a:pt x="1018195" y="1187934"/>
                </a:cubicBezTo>
                <a:cubicBezTo>
                  <a:pt x="1017651" y="1206436"/>
                  <a:pt x="1007311" y="1216231"/>
                  <a:pt x="988809" y="1216775"/>
                </a:cubicBezTo>
                <a:cubicBezTo>
                  <a:pt x="972484" y="1217319"/>
                  <a:pt x="960512" y="1203715"/>
                  <a:pt x="959968" y="1187934"/>
                </a:cubicBezTo>
                <a:cubicBezTo>
                  <a:pt x="959968" y="1170520"/>
                  <a:pt x="972484" y="1158004"/>
                  <a:pt x="989353" y="1158004"/>
                </a:cubicBezTo>
                <a:close/>
                <a:moveTo>
                  <a:pt x="1152062" y="1153651"/>
                </a:moveTo>
                <a:cubicBezTo>
                  <a:pt x="1166755" y="1152562"/>
                  <a:pt x="1186345" y="1171065"/>
                  <a:pt x="1185801" y="1186301"/>
                </a:cubicBezTo>
                <a:cubicBezTo>
                  <a:pt x="1184713" y="1205348"/>
                  <a:pt x="1171652" y="1218952"/>
                  <a:pt x="1153150" y="1219496"/>
                </a:cubicBezTo>
                <a:cubicBezTo>
                  <a:pt x="1135193" y="1221129"/>
                  <a:pt x="1119412" y="1204259"/>
                  <a:pt x="1119956" y="1187390"/>
                </a:cubicBezTo>
                <a:cubicBezTo>
                  <a:pt x="1120500" y="1168888"/>
                  <a:pt x="1134648" y="1154739"/>
                  <a:pt x="1152062" y="1153651"/>
                </a:cubicBezTo>
                <a:close/>
                <a:moveTo>
                  <a:pt x="1315315" y="1152018"/>
                </a:moveTo>
                <a:cubicBezTo>
                  <a:pt x="1336537" y="1151474"/>
                  <a:pt x="1351230" y="1169432"/>
                  <a:pt x="1351230" y="1186845"/>
                </a:cubicBezTo>
                <a:cubicBezTo>
                  <a:pt x="1350686" y="1205891"/>
                  <a:pt x="1338714" y="1222217"/>
                  <a:pt x="1315859" y="1221673"/>
                </a:cubicBezTo>
                <a:cubicBezTo>
                  <a:pt x="1294092" y="1221128"/>
                  <a:pt x="1282120" y="1209157"/>
                  <a:pt x="1281576" y="1187390"/>
                </a:cubicBezTo>
                <a:cubicBezTo>
                  <a:pt x="1281031" y="1167255"/>
                  <a:pt x="1295724" y="1152562"/>
                  <a:pt x="1315315" y="1152018"/>
                </a:cubicBezTo>
                <a:close/>
                <a:moveTo>
                  <a:pt x="1479656" y="1149298"/>
                </a:moveTo>
                <a:cubicBezTo>
                  <a:pt x="1500878" y="1149842"/>
                  <a:pt x="1517204" y="1168888"/>
                  <a:pt x="1516660" y="1188479"/>
                </a:cubicBezTo>
                <a:cubicBezTo>
                  <a:pt x="1515027" y="1210246"/>
                  <a:pt x="1495981" y="1224938"/>
                  <a:pt x="1478023" y="1224394"/>
                </a:cubicBezTo>
                <a:cubicBezTo>
                  <a:pt x="1457889" y="1223850"/>
                  <a:pt x="1439931" y="1205892"/>
                  <a:pt x="1441563" y="1185758"/>
                </a:cubicBezTo>
                <a:cubicBezTo>
                  <a:pt x="1442652" y="1166167"/>
                  <a:pt x="1458977" y="1149298"/>
                  <a:pt x="1479656" y="1149298"/>
                </a:cubicBezTo>
                <a:close/>
                <a:moveTo>
                  <a:pt x="1642365" y="1148209"/>
                </a:moveTo>
                <a:cubicBezTo>
                  <a:pt x="1659779" y="1147121"/>
                  <a:pt x="1681001" y="1166711"/>
                  <a:pt x="1681001" y="1187390"/>
                </a:cubicBezTo>
                <a:cubicBezTo>
                  <a:pt x="1681001" y="1208613"/>
                  <a:pt x="1658690" y="1226026"/>
                  <a:pt x="1641821" y="1226026"/>
                </a:cubicBezTo>
                <a:cubicBezTo>
                  <a:pt x="1624407" y="1226026"/>
                  <a:pt x="1601007" y="1205348"/>
                  <a:pt x="1603728" y="1186846"/>
                </a:cubicBezTo>
                <a:cubicBezTo>
                  <a:pt x="1603728" y="1165623"/>
                  <a:pt x="1621686" y="1149298"/>
                  <a:pt x="1642365" y="1148209"/>
                </a:cubicBezTo>
                <a:close/>
                <a:moveTo>
                  <a:pt x="1969414" y="1147665"/>
                </a:moveTo>
                <a:cubicBezTo>
                  <a:pt x="1991725" y="1146032"/>
                  <a:pt x="2009139" y="1165623"/>
                  <a:pt x="2009139" y="1187934"/>
                </a:cubicBezTo>
                <a:cubicBezTo>
                  <a:pt x="2008595" y="1209157"/>
                  <a:pt x="1990093" y="1227114"/>
                  <a:pt x="1968870" y="1227114"/>
                </a:cubicBezTo>
                <a:cubicBezTo>
                  <a:pt x="1949824" y="1227114"/>
                  <a:pt x="1928601" y="1209701"/>
                  <a:pt x="1929145" y="1186301"/>
                </a:cubicBezTo>
                <a:cubicBezTo>
                  <a:pt x="1929145" y="1165623"/>
                  <a:pt x="1948191" y="1145488"/>
                  <a:pt x="1969414" y="1147665"/>
                </a:cubicBezTo>
                <a:close/>
                <a:moveTo>
                  <a:pt x="1805617" y="1147665"/>
                </a:moveTo>
                <a:cubicBezTo>
                  <a:pt x="1825752" y="1147665"/>
                  <a:pt x="1845342" y="1165078"/>
                  <a:pt x="1844798" y="1187934"/>
                </a:cubicBezTo>
                <a:cubicBezTo>
                  <a:pt x="1844254" y="1208612"/>
                  <a:pt x="1824664" y="1227115"/>
                  <a:pt x="1805073" y="1226571"/>
                </a:cubicBezTo>
                <a:cubicBezTo>
                  <a:pt x="1787115" y="1226571"/>
                  <a:pt x="1764260" y="1209701"/>
                  <a:pt x="1766981" y="1186845"/>
                </a:cubicBezTo>
                <a:cubicBezTo>
                  <a:pt x="1764804" y="1165623"/>
                  <a:pt x="1786027" y="1147665"/>
                  <a:pt x="1805617" y="1147665"/>
                </a:cubicBezTo>
                <a:close/>
                <a:moveTo>
                  <a:pt x="417425" y="1090527"/>
                </a:moveTo>
                <a:cubicBezTo>
                  <a:pt x="423955" y="1090527"/>
                  <a:pt x="433206" y="1099234"/>
                  <a:pt x="432662" y="1105764"/>
                </a:cubicBezTo>
                <a:cubicBezTo>
                  <a:pt x="432662" y="1111206"/>
                  <a:pt x="423955" y="1119912"/>
                  <a:pt x="417969" y="1120457"/>
                </a:cubicBezTo>
                <a:cubicBezTo>
                  <a:pt x="411439" y="1121001"/>
                  <a:pt x="402188" y="1111750"/>
                  <a:pt x="402732" y="1105219"/>
                </a:cubicBezTo>
                <a:cubicBezTo>
                  <a:pt x="402732" y="1099234"/>
                  <a:pt x="411439" y="1090527"/>
                  <a:pt x="417425" y="1090527"/>
                </a:cubicBezTo>
                <a:close/>
                <a:moveTo>
                  <a:pt x="580677" y="1083996"/>
                </a:moveTo>
                <a:cubicBezTo>
                  <a:pt x="592105" y="1083996"/>
                  <a:pt x="601900" y="1093791"/>
                  <a:pt x="602444" y="1105219"/>
                </a:cubicBezTo>
                <a:cubicBezTo>
                  <a:pt x="602988" y="1116647"/>
                  <a:pt x="593193" y="1126986"/>
                  <a:pt x="581221" y="1127530"/>
                </a:cubicBezTo>
                <a:cubicBezTo>
                  <a:pt x="570338" y="1127530"/>
                  <a:pt x="558910" y="1116102"/>
                  <a:pt x="558910" y="1105219"/>
                </a:cubicBezTo>
                <a:cubicBezTo>
                  <a:pt x="558910" y="1094880"/>
                  <a:pt x="570338" y="1083996"/>
                  <a:pt x="580677" y="1083996"/>
                </a:cubicBezTo>
                <a:close/>
                <a:moveTo>
                  <a:pt x="743386" y="1079099"/>
                </a:moveTo>
                <a:cubicBezTo>
                  <a:pt x="756991" y="1079099"/>
                  <a:pt x="769507" y="1088894"/>
                  <a:pt x="770595" y="1105219"/>
                </a:cubicBezTo>
                <a:cubicBezTo>
                  <a:pt x="771683" y="1116103"/>
                  <a:pt x="760800" y="1131340"/>
                  <a:pt x="745019" y="1132428"/>
                </a:cubicBezTo>
                <a:cubicBezTo>
                  <a:pt x="734135" y="1134061"/>
                  <a:pt x="717810" y="1118280"/>
                  <a:pt x="717810" y="1106308"/>
                </a:cubicBezTo>
                <a:cubicBezTo>
                  <a:pt x="717810" y="1091071"/>
                  <a:pt x="731414" y="1079099"/>
                  <a:pt x="743386" y="1079099"/>
                </a:cubicBezTo>
                <a:close/>
                <a:moveTo>
                  <a:pt x="907727" y="1076378"/>
                </a:moveTo>
                <a:cubicBezTo>
                  <a:pt x="926773" y="1076378"/>
                  <a:pt x="937112" y="1087262"/>
                  <a:pt x="937112" y="1105219"/>
                </a:cubicBezTo>
                <a:cubicBezTo>
                  <a:pt x="937112" y="1121545"/>
                  <a:pt x="928950" y="1134061"/>
                  <a:pt x="908271" y="1134061"/>
                </a:cubicBezTo>
                <a:cubicBezTo>
                  <a:pt x="888681" y="1134605"/>
                  <a:pt x="878341" y="1122633"/>
                  <a:pt x="878885" y="1105764"/>
                </a:cubicBezTo>
                <a:cubicBezTo>
                  <a:pt x="878341" y="1086173"/>
                  <a:pt x="892490" y="1076378"/>
                  <a:pt x="907727" y="1076378"/>
                </a:cubicBezTo>
                <a:close/>
                <a:moveTo>
                  <a:pt x="1071524" y="1072569"/>
                </a:moveTo>
                <a:cubicBezTo>
                  <a:pt x="1089482" y="1072569"/>
                  <a:pt x="1104174" y="1087806"/>
                  <a:pt x="1104174" y="1105220"/>
                </a:cubicBezTo>
                <a:cubicBezTo>
                  <a:pt x="1104174" y="1123722"/>
                  <a:pt x="1090026" y="1137870"/>
                  <a:pt x="1070435" y="1137870"/>
                </a:cubicBezTo>
                <a:cubicBezTo>
                  <a:pt x="1054110" y="1140047"/>
                  <a:pt x="1037241" y="1121545"/>
                  <a:pt x="1038329" y="1105764"/>
                </a:cubicBezTo>
                <a:cubicBezTo>
                  <a:pt x="1039417" y="1086173"/>
                  <a:pt x="1052478" y="1072569"/>
                  <a:pt x="1071524" y="1072569"/>
                </a:cubicBezTo>
                <a:close/>
                <a:moveTo>
                  <a:pt x="1235865" y="1068760"/>
                </a:moveTo>
                <a:cubicBezTo>
                  <a:pt x="1254912" y="1070392"/>
                  <a:pt x="1272325" y="1088894"/>
                  <a:pt x="1271237" y="1106852"/>
                </a:cubicBezTo>
                <a:cubicBezTo>
                  <a:pt x="1270149" y="1124810"/>
                  <a:pt x="1252735" y="1142223"/>
                  <a:pt x="1234777" y="1142223"/>
                </a:cubicBezTo>
                <a:cubicBezTo>
                  <a:pt x="1215187" y="1142223"/>
                  <a:pt x="1197773" y="1124265"/>
                  <a:pt x="1198861" y="1105219"/>
                </a:cubicBezTo>
                <a:cubicBezTo>
                  <a:pt x="1199406" y="1085629"/>
                  <a:pt x="1217908" y="1067127"/>
                  <a:pt x="1235865" y="1068760"/>
                </a:cubicBezTo>
                <a:close/>
                <a:moveTo>
                  <a:pt x="1396397" y="1067127"/>
                </a:moveTo>
                <a:cubicBezTo>
                  <a:pt x="1416532" y="1065494"/>
                  <a:pt x="1437755" y="1087806"/>
                  <a:pt x="1435578" y="1105219"/>
                </a:cubicBezTo>
                <a:cubicBezTo>
                  <a:pt x="1437210" y="1125898"/>
                  <a:pt x="1413267" y="1144400"/>
                  <a:pt x="1396941" y="1143856"/>
                </a:cubicBezTo>
                <a:cubicBezTo>
                  <a:pt x="1377895" y="1143856"/>
                  <a:pt x="1358305" y="1122633"/>
                  <a:pt x="1358849" y="1105763"/>
                </a:cubicBezTo>
                <a:cubicBezTo>
                  <a:pt x="1359393" y="1085629"/>
                  <a:pt x="1376807" y="1068759"/>
                  <a:pt x="1396397" y="1067127"/>
                </a:cubicBezTo>
                <a:close/>
                <a:moveTo>
                  <a:pt x="1560738" y="1066582"/>
                </a:moveTo>
                <a:cubicBezTo>
                  <a:pt x="1581961" y="1063862"/>
                  <a:pt x="1599919" y="1083452"/>
                  <a:pt x="1599919" y="1105763"/>
                </a:cubicBezTo>
                <a:cubicBezTo>
                  <a:pt x="1599919" y="1127530"/>
                  <a:pt x="1581417" y="1144400"/>
                  <a:pt x="1560738" y="1144400"/>
                </a:cubicBezTo>
                <a:cubicBezTo>
                  <a:pt x="1538971" y="1144400"/>
                  <a:pt x="1521557" y="1125898"/>
                  <a:pt x="1521013" y="1105763"/>
                </a:cubicBezTo>
                <a:cubicBezTo>
                  <a:pt x="1521013" y="1085629"/>
                  <a:pt x="1538971" y="1063862"/>
                  <a:pt x="1560738" y="1066582"/>
                </a:cubicBezTo>
                <a:close/>
                <a:moveTo>
                  <a:pt x="1723447" y="1064406"/>
                </a:moveTo>
                <a:cubicBezTo>
                  <a:pt x="1744126" y="1063862"/>
                  <a:pt x="1763716" y="1076378"/>
                  <a:pt x="1764260" y="1104675"/>
                </a:cubicBezTo>
                <a:cubicBezTo>
                  <a:pt x="1764804" y="1130796"/>
                  <a:pt x="1745758" y="1145488"/>
                  <a:pt x="1724535" y="1146032"/>
                </a:cubicBezTo>
                <a:cubicBezTo>
                  <a:pt x="1703313" y="1147121"/>
                  <a:pt x="1683722" y="1130796"/>
                  <a:pt x="1683178" y="1105764"/>
                </a:cubicBezTo>
                <a:cubicBezTo>
                  <a:pt x="1684266" y="1082364"/>
                  <a:pt x="1698415" y="1064950"/>
                  <a:pt x="1723447" y="1064406"/>
                </a:cubicBezTo>
                <a:close/>
                <a:moveTo>
                  <a:pt x="2051041" y="1063318"/>
                </a:moveTo>
                <a:lnTo>
                  <a:pt x="2051041" y="1147740"/>
                </a:lnTo>
                <a:lnTo>
                  <a:pt x="2049952" y="1148210"/>
                </a:lnTo>
                <a:cubicBezTo>
                  <a:pt x="2028730" y="1147121"/>
                  <a:pt x="2008051" y="1128619"/>
                  <a:pt x="2008051" y="1105764"/>
                </a:cubicBezTo>
                <a:cubicBezTo>
                  <a:pt x="2008595" y="1081276"/>
                  <a:pt x="2027641" y="1063862"/>
                  <a:pt x="2051041" y="1063318"/>
                </a:cubicBezTo>
                <a:close/>
                <a:moveTo>
                  <a:pt x="1887787" y="1062773"/>
                </a:moveTo>
                <a:cubicBezTo>
                  <a:pt x="1909554" y="1063862"/>
                  <a:pt x="1930233" y="1084540"/>
                  <a:pt x="1929145" y="1105763"/>
                </a:cubicBezTo>
                <a:cubicBezTo>
                  <a:pt x="1928056" y="1130251"/>
                  <a:pt x="1908466" y="1147121"/>
                  <a:pt x="1886699" y="1147665"/>
                </a:cubicBezTo>
                <a:cubicBezTo>
                  <a:pt x="1862755" y="1145488"/>
                  <a:pt x="1845886" y="1127530"/>
                  <a:pt x="1844798" y="1105219"/>
                </a:cubicBezTo>
                <a:cubicBezTo>
                  <a:pt x="1844253" y="1083996"/>
                  <a:pt x="1867109" y="1061685"/>
                  <a:pt x="1887787" y="1062773"/>
                </a:cubicBezTo>
                <a:close/>
                <a:moveTo>
                  <a:pt x="335798" y="1011621"/>
                </a:moveTo>
                <a:cubicBezTo>
                  <a:pt x="343960" y="1011621"/>
                  <a:pt x="347770" y="1014886"/>
                  <a:pt x="348314" y="1023049"/>
                </a:cubicBezTo>
                <a:cubicBezTo>
                  <a:pt x="348314" y="1031755"/>
                  <a:pt x="344505" y="1036109"/>
                  <a:pt x="336886" y="1036109"/>
                </a:cubicBezTo>
                <a:cubicBezTo>
                  <a:pt x="329268" y="1036109"/>
                  <a:pt x="324914" y="1032300"/>
                  <a:pt x="324370" y="1024681"/>
                </a:cubicBezTo>
                <a:cubicBezTo>
                  <a:pt x="323826" y="1015974"/>
                  <a:pt x="327635" y="1011621"/>
                  <a:pt x="335798" y="1011621"/>
                </a:cubicBezTo>
                <a:close/>
                <a:moveTo>
                  <a:pt x="499051" y="1002914"/>
                </a:moveTo>
                <a:cubicBezTo>
                  <a:pt x="508846" y="1002370"/>
                  <a:pt x="520818" y="1014342"/>
                  <a:pt x="520818" y="1024137"/>
                </a:cubicBezTo>
                <a:cubicBezTo>
                  <a:pt x="520818" y="1032844"/>
                  <a:pt x="508846" y="1045360"/>
                  <a:pt x="499595" y="1045360"/>
                </a:cubicBezTo>
                <a:cubicBezTo>
                  <a:pt x="490888" y="1045360"/>
                  <a:pt x="478372" y="1032844"/>
                  <a:pt x="478372" y="1024137"/>
                </a:cubicBezTo>
                <a:cubicBezTo>
                  <a:pt x="478372" y="1014886"/>
                  <a:pt x="489800" y="1002914"/>
                  <a:pt x="499051" y="1002914"/>
                </a:cubicBezTo>
                <a:close/>
                <a:moveTo>
                  <a:pt x="663392" y="997473"/>
                </a:moveTo>
                <a:cubicBezTo>
                  <a:pt x="675908" y="998561"/>
                  <a:pt x="688968" y="1011622"/>
                  <a:pt x="688424" y="1024138"/>
                </a:cubicBezTo>
                <a:cubicBezTo>
                  <a:pt x="687880" y="1039374"/>
                  <a:pt x="676452" y="1050802"/>
                  <a:pt x="661759" y="1050258"/>
                </a:cubicBezTo>
                <a:cubicBezTo>
                  <a:pt x="647066" y="1049170"/>
                  <a:pt x="637271" y="1036109"/>
                  <a:pt x="636727" y="1023593"/>
                </a:cubicBezTo>
                <a:cubicBezTo>
                  <a:pt x="637271" y="1010533"/>
                  <a:pt x="651420" y="996929"/>
                  <a:pt x="663392" y="997473"/>
                </a:cubicBezTo>
                <a:close/>
                <a:moveTo>
                  <a:pt x="826645" y="995840"/>
                </a:moveTo>
                <a:cubicBezTo>
                  <a:pt x="845147" y="995296"/>
                  <a:pt x="855486" y="1007267"/>
                  <a:pt x="854942" y="1024137"/>
                </a:cubicBezTo>
                <a:cubicBezTo>
                  <a:pt x="855486" y="1039374"/>
                  <a:pt x="845147" y="1052978"/>
                  <a:pt x="825557" y="1052978"/>
                </a:cubicBezTo>
                <a:cubicBezTo>
                  <a:pt x="808143" y="1052434"/>
                  <a:pt x="796715" y="1041006"/>
                  <a:pt x="797260" y="1023593"/>
                </a:cubicBezTo>
                <a:cubicBezTo>
                  <a:pt x="797260" y="1005635"/>
                  <a:pt x="808687" y="995840"/>
                  <a:pt x="826645" y="995840"/>
                </a:cubicBezTo>
                <a:close/>
                <a:moveTo>
                  <a:pt x="990441" y="990942"/>
                </a:moveTo>
                <a:cubicBezTo>
                  <a:pt x="1008943" y="990942"/>
                  <a:pt x="1023092" y="1006179"/>
                  <a:pt x="1022548" y="1025225"/>
                </a:cubicBezTo>
                <a:cubicBezTo>
                  <a:pt x="1022004" y="1043183"/>
                  <a:pt x="1007311" y="1056243"/>
                  <a:pt x="988809" y="1056787"/>
                </a:cubicBezTo>
                <a:cubicBezTo>
                  <a:pt x="973028" y="1057332"/>
                  <a:pt x="956702" y="1041551"/>
                  <a:pt x="956702" y="1023593"/>
                </a:cubicBezTo>
                <a:cubicBezTo>
                  <a:pt x="956158" y="1006723"/>
                  <a:pt x="973572" y="988221"/>
                  <a:pt x="990441" y="990942"/>
                </a:cubicBezTo>
                <a:close/>
                <a:moveTo>
                  <a:pt x="1150974" y="987678"/>
                </a:moveTo>
                <a:cubicBezTo>
                  <a:pt x="1170020" y="986045"/>
                  <a:pt x="1189066" y="1004547"/>
                  <a:pt x="1189610" y="1023593"/>
                </a:cubicBezTo>
                <a:cubicBezTo>
                  <a:pt x="1190154" y="1042095"/>
                  <a:pt x="1170564" y="1061685"/>
                  <a:pt x="1152062" y="1061685"/>
                </a:cubicBezTo>
                <a:cubicBezTo>
                  <a:pt x="1134104" y="1061685"/>
                  <a:pt x="1115602" y="1042639"/>
                  <a:pt x="1115058" y="1024682"/>
                </a:cubicBezTo>
                <a:cubicBezTo>
                  <a:pt x="1115058" y="1006724"/>
                  <a:pt x="1133016" y="988222"/>
                  <a:pt x="1150974" y="987678"/>
                </a:cubicBezTo>
                <a:close/>
                <a:moveTo>
                  <a:pt x="1315314" y="985501"/>
                </a:moveTo>
                <a:cubicBezTo>
                  <a:pt x="1335993" y="983868"/>
                  <a:pt x="1354495" y="1005635"/>
                  <a:pt x="1354495" y="1023593"/>
                </a:cubicBezTo>
                <a:cubicBezTo>
                  <a:pt x="1355039" y="1042639"/>
                  <a:pt x="1333816" y="1065495"/>
                  <a:pt x="1315858" y="1062230"/>
                </a:cubicBezTo>
                <a:cubicBezTo>
                  <a:pt x="1294636" y="1062230"/>
                  <a:pt x="1277222" y="1045360"/>
                  <a:pt x="1277222" y="1024137"/>
                </a:cubicBezTo>
                <a:cubicBezTo>
                  <a:pt x="1277222" y="1002914"/>
                  <a:pt x="1294091" y="986589"/>
                  <a:pt x="1315314" y="985501"/>
                </a:cubicBezTo>
                <a:close/>
                <a:moveTo>
                  <a:pt x="1479656" y="984412"/>
                </a:moveTo>
                <a:cubicBezTo>
                  <a:pt x="1503055" y="984412"/>
                  <a:pt x="1519925" y="1000737"/>
                  <a:pt x="1519380" y="1025225"/>
                </a:cubicBezTo>
                <a:cubicBezTo>
                  <a:pt x="1518836" y="1045904"/>
                  <a:pt x="1502511" y="1065494"/>
                  <a:pt x="1478567" y="1063318"/>
                </a:cubicBezTo>
                <a:cubicBezTo>
                  <a:pt x="1454624" y="1064950"/>
                  <a:pt x="1438842" y="1044816"/>
                  <a:pt x="1439387" y="1023593"/>
                </a:cubicBezTo>
                <a:cubicBezTo>
                  <a:pt x="1439931" y="1000193"/>
                  <a:pt x="1455712" y="983868"/>
                  <a:pt x="1479656" y="984412"/>
                </a:cubicBezTo>
                <a:close/>
                <a:moveTo>
                  <a:pt x="1641820" y="981691"/>
                </a:moveTo>
                <a:cubicBezTo>
                  <a:pt x="1665220" y="981691"/>
                  <a:pt x="1683178" y="999649"/>
                  <a:pt x="1684810" y="1023592"/>
                </a:cubicBezTo>
                <a:cubicBezTo>
                  <a:pt x="1683722" y="1048625"/>
                  <a:pt x="1665220" y="1066038"/>
                  <a:pt x="1642909" y="1066038"/>
                </a:cubicBezTo>
                <a:cubicBezTo>
                  <a:pt x="1618421" y="1066038"/>
                  <a:pt x="1599919" y="1047536"/>
                  <a:pt x="1599919" y="1023592"/>
                </a:cubicBezTo>
                <a:cubicBezTo>
                  <a:pt x="1599919" y="1001281"/>
                  <a:pt x="1616788" y="982235"/>
                  <a:pt x="1641820" y="981691"/>
                </a:cubicBezTo>
                <a:close/>
                <a:moveTo>
                  <a:pt x="1806161" y="980603"/>
                </a:moveTo>
                <a:cubicBezTo>
                  <a:pt x="1829561" y="980603"/>
                  <a:pt x="1848607" y="1000737"/>
                  <a:pt x="1849151" y="1023592"/>
                </a:cubicBezTo>
                <a:cubicBezTo>
                  <a:pt x="1849151" y="1046992"/>
                  <a:pt x="1827928" y="1068215"/>
                  <a:pt x="1805617" y="1067127"/>
                </a:cubicBezTo>
                <a:cubicBezTo>
                  <a:pt x="1781673" y="1068215"/>
                  <a:pt x="1762083" y="1044815"/>
                  <a:pt x="1762083" y="1023592"/>
                </a:cubicBezTo>
                <a:cubicBezTo>
                  <a:pt x="1762083" y="1002370"/>
                  <a:pt x="1781673" y="980058"/>
                  <a:pt x="1806161" y="980603"/>
                </a:cubicBezTo>
                <a:close/>
                <a:moveTo>
                  <a:pt x="1969414" y="980059"/>
                </a:moveTo>
                <a:cubicBezTo>
                  <a:pt x="1993358" y="980603"/>
                  <a:pt x="2012404" y="1001282"/>
                  <a:pt x="2012404" y="1024137"/>
                </a:cubicBezTo>
                <a:cubicBezTo>
                  <a:pt x="2012404" y="1046449"/>
                  <a:pt x="1991726" y="1069304"/>
                  <a:pt x="1968870" y="1067127"/>
                </a:cubicBezTo>
                <a:cubicBezTo>
                  <a:pt x="1946015" y="1068760"/>
                  <a:pt x="1925336" y="1044272"/>
                  <a:pt x="1924792" y="1024137"/>
                </a:cubicBezTo>
                <a:cubicBezTo>
                  <a:pt x="1924792" y="1002914"/>
                  <a:pt x="1944382" y="980059"/>
                  <a:pt x="1969414" y="980059"/>
                </a:cubicBezTo>
                <a:close/>
                <a:moveTo>
                  <a:pt x="254171" y="931083"/>
                </a:moveTo>
                <a:cubicBezTo>
                  <a:pt x="260701" y="931083"/>
                  <a:pt x="265599" y="935437"/>
                  <a:pt x="265599" y="941967"/>
                </a:cubicBezTo>
                <a:cubicBezTo>
                  <a:pt x="265599" y="948497"/>
                  <a:pt x="260701" y="952850"/>
                  <a:pt x="254171" y="952850"/>
                </a:cubicBezTo>
                <a:cubicBezTo>
                  <a:pt x="247641" y="952850"/>
                  <a:pt x="243832" y="948497"/>
                  <a:pt x="243832" y="941967"/>
                </a:cubicBezTo>
                <a:cubicBezTo>
                  <a:pt x="243832" y="935437"/>
                  <a:pt x="247641" y="931627"/>
                  <a:pt x="254171" y="931083"/>
                </a:cubicBezTo>
                <a:close/>
                <a:moveTo>
                  <a:pt x="417968" y="922377"/>
                </a:moveTo>
                <a:cubicBezTo>
                  <a:pt x="427219" y="921833"/>
                  <a:pt x="437559" y="932716"/>
                  <a:pt x="437559" y="942511"/>
                </a:cubicBezTo>
                <a:cubicBezTo>
                  <a:pt x="437559" y="951762"/>
                  <a:pt x="427219" y="961557"/>
                  <a:pt x="417968" y="961557"/>
                </a:cubicBezTo>
                <a:cubicBezTo>
                  <a:pt x="409262" y="961557"/>
                  <a:pt x="397290" y="949585"/>
                  <a:pt x="397834" y="941423"/>
                </a:cubicBezTo>
                <a:cubicBezTo>
                  <a:pt x="398378" y="933260"/>
                  <a:pt x="409806" y="922377"/>
                  <a:pt x="417968" y="922377"/>
                </a:cubicBezTo>
                <a:close/>
                <a:moveTo>
                  <a:pt x="581222" y="916934"/>
                </a:moveTo>
                <a:cubicBezTo>
                  <a:pt x="593738" y="916934"/>
                  <a:pt x="607342" y="931082"/>
                  <a:pt x="606798" y="943054"/>
                </a:cubicBezTo>
                <a:cubicBezTo>
                  <a:pt x="606254" y="955570"/>
                  <a:pt x="593738" y="967542"/>
                  <a:pt x="581222" y="967542"/>
                </a:cubicBezTo>
                <a:cubicBezTo>
                  <a:pt x="567617" y="966454"/>
                  <a:pt x="557278" y="958291"/>
                  <a:pt x="556190" y="943054"/>
                </a:cubicBezTo>
                <a:cubicBezTo>
                  <a:pt x="555101" y="929994"/>
                  <a:pt x="568161" y="916934"/>
                  <a:pt x="581222" y="916934"/>
                </a:cubicBezTo>
                <a:close/>
                <a:moveTo>
                  <a:pt x="744474" y="913669"/>
                </a:moveTo>
                <a:cubicBezTo>
                  <a:pt x="765153" y="913669"/>
                  <a:pt x="773860" y="927273"/>
                  <a:pt x="773315" y="942510"/>
                </a:cubicBezTo>
                <a:cubicBezTo>
                  <a:pt x="772771" y="959924"/>
                  <a:pt x="761344" y="971352"/>
                  <a:pt x="743930" y="970807"/>
                </a:cubicBezTo>
                <a:cubicBezTo>
                  <a:pt x="727061" y="970807"/>
                  <a:pt x="716177" y="959380"/>
                  <a:pt x="716177" y="941966"/>
                </a:cubicBezTo>
                <a:cubicBezTo>
                  <a:pt x="716177" y="923464"/>
                  <a:pt x="727605" y="914213"/>
                  <a:pt x="744474" y="913669"/>
                </a:cubicBezTo>
                <a:close/>
                <a:moveTo>
                  <a:pt x="908271" y="908772"/>
                </a:moveTo>
                <a:cubicBezTo>
                  <a:pt x="927317" y="910405"/>
                  <a:pt x="940922" y="924553"/>
                  <a:pt x="940377" y="944144"/>
                </a:cubicBezTo>
                <a:cubicBezTo>
                  <a:pt x="939833" y="962101"/>
                  <a:pt x="925141" y="975162"/>
                  <a:pt x="906094" y="975162"/>
                </a:cubicBezTo>
                <a:cubicBezTo>
                  <a:pt x="890313" y="975162"/>
                  <a:pt x="873988" y="959925"/>
                  <a:pt x="874532" y="940879"/>
                </a:cubicBezTo>
                <a:cubicBezTo>
                  <a:pt x="874532" y="925641"/>
                  <a:pt x="891402" y="907684"/>
                  <a:pt x="908271" y="908772"/>
                </a:cubicBezTo>
                <a:close/>
                <a:moveTo>
                  <a:pt x="1072068" y="906051"/>
                </a:moveTo>
                <a:cubicBezTo>
                  <a:pt x="1093291" y="907683"/>
                  <a:pt x="1105807" y="921832"/>
                  <a:pt x="1107984" y="942511"/>
                </a:cubicBezTo>
                <a:cubicBezTo>
                  <a:pt x="1107984" y="961013"/>
                  <a:pt x="1088938" y="979515"/>
                  <a:pt x="1070980" y="979515"/>
                </a:cubicBezTo>
                <a:cubicBezTo>
                  <a:pt x="1053022" y="979515"/>
                  <a:pt x="1034520" y="960469"/>
                  <a:pt x="1034520" y="942511"/>
                </a:cubicBezTo>
                <a:cubicBezTo>
                  <a:pt x="1034520" y="923465"/>
                  <a:pt x="1053566" y="904419"/>
                  <a:pt x="1072068" y="906051"/>
                </a:cubicBezTo>
                <a:close/>
                <a:moveTo>
                  <a:pt x="1235321" y="903874"/>
                </a:moveTo>
                <a:cubicBezTo>
                  <a:pt x="1257088" y="903874"/>
                  <a:pt x="1272325" y="920199"/>
                  <a:pt x="1272325" y="943054"/>
                </a:cubicBezTo>
                <a:cubicBezTo>
                  <a:pt x="1275045" y="962645"/>
                  <a:pt x="1251646" y="982779"/>
                  <a:pt x="1233688" y="981147"/>
                </a:cubicBezTo>
                <a:cubicBezTo>
                  <a:pt x="1211921" y="979514"/>
                  <a:pt x="1195052" y="963189"/>
                  <a:pt x="1195596" y="940878"/>
                </a:cubicBezTo>
                <a:cubicBezTo>
                  <a:pt x="1196140" y="919111"/>
                  <a:pt x="1212465" y="903330"/>
                  <a:pt x="1235321" y="903874"/>
                </a:cubicBezTo>
                <a:close/>
                <a:moveTo>
                  <a:pt x="1397486" y="901153"/>
                </a:moveTo>
                <a:cubicBezTo>
                  <a:pt x="1420885" y="901698"/>
                  <a:pt x="1437755" y="917479"/>
                  <a:pt x="1438299" y="942511"/>
                </a:cubicBezTo>
                <a:cubicBezTo>
                  <a:pt x="1437210" y="966999"/>
                  <a:pt x="1420341" y="983324"/>
                  <a:pt x="1396941" y="983324"/>
                </a:cubicBezTo>
                <a:cubicBezTo>
                  <a:pt x="1371909" y="983324"/>
                  <a:pt x="1355584" y="963190"/>
                  <a:pt x="1356128" y="941967"/>
                </a:cubicBezTo>
                <a:cubicBezTo>
                  <a:pt x="1356128" y="919655"/>
                  <a:pt x="1373542" y="900609"/>
                  <a:pt x="1397486" y="901153"/>
                </a:cubicBezTo>
                <a:close/>
                <a:moveTo>
                  <a:pt x="1560738" y="898977"/>
                </a:moveTo>
                <a:cubicBezTo>
                  <a:pt x="1584138" y="899521"/>
                  <a:pt x="1603728" y="917479"/>
                  <a:pt x="1603728" y="942511"/>
                </a:cubicBezTo>
                <a:cubicBezTo>
                  <a:pt x="1603728" y="966999"/>
                  <a:pt x="1581961" y="985501"/>
                  <a:pt x="1560738" y="985501"/>
                </a:cubicBezTo>
                <a:cubicBezTo>
                  <a:pt x="1537883" y="985501"/>
                  <a:pt x="1516660" y="963734"/>
                  <a:pt x="1517204" y="941423"/>
                </a:cubicBezTo>
                <a:cubicBezTo>
                  <a:pt x="1517748" y="919656"/>
                  <a:pt x="1535706" y="898977"/>
                  <a:pt x="1560738" y="898977"/>
                </a:cubicBezTo>
                <a:close/>
                <a:moveTo>
                  <a:pt x="1723990" y="897888"/>
                </a:moveTo>
                <a:cubicBezTo>
                  <a:pt x="1747934" y="897888"/>
                  <a:pt x="1769701" y="919111"/>
                  <a:pt x="1768069" y="942510"/>
                </a:cubicBezTo>
                <a:cubicBezTo>
                  <a:pt x="1770245" y="965366"/>
                  <a:pt x="1746302" y="987133"/>
                  <a:pt x="1723990" y="986589"/>
                </a:cubicBezTo>
                <a:cubicBezTo>
                  <a:pt x="1701679" y="986589"/>
                  <a:pt x="1679912" y="964278"/>
                  <a:pt x="1679912" y="941422"/>
                </a:cubicBezTo>
                <a:cubicBezTo>
                  <a:pt x="1680456" y="919655"/>
                  <a:pt x="1700047" y="897888"/>
                  <a:pt x="1723990" y="897888"/>
                </a:cubicBezTo>
                <a:close/>
                <a:moveTo>
                  <a:pt x="2050497" y="897344"/>
                </a:moveTo>
                <a:lnTo>
                  <a:pt x="2051041" y="897453"/>
                </a:lnTo>
                <a:lnTo>
                  <a:pt x="2051041" y="986917"/>
                </a:lnTo>
                <a:lnTo>
                  <a:pt x="2049952" y="987133"/>
                </a:lnTo>
                <a:cubicBezTo>
                  <a:pt x="2026553" y="987133"/>
                  <a:pt x="2004786" y="965366"/>
                  <a:pt x="2005330" y="941422"/>
                </a:cubicBezTo>
                <a:cubicBezTo>
                  <a:pt x="2005874" y="918023"/>
                  <a:pt x="2026009" y="897344"/>
                  <a:pt x="2050497" y="897344"/>
                </a:cubicBezTo>
                <a:close/>
                <a:moveTo>
                  <a:pt x="1887243" y="897344"/>
                </a:moveTo>
                <a:cubicBezTo>
                  <a:pt x="1910099" y="897344"/>
                  <a:pt x="1931866" y="916390"/>
                  <a:pt x="1931866" y="942511"/>
                </a:cubicBezTo>
                <a:cubicBezTo>
                  <a:pt x="1931866" y="965910"/>
                  <a:pt x="1910099" y="986589"/>
                  <a:pt x="1887243" y="986589"/>
                </a:cubicBezTo>
                <a:cubicBezTo>
                  <a:pt x="1864932" y="987133"/>
                  <a:pt x="1839900" y="965910"/>
                  <a:pt x="1843165" y="941422"/>
                </a:cubicBezTo>
                <a:cubicBezTo>
                  <a:pt x="1840444" y="918567"/>
                  <a:pt x="1863299" y="897344"/>
                  <a:pt x="1887243" y="897344"/>
                </a:cubicBezTo>
                <a:close/>
                <a:moveTo>
                  <a:pt x="172545" y="854354"/>
                </a:moveTo>
                <a:cubicBezTo>
                  <a:pt x="176899" y="854354"/>
                  <a:pt x="179619" y="855442"/>
                  <a:pt x="179619" y="860884"/>
                </a:cubicBezTo>
                <a:cubicBezTo>
                  <a:pt x="180164" y="864693"/>
                  <a:pt x="177987" y="866870"/>
                  <a:pt x="173634" y="866870"/>
                </a:cubicBezTo>
                <a:cubicBezTo>
                  <a:pt x="169824" y="866870"/>
                  <a:pt x="166559" y="866870"/>
                  <a:pt x="166015" y="861973"/>
                </a:cubicBezTo>
                <a:cubicBezTo>
                  <a:pt x="165471" y="857075"/>
                  <a:pt x="167103" y="854354"/>
                  <a:pt x="172545" y="854354"/>
                </a:cubicBezTo>
                <a:close/>
                <a:moveTo>
                  <a:pt x="336342" y="843471"/>
                </a:moveTo>
                <a:cubicBezTo>
                  <a:pt x="346681" y="844015"/>
                  <a:pt x="353211" y="849457"/>
                  <a:pt x="353211" y="860340"/>
                </a:cubicBezTo>
                <a:cubicBezTo>
                  <a:pt x="353211" y="872312"/>
                  <a:pt x="348858" y="876665"/>
                  <a:pt x="336886" y="877210"/>
                </a:cubicBezTo>
                <a:cubicBezTo>
                  <a:pt x="324370" y="877210"/>
                  <a:pt x="320561" y="872856"/>
                  <a:pt x="320017" y="860884"/>
                </a:cubicBezTo>
                <a:cubicBezTo>
                  <a:pt x="319473" y="851089"/>
                  <a:pt x="327635" y="842927"/>
                  <a:pt x="336342" y="843471"/>
                </a:cubicBezTo>
                <a:close/>
                <a:moveTo>
                  <a:pt x="500139" y="837485"/>
                </a:moveTo>
                <a:cubicBezTo>
                  <a:pt x="514832" y="837485"/>
                  <a:pt x="522994" y="846735"/>
                  <a:pt x="522994" y="861428"/>
                </a:cubicBezTo>
                <a:cubicBezTo>
                  <a:pt x="522994" y="876121"/>
                  <a:pt x="513743" y="884284"/>
                  <a:pt x="499595" y="884284"/>
                </a:cubicBezTo>
                <a:cubicBezTo>
                  <a:pt x="485446" y="883740"/>
                  <a:pt x="475651" y="875033"/>
                  <a:pt x="476739" y="860340"/>
                </a:cubicBezTo>
                <a:cubicBezTo>
                  <a:pt x="476195" y="842926"/>
                  <a:pt x="489256" y="836940"/>
                  <a:pt x="500139" y="837485"/>
                </a:cubicBezTo>
                <a:close/>
                <a:moveTo>
                  <a:pt x="662848" y="832587"/>
                </a:moveTo>
                <a:cubicBezTo>
                  <a:pt x="677541" y="832587"/>
                  <a:pt x="691689" y="842926"/>
                  <a:pt x="690057" y="860340"/>
                </a:cubicBezTo>
                <a:cubicBezTo>
                  <a:pt x="691689" y="876121"/>
                  <a:pt x="679718" y="888637"/>
                  <a:pt x="662848" y="888637"/>
                </a:cubicBezTo>
                <a:cubicBezTo>
                  <a:pt x="644890" y="888637"/>
                  <a:pt x="634551" y="874489"/>
                  <a:pt x="634551" y="861428"/>
                </a:cubicBezTo>
                <a:cubicBezTo>
                  <a:pt x="634551" y="842926"/>
                  <a:pt x="647611" y="832587"/>
                  <a:pt x="662848" y="832587"/>
                </a:cubicBezTo>
                <a:close/>
                <a:moveTo>
                  <a:pt x="826101" y="827146"/>
                </a:moveTo>
                <a:cubicBezTo>
                  <a:pt x="840249" y="826602"/>
                  <a:pt x="859840" y="843471"/>
                  <a:pt x="859295" y="860885"/>
                </a:cubicBezTo>
                <a:cubicBezTo>
                  <a:pt x="858751" y="875033"/>
                  <a:pt x="844603" y="894624"/>
                  <a:pt x="825556" y="892991"/>
                </a:cubicBezTo>
                <a:cubicBezTo>
                  <a:pt x="808687" y="894079"/>
                  <a:pt x="793450" y="877754"/>
                  <a:pt x="793450" y="860885"/>
                </a:cubicBezTo>
                <a:cubicBezTo>
                  <a:pt x="793994" y="842927"/>
                  <a:pt x="808143" y="828234"/>
                  <a:pt x="826101" y="827146"/>
                </a:cubicBezTo>
                <a:close/>
                <a:moveTo>
                  <a:pt x="988809" y="824424"/>
                </a:moveTo>
                <a:cubicBezTo>
                  <a:pt x="1010576" y="825512"/>
                  <a:pt x="1024180" y="839661"/>
                  <a:pt x="1025813" y="860339"/>
                </a:cubicBezTo>
                <a:cubicBezTo>
                  <a:pt x="1026901" y="878842"/>
                  <a:pt x="1008399" y="896799"/>
                  <a:pt x="989897" y="897344"/>
                </a:cubicBezTo>
                <a:cubicBezTo>
                  <a:pt x="971939" y="897344"/>
                  <a:pt x="953982" y="880474"/>
                  <a:pt x="953437" y="861972"/>
                </a:cubicBezTo>
                <a:cubicBezTo>
                  <a:pt x="951805" y="842926"/>
                  <a:pt x="969763" y="824968"/>
                  <a:pt x="988809" y="824424"/>
                </a:cubicBezTo>
                <a:close/>
                <a:moveTo>
                  <a:pt x="1153695" y="821704"/>
                </a:moveTo>
                <a:cubicBezTo>
                  <a:pt x="1175462" y="822248"/>
                  <a:pt x="1191243" y="839118"/>
                  <a:pt x="1191243" y="861429"/>
                </a:cubicBezTo>
                <a:cubicBezTo>
                  <a:pt x="1193964" y="882107"/>
                  <a:pt x="1169476" y="900610"/>
                  <a:pt x="1152606" y="899521"/>
                </a:cubicBezTo>
                <a:cubicBezTo>
                  <a:pt x="1130839" y="898433"/>
                  <a:pt x="1114514" y="882107"/>
                  <a:pt x="1114514" y="859252"/>
                </a:cubicBezTo>
                <a:cubicBezTo>
                  <a:pt x="1115058" y="837485"/>
                  <a:pt x="1131928" y="821704"/>
                  <a:pt x="1153695" y="821704"/>
                </a:cubicBezTo>
                <a:close/>
                <a:moveTo>
                  <a:pt x="1316403" y="818982"/>
                </a:moveTo>
                <a:cubicBezTo>
                  <a:pt x="1341979" y="820071"/>
                  <a:pt x="1356128" y="838573"/>
                  <a:pt x="1357216" y="860884"/>
                </a:cubicBezTo>
                <a:cubicBezTo>
                  <a:pt x="1356128" y="884828"/>
                  <a:pt x="1337626" y="901697"/>
                  <a:pt x="1315315" y="901697"/>
                </a:cubicBezTo>
                <a:cubicBezTo>
                  <a:pt x="1293003" y="901697"/>
                  <a:pt x="1273957" y="884284"/>
                  <a:pt x="1274501" y="860340"/>
                </a:cubicBezTo>
                <a:cubicBezTo>
                  <a:pt x="1275046" y="835852"/>
                  <a:pt x="1291915" y="818438"/>
                  <a:pt x="1316403" y="818982"/>
                </a:cubicBezTo>
                <a:close/>
                <a:moveTo>
                  <a:pt x="1479112" y="816806"/>
                </a:moveTo>
                <a:cubicBezTo>
                  <a:pt x="1501423" y="816806"/>
                  <a:pt x="1523190" y="835852"/>
                  <a:pt x="1522646" y="860340"/>
                </a:cubicBezTo>
                <a:cubicBezTo>
                  <a:pt x="1523735" y="885372"/>
                  <a:pt x="1499791" y="904419"/>
                  <a:pt x="1479656" y="904419"/>
                </a:cubicBezTo>
                <a:cubicBezTo>
                  <a:pt x="1457889" y="904419"/>
                  <a:pt x="1436122" y="883740"/>
                  <a:pt x="1435578" y="860884"/>
                </a:cubicBezTo>
                <a:cubicBezTo>
                  <a:pt x="1435578" y="838573"/>
                  <a:pt x="1455713" y="816806"/>
                  <a:pt x="1479112" y="816806"/>
                </a:cubicBezTo>
                <a:close/>
                <a:moveTo>
                  <a:pt x="1642909" y="815718"/>
                </a:moveTo>
                <a:cubicBezTo>
                  <a:pt x="1665764" y="816262"/>
                  <a:pt x="1686987" y="835852"/>
                  <a:pt x="1686987" y="860885"/>
                </a:cubicBezTo>
                <a:cubicBezTo>
                  <a:pt x="1686987" y="884284"/>
                  <a:pt x="1666308" y="906051"/>
                  <a:pt x="1641276" y="905507"/>
                </a:cubicBezTo>
                <a:cubicBezTo>
                  <a:pt x="1619509" y="905507"/>
                  <a:pt x="1595021" y="884284"/>
                  <a:pt x="1597742" y="860340"/>
                </a:cubicBezTo>
                <a:cubicBezTo>
                  <a:pt x="1595021" y="836941"/>
                  <a:pt x="1619509" y="815174"/>
                  <a:pt x="1642909" y="815718"/>
                </a:cubicBezTo>
                <a:close/>
                <a:moveTo>
                  <a:pt x="1806161" y="815173"/>
                </a:moveTo>
                <a:cubicBezTo>
                  <a:pt x="1832282" y="815717"/>
                  <a:pt x="1854593" y="836396"/>
                  <a:pt x="1852416" y="860884"/>
                </a:cubicBezTo>
                <a:cubicBezTo>
                  <a:pt x="1850240" y="885372"/>
                  <a:pt x="1837179" y="906050"/>
                  <a:pt x="1805617" y="906594"/>
                </a:cubicBezTo>
                <a:cubicBezTo>
                  <a:pt x="1776776" y="906594"/>
                  <a:pt x="1759362" y="885916"/>
                  <a:pt x="1759906" y="860884"/>
                </a:cubicBezTo>
                <a:cubicBezTo>
                  <a:pt x="1759906" y="834219"/>
                  <a:pt x="1776776" y="815717"/>
                  <a:pt x="1806161" y="815173"/>
                </a:cubicBezTo>
                <a:close/>
                <a:moveTo>
                  <a:pt x="1968326" y="812453"/>
                </a:moveTo>
                <a:cubicBezTo>
                  <a:pt x="1979754" y="812453"/>
                  <a:pt x="1991726" y="817351"/>
                  <a:pt x="2000977" y="826057"/>
                </a:cubicBezTo>
                <a:cubicBezTo>
                  <a:pt x="2010772" y="835308"/>
                  <a:pt x="2016214" y="847280"/>
                  <a:pt x="2015670" y="859796"/>
                </a:cubicBezTo>
                <a:cubicBezTo>
                  <a:pt x="2014581" y="884828"/>
                  <a:pt x="2000977" y="904963"/>
                  <a:pt x="1969415" y="907684"/>
                </a:cubicBezTo>
                <a:cubicBezTo>
                  <a:pt x="1942206" y="906051"/>
                  <a:pt x="1923704" y="890270"/>
                  <a:pt x="1922071" y="860885"/>
                </a:cubicBezTo>
                <a:cubicBezTo>
                  <a:pt x="1920983" y="836397"/>
                  <a:pt x="1943294" y="812453"/>
                  <a:pt x="1968326" y="812453"/>
                </a:cubicBezTo>
                <a:close/>
                <a:moveTo>
                  <a:pt x="255260" y="762932"/>
                </a:moveTo>
                <a:cubicBezTo>
                  <a:pt x="261790" y="763476"/>
                  <a:pt x="271041" y="773271"/>
                  <a:pt x="270497" y="779802"/>
                </a:cubicBezTo>
                <a:cubicBezTo>
                  <a:pt x="270497" y="786332"/>
                  <a:pt x="261246" y="795038"/>
                  <a:pt x="254172" y="795038"/>
                </a:cubicBezTo>
                <a:cubicBezTo>
                  <a:pt x="246553" y="795038"/>
                  <a:pt x="238391" y="786332"/>
                  <a:pt x="238935" y="778713"/>
                </a:cubicBezTo>
                <a:cubicBezTo>
                  <a:pt x="239479" y="771095"/>
                  <a:pt x="248186" y="762388"/>
                  <a:pt x="255260" y="762932"/>
                </a:cubicBezTo>
                <a:close/>
                <a:moveTo>
                  <a:pt x="416881" y="756402"/>
                </a:moveTo>
                <a:cubicBezTo>
                  <a:pt x="430485" y="756402"/>
                  <a:pt x="439736" y="765109"/>
                  <a:pt x="440280" y="778713"/>
                </a:cubicBezTo>
                <a:cubicBezTo>
                  <a:pt x="440280" y="791229"/>
                  <a:pt x="431573" y="801024"/>
                  <a:pt x="419057" y="801024"/>
                </a:cubicBezTo>
                <a:cubicBezTo>
                  <a:pt x="405997" y="801569"/>
                  <a:pt x="396202" y="792317"/>
                  <a:pt x="396202" y="779257"/>
                </a:cubicBezTo>
                <a:cubicBezTo>
                  <a:pt x="396202" y="766741"/>
                  <a:pt x="404909" y="756946"/>
                  <a:pt x="416881" y="756402"/>
                </a:cubicBezTo>
                <a:close/>
                <a:moveTo>
                  <a:pt x="581766" y="751505"/>
                </a:moveTo>
                <a:cubicBezTo>
                  <a:pt x="598091" y="752594"/>
                  <a:pt x="607887" y="762933"/>
                  <a:pt x="608975" y="779802"/>
                </a:cubicBezTo>
                <a:cubicBezTo>
                  <a:pt x="608975" y="792318"/>
                  <a:pt x="596459" y="808644"/>
                  <a:pt x="580678" y="806467"/>
                </a:cubicBezTo>
                <a:cubicBezTo>
                  <a:pt x="565985" y="808100"/>
                  <a:pt x="553469" y="792318"/>
                  <a:pt x="553469" y="778714"/>
                </a:cubicBezTo>
                <a:cubicBezTo>
                  <a:pt x="553469" y="764021"/>
                  <a:pt x="567618" y="750417"/>
                  <a:pt x="581766" y="751505"/>
                </a:cubicBezTo>
                <a:close/>
                <a:moveTo>
                  <a:pt x="746107" y="746607"/>
                </a:moveTo>
                <a:cubicBezTo>
                  <a:pt x="762432" y="747695"/>
                  <a:pt x="778213" y="765653"/>
                  <a:pt x="777125" y="780346"/>
                </a:cubicBezTo>
                <a:cubicBezTo>
                  <a:pt x="776581" y="795038"/>
                  <a:pt x="762432" y="811908"/>
                  <a:pt x="742842" y="811364"/>
                </a:cubicBezTo>
                <a:cubicBezTo>
                  <a:pt x="725428" y="810276"/>
                  <a:pt x="712368" y="795583"/>
                  <a:pt x="712368" y="778713"/>
                </a:cubicBezTo>
                <a:cubicBezTo>
                  <a:pt x="712368" y="760755"/>
                  <a:pt x="730870" y="745519"/>
                  <a:pt x="746107" y="746607"/>
                </a:cubicBezTo>
                <a:close/>
                <a:moveTo>
                  <a:pt x="907727" y="741710"/>
                </a:moveTo>
                <a:cubicBezTo>
                  <a:pt x="925684" y="741710"/>
                  <a:pt x="944187" y="760756"/>
                  <a:pt x="944187" y="778714"/>
                </a:cubicBezTo>
                <a:cubicBezTo>
                  <a:pt x="944187" y="796672"/>
                  <a:pt x="926229" y="815174"/>
                  <a:pt x="907727" y="815174"/>
                </a:cubicBezTo>
                <a:cubicBezTo>
                  <a:pt x="889225" y="815174"/>
                  <a:pt x="872899" y="798848"/>
                  <a:pt x="872355" y="779258"/>
                </a:cubicBezTo>
                <a:cubicBezTo>
                  <a:pt x="871811" y="759668"/>
                  <a:pt x="888136" y="742254"/>
                  <a:pt x="907727" y="741710"/>
                </a:cubicBezTo>
                <a:close/>
                <a:moveTo>
                  <a:pt x="1070979" y="740621"/>
                </a:moveTo>
                <a:cubicBezTo>
                  <a:pt x="1091114" y="737357"/>
                  <a:pt x="1110704" y="761300"/>
                  <a:pt x="1110160" y="779258"/>
                </a:cubicBezTo>
                <a:cubicBezTo>
                  <a:pt x="1110160" y="798304"/>
                  <a:pt x="1089481" y="817894"/>
                  <a:pt x="1070979" y="817894"/>
                </a:cubicBezTo>
                <a:cubicBezTo>
                  <a:pt x="1049757" y="817894"/>
                  <a:pt x="1031255" y="797216"/>
                  <a:pt x="1031799" y="778714"/>
                </a:cubicBezTo>
                <a:cubicBezTo>
                  <a:pt x="1033431" y="756947"/>
                  <a:pt x="1049212" y="740621"/>
                  <a:pt x="1070979" y="740621"/>
                </a:cubicBezTo>
                <a:close/>
                <a:moveTo>
                  <a:pt x="1233688" y="736268"/>
                </a:moveTo>
                <a:cubicBezTo>
                  <a:pt x="1254367" y="735723"/>
                  <a:pt x="1276134" y="756402"/>
                  <a:pt x="1276134" y="777625"/>
                </a:cubicBezTo>
                <a:cubicBezTo>
                  <a:pt x="1276134" y="801025"/>
                  <a:pt x="1258720" y="819526"/>
                  <a:pt x="1235320" y="820615"/>
                </a:cubicBezTo>
                <a:cubicBezTo>
                  <a:pt x="1211377" y="821159"/>
                  <a:pt x="1193419" y="802657"/>
                  <a:pt x="1192331" y="779258"/>
                </a:cubicBezTo>
                <a:cubicBezTo>
                  <a:pt x="1190698" y="758579"/>
                  <a:pt x="1213009" y="736812"/>
                  <a:pt x="1233688" y="736268"/>
                </a:cubicBezTo>
                <a:close/>
                <a:moveTo>
                  <a:pt x="1397485" y="735724"/>
                </a:moveTo>
                <a:cubicBezTo>
                  <a:pt x="1421973" y="734091"/>
                  <a:pt x="1441564" y="757491"/>
                  <a:pt x="1441019" y="779802"/>
                </a:cubicBezTo>
                <a:cubicBezTo>
                  <a:pt x="1441019" y="803746"/>
                  <a:pt x="1418708" y="823336"/>
                  <a:pt x="1396397" y="823336"/>
                </a:cubicBezTo>
                <a:cubicBezTo>
                  <a:pt x="1374630" y="823336"/>
                  <a:pt x="1352863" y="802113"/>
                  <a:pt x="1352863" y="779258"/>
                </a:cubicBezTo>
                <a:cubicBezTo>
                  <a:pt x="1353407" y="758579"/>
                  <a:pt x="1372453" y="733547"/>
                  <a:pt x="1397485" y="735724"/>
                </a:cubicBezTo>
                <a:close/>
                <a:moveTo>
                  <a:pt x="1562371" y="734636"/>
                </a:moveTo>
                <a:cubicBezTo>
                  <a:pt x="1586314" y="732459"/>
                  <a:pt x="1605905" y="754226"/>
                  <a:pt x="1605905" y="779802"/>
                </a:cubicBezTo>
                <a:cubicBezTo>
                  <a:pt x="1605361" y="805923"/>
                  <a:pt x="1585226" y="823881"/>
                  <a:pt x="1560194" y="823881"/>
                </a:cubicBezTo>
                <a:cubicBezTo>
                  <a:pt x="1535706" y="823881"/>
                  <a:pt x="1515027" y="803202"/>
                  <a:pt x="1515572" y="777626"/>
                </a:cubicBezTo>
                <a:cubicBezTo>
                  <a:pt x="1516116" y="755859"/>
                  <a:pt x="1535162" y="731371"/>
                  <a:pt x="1562371" y="734636"/>
                </a:cubicBezTo>
                <a:close/>
                <a:moveTo>
                  <a:pt x="1724535" y="730827"/>
                </a:moveTo>
                <a:cubicBezTo>
                  <a:pt x="1748478" y="731371"/>
                  <a:pt x="1772422" y="755314"/>
                  <a:pt x="1772422" y="779258"/>
                </a:cubicBezTo>
                <a:cubicBezTo>
                  <a:pt x="1771878" y="804290"/>
                  <a:pt x="1748478" y="826602"/>
                  <a:pt x="1723446" y="826602"/>
                </a:cubicBezTo>
                <a:cubicBezTo>
                  <a:pt x="1696238" y="823881"/>
                  <a:pt x="1677736" y="807011"/>
                  <a:pt x="1676647" y="778714"/>
                </a:cubicBezTo>
                <a:cubicBezTo>
                  <a:pt x="1676103" y="753138"/>
                  <a:pt x="1699503" y="730282"/>
                  <a:pt x="1724535" y="730827"/>
                </a:cubicBezTo>
                <a:close/>
                <a:moveTo>
                  <a:pt x="1886699" y="730826"/>
                </a:moveTo>
                <a:cubicBezTo>
                  <a:pt x="1914452" y="730826"/>
                  <a:pt x="1934587" y="749872"/>
                  <a:pt x="1935131" y="778713"/>
                </a:cubicBezTo>
                <a:cubicBezTo>
                  <a:pt x="1936219" y="804834"/>
                  <a:pt x="1916085" y="826601"/>
                  <a:pt x="1887244" y="827145"/>
                </a:cubicBezTo>
                <a:cubicBezTo>
                  <a:pt x="1860579" y="826601"/>
                  <a:pt x="1838812" y="805922"/>
                  <a:pt x="1838812" y="778713"/>
                </a:cubicBezTo>
                <a:cubicBezTo>
                  <a:pt x="1839356" y="750416"/>
                  <a:pt x="1860035" y="730282"/>
                  <a:pt x="1886699" y="730826"/>
                </a:cubicBezTo>
                <a:close/>
                <a:moveTo>
                  <a:pt x="2050496" y="730282"/>
                </a:moveTo>
                <a:lnTo>
                  <a:pt x="2051041" y="730396"/>
                </a:lnTo>
                <a:lnTo>
                  <a:pt x="2051041" y="826942"/>
                </a:lnTo>
                <a:lnTo>
                  <a:pt x="2049952" y="827145"/>
                </a:lnTo>
                <a:cubicBezTo>
                  <a:pt x="2023832" y="827145"/>
                  <a:pt x="2001521" y="804290"/>
                  <a:pt x="2002065" y="778169"/>
                </a:cubicBezTo>
                <a:cubicBezTo>
                  <a:pt x="2002609" y="751505"/>
                  <a:pt x="2024376" y="730282"/>
                  <a:pt x="2050496" y="730282"/>
                </a:cubicBezTo>
                <a:close/>
                <a:moveTo>
                  <a:pt x="173634" y="685660"/>
                </a:moveTo>
                <a:cubicBezTo>
                  <a:pt x="181253" y="685660"/>
                  <a:pt x="185062" y="690013"/>
                  <a:pt x="184518" y="698176"/>
                </a:cubicBezTo>
                <a:cubicBezTo>
                  <a:pt x="183973" y="705250"/>
                  <a:pt x="180164" y="709059"/>
                  <a:pt x="172546" y="709059"/>
                </a:cubicBezTo>
                <a:cubicBezTo>
                  <a:pt x="164383" y="709059"/>
                  <a:pt x="160574" y="705250"/>
                  <a:pt x="161118" y="697088"/>
                </a:cubicBezTo>
                <a:cubicBezTo>
                  <a:pt x="161662" y="688925"/>
                  <a:pt x="164927" y="685660"/>
                  <a:pt x="173634" y="685660"/>
                </a:cubicBezTo>
                <a:close/>
                <a:moveTo>
                  <a:pt x="335798" y="675320"/>
                </a:moveTo>
                <a:cubicBezTo>
                  <a:pt x="345593" y="675320"/>
                  <a:pt x="357565" y="685115"/>
                  <a:pt x="357565" y="696543"/>
                </a:cubicBezTo>
                <a:cubicBezTo>
                  <a:pt x="357565" y="707426"/>
                  <a:pt x="346682" y="718854"/>
                  <a:pt x="336342" y="718854"/>
                </a:cubicBezTo>
                <a:cubicBezTo>
                  <a:pt x="327091" y="718854"/>
                  <a:pt x="315664" y="707426"/>
                  <a:pt x="315120" y="697631"/>
                </a:cubicBezTo>
                <a:cubicBezTo>
                  <a:pt x="314575" y="687292"/>
                  <a:pt x="325459" y="675864"/>
                  <a:pt x="335798" y="675320"/>
                </a:cubicBezTo>
                <a:close/>
                <a:moveTo>
                  <a:pt x="499051" y="670423"/>
                </a:moveTo>
                <a:cubicBezTo>
                  <a:pt x="512111" y="669335"/>
                  <a:pt x="526804" y="684027"/>
                  <a:pt x="526804" y="697088"/>
                </a:cubicBezTo>
                <a:cubicBezTo>
                  <a:pt x="526804" y="711236"/>
                  <a:pt x="513744" y="724296"/>
                  <a:pt x="499595" y="724296"/>
                </a:cubicBezTo>
                <a:cubicBezTo>
                  <a:pt x="486535" y="724296"/>
                  <a:pt x="472930" y="711236"/>
                  <a:pt x="472930" y="697632"/>
                </a:cubicBezTo>
                <a:cubicBezTo>
                  <a:pt x="472386" y="684027"/>
                  <a:pt x="485446" y="670423"/>
                  <a:pt x="499051" y="670423"/>
                </a:cubicBezTo>
                <a:close/>
                <a:moveTo>
                  <a:pt x="662848" y="665525"/>
                </a:moveTo>
                <a:cubicBezTo>
                  <a:pt x="678629" y="665525"/>
                  <a:pt x="694410" y="681306"/>
                  <a:pt x="694954" y="697087"/>
                </a:cubicBezTo>
                <a:cubicBezTo>
                  <a:pt x="695499" y="712868"/>
                  <a:pt x="679173" y="729194"/>
                  <a:pt x="663392" y="729194"/>
                </a:cubicBezTo>
                <a:cubicBezTo>
                  <a:pt x="647611" y="729194"/>
                  <a:pt x="632374" y="713957"/>
                  <a:pt x="632374" y="698176"/>
                </a:cubicBezTo>
                <a:cubicBezTo>
                  <a:pt x="631286" y="681850"/>
                  <a:pt x="647067" y="665525"/>
                  <a:pt x="662848" y="665525"/>
                </a:cubicBezTo>
                <a:close/>
                <a:moveTo>
                  <a:pt x="825013" y="663349"/>
                </a:moveTo>
                <a:cubicBezTo>
                  <a:pt x="844603" y="662260"/>
                  <a:pt x="861472" y="676953"/>
                  <a:pt x="860384" y="697632"/>
                </a:cubicBezTo>
                <a:cubicBezTo>
                  <a:pt x="861472" y="716134"/>
                  <a:pt x="846780" y="731915"/>
                  <a:pt x="826101" y="731915"/>
                </a:cubicBezTo>
                <a:cubicBezTo>
                  <a:pt x="806511" y="731915"/>
                  <a:pt x="791818" y="719399"/>
                  <a:pt x="791818" y="698176"/>
                </a:cubicBezTo>
                <a:cubicBezTo>
                  <a:pt x="791818" y="676409"/>
                  <a:pt x="805967" y="663893"/>
                  <a:pt x="825013" y="663349"/>
                </a:cubicBezTo>
                <a:close/>
                <a:moveTo>
                  <a:pt x="988809" y="658995"/>
                </a:moveTo>
                <a:cubicBezTo>
                  <a:pt x="1008400" y="657362"/>
                  <a:pt x="1028534" y="679129"/>
                  <a:pt x="1027446" y="697087"/>
                </a:cubicBezTo>
                <a:cubicBezTo>
                  <a:pt x="1026902" y="718310"/>
                  <a:pt x="1010576" y="735723"/>
                  <a:pt x="989353" y="735723"/>
                </a:cubicBezTo>
                <a:cubicBezTo>
                  <a:pt x="968675" y="735723"/>
                  <a:pt x="950717" y="718310"/>
                  <a:pt x="950717" y="697631"/>
                </a:cubicBezTo>
                <a:cubicBezTo>
                  <a:pt x="950717" y="676408"/>
                  <a:pt x="968131" y="660627"/>
                  <a:pt x="988809" y="658995"/>
                </a:cubicBezTo>
                <a:close/>
                <a:moveTo>
                  <a:pt x="1152607" y="655729"/>
                </a:moveTo>
                <a:cubicBezTo>
                  <a:pt x="1173829" y="654097"/>
                  <a:pt x="1194508" y="675864"/>
                  <a:pt x="1195052" y="697087"/>
                </a:cubicBezTo>
                <a:cubicBezTo>
                  <a:pt x="1195596" y="717766"/>
                  <a:pt x="1173829" y="739533"/>
                  <a:pt x="1153151" y="739533"/>
                </a:cubicBezTo>
                <a:cubicBezTo>
                  <a:pt x="1132472" y="740077"/>
                  <a:pt x="1110705" y="718310"/>
                  <a:pt x="1110705" y="697631"/>
                </a:cubicBezTo>
                <a:cubicBezTo>
                  <a:pt x="1112882" y="674231"/>
                  <a:pt x="1127574" y="657362"/>
                  <a:pt x="1152607" y="655729"/>
                </a:cubicBezTo>
                <a:close/>
                <a:moveTo>
                  <a:pt x="1316948" y="653554"/>
                </a:moveTo>
                <a:cubicBezTo>
                  <a:pt x="1340347" y="654098"/>
                  <a:pt x="1359937" y="674777"/>
                  <a:pt x="1359937" y="697632"/>
                </a:cubicBezTo>
                <a:cubicBezTo>
                  <a:pt x="1359937" y="718855"/>
                  <a:pt x="1339803" y="743343"/>
                  <a:pt x="1315315" y="740622"/>
                </a:cubicBezTo>
                <a:cubicBezTo>
                  <a:pt x="1293004" y="742799"/>
                  <a:pt x="1271237" y="718311"/>
                  <a:pt x="1271781" y="696544"/>
                </a:cubicBezTo>
                <a:cubicBezTo>
                  <a:pt x="1271781" y="675321"/>
                  <a:pt x="1292460" y="653010"/>
                  <a:pt x="1316948" y="653554"/>
                </a:cubicBezTo>
                <a:close/>
                <a:moveTo>
                  <a:pt x="1479112" y="651921"/>
                </a:moveTo>
                <a:cubicBezTo>
                  <a:pt x="1506321" y="651377"/>
                  <a:pt x="1524823" y="669335"/>
                  <a:pt x="1524823" y="697088"/>
                </a:cubicBezTo>
                <a:cubicBezTo>
                  <a:pt x="1524823" y="722664"/>
                  <a:pt x="1506865" y="743343"/>
                  <a:pt x="1479112" y="742254"/>
                </a:cubicBezTo>
                <a:cubicBezTo>
                  <a:pt x="1450815" y="743343"/>
                  <a:pt x="1433401" y="721031"/>
                  <a:pt x="1433945" y="697088"/>
                </a:cubicBezTo>
                <a:cubicBezTo>
                  <a:pt x="1434490" y="670423"/>
                  <a:pt x="1451903" y="652465"/>
                  <a:pt x="1479112" y="651921"/>
                </a:cubicBezTo>
                <a:close/>
                <a:moveTo>
                  <a:pt x="1642909" y="649744"/>
                </a:moveTo>
                <a:cubicBezTo>
                  <a:pt x="1671750" y="650288"/>
                  <a:pt x="1690252" y="668790"/>
                  <a:pt x="1690796" y="697087"/>
                </a:cubicBezTo>
                <a:cubicBezTo>
                  <a:pt x="1691340" y="723752"/>
                  <a:pt x="1672294" y="743342"/>
                  <a:pt x="1642909" y="745519"/>
                </a:cubicBezTo>
                <a:cubicBezTo>
                  <a:pt x="1614067" y="743887"/>
                  <a:pt x="1594477" y="725384"/>
                  <a:pt x="1594477" y="697632"/>
                </a:cubicBezTo>
                <a:cubicBezTo>
                  <a:pt x="1594477" y="668790"/>
                  <a:pt x="1614611" y="649200"/>
                  <a:pt x="1642909" y="649744"/>
                </a:cubicBezTo>
                <a:close/>
                <a:moveTo>
                  <a:pt x="1805617" y="648112"/>
                </a:moveTo>
                <a:cubicBezTo>
                  <a:pt x="1829561" y="648112"/>
                  <a:pt x="1857314" y="672055"/>
                  <a:pt x="1854593" y="698176"/>
                </a:cubicBezTo>
                <a:cubicBezTo>
                  <a:pt x="1856770" y="719399"/>
                  <a:pt x="1832826" y="747151"/>
                  <a:pt x="1805073" y="746607"/>
                </a:cubicBezTo>
                <a:cubicBezTo>
                  <a:pt x="1779497" y="746063"/>
                  <a:pt x="1756097" y="721575"/>
                  <a:pt x="1756097" y="697087"/>
                </a:cubicBezTo>
                <a:cubicBezTo>
                  <a:pt x="1756097" y="670423"/>
                  <a:pt x="1782218" y="647567"/>
                  <a:pt x="1805617" y="648112"/>
                </a:cubicBezTo>
                <a:close/>
                <a:moveTo>
                  <a:pt x="1969414" y="647023"/>
                </a:moveTo>
                <a:cubicBezTo>
                  <a:pt x="1992814" y="647023"/>
                  <a:pt x="2020567" y="672055"/>
                  <a:pt x="2018934" y="698176"/>
                </a:cubicBezTo>
                <a:cubicBezTo>
                  <a:pt x="2017302" y="725384"/>
                  <a:pt x="1996623" y="746063"/>
                  <a:pt x="1968326" y="746063"/>
                </a:cubicBezTo>
                <a:cubicBezTo>
                  <a:pt x="1941661" y="748784"/>
                  <a:pt x="1919350" y="721031"/>
                  <a:pt x="1918806" y="697087"/>
                </a:cubicBezTo>
                <a:cubicBezTo>
                  <a:pt x="1918806" y="669878"/>
                  <a:pt x="1945471" y="647023"/>
                  <a:pt x="1969414" y="647023"/>
                </a:cubicBezTo>
                <a:close/>
                <a:moveTo>
                  <a:pt x="90919" y="606754"/>
                </a:moveTo>
                <a:cubicBezTo>
                  <a:pt x="94728" y="608386"/>
                  <a:pt x="99626" y="612195"/>
                  <a:pt x="99626" y="615460"/>
                </a:cubicBezTo>
                <a:cubicBezTo>
                  <a:pt x="100170" y="618181"/>
                  <a:pt x="95816" y="621990"/>
                  <a:pt x="92007" y="627976"/>
                </a:cubicBezTo>
                <a:cubicBezTo>
                  <a:pt x="87654" y="623079"/>
                  <a:pt x="84389" y="619814"/>
                  <a:pt x="82756" y="616005"/>
                </a:cubicBezTo>
                <a:cubicBezTo>
                  <a:pt x="81668" y="613284"/>
                  <a:pt x="88198" y="605665"/>
                  <a:pt x="90919" y="606754"/>
                </a:cubicBezTo>
                <a:close/>
                <a:moveTo>
                  <a:pt x="254172" y="598047"/>
                </a:moveTo>
                <a:cubicBezTo>
                  <a:pt x="265599" y="597503"/>
                  <a:pt x="273218" y="606210"/>
                  <a:pt x="272674" y="614917"/>
                </a:cubicBezTo>
                <a:cubicBezTo>
                  <a:pt x="272674" y="625800"/>
                  <a:pt x="266688" y="632874"/>
                  <a:pt x="255260" y="633419"/>
                </a:cubicBezTo>
                <a:cubicBezTo>
                  <a:pt x="244376" y="633963"/>
                  <a:pt x="237302" y="626889"/>
                  <a:pt x="236758" y="616005"/>
                </a:cubicBezTo>
                <a:cubicBezTo>
                  <a:pt x="236758" y="605122"/>
                  <a:pt x="243832" y="598047"/>
                  <a:pt x="254172" y="598047"/>
                </a:cubicBezTo>
                <a:close/>
                <a:moveTo>
                  <a:pt x="418513" y="590429"/>
                </a:moveTo>
                <a:cubicBezTo>
                  <a:pt x="431029" y="590429"/>
                  <a:pt x="442457" y="601857"/>
                  <a:pt x="443001" y="614917"/>
                </a:cubicBezTo>
                <a:cubicBezTo>
                  <a:pt x="443545" y="627977"/>
                  <a:pt x="432118" y="640493"/>
                  <a:pt x="419058" y="640493"/>
                </a:cubicBezTo>
                <a:cubicBezTo>
                  <a:pt x="404365" y="640493"/>
                  <a:pt x="394570" y="630698"/>
                  <a:pt x="392937" y="616005"/>
                </a:cubicBezTo>
                <a:cubicBezTo>
                  <a:pt x="391849" y="604033"/>
                  <a:pt x="405997" y="590429"/>
                  <a:pt x="418513" y="590429"/>
                </a:cubicBezTo>
                <a:close/>
                <a:moveTo>
                  <a:pt x="581222" y="587163"/>
                </a:moveTo>
                <a:cubicBezTo>
                  <a:pt x="600812" y="588252"/>
                  <a:pt x="610063" y="598047"/>
                  <a:pt x="610063" y="616549"/>
                </a:cubicBezTo>
                <a:cubicBezTo>
                  <a:pt x="610063" y="634507"/>
                  <a:pt x="599179" y="644846"/>
                  <a:pt x="580677" y="645390"/>
                </a:cubicBezTo>
                <a:cubicBezTo>
                  <a:pt x="565440" y="644846"/>
                  <a:pt x="551836" y="634507"/>
                  <a:pt x="551836" y="615461"/>
                </a:cubicBezTo>
                <a:cubicBezTo>
                  <a:pt x="551836" y="594782"/>
                  <a:pt x="567073" y="586075"/>
                  <a:pt x="581222" y="587163"/>
                </a:cubicBezTo>
                <a:close/>
                <a:moveTo>
                  <a:pt x="743930" y="582266"/>
                </a:moveTo>
                <a:cubicBezTo>
                  <a:pt x="761344" y="581178"/>
                  <a:pt x="779301" y="599136"/>
                  <a:pt x="779301" y="616005"/>
                </a:cubicBezTo>
                <a:cubicBezTo>
                  <a:pt x="779301" y="632874"/>
                  <a:pt x="762976" y="649744"/>
                  <a:pt x="745563" y="649744"/>
                </a:cubicBezTo>
                <a:cubicBezTo>
                  <a:pt x="728149" y="649200"/>
                  <a:pt x="710191" y="635595"/>
                  <a:pt x="711824" y="616549"/>
                </a:cubicBezTo>
                <a:cubicBezTo>
                  <a:pt x="711824" y="596415"/>
                  <a:pt x="724340" y="583355"/>
                  <a:pt x="743930" y="582266"/>
                </a:cubicBezTo>
                <a:close/>
                <a:moveTo>
                  <a:pt x="907183" y="577913"/>
                </a:moveTo>
                <a:cubicBezTo>
                  <a:pt x="927318" y="576825"/>
                  <a:pt x="947452" y="598592"/>
                  <a:pt x="945276" y="615461"/>
                </a:cubicBezTo>
                <a:cubicBezTo>
                  <a:pt x="945276" y="635596"/>
                  <a:pt x="927318" y="653554"/>
                  <a:pt x="907727" y="654098"/>
                </a:cubicBezTo>
                <a:cubicBezTo>
                  <a:pt x="890314" y="654642"/>
                  <a:pt x="869091" y="635052"/>
                  <a:pt x="869091" y="616006"/>
                </a:cubicBezTo>
                <a:cubicBezTo>
                  <a:pt x="869635" y="595871"/>
                  <a:pt x="887049" y="578457"/>
                  <a:pt x="907183" y="577913"/>
                </a:cubicBezTo>
                <a:close/>
                <a:moveTo>
                  <a:pt x="1069891" y="574648"/>
                </a:moveTo>
                <a:cubicBezTo>
                  <a:pt x="1092202" y="574648"/>
                  <a:pt x="1111793" y="589885"/>
                  <a:pt x="1111248" y="615461"/>
                </a:cubicBezTo>
                <a:cubicBezTo>
                  <a:pt x="1111793" y="639405"/>
                  <a:pt x="1093835" y="656274"/>
                  <a:pt x="1070435" y="656274"/>
                </a:cubicBezTo>
                <a:cubicBezTo>
                  <a:pt x="1045403" y="656274"/>
                  <a:pt x="1029622" y="635052"/>
                  <a:pt x="1029622" y="614917"/>
                </a:cubicBezTo>
                <a:cubicBezTo>
                  <a:pt x="1030166" y="593150"/>
                  <a:pt x="1046491" y="574648"/>
                  <a:pt x="1069891" y="574648"/>
                </a:cubicBezTo>
                <a:close/>
                <a:moveTo>
                  <a:pt x="1235321" y="572472"/>
                </a:moveTo>
                <a:cubicBezTo>
                  <a:pt x="1256543" y="572472"/>
                  <a:pt x="1279399" y="590973"/>
                  <a:pt x="1277222" y="616550"/>
                </a:cubicBezTo>
                <a:cubicBezTo>
                  <a:pt x="1278855" y="639949"/>
                  <a:pt x="1255455" y="660084"/>
                  <a:pt x="1233688" y="660084"/>
                </a:cubicBezTo>
                <a:cubicBezTo>
                  <a:pt x="1211377" y="660084"/>
                  <a:pt x="1189610" y="637773"/>
                  <a:pt x="1190154" y="614917"/>
                </a:cubicBezTo>
                <a:cubicBezTo>
                  <a:pt x="1190698" y="594783"/>
                  <a:pt x="1209200" y="571927"/>
                  <a:pt x="1235321" y="572472"/>
                </a:cubicBezTo>
                <a:close/>
                <a:moveTo>
                  <a:pt x="1397485" y="569206"/>
                </a:moveTo>
                <a:cubicBezTo>
                  <a:pt x="1423606" y="569750"/>
                  <a:pt x="1443196" y="587708"/>
                  <a:pt x="1443196" y="616005"/>
                </a:cubicBezTo>
                <a:cubicBezTo>
                  <a:pt x="1443196" y="642670"/>
                  <a:pt x="1424150" y="661716"/>
                  <a:pt x="1396941" y="661172"/>
                </a:cubicBezTo>
                <a:cubicBezTo>
                  <a:pt x="1369188" y="661172"/>
                  <a:pt x="1350686" y="638860"/>
                  <a:pt x="1351775" y="614373"/>
                </a:cubicBezTo>
                <a:cubicBezTo>
                  <a:pt x="1352319" y="587164"/>
                  <a:pt x="1371365" y="569206"/>
                  <a:pt x="1397485" y="569206"/>
                </a:cubicBezTo>
                <a:close/>
                <a:moveTo>
                  <a:pt x="1560738" y="567029"/>
                </a:moveTo>
                <a:cubicBezTo>
                  <a:pt x="1586859" y="567029"/>
                  <a:pt x="1608082" y="587708"/>
                  <a:pt x="1609714" y="615461"/>
                </a:cubicBezTo>
                <a:cubicBezTo>
                  <a:pt x="1608082" y="641581"/>
                  <a:pt x="1589580" y="663892"/>
                  <a:pt x="1561283" y="663892"/>
                </a:cubicBezTo>
                <a:cubicBezTo>
                  <a:pt x="1534074" y="663892"/>
                  <a:pt x="1512851" y="642669"/>
                  <a:pt x="1512851" y="616005"/>
                </a:cubicBezTo>
                <a:cubicBezTo>
                  <a:pt x="1512851" y="587163"/>
                  <a:pt x="1535706" y="567029"/>
                  <a:pt x="1560738" y="567029"/>
                </a:cubicBezTo>
                <a:close/>
                <a:moveTo>
                  <a:pt x="1725624" y="565397"/>
                </a:moveTo>
                <a:cubicBezTo>
                  <a:pt x="1747935" y="565941"/>
                  <a:pt x="1775144" y="590429"/>
                  <a:pt x="1774599" y="616005"/>
                </a:cubicBezTo>
                <a:cubicBezTo>
                  <a:pt x="1774055" y="638317"/>
                  <a:pt x="1751744" y="668246"/>
                  <a:pt x="1723447" y="664981"/>
                </a:cubicBezTo>
                <a:cubicBezTo>
                  <a:pt x="1700592" y="667158"/>
                  <a:pt x="1674471" y="643758"/>
                  <a:pt x="1674471" y="615461"/>
                </a:cubicBezTo>
                <a:cubicBezTo>
                  <a:pt x="1674471" y="588797"/>
                  <a:pt x="1700592" y="565397"/>
                  <a:pt x="1725624" y="565397"/>
                </a:cubicBezTo>
                <a:close/>
                <a:moveTo>
                  <a:pt x="1886699" y="564853"/>
                </a:moveTo>
                <a:cubicBezTo>
                  <a:pt x="1914996" y="564309"/>
                  <a:pt x="1938396" y="589341"/>
                  <a:pt x="1938396" y="614917"/>
                </a:cubicBezTo>
                <a:cubicBezTo>
                  <a:pt x="1938396" y="640493"/>
                  <a:pt x="1917717" y="667702"/>
                  <a:pt x="1887787" y="665525"/>
                </a:cubicBezTo>
                <a:cubicBezTo>
                  <a:pt x="1860034" y="667702"/>
                  <a:pt x="1837723" y="644302"/>
                  <a:pt x="1837179" y="615461"/>
                </a:cubicBezTo>
                <a:cubicBezTo>
                  <a:pt x="1837179" y="586620"/>
                  <a:pt x="1861667" y="565397"/>
                  <a:pt x="1886699" y="564853"/>
                </a:cubicBezTo>
                <a:close/>
                <a:moveTo>
                  <a:pt x="2050496" y="564852"/>
                </a:moveTo>
                <a:lnTo>
                  <a:pt x="2051041" y="564962"/>
                </a:lnTo>
                <a:lnTo>
                  <a:pt x="2051041" y="665899"/>
                </a:lnTo>
                <a:lnTo>
                  <a:pt x="2049952" y="666069"/>
                </a:lnTo>
                <a:cubicBezTo>
                  <a:pt x="2018934" y="667157"/>
                  <a:pt x="1999344" y="642669"/>
                  <a:pt x="1999344" y="615460"/>
                </a:cubicBezTo>
                <a:cubicBezTo>
                  <a:pt x="1999344" y="587163"/>
                  <a:pt x="2021655" y="564852"/>
                  <a:pt x="2050496" y="564852"/>
                </a:cubicBezTo>
                <a:close/>
                <a:moveTo>
                  <a:pt x="173090" y="517509"/>
                </a:moveTo>
                <a:cubicBezTo>
                  <a:pt x="181252" y="517509"/>
                  <a:pt x="189415" y="525672"/>
                  <a:pt x="189959" y="533834"/>
                </a:cubicBezTo>
                <a:cubicBezTo>
                  <a:pt x="189959" y="542541"/>
                  <a:pt x="182341" y="550160"/>
                  <a:pt x="173634" y="550160"/>
                </a:cubicBezTo>
                <a:cubicBezTo>
                  <a:pt x="165471" y="550160"/>
                  <a:pt x="157853" y="543085"/>
                  <a:pt x="157308" y="534923"/>
                </a:cubicBezTo>
                <a:cubicBezTo>
                  <a:pt x="156764" y="526216"/>
                  <a:pt x="164383" y="518053"/>
                  <a:pt x="173090" y="517509"/>
                </a:cubicBezTo>
                <a:close/>
                <a:moveTo>
                  <a:pt x="335798" y="511523"/>
                </a:moveTo>
                <a:cubicBezTo>
                  <a:pt x="349947" y="512067"/>
                  <a:pt x="357565" y="519686"/>
                  <a:pt x="358654" y="533834"/>
                </a:cubicBezTo>
                <a:cubicBezTo>
                  <a:pt x="359742" y="547439"/>
                  <a:pt x="348314" y="557778"/>
                  <a:pt x="336343" y="556689"/>
                </a:cubicBezTo>
                <a:cubicBezTo>
                  <a:pt x="324371" y="558322"/>
                  <a:pt x="312943" y="545806"/>
                  <a:pt x="312943" y="534378"/>
                </a:cubicBezTo>
                <a:cubicBezTo>
                  <a:pt x="312943" y="522951"/>
                  <a:pt x="322738" y="510979"/>
                  <a:pt x="335798" y="511523"/>
                </a:cubicBezTo>
                <a:close/>
                <a:moveTo>
                  <a:pt x="500139" y="506626"/>
                </a:moveTo>
                <a:cubicBezTo>
                  <a:pt x="517553" y="507170"/>
                  <a:pt x="527892" y="517509"/>
                  <a:pt x="527348" y="535467"/>
                </a:cubicBezTo>
                <a:cubicBezTo>
                  <a:pt x="526804" y="552880"/>
                  <a:pt x="515920" y="562131"/>
                  <a:pt x="497963" y="561587"/>
                </a:cubicBezTo>
                <a:cubicBezTo>
                  <a:pt x="481093" y="561043"/>
                  <a:pt x="472386" y="550704"/>
                  <a:pt x="471842" y="533290"/>
                </a:cubicBezTo>
                <a:cubicBezTo>
                  <a:pt x="471298" y="516965"/>
                  <a:pt x="485447" y="506081"/>
                  <a:pt x="500139" y="506626"/>
                </a:cubicBezTo>
                <a:close/>
                <a:moveTo>
                  <a:pt x="662304" y="500639"/>
                </a:moveTo>
                <a:cubicBezTo>
                  <a:pt x="677540" y="497919"/>
                  <a:pt x="696587" y="518597"/>
                  <a:pt x="696042" y="533290"/>
                </a:cubicBezTo>
                <a:cubicBezTo>
                  <a:pt x="694954" y="551792"/>
                  <a:pt x="681894" y="565396"/>
                  <a:pt x="663392" y="566485"/>
                </a:cubicBezTo>
                <a:cubicBezTo>
                  <a:pt x="643802" y="567573"/>
                  <a:pt x="629653" y="549615"/>
                  <a:pt x="630197" y="534378"/>
                </a:cubicBezTo>
                <a:cubicBezTo>
                  <a:pt x="630741" y="515876"/>
                  <a:pt x="644346" y="501184"/>
                  <a:pt x="662304" y="500639"/>
                </a:cubicBezTo>
                <a:close/>
                <a:moveTo>
                  <a:pt x="825557" y="496830"/>
                </a:moveTo>
                <a:cubicBezTo>
                  <a:pt x="846780" y="496286"/>
                  <a:pt x="862561" y="513700"/>
                  <a:pt x="863649" y="534923"/>
                </a:cubicBezTo>
                <a:cubicBezTo>
                  <a:pt x="862017" y="556690"/>
                  <a:pt x="845147" y="571927"/>
                  <a:pt x="825557" y="571383"/>
                </a:cubicBezTo>
                <a:cubicBezTo>
                  <a:pt x="805422" y="570838"/>
                  <a:pt x="788553" y="555057"/>
                  <a:pt x="788553" y="534379"/>
                </a:cubicBezTo>
                <a:cubicBezTo>
                  <a:pt x="788553" y="514244"/>
                  <a:pt x="804334" y="497375"/>
                  <a:pt x="825557" y="496830"/>
                </a:cubicBezTo>
                <a:close/>
                <a:moveTo>
                  <a:pt x="989898" y="494110"/>
                </a:moveTo>
                <a:cubicBezTo>
                  <a:pt x="1012209" y="494654"/>
                  <a:pt x="1029622" y="513156"/>
                  <a:pt x="1029078" y="534923"/>
                </a:cubicBezTo>
                <a:cubicBezTo>
                  <a:pt x="1028534" y="556146"/>
                  <a:pt x="1010576" y="574104"/>
                  <a:pt x="989353" y="574104"/>
                </a:cubicBezTo>
                <a:cubicBezTo>
                  <a:pt x="969763" y="574648"/>
                  <a:pt x="947452" y="556690"/>
                  <a:pt x="949629" y="533835"/>
                </a:cubicBezTo>
                <a:cubicBezTo>
                  <a:pt x="947996" y="512068"/>
                  <a:pt x="968675" y="494110"/>
                  <a:pt x="989898" y="494110"/>
                </a:cubicBezTo>
                <a:close/>
                <a:moveTo>
                  <a:pt x="1152062" y="490301"/>
                </a:moveTo>
                <a:cubicBezTo>
                  <a:pt x="1174917" y="490301"/>
                  <a:pt x="1196140" y="509347"/>
                  <a:pt x="1196140" y="533835"/>
                </a:cubicBezTo>
                <a:cubicBezTo>
                  <a:pt x="1197228" y="558867"/>
                  <a:pt x="1173829" y="577913"/>
                  <a:pt x="1152606" y="577369"/>
                </a:cubicBezTo>
                <a:cubicBezTo>
                  <a:pt x="1130839" y="577369"/>
                  <a:pt x="1109616" y="556690"/>
                  <a:pt x="1109072" y="534379"/>
                </a:cubicBezTo>
                <a:cubicBezTo>
                  <a:pt x="1108528" y="510980"/>
                  <a:pt x="1128662" y="490301"/>
                  <a:pt x="1152062" y="490301"/>
                </a:cubicBezTo>
                <a:close/>
                <a:moveTo>
                  <a:pt x="1316947" y="489212"/>
                </a:moveTo>
                <a:cubicBezTo>
                  <a:pt x="1343612" y="489756"/>
                  <a:pt x="1361570" y="510435"/>
                  <a:pt x="1361570" y="534923"/>
                </a:cubicBezTo>
                <a:cubicBezTo>
                  <a:pt x="1361570" y="560499"/>
                  <a:pt x="1341980" y="580090"/>
                  <a:pt x="1315859" y="580090"/>
                </a:cubicBezTo>
                <a:cubicBezTo>
                  <a:pt x="1291915" y="580090"/>
                  <a:pt x="1269060" y="560499"/>
                  <a:pt x="1270693" y="533835"/>
                </a:cubicBezTo>
                <a:cubicBezTo>
                  <a:pt x="1269604" y="508258"/>
                  <a:pt x="1291371" y="488124"/>
                  <a:pt x="1316947" y="489212"/>
                </a:cubicBezTo>
                <a:close/>
                <a:moveTo>
                  <a:pt x="1479112" y="484315"/>
                </a:moveTo>
                <a:cubicBezTo>
                  <a:pt x="1503599" y="484315"/>
                  <a:pt x="1528087" y="508259"/>
                  <a:pt x="1528087" y="533835"/>
                </a:cubicBezTo>
                <a:cubicBezTo>
                  <a:pt x="1528087" y="558867"/>
                  <a:pt x="1506865" y="582267"/>
                  <a:pt x="1479656" y="582267"/>
                </a:cubicBezTo>
                <a:cubicBezTo>
                  <a:pt x="1453535" y="582267"/>
                  <a:pt x="1431224" y="560500"/>
                  <a:pt x="1431224" y="533835"/>
                </a:cubicBezTo>
                <a:cubicBezTo>
                  <a:pt x="1430680" y="506626"/>
                  <a:pt x="1454624" y="485403"/>
                  <a:pt x="1479112" y="484315"/>
                </a:cubicBezTo>
                <a:close/>
                <a:moveTo>
                  <a:pt x="1643452" y="484314"/>
                </a:moveTo>
                <a:cubicBezTo>
                  <a:pt x="1667396" y="481049"/>
                  <a:pt x="1693517" y="509891"/>
                  <a:pt x="1692973" y="534923"/>
                </a:cubicBezTo>
                <a:cubicBezTo>
                  <a:pt x="1692428" y="558867"/>
                  <a:pt x="1669573" y="584987"/>
                  <a:pt x="1641276" y="583898"/>
                </a:cubicBezTo>
                <a:cubicBezTo>
                  <a:pt x="1616788" y="583354"/>
                  <a:pt x="1592300" y="562676"/>
                  <a:pt x="1592300" y="532202"/>
                </a:cubicBezTo>
                <a:cubicBezTo>
                  <a:pt x="1592300" y="509891"/>
                  <a:pt x="1615155" y="481049"/>
                  <a:pt x="1643452" y="484314"/>
                </a:cubicBezTo>
                <a:close/>
                <a:moveTo>
                  <a:pt x="1806162" y="481594"/>
                </a:moveTo>
                <a:cubicBezTo>
                  <a:pt x="1839901" y="484859"/>
                  <a:pt x="1858947" y="504993"/>
                  <a:pt x="1857858" y="536011"/>
                </a:cubicBezTo>
                <a:cubicBezTo>
                  <a:pt x="1855682" y="568662"/>
                  <a:pt x="1834459" y="584987"/>
                  <a:pt x="1803441" y="586075"/>
                </a:cubicBezTo>
                <a:cubicBezTo>
                  <a:pt x="1775144" y="584443"/>
                  <a:pt x="1751744" y="559955"/>
                  <a:pt x="1753377" y="533290"/>
                </a:cubicBezTo>
                <a:cubicBezTo>
                  <a:pt x="1755009" y="504993"/>
                  <a:pt x="1780041" y="479417"/>
                  <a:pt x="1806162" y="481594"/>
                </a:cubicBezTo>
                <a:close/>
                <a:moveTo>
                  <a:pt x="1968326" y="480505"/>
                </a:moveTo>
                <a:cubicBezTo>
                  <a:pt x="1998256" y="483226"/>
                  <a:pt x="2020023" y="501728"/>
                  <a:pt x="2022200" y="534379"/>
                </a:cubicBezTo>
                <a:cubicBezTo>
                  <a:pt x="2023832" y="560499"/>
                  <a:pt x="1996079" y="588252"/>
                  <a:pt x="1969415" y="588252"/>
                </a:cubicBezTo>
                <a:cubicBezTo>
                  <a:pt x="1943294" y="588796"/>
                  <a:pt x="1916085" y="561587"/>
                  <a:pt x="1915541" y="534923"/>
                </a:cubicBezTo>
                <a:cubicBezTo>
                  <a:pt x="1914453" y="508258"/>
                  <a:pt x="1941117" y="480505"/>
                  <a:pt x="1968326" y="480505"/>
                </a:cubicBezTo>
                <a:close/>
                <a:moveTo>
                  <a:pt x="91464" y="440780"/>
                </a:moveTo>
                <a:cubicBezTo>
                  <a:pt x="99082" y="440780"/>
                  <a:pt x="102347" y="443501"/>
                  <a:pt x="102891" y="451664"/>
                </a:cubicBezTo>
                <a:cubicBezTo>
                  <a:pt x="102891" y="460915"/>
                  <a:pt x="100171" y="464179"/>
                  <a:pt x="92008" y="464179"/>
                </a:cubicBezTo>
                <a:cubicBezTo>
                  <a:pt x="83301" y="464179"/>
                  <a:pt x="80036" y="461459"/>
                  <a:pt x="80036" y="452752"/>
                </a:cubicBezTo>
                <a:cubicBezTo>
                  <a:pt x="80036" y="444045"/>
                  <a:pt x="83301" y="440780"/>
                  <a:pt x="91464" y="440780"/>
                </a:cubicBezTo>
                <a:close/>
                <a:moveTo>
                  <a:pt x="254172" y="430441"/>
                </a:moveTo>
                <a:cubicBezTo>
                  <a:pt x="263967" y="430441"/>
                  <a:pt x="276483" y="440236"/>
                  <a:pt x="275939" y="452208"/>
                </a:cubicBezTo>
                <a:cubicBezTo>
                  <a:pt x="275939" y="463092"/>
                  <a:pt x="265600" y="473975"/>
                  <a:pt x="254716" y="473975"/>
                </a:cubicBezTo>
                <a:cubicBezTo>
                  <a:pt x="244377" y="473975"/>
                  <a:pt x="232949" y="463092"/>
                  <a:pt x="232405" y="452752"/>
                </a:cubicBezTo>
                <a:cubicBezTo>
                  <a:pt x="232405" y="442413"/>
                  <a:pt x="243833" y="430985"/>
                  <a:pt x="254172" y="430441"/>
                </a:cubicBezTo>
                <a:close/>
                <a:moveTo>
                  <a:pt x="417969" y="424999"/>
                </a:moveTo>
                <a:cubicBezTo>
                  <a:pt x="432118" y="424999"/>
                  <a:pt x="444634" y="438059"/>
                  <a:pt x="444634" y="452752"/>
                </a:cubicBezTo>
                <a:cubicBezTo>
                  <a:pt x="445178" y="464180"/>
                  <a:pt x="432662" y="481049"/>
                  <a:pt x="417425" y="479417"/>
                </a:cubicBezTo>
                <a:cubicBezTo>
                  <a:pt x="405453" y="481049"/>
                  <a:pt x="389672" y="465268"/>
                  <a:pt x="390760" y="452208"/>
                </a:cubicBezTo>
                <a:cubicBezTo>
                  <a:pt x="391849" y="437515"/>
                  <a:pt x="403276" y="424999"/>
                  <a:pt x="417969" y="424999"/>
                </a:cubicBezTo>
                <a:close/>
                <a:moveTo>
                  <a:pt x="580677" y="419558"/>
                </a:moveTo>
                <a:cubicBezTo>
                  <a:pt x="596458" y="419013"/>
                  <a:pt x="612783" y="434795"/>
                  <a:pt x="612783" y="452208"/>
                </a:cubicBezTo>
                <a:cubicBezTo>
                  <a:pt x="612783" y="469622"/>
                  <a:pt x="599723" y="483226"/>
                  <a:pt x="581221" y="484315"/>
                </a:cubicBezTo>
                <a:cubicBezTo>
                  <a:pt x="561087" y="482138"/>
                  <a:pt x="549659" y="470710"/>
                  <a:pt x="549115" y="452208"/>
                </a:cubicBezTo>
                <a:cubicBezTo>
                  <a:pt x="548571" y="433162"/>
                  <a:pt x="564352" y="420102"/>
                  <a:pt x="580677" y="419558"/>
                </a:cubicBezTo>
                <a:close/>
                <a:moveTo>
                  <a:pt x="743931" y="415748"/>
                </a:moveTo>
                <a:cubicBezTo>
                  <a:pt x="761888" y="414660"/>
                  <a:pt x="779846" y="432618"/>
                  <a:pt x="780390" y="452208"/>
                </a:cubicBezTo>
                <a:cubicBezTo>
                  <a:pt x="780934" y="471254"/>
                  <a:pt x="764065" y="488668"/>
                  <a:pt x="744475" y="489212"/>
                </a:cubicBezTo>
                <a:cubicBezTo>
                  <a:pt x="727061" y="489212"/>
                  <a:pt x="709103" y="472342"/>
                  <a:pt x="708559" y="453840"/>
                </a:cubicBezTo>
                <a:cubicBezTo>
                  <a:pt x="707471" y="435883"/>
                  <a:pt x="725428" y="416836"/>
                  <a:pt x="743931" y="415748"/>
                </a:cubicBezTo>
                <a:close/>
                <a:moveTo>
                  <a:pt x="908271" y="414116"/>
                </a:moveTo>
                <a:cubicBezTo>
                  <a:pt x="927861" y="411395"/>
                  <a:pt x="946907" y="431529"/>
                  <a:pt x="946363" y="453296"/>
                </a:cubicBezTo>
                <a:cubicBezTo>
                  <a:pt x="946363" y="473975"/>
                  <a:pt x="927317" y="491933"/>
                  <a:pt x="906638" y="491933"/>
                </a:cubicBezTo>
                <a:cubicBezTo>
                  <a:pt x="887048" y="491933"/>
                  <a:pt x="866913" y="473431"/>
                  <a:pt x="868546" y="452208"/>
                </a:cubicBezTo>
                <a:cubicBezTo>
                  <a:pt x="870179" y="428808"/>
                  <a:pt x="884871" y="413571"/>
                  <a:pt x="908271" y="414116"/>
                </a:cubicBezTo>
                <a:close/>
                <a:moveTo>
                  <a:pt x="1072068" y="409218"/>
                </a:moveTo>
                <a:cubicBezTo>
                  <a:pt x="1097100" y="410307"/>
                  <a:pt x="1113970" y="427720"/>
                  <a:pt x="1113970" y="452752"/>
                </a:cubicBezTo>
                <a:cubicBezTo>
                  <a:pt x="1113970" y="478329"/>
                  <a:pt x="1092203" y="495198"/>
                  <a:pt x="1070436" y="495198"/>
                </a:cubicBezTo>
                <a:cubicBezTo>
                  <a:pt x="1048124" y="494654"/>
                  <a:pt x="1027446" y="475063"/>
                  <a:pt x="1028534" y="451120"/>
                </a:cubicBezTo>
                <a:cubicBezTo>
                  <a:pt x="1029622" y="427720"/>
                  <a:pt x="1048669" y="408130"/>
                  <a:pt x="1072068" y="409218"/>
                </a:cubicBezTo>
                <a:close/>
                <a:moveTo>
                  <a:pt x="1235865" y="408130"/>
                </a:moveTo>
                <a:cubicBezTo>
                  <a:pt x="1258721" y="405953"/>
                  <a:pt x="1279400" y="427176"/>
                  <a:pt x="1279400" y="453296"/>
                </a:cubicBezTo>
                <a:cubicBezTo>
                  <a:pt x="1278855" y="478328"/>
                  <a:pt x="1258177" y="497374"/>
                  <a:pt x="1233689" y="497374"/>
                </a:cubicBezTo>
                <a:cubicBezTo>
                  <a:pt x="1209745" y="496830"/>
                  <a:pt x="1189066" y="476151"/>
                  <a:pt x="1189611" y="451664"/>
                </a:cubicBezTo>
                <a:cubicBezTo>
                  <a:pt x="1189611" y="429352"/>
                  <a:pt x="1209201" y="404864"/>
                  <a:pt x="1235865" y="408130"/>
                </a:cubicBezTo>
                <a:close/>
                <a:moveTo>
                  <a:pt x="1396941" y="403776"/>
                </a:moveTo>
                <a:cubicBezTo>
                  <a:pt x="1425238" y="403232"/>
                  <a:pt x="1445373" y="423911"/>
                  <a:pt x="1446461" y="450575"/>
                </a:cubicBezTo>
                <a:cubicBezTo>
                  <a:pt x="1447005" y="476696"/>
                  <a:pt x="1426327" y="500096"/>
                  <a:pt x="1399118" y="500640"/>
                </a:cubicBezTo>
                <a:cubicBezTo>
                  <a:pt x="1372453" y="501184"/>
                  <a:pt x="1349598" y="479961"/>
                  <a:pt x="1349598" y="453296"/>
                </a:cubicBezTo>
                <a:cubicBezTo>
                  <a:pt x="1349598" y="424999"/>
                  <a:pt x="1370277" y="404865"/>
                  <a:pt x="1396941" y="403776"/>
                </a:cubicBezTo>
                <a:close/>
                <a:moveTo>
                  <a:pt x="1560738" y="402144"/>
                </a:moveTo>
                <a:cubicBezTo>
                  <a:pt x="1588491" y="402144"/>
                  <a:pt x="1611347" y="427176"/>
                  <a:pt x="1611347" y="453297"/>
                </a:cubicBezTo>
                <a:cubicBezTo>
                  <a:pt x="1610803" y="476152"/>
                  <a:pt x="1590668" y="502817"/>
                  <a:pt x="1560194" y="502272"/>
                </a:cubicBezTo>
                <a:cubicBezTo>
                  <a:pt x="1534074" y="501728"/>
                  <a:pt x="1508498" y="479961"/>
                  <a:pt x="1511218" y="451664"/>
                </a:cubicBezTo>
                <a:cubicBezTo>
                  <a:pt x="1508498" y="425544"/>
                  <a:pt x="1534618" y="402144"/>
                  <a:pt x="1560738" y="402144"/>
                </a:cubicBezTo>
                <a:close/>
                <a:moveTo>
                  <a:pt x="1723991" y="399423"/>
                </a:moveTo>
                <a:cubicBezTo>
                  <a:pt x="1756097" y="402688"/>
                  <a:pt x="1777320" y="422278"/>
                  <a:pt x="1776776" y="452752"/>
                </a:cubicBezTo>
                <a:cubicBezTo>
                  <a:pt x="1776232" y="483226"/>
                  <a:pt x="1757730" y="501728"/>
                  <a:pt x="1725079" y="504993"/>
                </a:cubicBezTo>
                <a:cubicBezTo>
                  <a:pt x="1697870" y="507714"/>
                  <a:pt x="1670117" y="479961"/>
                  <a:pt x="1671750" y="452752"/>
                </a:cubicBezTo>
                <a:cubicBezTo>
                  <a:pt x="1673382" y="420102"/>
                  <a:pt x="1692428" y="403232"/>
                  <a:pt x="1723991" y="399423"/>
                </a:cubicBezTo>
                <a:close/>
                <a:moveTo>
                  <a:pt x="2051040" y="398335"/>
                </a:moveTo>
                <a:lnTo>
                  <a:pt x="2051041" y="398335"/>
                </a:lnTo>
                <a:lnTo>
                  <a:pt x="2051041" y="506936"/>
                </a:lnTo>
                <a:lnTo>
                  <a:pt x="2049952" y="507170"/>
                </a:lnTo>
                <a:cubicBezTo>
                  <a:pt x="2020566" y="506626"/>
                  <a:pt x="1995534" y="481593"/>
                  <a:pt x="1995534" y="452208"/>
                </a:cubicBezTo>
                <a:cubicBezTo>
                  <a:pt x="1996078" y="424455"/>
                  <a:pt x="2021655" y="397246"/>
                  <a:pt x="2051040" y="398335"/>
                </a:cubicBezTo>
                <a:close/>
                <a:moveTo>
                  <a:pt x="1888332" y="398335"/>
                </a:moveTo>
                <a:cubicBezTo>
                  <a:pt x="1915541" y="398879"/>
                  <a:pt x="1941661" y="423911"/>
                  <a:pt x="1941661" y="452208"/>
                </a:cubicBezTo>
                <a:cubicBezTo>
                  <a:pt x="1941661" y="481594"/>
                  <a:pt x="1916085" y="507170"/>
                  <a:pt x="1886699" y="506082"/>
                </a:cubicBezTo>
                <a:cubicBezTo>
                  <a:pt x="1857314" y="505538"/>
                  <a:pt x="1833914" y="481594"/>
                  <a:pt x="1833370" y="452208"/>
                </a:cubicBezTo>
                <a:cubicBezTo>
                  <a:pt x="1833370" y="423911"/>
                  <a:pt x="1860035" y="398335"/>
                  <a:pt x="1888332" y="398335"/>
                </a:cubicBezTo>
                <a:close/>
                <a:moveTo>
                  <a:pt x="12014" y="364052"/>
                </a:moveTo>
                <a:cubicBezTo>
                  <a:pt x="13102" y="365140"/>
                  <a:pt x="15279" y="367317"/>
                  <a:pt x="15823" y="370038"/>
                </a:cubicBezTo>
                <a:cubicBezTo>
                  <a:pt x="16911" y="374391"/>
                  <a:pt x="14191" y="377656"/>
                  <a:pt x="9293" y="377656"/>
                </a:cubicBezTo>
                <a:cubicBezTo>
                  <a:pt x="4940" y="377656"/>
                  <a:pt x="3307" y="374936"/>
                  <a:pt x="3307" y="371126"/>
                </a:cubicBezTo>
                <a:cubicBezTo>
                  <a:pt x="3307" y="367317"/>
                  <a:pt x="4940" y="364052"/>
                  <a:pt x="12014" y="364052"/>
                </a:cubicBezTo>
                <a:close/>
                <a:moveTo>
                  <a:pt x="172545" y="353713"/>
                </a:moveTo>
                <a:cubicBezTo>
                  <a:pt x="184517" y="353713"/>
                  <a:pt x="190503" y="359154"/>
                  <a:pt x="190503" y="370582"/>
                </a:cubicBezTo>
                <a:cubicBezTo>
                  <a:pt x="190503" y="381466"/>
                  <a:pt x="184517" y="387996"/>
                  <a:pt x="173090" y="387996"/>
                </a:cubicBezTo>
                <a:cubicBezTo>
                  <a:pt x="163839" y="388540"/>
                  <a:pt x="155676" y="381466"/>
                  <a:pt x="155676" y="371126"/>
                </a:cubicBezTo>
                <a:cubicBezTo>
                  <a:pt x="155676" y="362419"/>
                  <a:pt x="161662" y="352080"/>
                  <a:pt x="172545" y="353713"/>
                </a:cubicBezTo>
                <a:close/>
                <a:moveTo>
                  <a:pt x="336886" y="345550"/>
                </a:moveTo>
                <a:cubicBezTo>
                  <a:pt x="350490" y="346094"/>
                  <a:pt x="362462" y="358610"/>
                  <a:pt x="361374" y="371670"/>
                </a:cubicBezTo>
                <a:cubicBezTo>
                  <a:pt x="360286" y="385275"/>
                  <a:pt x="348858" y="395614"/>
                  <a:pt x="335798" y="395070"/>
                </a:cubicBezTo>
                <a:cubicBezTo>
                  <a:pt x="319472" y="394526"/>
                  <a:pt x="311854" y="381466"/>
                  <a:pt x="311854" y="370038"/>
                </a:cubicBezTo>
                <a:cubicBezTo>
                  <a:pt x="311854" y="356978"/>
                  <a:pt x="324370" y="345550"/>
                  <a:pt x="336886" y="345550"/>
                </a:cubicBezTo>
                <a:close/>
                <a:moveTo>
                  <a:pt x="499596" y="342284"/>
                </a:moveTo>
                <a:cubicBezTo>
                  <a:pt x="518642" y="341196"/>
                  <a:pt x="528437" y="354256"/>
                  <a:pt x="528437" y="370582"/>
                </a:cubicBezTo>
                <a:cubicBezTo>
                  <a:pt x="528437" y="386363"/>
                  <a:pt x="518642" y="399967"/>
                  <a:pt x="499051" y="399423"/>
                </a:cubicBezTo>
                <a:cubicBezTo>
                  <a:pt x="481094" y="399423"/>
                  <a:pt x="470210" y="387995"/>
                  <a:pt x="470210" y="370037"/>
                </a:cubicBezTo>
                <a:cubicBezTo>
                  <a:pt x="470754" y="352624"/>
                  <a:pt x="481638" y="341740"/>
                  <a:pt x="499596" y="342284"/>
                </a:cubicBezTo>
                <a:close/>
                <a:moveTo>
                  <a:pt x="663392" y="337387"/>
                </a:moveTo>
                <a:cubicBezTo>
                  <a:pt x="680262" y="337387"/>
                  <a:pt x="697675" y="354801"/>
                  <a:pt x="697131" y="371126"/>
                </a:cubicBezTo>
                <a:cubicBezTo>
                  <a:pt x="696043" y="390172"/>
                  <a:pt x="682982" y="404321"/>
                  <a:pt x="662304" y="404321"/>
                </a:cubicBezTo>
                <a:cubicBezTo>
                  <a:pt x="643258" y="405953"/>
                  <a:pt x="629109" y="389084"/>
                  <a:pt x="629109" y="371126"/>
                </a:cubicBezTo>
                <a:cubicBezTo>
                  <a:pt x="629109" y="352624"/>
                  <a:pt x="645434" y="337387"/>
                  <a:pt x="663392" y="337387"/>
                </a:cubicBezTo>
                <a:close/>
                <a:moveTo>
                  <a:pt x="825556" y="332489"/>
                </a:moveTo>
                <a:cubicBezTo>
                  <a:pt x="847323" y="333577"/>
                  <a:pt x="864193" y="349358"/>
                  <a:pt x="864737" y="370037"/>
                </a:cubicBezTo>
                <a:cubicBezTo>
                  <a:pt x="864193" y="391260"/>
                  <a:pt x="847323" y="409218"/>
                  <a:pt x="826645" y="409218"/>
                </a:cubicBezTo>
                <a:cubicBezTo>
                  <a:pt x="808687" y="412483"/>
                  <a:pt x="788008" y="387995"/>
                  <a:pt x="787464" y="371126"/>
                </a:cubicBezTo>
                <a:cubicBezTo>
                  <a:pt x="787464" y="353712"/>
                  <a:pt x="808687" y="331945"/>
                  <a:pt x="825556" y="332489"/>
                </a:cubicBezTo>
                <a:close/>
                <a:moveTo>
                  <a:pt x="989898" y="328680"/>
                </a:moveTo>
                <a:cubicBezTo>
                  <a:pt x="1013297" y="329224"/>
                  <a:pt x="1030167" y="347182"/>
                  <a:pt x="1031255" y="371126"/>
                </a:cubicBezTo>
                <a:cubicBezTo>
                  <a:pt x="1029623" y="396702"/>
                  <a:pt x="1010576" y="413027"/>
                  <a:pt x="989354" y="413027"/>
                </a:cubicBezTo>
                <a:cubicBezTo>
                  <a:pt x="964866" y="412483"/>
                  <a:pt x="946908" y="393981"/>
                  <a:pt x="947452" y="370037"/>
                </a:cubicBezTo>
                <a:cubicBezTo>
                  <a:pt x="947996" y="346094"/>
                  <a:pt x="964866" y="328680"/>
                  <a:pt x="989898" y="328680"/>
                </a:cubicBezTo>
                <a:close/>
                <a:moveTo>
                  <a:pt x="1153150" y="326504"/>
                </a:moveTo>
                <a:cubicBezTo>
                  <a:pt x="1177094" y="326504"/>
                  <a:pt x="1197228" y="347727"/>
                  <a:pt x="1197228" y="370582"/>
                </a:cubicBezTo>
                <a:cubicBezTo>
                  <a:pt x="1197228" y="392894"/>
                  <a:pt x="1176550" y="417925"/>
                  <a:pt x="1152606" y="414661"/>
                </a:cubicBezTo>
                <a:cubicBezTo>
                  <a:pt x="1130295" y="417925"/>
                  <a:pt x="1107984" y="393982"/>
                  <a:pt x="1108528" y="370038"/>
                </a:cubicBezTo>
                <a:cubicBezTo>
                  <a:pt x="1109072" y="347727"/>
                  <a:pt x="1129751" y="326504"/>
                  <a:pt x="1153150" y="326504"/>
                </a:cubicBezTo>
                <a:close/>
                <a:moveTo>
                  <a:pt x="1317492" y="323239"/>
                </a:moveTo>
                <a:cubicBezTo>
                  <a:pt x="1341979" y="322151"/>
                  <a:pt x="1367012" y="348271"/>
                  <a:pt x="1364835" y="372215"/>
                </a:cubicBezTo>
                <a:cubicBezTo>
                  <a:pt x="1361026" y="399968"/>
                  <a:pt x="1344700" y="416837"/>
                  <a:pt x="1314771" y="419014"/>
                </a:cubicBezTo>
                <a:cubicBezTo>
                  <a:pt x="1286474" y="415205"/>
                  <a:pt x="1267972" y="398879"/>
                  <a:pt x="1268516" y="370582"/>
                </a:cubicBezTo>
                <a:cubicBezTo>
                  <a:pt x="1268516" y="341197"/>
                  <a:pt x="1288650" y="324327"/>
                  <a:pt x="1317492" y="323239"/>
                </a:cubicBezTo>
                <a:close/>
                <a:moveTo>
                  <a:pt x="1479112" y="320517"/>
                </a:moveTo>
                <a:cubicBezTo>
                  <a:pt x="1503600" y="319973"/>
                  <a:pt x="1530265" y="343917"/>
                  <a:pt x="1529720" y="371670"/>
                </a:cubicBezTo>
                <a:cubicBezTo>
                  <a:pt x="1528632" y="395069"/>
                  <a:pt x="1506321" y="423366"/>
                  <a:pt x="1478568" y="420101"/>
                </a:cubicBezTo>
                <a:cubicBezTo>
                  <a:pt x="1452447" y="422822"/>
                  <a:pt x="1429592" y="397246"/>
                  <a:pt x="1429592" y="370037"/>
                </a:cubicBezTo>
                <a:cubicBezTo>
                  <a:pt x="1429592" y="342284"/>
                  <a:pt x="1455713" y="320517"/>
                  <a:pt x="1479112" y="320517"/>
                </a:cubicBezTo>
                <a:close/>
                <a:moveTo>
                  <a:pt x="1642364" y="318341"/>
                </a:moveTo>
                <a:cubicBezTo>
                  <a:pt x="1670661" y="318341"/>
                  <a:pt x="1692973" y="339020"/>
                  <a:pt x="1695694" y="370582"/>
                </a:cubicBezTo>
                <a:cubicBezTo>
                  <a:pt x="1696238" y="397791"/>
                  <a:pt x="1671206" y="423367"/>
                  <a:pt x="1643453" y="424455"/>
                </a:cubicBezTo>
                <a:cubicBezTo>
                  <a:pt x="1616788" y="425544"/>
                  <a:pt x="1589035" y="398335"/>
                  <a:pt x="1589035" y="371670"/>
                </a:cubicBezTo>
                <a:cubicBezTo>
                  <a:pt x="1589035" y="345006"/>
                  <a:pt x="1615155" y="317797"/>
                  <a:pt x="1642364" y="318341"/>
                </a:cubicBezTo>
                <a:close/>
                <a:moveTo>
                  <a:pt x="90919" y="273718"/>
                </a:moveTo>
                <a:cubicBezTo>
                  <a:pt x="96361" y="273174"/>
                  <a:pt x="106156" y="282425"/>
                  <a:pt x="106700" y="288411"/>
                </a:cubicBezTo>
                <a:cubicBezTo>
                  <a:pt x="106700" y="294941"/>
                  <a:pt x="97993" y="303648"/>
                  <a:pt x="91463" y="303648"/>
                </a:cubicBezTo>
                <a:cubicBezTo>
                  <a:pt x="84933" y="303648"/>
                  <a:pt x="76226" y="294941"/>
                  <a:pt x="76770" y="288411"/>
                </a:cubicBezTo>
                <a:cubicBezTo>
                  <a:pt x="76770" y="283513"/>
                  <a:pt x="86021" y="274262"/>
                  <a:pt x="90919" y="273718"/>
                </a:cubicBezTo>
                <a:close/>
                <a:moveTo>
                  <a:pt x="254716" y="267733"/>
                </a:moveTo>
                <a:cubicBezTo>
                  <a:pt x="267776" y="267733"/>
                  <a:pt x="276483" y="276440"/>
                  <a:pt x="276483" y="288956"/>
                </a:cubicBezTo>
                <a:cubicBezTo>
                  <a:pt x="276483" y="301472"/>
                  <a:pt x="266688" y="311811"/>
                  <a:pt x="254172" y="311811"/>
                </a:cubicBezTo>
                <a:cubicBezTo>
                  <a:pt x="243289" y="311811"/>
                  <a:pt x="232405" y="300384"/>
                  <a:pt x="232405" y="289500"/>
                </a:cubicBezTo>
                <a:cubicBezTo>
                  <a:pt x="232405" y="276984"/>
                  <a:pt x="242744" y="267733"/>
                  <a:pt x="254716" y="267733"/>
                </a:cubicBezTo>
                <a:close/>
                <a:moveTo>
                  <a:pt x="1941117" y="263202"/>
                </a:moveTo>
                <a:cubicBezTo>
                  <a:pt x="1937852" y="261570"/>
                  <a:pt x="1936219" y="263202"/>
                  <a:pt x="1936219" y="266467"/>
                </a:cubicBezTo>
                <a:cubicBezTo>
                  <a:pt x="1936763" y="268644"/>
                  <a:pt x="1937852" y="270276"/>
                  <a:pt x="1938396" y="272453"/>
                </a:cubicBezTo>
                <a:cubicBezTo>
                  <a:pt x="1944382" y="290955"/>
                  <a:pt x="1943838" y="308913"/>
                  <a:pt x="1932954" y="325782"/>
                </a:cubicBezTo>
                <a:cubicBezTo>
                  <a:pt x="1931866" y="327415"/>
                  <a:pt x="1931866" y="329047"/>
                  <a:pt x="1930777" y="331224"/>
                </a:cubicBezTo>
                <a:cubicBezTo>
                  <a:pt x="1932410" y="331224"/>
                  <a:pt x="1935131" y="331224"/>
                  <a:pt x="1936219" y="330136"/>
                </a:cubicBezTo>
                <a:cubicBezTo>
                  <a:pt x="1945470" y="323061"/>
                  <a:pt x="1955265" y="320885"/>
                  <a:pt x="1966693" y="320340"/>
                </a:cubicBezTo>
                <a:cubicBezTo>
                  <a:pt x="1978121" y="319796"/>
                  <a:pt x="1989004" y="323061"/>
                  <a:pt x="1998799" y="328503"/>
                </a:cubicBezTo>
                <a:cubicBezTo>
                  <a:pt x="2000432" y="329047"/>
                  <a:pt x="2001520" y="329592"/>
                  <a:pt x="2003153" y="330136"/>
                </a:cubicBezTo>
                <a:cubicBezTo>
                  <a:pt x="2002609" y="328503"/>
                  <a:pt x="2002609" y="326326"/>
                  <a:pt x="2001520" y="324694"/>
                </a:cubicBezTo>
                <a:cubicBezTo>
                  <a:pt x="1999344" y="319796"/>
                  <a:pt x="1995534" y="314899"/>
                  <a:pt x="1994446" y="309457"/>
                </a:cubicBezTo>
                <a:cubicBezTo>
                  <a:pt x="1992269" y="295308"/>
                  <a:pt x="1990093" y="281160"/>
                  <a:pt x="1998255" y="267555"/>
                </a:cubicBezTo>
                <a:cubicBezTo>
                  <a:pt x="2000432" y="267555"/>
                  <a:pt x="2000432" y="265923"/>
                  <a:pt x="2000976" y="263746"/>
                </a:cubicBezTo>
                <a:cubicBezTo>
                  <a:pt x="1998799" y="263746"/>
                  <a:pt x="1996623" y="262658"/>
                  <a:pt x="1995534" y="263746"/>
                </a:cubicBezTo>
                <a:cubicBezTo>
                  <a:pt x="1977577" y="272997"/>
                  <a:pt x="1959075" y="272997"/>
                  <a:pt x="1941117" y="263202"/>
                </a:cubicBezTo>
                <a:close/>
                <a:moveTo>
                  <a:pt x="417425" y="262291"/>
                </a:moveTo>
                <a:cubicBezTo>
                  <a:pt x="434839" y="262291"/>
                  <a:pt x="445178" y="272086"/>
                  <a:pt x="445178" y="288956"/>
                </a:cubicBezTo>
                <a:cubicBezTo>
                  <a:pt x="445178" y="305825"/>
                  <a:pt x="434839" y="316164"/>
                  <a:pt x="417969" y="317253"/>
                </a:cubicBezTo>
                <a:cubicBezTo>
                  <a:pt x="404909" y="317797"/>
                  <a:pt x="389672" y="306369"/>
                  <a:pt x="390216" y="290044"/>
                </a:cubicBezTo>
                <a:cubicBezTo>
                  <a:pt x="391305" y="272086"/>
                  <a:pt x="400011" y="262291"/>
                  <a:pt x="417425" y="262291"/>
                </a:cubicBezTo>
                <a:close/>
                <a:moveTo>
                  <a:pt x="580678" y="256304"/>
                </a:moveTo>
                <a:cubicBezTo>
                  <a:pt x="596459" y="255760"/>
                  <a:pt x="616049" y="273174"/>
                  <a:pt x="613872" y="288955"/>
                </a:cubicBezTo>
                <a:cubicBezTo>
                  <a:pt x="615505" y="304736"/>
                  <a:pt x="598635" y="322150"/>
                  <a:pt x="581222" y="322150"/>
                </a:cubicBezTo>
                <a:cubicBezTo>
                  <a:pt x="564352" y="322150"/>
                  <a:pt x="548571" y="308001"/>
                  <a:pt x="548027" y="289499"/>
                </a:cubicBezTo>
                <a:cubicBezTo>
                  <a:pt x="547483" y="272086"/>
                  <a:pt x="565441" y="256849"/>
                  <a:pt x="580678" y="256304"/>
                </a:cubicBezTo>
                <a:close/>
                <a:moveTo>
                  <a:pt x="743930" y="251951"/>
                </a:moveTo>
                <a:cubicBezTo>
                  <a:pt x="764609" y="251951"/>
                  <a:pt x="782566" y="268820"/>
                  <a:pt x="782022" y="289499"/>
                </a:cubicBezTo>
                <a:cubicBezTo>
                  <a:pt x="781478" y="311266"/>
                  <a:pt x="765153" y="326503"/>
                  <a:pt x="744474" y="326503"/>
                </a:cubicBezTo>
                <a:cubicBezTo>
                  <a:pt x="723795" y="326503"/>
                  <a:pt x="708014" y="311266"/>
                  <a:pt x="707470" y="289499"/>
                </a:cubicBezTo>
                <a:cubicBezTo>
                  <a:pt x="706926" y="271541"/>
                  <a:pt x="722163" y="252495"/>
                  <a:pt x="743930" y="251951"/>
                </a:cubicBezTo>
                <a:close/>
                <a:moveTo>
                  <a:pt x="907183" y="249775"/>
                </a:moveTo>
                <a:cubicBezTo>
                  <a:pt x="929494" y="249775"/>
                  <a:pt x="946908" y="263924"/>
                  <a:pt x="947452" y="289500"/>
                </a:cubicBezTo>
                <a:cubicBezTo>
                  <a:pt x="947996" y="311811"/>
                  <a:pt x="931127" y="330313"/>
                  <a:pt x="908271" y="329225"/>
                </a:cubicBezTo>
                <a:cubicBezTo>
                  <a:pt x="885960" y="330857"/>
                  <a:pt x="868002" y="312355"/>
                  <a:pt x="867458" y="290044"/>
                </a:cubicBezTo>
                <a:cubicBezTo>
                  <a:pt x="867458" y="266100"/>
                  <a:pt x="884872" y="249775"/>
                  <a:pt x="907183" y="249775"/>
                </a:cubicBezTo>
                <a:close/>
                <a:moveTo>
                  <a:pt x="1070435" y="245965"/>
                </a:moveTo>
                <a:cubicBezTo>
                  <a:pt x="1093291" y="245421"/>
                  <a:pt x="1116146" y="264467"/>
                  <a:pt x="1114513" y="290043"/>
                </a:cubicBezTo>
                <a:cubicBezTo>
                  <a:pt x="1115602" y="312899"/>
                  <a:pt x="1092202" y="334122"/>
                  <a:pt x="1069347" y="333578"/>
                </a:cubicBezTo>
                <a:cubicBezTo>
                  <a:pt x="1047036" y="333034"/>
                  <a:pt x="1026357" y="311266"/>
                  <a:pt x="1026357" y="288955"/>
                </a:cubicBezTo>
                <a:cubicBezTo>
                  <a:pt x="1026901" y="268276"/>
                  <a:pt x="1045403" y="245965"/>
                  <a:pt x="1070435" y="245965"/>
                </a:cubicBezTo>
                <a:close/>
                <a:moveTo>
                  <a:pt x="1233689" y="241613"/>
                </a:moveTo>
                <a:cubicBezTo>
                  <a:pt x="1257632" y="241068"/>
                  <a:pt x="1281032" y="263924"/>
                  <a:pt x="1282120" y="288412"/>
                </a:cubicBezTo>
                <a:cubicBezTo>
                  <a:pt x="1282665" y="312900"/>
                  <a:pt x="1260898" y="336299"/>
                  <a:pt x="1235321" y="335755"/>
                </a:cubicBezTo>
                <a:cubicBezTo>
                  <a:pt x="1206480" y="335211"/>
                  <a:pt x="1190155" y="318886"/>
                  <a:pt x="1187434" y="289500"/>
                </a:cubicBezTo>
                <a:cubicBezTo>
                  <a:pt x="1184713" y="266100"/>
                  <a:pt x="1208657" y="242701"/>
                  <a:pt x="1233689" y="241613"/>
                </a:cubicBezTo>
                <a:close/>
                <a:moveTo>
                  <a:pt x="1397485" y="238891"/>
                </a:moveTo>
                <a:cubicBezTo>
                  <a:pt x="1421973" y="237259"/>
                  <a:pt x="1448638" y="264467"/>
                  <a:pt x="1448094" y="288955"/>
                </a:cubicBezTo>
                <a:cubicBezTo>
                  <a:pt x="1447005" y="312355"/>
                  <a:pt x="1424150" y="341196"/>
                  <a:pt x="1398029" y="338475"/>
                </a:cubicBezTo>
                <a:cubicBezTo>
                  <a:pt x="1372453" y="340652"/>
                  <a:pt x="1347421" y="315620"/>
                  <a:pt x="1348509" y="289499"/>
                </a:cubicBezTo>
                <a:cubicBezTo>
                  <a:pt x="1349598" y="261202"/>
                  <a:pt x="1369732" y="240524"/>
                  <a:pt x="1397485" y="238891"/>
                </a:cubicBezTo>
                <a:close/>
                <a:moveTo>
                  <a:pt x="1559650" y="237258"/>
                </a:moveTo>
                <a:cubicBezTo>
                  <a:pt x="1590668" y="236170"/>
                  <a:pt x="1611891" y="259570"/>
                  <a:pt x="1613523" y="288955"/>
                </a:cubicBezTo>
                <a:cubicBezTo>
                  <a:pt x="1613523" y="316164"/>
                  <a:pt x="1587403" y="342829"/>
                  <a:pt x="1560738" y="342829"/>
                </a:cubicBezTo>
                <a:cubicBezTo>
                  <a:pt x="1534618" y="342829"/>
                  <a:pt x="1505776" y="315620"/>
                  <a:pt x="1507953" y="289499"/>
                </a:cubicBezTo>
                <a:cubicBezTo>
                  <a:pt x="1510130" y="261202"/>
                  <a:pt x="1526455" y="238347"/>
                  <a:pt x="1559650" y="237258"/>
                </a:cubicBezTo>
                <a:close/>
                <a:moveTo>
                  <a:pt x="9837" y="198078"/>
                </a:moveTo>
                <a:cubicBezTo>
                  <a:pt x="14190" y="198078"/>
                  <a:pt x="19632" y="202976"/>
                  <a:pt x="19632" y="207873"/>
                </a:cubicBezTo>
                <a:cubicBezTo>
                  <a:pt x="19632" y="212227"/>
                  <a:pt x="14190" y="217668"/>
                  <a:pt x="10381" y="218213"/>
                </a:cubicBezTo>
                <a:cubicBezTo>
                  <a:pt x="5483" y="218757"/>
                  <a:pt x="-503" y="212771"/>
                  <a:pt x="42" y="207873"/>
                </a:cubicBezTo>
                <a:cubicBezTo>
                  <a:pt x="42" y="202976"/>
                  <a:pt x="5483" y="198078"/>
                  <a:pt x="9837" y="198078"/>
                </a:cubicBezTo>
                <a:close/>
                <a:moveTo>
                  <a:pt x="173090" y="187739"/>
                </a:moveTo>
                <a:cubicBezTo>
                  <a:pt x="183429" y="188283"/>
                  <a:pt x="192136" y="196990"/>
                  <a:pt x="192136" y="207329"/>
                </a:cubicBezTo>
                <a:cubicBezTo>
                  <a:pt x="192136" y="217669"/>
                  <a:pt x="182341" y="228008"/>
                  <a:pt x="172546" y="227464"/>
                </a:cubicBezTo>
                <a:cubicBezTo>
                  <a:pt x="163839" y="226920"/>
                  <a:pt x="154588" y="217669"/>
                  <a:pt x="154044" y="208418"/>
                </a:cubicBezTo>
                <a:cubicBezTo>
                  <a:pt x="153500" y="198078"/>
                  <a:pt x="162751" y="187739"/>
                  <a:pt x="173090" y="187739"/>
                </a:cubicBezTo>
                <a:close/>
                <a:moveTo>
                  <a:pt x="336887" y="182297"/>
                </a:moveTo>
                <a:cubicBezTo>
                  <a:pt x="350491" y="182841"/>
                  <a:pt x="361919" y="191548"/>
                  <a:pt x="363007" y="207329"/>
                </a:cubicBezTo>
                <a:cubicBezTo>
                  <a:pt x="363551" y="219845"/>
                  <a:pt x="349947" y="233449"/>
                  <a:pt x="336887" y="233994"/>
                </a:cubicBezTo>
                <a:cubicBezTo>
                  <a:pt x="324371" y="233994"/>
                  <a:pt x="311311" y="221478"/>
                  <a:pt x="310766" y="208961"/>
                </a:cubicBezTo>
                <a:cubicBezTo>
                  <a:pt x="310222" y="195357"/>
                  <a:pt x="323282" y="181753"/>
                  <a:pt x="336887" y="182297"/>
                </a:cubicBezTo>
                <a:close/>
                <a:moveTo>
                  <a:pt x="1856225" y="180487"/>
                </a:moveTo>
                <a:cubicBezTo>
                  <a:pt x="1856225" y="182664"/>
                  <a:pt x="1855137" y="184841"/>
                  <a:pt x="1855681" y="185929"/>
                </a:cubicBezTo>
                <a:cubicBezTo>
                  <a:pt x="1863844" y="206064"/>
                  <a:pt x="1863844" y="226198"/>
                  <a:pt x="1851872" y="244700"/>
                </a:cubicBezTo>
                <a:cubicBezTo>
                  <a:pt x="1851328" y="245788"/>
                  <a:pt x="1851328" y="246877"/>
                  <a:pt x="1851328" y="247965"/>
                </a:cubicBezTo>
                <a:cubicBezTo>
                  <a:pt x="1852416" y="247965"/>
                  <a:pt x="1854049" y="247965"/>
                  <a:pt x="1854593" y="247421"/>
                </a:cubicBezTo>
                <a:cubicBezTo>
                  <a:pt x="1868197" y="237082"/>
                  <a:pt x="1883434" y="237082"/>
                  <a:pt x="1899215" y="238714"/>
                </a:cubicBezTo>
                <a:cubicBezTo>
                  <a:pt x="1904113" y="239258"/>
                  <a:pt x="1909010" y="241979"/>
                  <a:pt x="1913908" y="243067"/>
                </a:cubicBezTo>
                <a:cubicBezTo>
                  <a:pt x="1915541" y="243612"/>
                  <a:pt x="1917173" y="242523"/>
                  <a:pt x="1918806" y="242523"/>
                </a:cubicBezTo>
                <a:cubicBezTo>
                  <a:pt x="1918806" y="240891"/>
                  <a:pt x="1918806" y="239258"/>
                  <a:pt x="1918261" y="238170"/>
                </a:cubicBezTo>
                <a:cubicBezTo>
                  <a:pt x="1908466" y="220756"/>
                  <a:pt x="1910099" y="203887"/>
                  <a:pt x="1917173" y="185929"/>
                </a:cubicBezTo>
                <a:cubicBezTo>
                  <a:pt x="1917717" y="184297"/>
                  <a:pt x="1917717" y="183208"/>
                  <a:pt x="1918261" y="181576"/>
                </a:cubicBezTo>
                <a:cubicBezTo>
                  <a:pt x="1916629" y="182120"/>
                  <a:pt x="1914996" y="182120"/>
                  <a:pt x="1913908" y="182664"/>
                </a:cubicBezTo>
                <a:cubicBezTo>
                  <a:pt x="1895950" y="189738"/>
                  <a:pt x="1877992" y="190827"/>
                  <a:pt x="1860579" y="180487"/>
                </a:cubicBezTo>
                <a:cubicBezTo>
                  <a:pt x="1858946" y="181031"/>
                  <a:pt x="1857858" y="181031"/>
                  <a:pt x="1856225" y="180487"/>
                </a:cubicBezTo>
                <a:close/>
                <a:moveTo>
                  <a:pt x="499595" y="175767"/>
                </a:moveTo>
                <a:cubicBezTo>
                  <a:pt x="514832" y="175767"/>
                  <a:pt x="531702" y="193181"/>
                  <a:pt x="531158" y="207874"/>
                </a:cubicBezTo>
                <a:cubicBezTo>
                  <a:pt x="530613" y="223110"/>
                  <a:pt x="513744" y="239980"/>
                  <a:pt x="498507" y="238347"/>
                </a:cubicBezTo>
                <a:cubicBezTo>
                  <a:pt x="479461" y="236715"/>
                  <a:pt x="469666" y="224743"/>
                  <a:pt x="468033" y="207329"/>
                </a:cubicBezTo>
                <a:cubicBezTo>
                  <a:pt x="466945" y="192636"/>
                  <a:pt x="484903" y="175767"/>
                  <a:pt x="499595" y="175767"/>
                </a:cubicBezTo>
                <a:close/>
                <a:moveTo>
                  <a:pt x="662304" y="173046"/>
                </a:moveTo>
                <a:cubicBezTo>
                  <a:pt x="683527" y="171958"/>
                  <a:pt x="698220" y="189916"/>
                  <a:pt x="697676" y="207873"/>
                </a:cubicBezTo>
                <a:cubicBezTo>
                  <a:pt x="697131" y="227464"/>
                  <a:pt x="684615" y="243245"/>
                  <a:pt x="662304" y="242156"/>
                </a:cubicBezTo>
                <a:cubicBezTo>
                  <a:pt x="639993" y="241612"/>
                  <a:pt x="628565" y="229096"/>
                  <a:pt x="628021" y="207873"/>
                </a:cubicBezTo>
                <a:cubicBezTo>
                  <a:pt x="628021" y="187739"/>
                  <a:pt x="642714" y="172502"/>
                  <a:pt x="662304" y="173046"/>
                </a:cubicBezTo>
                <a:close/>
                <a:moveTo>
                  <a:pt x="826645" y="168148"/>
                </a:moveTo>
                <a:cubicBezTo>
                  <a:pt x="844602" y="168148"/>
                  <a:pt x="867458" y="187194"/>
                  <a:pt x="864737" y="207329"/>
                </a:cubicBezTo>
                <a:cubicBezTo>
                  <a:pt x="867458" y="229096"/>
                  <a:pt x="844058" y="247054"/>
                  <a:pt x="826100" y="247054"/>
                </a:cubicBezTo>
                <a:cubicBezTo>
                  <a:pt x="808687" y="247054"/>
                  <a:pt x="787464" y="228552"/>
                  <a:pt x="787464" y="207873"/>
                </a:cubicBezTo>
                <a:cubicBezTo>
                  <a:pt x="787464" y="187194"/>
                  <a:pt x="807054" y="168148"/>
                  <a:pt x="826645" y="168148"/>
                </a:cubicBezTo>
                <a:close/>
                <a:moveTo>
                  <a:pt x="987721" y="164883"/>
                </a:moveTo>
                <a:cubicBezTo>
                  <a:pt x="1012209" y="164339"/>
                  <a:pt x="1030711" y="181753"/>
                  <a:pt x="1031799" y="207329"/>
                </a:cubicBezTo>
                <a:cubicBezTo>
                  <a:pt x="1031255" y="232361"/>
                  <a:pt x="1011665" y="250319"/>
                  <a:pt x="988809" y="250319"/>
                </a:cubicBezTo>
                <a:cubicBezTo>
                  <a:pt x="965954" y="250319"/>
                  <a:pt x="946364" y="231273"/>
                  <a:pt x="945819" y="208417"/>
                </a:cubicBezTo>
                <a:cubicBezTo>
                  <a:pt x="945275" y="185018"/>
                  <a:pt x="962689" y="165428"/>
                  <a:pt x="987721" y="164883"/>
                </a:cubicBezTo>
                <a:close/>
                <a:moveTo>
                  <a:pt x="1153150" y="162707"/>
                </a:moveTo>
                <a:cubicBezTo>
                  <a:pt x="1177638" y="161619"/>
                  <a:pt x="1197772" y="180665"/>
                  <a:pt x="1197772" y="207874"/>
                </a:cubicBezTo>
                <a:cubicBezTo>
                  <a:pt x="1197772" y="235083"/>
                  <a:pt x="1176005" y="253584"/>
                  <a:pt x="1151517" y="253584"/>
                </a:cubicBezTo>
                <a:cubicBezTo>
                  <a:pt x="1128118" y="253040"/>
                  <a:pt x="1106895" y="234538"/>
                  <a:pt x="1107439" y="207329"/>
                </a:cubicBezTo>
                <a:cubicBezTo>
                  <a:pt x="1107983" y="179576"/>
                  <a:pt x="1129206" y="161075"/>
                  <a:pt x="1153150" y="162707"/>
                </a:cubicBezTo>
                <a:close/>
                <a:moveTo>
                  <a:pt x="1315315" y="158353"/>
                </a:moveTo>
                <a:cubicBezTo>
                  <a:pt x="1341435" y="156177"/>
                  <a:pt x="1365923" y="184474"/>
                  <a:pt x="1365379" y="206785"/>
                </a:cubicBezTo>
                <a:cubicBezTo>
                  <a:pt x="1365379" y="229640"/>
                  <a:pt x="1344156" y="256849"/>
                  <a:pt x="1315859" y="256305"/>
                </a:cubicBezTo>
                <a:cubicBezTo>
                  <a:pt x="1290283" y="256305"/>
                  <a:pt x="1267427" y="233994"/>
                  <a:pt x="1266883" y="207873"/>
                </a:cubicBezTo>
                <a:cubicBezTo>
                  <a:pt x="1265795" y="181209"/>
                  <a:pt x="1292460" y="157265"/>
                  <a:pt x="1315315" y="158353"/>
                </a:cubicBezTo>
                <a:close/>
                <a:moveTo>
                  <a:pt x="1478567" y="156721"/>
                </a:moveTo>
                <a:cubicBezTo>
                  <a:pt x="1510129" y="156721"/>
                  <a:pt x="1530264" y="180665"/>
                  <a:pt x="1529720" y="207329"/>
                </a:cubicBezTo>
                <a:cubicBezTo>
                  <a:pt x="1530264" y="236715"/>
                  <a:pt x="1510129" y="258482"/>
                  <a:pt x="1478567" y="258482"/>
                </a:cubicBezTo>
                <a:cubicBezTo>
                  <a:pt x="1449182" y="257938"/>
                  <a:pt x="1428503" y="238892"/>
                  <a:pt x="1427959" y="207874"/>
                </a:cubicBezTo>
                <a:cubicBezTo>
                  <a:pt x="1427415" y="179576"/>
                  <a:pt x="1447549" y="156721"/>
                  <a:pt x="1478567" y="156721"/>
                </a:cubicBezTo>
                <a:close/>
                <a:moveTo>
                  <a:pt x="1644541" y="153456"/>
                </a:moveTo>
                <a:cubicBezTo>
                  <a:pt x="1672294" y="154544"/>
                  <a:pt x="1697870" y="180665"/>
                  <a:pt x="1697326" y="209506"/>
                </a:cubicBezTo>
                <a:cubicBezTo>
                  <a:pt x="1696782" y="238347"/>
                  <a:pt x="1669573" y="263924"/>
                  <a:pt x="1641276" y="262835"/>
                </a:cubicBezTo>
                <a:cubicBezTo>
                  <a:pt x="1612979" y="261203"/>
                  <a:pt x="1587402" y="236715"/>
                  <a:pt x="1587947" y="206785"/>
                </a:cubicBezTo>
                <a:cubicBezTo>
                  <a:pt x="1587947" y="180121"/>
                  <a:pt x="1613523" y="152368"/>
                  <a:pt x="1644541" y="153456"/>
                </a:cubicBezTo>
                <a:close/>
                <a:moveTo>
                  <a:pt x="91463" y="109922"/>
                </a:moveTo>
                <a:cubicBezTo>
                  <a:pt x="97993" y="109922"/>
                  <a:pt x="107244" y="119173"/>
                  <a:pt x="107244" y="126247"/>
                </a:cubicBezTo>
                <a:cubicBezTo>
                  <a:pt x="107788" y="132777"/>
                  <a:pt x="98537" y="142028"/>
                  <a:pt x="91463" y="142028"/>
                </a:cubicBezTo>
                <a:cubicBezTo>
                  <a:pt x="83845" y="142028"/>
                  <a:pt x="75682" y="133866"/>
                  <a:pt x="75682" y="126247"/>
                </a:cubicBezTo>
                <a:cubicBezTo>
                  <a:pt x="75682" y="118629"/>
                  <a:pt x="84389" y="109922"/>
                  <a:pt x="91463" y="109922"/>
                </a:cubicBezTo>
                <a:close/>
                <a:moveTo>
                  <a:pt x="1942341" y="104915"/>
                </a:moveTo>
                <a:cubicBezTo>
                  <a:pt x="1941389" y="105799"/>
                  <a:pt x="1941389" y="107840"/>
                  <a:pt x="1942205" y="111377"/>
                </a:cubicBezTo>
                <a:cubicBezTo>
                  <a:pt x="1943294" y="118451"/>
                  <a:pt x="1944926" y="124437"/>
                  <a:pt x="1946559" y="131511"/>
                </a:cubicBezTo>
                <a:cubicBezTo>
                  <a:pt x="1944382" y="139674"/>
                  <a:pt x="1941661" y="148381"/>
                  <a:pt x="1939484" y="157088"/>
                </a:cubicBezTo>
                <a:cubicBezTo>
                  <a:pt x="1939484" y="158176"/>
                  <a:pt x="1941117" y="160353"/>
                  <a:pt x="1941117" y="160353"/>
                </a:cubicBezTo>
                <a:cubicBezTo>
                  <a:pt x="1955810" y="154367"/>
                  <a:pt x="1971046" y="150558"/>
                  <a:pt x="1986828" y="157088"/>
                </a:cubicBezTo>
                <a:cubicBezTo>
                  <a:pt x="1987372" y="157088"/>
                  <a:pt x="1987916" y="157088"/>
                  <a:pt x="1987916" y="157088"/>
                </a:cubicBezTo>
                <a:cubicBezTo>
                  <a:pt x="1994990" y="157632"/>
                  <a:pt x="1996623" y="155999"/>
                  <a:pt x="1993902" y="150013"/>
                </a:cubicBezTo>
                <a:cubicBezTo>
                  <a:pt x="1988460" y="136409"/>
                  <a:pt x="1988460" y="123349"/>
                  <a:pt x="1993902" y="109744"/>
                </a:cubicBezTo>
                <a:cubicBezTo>
                  <a:pt x="1995534" y="105935"/>
                  <a:pt x="1994446" y="103214"/>
                  <a:pt x="1989004" y="105391"/>
                </a:cubicBezTo>
                <a:cubicBezTo>
                  <a:pt x="1975400" y="109744"/>
                  <a:pt x="1961796" y="109744"/>
                  <a:pt x="1948191" y="105391"/>
                </a:cubicBezTo>
                <a:cubicBezTo>
                  <a:pt x="1945198" y="104303"/>
                  <a:pt x="1943294" y="104031"/>
                  <a:pt x="1942341" y="104915"/>
                </a:cubicBezTo>
                <a:close/>
                <a:moveTo>
                  <a:pt x="255804" y="103392"/>
                </a:moveTo>
                <a:cubicBezTo>
                  <a:pt x="269409" y="103392"/>
                  <a:pt x="277571" y="112643"/>
                  <a:pt x="277571" y="126791"/>
                </a:cubicBezTo>
                <a:cubicBezTo>
                  <a:pt x="277027" y="139852"/>
                  <a:pt x="267776" y="148558"/>
                  <a:pt x="254172" y="148014"/>
                </a:cubicBezTo>
                <a:cubicBezTo>
                  <a:pt x="241112" y="148014"/>
                  <a:pt x="231861" y="138763"/>
                  <a:pt x="232405" y="125159"/>
                </a:cubicBezTo>
                <a:cubicBezTo>
                  <a:pt x="232405" y="112099"/>
                  <a:pt x="242200" y="102848"/>
                  <a:pt x="255804" y="103392"/>
                </a:cubicBezTo>
                <a:close/>
                <a:moveTo>
                  <a:pt x="1773511" y="99405"/>
                </a:moveTo>
                <a:cubicBezTo>
                  <a:pt x="1773511" y="102126"/>
                  <a:pt x="1772966" y="104303"/>
                  <a:pt x="1773511" y="107023"/>
                </a:cubicBezTo>
                <a:cubicBezTo>
                  <a:pt x="1776232" y="114098"/>
                  <a:pt x="1778408" y="121716"/>
                  <a:pt x="1780585" y="130423"/>
                </a:cubicBezTo>
                <a:cubicBezTo>
                  <a:pt x="1778408" y="139130"/>
                  <a:pt x="1775687" y="147293"/>
                  <a:pt x="1773511" y="155999"/>
                </a:cubicBezTo>
                <a:cubicBezTo>
                  <a:pt x="1772966" y="157632"/>
                  <a:pt x="1772966" y="160897"/>
                  <a:pt x="1774055" y="161985"/>
                </a:cubicBezTo>
                <a:cubicBezTo>
                  <a:pt x="1775143" y="163074"/>
                  <a:pt x="1778408" y="163074"/>
                  <a:pt x="1780041" y="162529"/>
                </a:cubicBezTo>
                <a:cubicBezTo>
                  <a:pt x="1789836" y="155455"/>
                  <a:pt x="1800719" y="157632"/>
                  <a:pt x="1811059" y="157632"/>
                </a:cubicBezTo>
                <a:cubicBezTo>
                  <a:pt x="1817589" y="157632"/>
                  <a:pt x="1824119" y="156543"/>
                  <a:pt x="1829561" y="161985"/>
                </a:cubicBezTo>
                <a:cubicBezTo>
                  <a:pt x="1830649" y="163074"/>
                  <a:pt x="1834458" y="161985"/>
                  <a:pt x="1836635" y="161985"/>
                </a:cubicBezTo>
                <a:cubicBezTo>
                  <a:pt x="1835547" y="160353"/>
                  <a:pt x="1835002" y="158720"/>
                  <a:pt x="1833914" y="157088"/>
                </a:cubicBezTo>
                <a:cubicBezTo>
                  <a:pt x="1826840" y="139674"/>
                  <a:pt x="1826296" y="121716"/>
                  <a:pt x="1834458" y="104303"/>
                </a:cubicBezTo>
                <a:cubicBezTo>
                  <a:pt x="1835002" y="102670"/>
                  <a:pt x="1835547" y="101038"/>
                  <a:pt x="1835547" y="99405"/>
                </a:cubicBezTo>
                <a:cubicBezTo>
                  <a:pt x="1833914" y="99949"/>
                  <a:pt x="1832282" y="99949"/>
                  <a:pt x="1831193" y="101038"/>
                </a:cubicBezTo>
                <a:cubicBezTo>
                  <a:pt x="1814324" y="109200"/>
                  <a:pt x="1797454" y="109200"/>
                  <a:pt x="1780041" y="101582"/>
                </a:cubicBezTo>
                <a:cubicBezTo>
                  <a:pt x="1777864" y="100493"/>
                  <a:pt x="1775687" y="100493"/>
                  <a:pt x="1773511" y="99405"/>
                </a:cubicBezTo>
                <a:close/>
                <a:moveTo>
                  <a:pt x="417424" y="97950"/>
                </a:moveTo>
                <a:cubicBezTo>
                  <a:pt x="435382" y="97950"/>
                  <a:pt x="445721" y="108289"/>
                  <a:pt x="445721" y="126247"/>
                </a:cubicBezTo>
                <a:cubicBezTo>
                  <a:pt x="445721" y="143661"/>
                  <a:pt x="435382" y="153456"/>
                  <a:pt x="417424" y="153456"/>
                </a:cubicBezTo>
                <a:cubicBezTo>
                  <a:pt x="402187" y="155088"/>
                  <a:pt x="389127" y="141484"/>
                  <a:pt x="390215" y="125159"/>
                </a:cubicBezTo>
                <a:cubicBezTo>
                  <a:pt x="391304" y="107745"/>
                  <a:pt x="400555" y="97950"/>
                  <a:pt x="417424" y="97950"/>
                </a:cubicBezTo>
                <a:close/>
                <a:moveTo>
                  <a:pt x="580677" y="92508"/>
                </a:moveTo>
                <a:cubicBezTo>
                  <a:pt x="599724" y="92508"/>
                  <a:pt x="613328" y="106112"/>
                  <a:pt x="614960" y="125159"/>
                </a:cubicBezTo>
                <a:cubicBezTo>
                  <a:pt x="616049" y="141484"/>
                  <a:pt x="598091" y="161618"/>
                  <a:pt x="581766" y="158353"/>
                </a:cubicBezTo>
                <a:cubicBezTo>
                  <a:pt x="561631" y="158353"/>
                  <a:pt x="548571" y="145293"/>
                  <a:pt x="548571" y="125703"/>
                </a:cubicBezTo>
                <a:cubicBezTo>
                  <a:pt x="548571" y="106657"/>
                  <a:pt x="562175" y="92508"/>
                  <a:pt x="580677" y="92508"/>
                </a:cubicBezTo>
                <a:close/>
                <a:moveTo>
                  <a:pt x="745019" y="88154"/>
                </a:moveTo>
                <a:cubicBezTo>
                  <a:pt x="763521" y="87610"/>
                  <a:pt x="783111" y="107745"/>
                  <a:pt x="782567" y="126791"/>
                </a:cubicBezTo>
                <a:cubicBezTo>
                  <a:pt x="782023" y="147469"/>
                  <a:pt x="761344" y="164339"/>
                  <a:pt x="743930" y="164339"/>
                </a:cubicBezTo>
                <a:cubicBezTo>
                  <a:pt x="723796" y="163795"/>
                  <a:pt x="705838" y="144204"/>
                  <a:pt x="706382" y="125702"/>
                </a:cubicBezTo>
                <a:cubicBezTo>
                  <a:pt x="706926" y="109377"/>
                  <a:pt x="723252" y="87066"/>
                  <a:pt x="745019" y="88154"/>
                </a:cubicBezTo>
                <a:close/>
                <a:moveTo>
                  <a:pt x="1685898" y="84712"/>
                </a:moveTo>
                <a:lnTo>
                  <a:pt x="1685681" y="85147"/>
                </a:lnTo>
                <a:lnTo>
                  <a:pt x="1685354" y="85256"/>
                </a:lnTo>
                <a:cubicBezTo>
                  <a:pt x="1685354" y="85256"/>
                  <a:pt x="1685898" y="84712"/>
                  <a:pt x="1685898" y="84712"/>
                </a:cubicBezTo>
                <a:close/>
                <a:moveTo>
                  <a:pt x="907183" y="84345"/>
                </a:moveTo>
                <a:cubicBezTo>
                  <a:pt x="916978" y="84345"/>
                  <a:pt x="926773" y="87610"/>
                  <a:pt x="934935" y="95228"/>
                </a:cubicBezTo>
                <a:cubicBezTo>
                  <a:pt x="944187" y="103935"/>
                  <a:pt x="946907" y="114819"/>
                  <a:pt x="949628" y="125158"/>
                </a:cubicBezTo>
                <a:cubicBezTo>
                  <a:pt x="946907" y="150190"/>
                  <a:pt x="932759" y="166515"/>
                  <a:pt x="908271" y="167060"/>
                </a:cubicBezTo>
                <a:cubicBezTo>
                  <a:pt x="884871" y="167604"/>
                  <a:pt x="867458" y="150734"/>
                  <a:pt x="866369" y="125702"/>
                </a:cubicBezTo>
                <a:cubicBezTo>
                  <a:pt x="865825" y="103935"/>
                  <a:pt x="884871" y="83801"/>
                  <a:pt x="907183" y="84345"/>
                </a:cubicBezTo>
                <a:close/>
                <a:moveTo>
                  <a:pt x="1070979" y="82169"/>
                </a:moveTo>
                <a:cubicBezTo>
                  <a:pt x="1095467" y="79448"/>
                  <a:pt x="1115602" y="103936"/>
                  <a:pt x="1115602" y="126247"/>
                </a:cubicBezTo>
                <a:cubicBezTo>
                  <a:pt x="1115602" y="148014"/>
                  <a:pt x="1094923" y="170325"/>
                  <a:pt x="1071524" y="170325"/>
                </a:cubicBezTo>
                <a:cubicBezTo>
                  <a:pt x="1047580" y="170325"/>
                  <a:pt x="1026357" y="148558"/>
                  <a:pt x="1026357" y="125703"/>
                </a:cubicBezTo>
                <a:cubicBezTo>
                  <a:pt x="1026357" y="103936"/>
                  <a:pt x="1047036" y="79448"/>
                  <a:pt x="1070979" y="82169"/>
                </a:cubicBezTo>
                <a:close/>
                <a:moveTo>
                  <a:pt x="1684811" y="82168"/>
                </a:moveTo>
                <a:cubicBezTo>
                  <a:pt x="1684811" y="82168"/>
                  <a:pt x="1684266" y="82713"/>
                  <a:pt x="1684266" y="82713"/>
                </a:cubicBezTo>
                <a:lnTo>
                  <a:pt x="1684469" y="82365"/>
                </a:lnTo>
                <a:close/>
                <a:moveTo>
                  <a:pt x="1234777" y="78360"/>
                </a:moveTo>
                <a:cubicBezTo>
                  <a:pt x="1259809" y="76727"/>
                  <a:pt x="1284297" y="101759"/>
                  <a:pt x="1282664" y="126791"/>
                </a:cubicBezTo>
                <a:cubicBezTo>
                  <a:pt x="1280487" y="152912"/>
                  <a:pt x="1264162" y="171958"/>
                  <a:pt x="1234232" y="174135"/>
                </a:cubicBezTo>
                <a:cubicBezTo>
                  <a:pt x="1205935" y="172502"/>
                  <a:pt x="1186345" y="153456"/>
                  <a:pt x="1186889" y="126791"/>
                </a:cubicBezTo>
                <a:cubicBezTo>
                  <a:pt x="1187433" y="96318"/>
                  <a:pt x="1207024" y="79992"/>
                  <a:pt x="1234777" y="78360"/>
                </a:cubicBezTo>
                <a:close/>
                <a:moveTo>
                  <a:pt x="1398574" y="76182"/>
                </a:moveTo>
                <a:cubicBezTo>
                  <a:pt x="1424150" y="74006"/>
                  <a:pt x="1448638" y="99582"/>
                  <a:pt x="1448094" y="127335"/>
                </a:cubicBezTo>
                <a:cubicBezTo>
                  <a:pt x="1447549" y="151823"/>
                  <a:pt x="1426327" y="176311"/>
                  <a:pt x="1396941" y="175766"/>
                </a:cubicBezTo>
                <a:cubicBezTo>
                  <a:pt x="1367011" y="175222"/>
                  <a:pt x="1347421" y="151278"/>
                  <a:pt x="1347421" y="125702"/>
                </a:cubicBezTo>
                <a:cubicBezTo>
                  <a:pt x="1347421" y="99038"/>
                  <a:pt x="1369732" y="74006"/>
                  <a:pt x="1398574" y="76182"/>
                </a:cubicBezTo>
                <a:close/>
                <a:moveTo>
                  <a:pt x="1561282" y="72373"/>
                </a:moveTo>
                <a:cubicBezTo>
                  <a:pt x="1588491" y="72373"/>
                  <a:pt x="1614611" y="96861"/>
                  <a:pt x="1614611" y="126247"/>
                </a:cubicBezTo>
                <a:cubicBezTo>
                  <a:pt x="1614067" y="155632"/>
                  <a:pt x="1590667" y="180120"/>
                  <a:pt x="1560738" y="179576"/>
                </a:cubicBezTo>
                <a:cubicBezTo>
                  <a:pt x="1530808" y="179576"/>
                  <a:pt x="1507953" y="156176"/>
                  <a:pt x="1507409" y="126247"/>
                </a:cubicBezTo>
                <a:cubicBezTo>
                  <a:pt x="1506864" y="96861"/>
                  <a:pt x="1532441" y="72373"/>
                  <a:pt x="1561282" y="72373"/>
                </a:cubicBezTo>
                <a:close/>
                <a:moveTo>
                  <a:pt x="10381" y="33737"/>
                </a:moveTo>
                <a:cubicBezTo>
                  <a:pt x="15822" y="33737"/>
                  <a:pt x="20720" y="39179"/>
                  <a:pt x="20720" y="45165"/>
                </a:cubicBezTo>
                <a:cubicBezTo>
                  <a:pt x="20176" y="50606"/>
                  <a:pt x="14734" y="55504"/>
                  <a:pt x="9292" y="54960"/>
                </a:cubicBezTo>
                <a:cubicBezTo>
                  <a:pt x="4395" y="54416"/>
                  <a:pt x="41" y="49518"/>
                  <a:pt x="41" y="44621"/>
                </a:cubicBezTo>
                <a:cubicBezTo>
                  <a:pt x="-503" y="38635"/>
                  <a:pt x="4395" y="33737"/>
                  <a:pt x="10381" y="33737"/>
                </a:cubicBezTo>
                <a:close/>
                <a:moveTo>
                  <a:pt x="172546" y="23942"/>
                </a:moveTo>
                <a:cubicBezTo>
                  <a:pt x="181796" y="22854"/>
                  <a:pt x="193224" y="34826"/>
                  <a:pt x="193224" y="44621"/>
                </a:cubicBezTo>
                <a:cubicBezTo>
                  <a:pt x="193224" y="53872"/>
                  <a:pt x="182341" y="64755"/>
                  <a:pt x="173090" y="64755"/>
                </a:cubicBezTo>
                <a:cubicBezTo>
                  <a:pt x="164383" y="64755"/>
                  <a:pt x="152411" y="52784"/>
                  <a:pt x="152411" y="44621"/>
                </a:cubicBezTo>
                <a:cubicBezTo>
                  <a:pt x="152411" y="36458"/>
                  <a:pt x="164927" y="24486"/>
                  <a:pt x="172546" y="23942"/>
                </a:cubicBezTo>
                <a:close/>
                <a:moveTo>
                  <a:pt x="1861123" y="22132"/>
                </a:moveTo>
                <a:cubicBezTo>
                  <a:pt x="1861123" y="26485"/>
                  <a:pt x="1860035" y="31383"/>
                  <a:pt x="1861123" y="35737"/>
                </a:cubicBezTo>
                <a:cubicBezTo>
                  <a:pt x="1863844" y="44443"/>
                  <a:pt x="1864932" y="52606"/>
                  <a:pt x="1861123" y="61313"/>
                </a:cubicBezTo>
                <a:cubicBezTo>
                  <a:pt x="1860035" y="64034"/>
                  <a:pt x="1860035" y="67299"/>
                  <a:pt x="1858946" y="72740"/>
                </a:cubicBezTo>
                <a:cubicBezTo>
                  <a:pt x="1858402" y="76550"/>
                  <a:pt x="1861123" y="77638"/>
                  <a:pt x="1866021" y="76550"/>
                </a:cubicBezTo>
                <a:cubicBezTo>
                  <a:pt x="1868741" y="76006"/>
                  <a:pt x="1871462" y="76006"/>
                  <a:pt x="1873639" y="74917"/>
                </a:cubicBezTo>
                <a:cubicBezTo>
                  <a:pt x="1882346" y="71108"/>
                  <a:pt x="1891053" y="71108"/>
                  <a:pt x="1900304" y="74373"/>
                </a:cubicBezTo>
                <a:cubicBezTo>
                  <a:pt x="1902480" y="75461"/>
                  <a:pt x="1905201" y="76006"/>
                  <a:pt x="1907922" y="76006"/>
                </a:cubicBezTo>
                <a:cubicBezTo>
                  <a:pt x="1912276" y="76550"/>
                  <a:pt x="1914996" y="75461"/>
                  <a:pt x="1912820" y="70020"/>
                </a:cubicBezTo>
                <a:cubicBezTo>
                  <a:pt x="1907378" y="55871"/>
                  <a:pt x="1906834" y="41178"/>
                  <a:pt x="1912820" y="27030"/>
                </a:cubicBezTo>
                <a:cubicBezTo>
                  <a:pt x="1914996" y="22132"/>
                  <a:pt x="1911731" y="21588"/>
                  <a:pt x="1908466" y="22132"/>
                </a:cubicBezTo>
                <a:cubicBezTo>
                  <a:pt x="1906290" y="22676"/>
                  <a:pt x="1904657" y="24309"/>
                  <a:pt x="1902480" y="24309"/>
                </a:cubicBezTo>
                <a:cubicBezTo>
                  <a:pt x="1892685" y="24309"/>
                  <a:pt x="1882890" y="24853"/>
                  <a:pt x="1873095" y="24309"/>
                </a:cubicBezTo>
                <a:cubicBezTo>
                  <a:pt x="1868741" y="24309"/>
                  <a:pt x="1864932" y="22676"/>
                  <a:pt x="1861123" y="22132"/>
                </a:cubicBezTo>
                <a:close/>
                <a:moveTo>
                  <a:pt x="336886" y="17412"/>
                </a:moveTo>
                <a:cubicBezTo>
                  <a:pt x="347770" y="17412"/>
                  <a:pt x="363551" y="31016"/>
                  <a:pt x="363007" y="44077"/>
                </a:cubicBezTo>
                <a:cubicBezTo>
                  <a:pt x="363007" y="57681"/>
                  <a:pt x="350491" y="70741"/>
                  <a:pt x="337431" y="71285"/>
                </a:cubicBezTo>
                <a:cubicBezTo>
                  <a:pt x="324370" y="71830"/>
                  <a:pt x="310766" y="58769"/>
                  <a:pt x="310222" y="45165"/>
                </a:cubicBezTo>
                <a:cubicBezTo>
                  <a:pt x="309678" y="31016"/>
                  <a:pt x="323282" y="17956"/>
                  <a:pt x="336886" y="17412"/>
                </a:cubicBezTo>
                <a:close/>
                <a:moveTo>
                  <a:pt x="498507" y="13059"/>
                </a:moveTo>
                <a:cubicBezTo>
                  <a:pt x="514832" y="11970"/>
                  <a:pt x="531702" y="28296"/>
                  <a:pt x="531702" y="44621"/>
                </a:cubicBezTo>
                <a:cubicBezTo>
                  <a:pt x="531702" y="60402"/>
                  <a:pt x="515376" y="76183"/>
                  <a:pt x="499595" y="76727"/>
                </a:cubicBezTo>
                <a:cubicBezTo>
                  <a:pt x="483270" y="76727"/>
                  <a:pt x="467489" y="61490"/>
                  <a:pt x="467489" y="45165"/>
                </a:cubicBezTo>
                <a:cubicBezTo>
                  <a:pt x="467489" y="28840"/>
                  <a:pt x="482182" y="13059"/>
                  <a:pt x="498507" y="13059"/>
                </a:cubicBezTo>
                <a:close/>
                <a:moveTo>
                  <a:pt x="662303" y="7616"/>
                </a:moveTo>
                <a:cubicBezTo>
                  <a:pt x="680805" y="7072"/>
                  <a:pt x="698763" y="25030"/>
                  <a:pt x="698763" y="44076"/>
                </a:cubicBezTo>
                <a:cubicBezTo>
                  <a:pt x="698763" y="62578"/>
                  <a:pt x="680261" y="81624"/>
                  <a:pt x="662303" y="81080"/>
                </a:cubicBezTo>
                <a:cubicBezTo>
                  <a:pt x="644346" y="80536"/>
                  <a:pt x="626932" y="62578"/>
                  <a:pt x="626932" y="44076"/>
                </a:cubicBezTo>
                <a:cubicBezTo>
                  <a:pt x="626932" y="25574"/>
                  <a:pt x="643257" y="8160"/>
                  <a:pt x="662303" y="7616"/>
                </a:cubicBezTo>
                <a:close/>
                <a:moveTo>
                  <a:pt x="825557" y="5440"/>
                </a:moveTo>
                <a:cubicBezTo>
                  <a:pt x="847868" y="5440"/>
                  <a:pt x="865281" y="23942"/>
                  <a:pt x="865281" y="44621"/>
                </a:cubicBezTo>
                <a:cubicBezTo>
                  <a:pt x="865281" y="63667"/>
                  <a:pt x="847324" y="85978"/>
                  <a:pt x="826101" y="83257"/>
                </a:cubicBezTo>
                <a:cubicBezTo>
                  <a:pt x="805422" y="85978"/>
                  <a:pt x="786920" y="64211"/>
                  <a:pt x="786920" y="44621"/>
                </a:cubicBezTo>
                <a:cubicBezTo>
                  <a:pt x="786920" y="22854"/>
                  <a:pt x="805422" y="5440"/>
                  <a:pt x="825557" y="5440"/>
                </a:cubicBezTo>
                <a:close/>
                <a:moveTo>
                  <a:pt x="989353" y="1086"/>
                </a:moveTo>
                <a:cubicBezTo>
                  <a:pt x="1013297" y="1086"/>
                  <a:pt x="1032343" y="21220"/>
                  <a:pt x="1032343" y="43532"/>
                </a:cubicBezTo>
                <a:cubicBezTo>
                  <a:pt x="1032887" y="66931"/>
                  <a:pt x="1012753" y="88698"/>
                  <a:pt x="989897" y="87610"/>
                </a:cubicBezTo>
                <a:cubicBezTo>
                  <a:pt x="967042" y="88698"/>
                  <a:pt x="945819" y="65843"/>
                  <a:pt x="945819" y="44620"/>
                </a:cubicBezTo>
                <a:cubicBezTo>
                  <a:pt x="945819" y="23941"/>
                  <a:pt x="964321" y="1086"/>
                  <a:pt x="989353" y="1086"/>
                </a:cubicBezTo>
                <a:close/>
                <a:moveTo>
                  <a:pt x="1614056" y="0"/>
                </a:moveTo>
                <a:lnTo>
                  <a:pt x="1675529" y="0"/>
                </a:lnTo>
                <a:lnTo>
                  <a:pt x="1682905" y="4720"/>
                </a:lnTo>
                <a:lnTo>
                  <a:pt x="1933639" y="4720"/>
                </a:lnTo>
                <a:cubicBezTo>
                  <a:pt x="1966059" y="4720"/>
                  <a:pt x="1995409" y="17861"/>
                  <a:pt x="2016655" y="39107"/>
                </a:cubicBezTo>
                <a:lnTo>
                  <a:pt x="2028934" y="57318"/>
                </a:lnTo>
                <a:lnTo>
                  <a:pt x="2026008" y="71108"/>
                </a:lnTo>
                <a:cubicBezTo>
                  <a:pt x="2023832" y="74917"/>
                  <a:pt x="2026552" y="77094"/>
                  <a:pt x="2030906" y="75461"/>
                </a:cubicBezTo>
                <a:lnTo>
                  <a:pt x="2039929" y="73627"/>
                </a:lnTo>
                <a:lnTo>
                  <a:pt x="2041815" y="76424"/>
                </a:lnTo>
                <a:cubicBezTo>
                  <a:pt x="2047756" y="90470"/>
                  <a:pt x="2051041" y="105912"/>
                  <a:pt x="2051041" y="122122"/>
                </a:cubicBezTo>
                <a:lnTo>
                  <a:pt x="2051041" y="186473"/>
                </a:lnTo>
                <a:lnTo>
                  <a:pt x="2029818" y="186473"/>
                </a:lnTo>
                <a:cubicBezTo>
                  <a:pt x="2023832" y="184297"/>
                  <a:pt x="2022743" y="185929"/>
                  <a:pt x="2023287" y="192459"/>
                </a:cubicBezTo>
                <a:cubicBezTo>
                  <a:pt x="2023287" y="193548"/>
                  <a:pt x="2023287" y="195180"/>
                  <a:pt x="2023832" y="196268"/>
                </a:cubicBezTo>
                <a:cubicBezTo>
                  <a:pt x="2028185" y="210961"/>
                  <a:pt x="2026008" y="225110"/>
                  <a:pt x="2019478" y="239258"/>
                </a:cubicBezTo>
                <a:cubicBezTo>
                  <a:pt x="2018934" y="240347"/>
                  <a:pt x="2019478" y="241979"/>
                  <a:pt x="2020022" y="242523"/>
                </a:cubicBezTo>
                <a:cubicBezTo>
                  <a:pt x="2020566" y="243067"/>
                  <a:pt x="2022743" y="243612"/>
                  <a:pt x="2023287" y="243067"/>
                </a:cubicBezTo>
                <a:cubicBezTo>
                  <a:pt x="2032266" y="238986"/>
                  <a:pt x="2041245" y="237082"/>
                  <a:pt x="2050224" y="237150"/>
                </a:cubicBezTo>
                <a:lnTo>
                  <a:pt x="2051041" y="237329"/>
                </a:lnTo>
                <a:lnTo>
                  <a:pt x="2051041" y="348996"/>
                </a:lnTo>
                <a:lnTo>
                  <a:pt x="2036552" y="347754"/>
                </a:lnTo>
                <a:cubicBezTo>
                  <a:pt x="2031178" y="346733"/>
                  <a:pt x="2026009" y="344829"/>
                  <a:pt x="2021111" y="341019"/>
                </a:cubicBezTo>
                <a:cubicBezTo>
                  <a:pt x="2020022" y="339931"/>
                  <a:pt x="2018390" y="339387"/>
                  <a:pt x="2016757" y="338842"/>
                </a:cubicBezTo>
                <a:cubicBezTo>
                  <a:pt x="2016757" y="340475"/>
                  <a:pt x="2016757" y="343196"/>
                  <a:pt x="2017301" y="344284"/>
                </a:cubicBezTo>
                <a:cubicBezTo>
                  <a:pt x="2022743" y="354079"/>
                  <a:pt x="2026008" y="364419"/>
                  <a:pt x="2025464" y="376391"/>
                </a:cubicBezTo>
                <a:cubicBezTo>
                  <a:pt x="2024376" y="398702"/>
                  <a:pt x="2014580" y="413939"/>
                  <a:pt x="1994446" y="424278"/>
                </a:cubicBezTo>
                <a:cubicBezTo>
                  <a:pt x="1972135" y="435706"/>
                  <a:pt x="1950912" y="431352"/>
                  <a:pt x="1933498" y="416115"/>
                </a:cubicBezTo>
                <a:cubicBezTo>
                  <a:pt x="1917173" y="401967"/>
                  <a:pt x="1908466" y="378567"/>
                  <a:pt x="1920438" y="352447"/>
                </a:cubicBezTo>
                <a:cubicBezTo>
                  <a:pt x="1922615" y="348093"/>
                  <a:pt x="1923703" y="343196"/>
                  <a:pt x="1925336" y="338298"/>
                </a:cubicBezTo>
                <a:cubicBezTo>
                  <a:pt x="1920982" y="339931"/>
                  <a:pt x="1916085" y="341563"/>
                  <a:pt x="1911731" y="343196"/>
                </a:cubicBezTo>
                <a:cubicBezTo>
                  <a:pt x="1907378" y="344828"/>
                  <a:pt x="1903024" y="347005"/>
                  <a:pt x="1898671" y="347005"/>
                </a:cubicBezTo>
                <a:cubicBezTo>
                  <a:pt x="1882890" y="348638"/>
                  <a:pt x="1867653" y="348638"/>
                  <a:pt x="1854593" y="336666"/>
                </a:cubicBezTo>
                <a:lnTo>
                  <a:pt x="1847690" y="333480"/>
                </a:lnTo>
                <a:lnTo>
                  <a:pt x="1852961" y="344461"/>
                </a:lnTo>
                <a:cubicBezTo>
                  <a:pt x="1868742" y="372214"/>
                  <a:pt x="1855137" y="408674"/>
                  <a:pt x="1826840" y="420646"/>
                </a:cubicBezTo>
                <a:cubicBezTo>
                  <a:pt x="1803441" y="430985"/>
                  <a:pt x="1777864" y="422278"/>
                  <a:pt x="1765893" y="408130"/>
                </a:cubicBezTo>
                <a:cubicBezTo>
                  <a:pt x="1749567" y="388539"/>
                  <a:pt x="1744126" y="368405"/>
                  <a:pt x="1759362" y="342829"/>
                </a:cubicBezTo>
                <a:cubicBezTo>
                  <a:pt x="1771199" y="322422"/>
                  <a:pt x="1795584" y="313341"/>
                  <a:pt x="1815991" y="317193"/>
                </a:cubicBezTo>
                <a:cubicBezTo>
                  <a:pt x="1822793" y="318477"/>
                  <a:pt x="1829153" y="321198"/>
                  <a:pt x="1834459" y="325415"/>
                </a:cubicBezTo>
                <a:lnTo>
                  <a:pt x="1845023" y="330169"/>
                </a:lnTo>
                <a:lnTo>
                  <a:pt x="1840444" y="321429"/>
                </a:lnTo>
                <a:cubicBezTo>
                  <a:pt x="1831193" y="306736"/>
                  <a:pt x="1832282" y="290955"/>
                  <a:pt x="1834458" y="275174"/>
                </a:cubicBezTo>
                <a:cubicBezTo>
                  <a:pt x="1835002" y="269732"/>
                  <a:pt x="1838812" y="265379"/>
                  <a:pt x="1840988" y="259937"/>
                </a:cubicBezTo>
                <a:cubicBezTo>
                  <a:pt x="1841533" y="258849"/>
                  <a:pt x="1842077" y="257216"/>
                  <a:pt x="1842077" y="255584"/>
                </a:cubicBezTo>
                <a:cubicBezTo>
                  <a:pt x="1840444" y="256128"/>
                  <a:pt x="1838812" y="256672"/>
                  <a:pt x="1837723" y="257216"/>
                </a:cubicBezTo>
                <a:cubicBezTo>
                  <a:pt x="1831193" y="259937"/>
                  <a:pt x="1824663" y="263746"/>
                  <a:pt x="1817589" y="264834"/>
                </a:cubicBezTo>
                <a:cubicBezTo>
                  <a:pt x="1799631" y="268100"/>
                  <a:pt x="1782762" y="264290"/>
                  <a:pt x="1768069" y="251774"/>
                </a:cubicBezTo>
                <a:lnTo>
                  <a:pt x="1764740" y="250110"/>
                </a:lnTo>
                <a:lnTo>
                  <a:pt x="1773510" y="267189"/>
                </a:lnTo>
                <a:cubicBezTo>
                  <a:pt x="1786571" y="292765"/>
                  <a:pt x="1773510" y="323239"/>
                  <a:pt x="1750655" y="336843"/>
                </a:cubicBezTo>
                <a:cubicBezTo>
                  <a:pt x="1721270" y="354257"/>
                  <a:pt x="1685354" y="337388"/>
                  <a:pt x="1673926" y="310723"/>
                </a:cubicBezTo>
                <a:cubicBezTo>
                  <a:pt x="1664675" y="289500"/>
                  <a:pt x="1669029" y="271542"/>
                  <a:pt x="1681545" y="254673"/>
                </a:cubicBezTo>
                <a:cubicBezTo>
                  <a:pt x="1694605" y="237803"/>
                  <a:pt x="1712563" y="231817"/>
                  <a:pt x="1733786" y="235083"/>
                </a:cubicBezTo>
                <a:cubicBezTo>
                  <a:pt x="1739771" y="236171"/>
                  <a:pt x="1745757" y="239980"/>
                  <a:pt x="1751743" y="242157"/>
                </a:cubicBezTo>
                <a:lnTo>
                  <a:pt x="1762506" y="246769"/>
                </a:lnTo>
                <a:lnTo>
                  <a:pt x="1757185" y="236537"/>
                </a:lnTo>
                <a:cubicBezTo>
                  <a:pt x="1747934" y="219668"/>
                  <a:pt x="1747390" y="203343"/>
                  <a:pt x="1756097" y="185929"/>
                </a:cubicBezTo>
                <a:cubicBezTo>
                  <a:pt x="1757185" y="183752"/>
                  <a:pt x="1756641" y="180487"/>
                  <a:pt x="1757185" y="177766"/>
                </a:cubicBezTo>
                <a:cubicBezTo>
                  <a:pt x="1754464" y="177766"/>
                  <a:pt x="1751199" y="177222"/>
                  <a:pt x="1749023" y="178311"/>
                </a:cubicBezTo>
                <a:cubicBezTo>
                  <a:pt x="1722358" y="193003"/>
                  <a:pt x="1688075" y="178855"/>
                  <a:pt x="1676103" y="154911"/>
                </a:cubicBezTo>
                <a:cubicBezTo>
                  <a:pt x="1665220" y="133688"/>
                  <a:pt x="1667396" y="113554"/>
                  <a:pt x="1681001" y="94507"/>
                </a:cubicBezTo>
                <a:lnTo>
                  <a:pt x="1685681" y="85147"/>
                </a:lnTo>
                <a:lnTo>
                  <a:pt x="1693517" y="82536"/>
                </a:lnTo>
                <a:cubicBezTo>
                  <a:pt x="1710930" y="71108"/>
                  <a:pt x="1728888" y="71108"/>
                  <a:pt x="1747934" y="77638"/>
                </a:cubicBezTo>
                <a:cubicBezTo>
                  <a:pt x="1750655" y="78726"/>
                  <a:pt x="1753920" y="78726"/>
                  <a:pt x="1756641" y="79271"/>
                </a:cubicBezTo>
                <a:cubicBezTo>
                  <a:pt x="1756097" y="76550"/>
                  <a:pt x="1755553" y="74373"/>
                  <a:pt x="1754464" y="71652"/>
                </a:cubicBezTo>
                <a:cubicBezTo>
                  <a:pt x="1753920" y="70564"/>
                  <a:pt x="1753376" y="69475"/>
                  <a:pt x="1752832" y="68387"/>
                </a:cubicBezTo>
                <a:cubicBezTo>
                  <a:pt x="1747934" y="52062"/>
                  <a:pt x="1747390" y="35737"/>
                  <a:pt x="1756097" y="20500"/>
                </a:cubicBezTo>
                <a:cubicBezTo>
                  <a:pt x="1756641" y="19411"/>
                  <a:pt x="1757185" y="16690"/>
                  <a:pt x="1756641" y="16146"/>
                </a:cubicBezTo>
                <a:cubicBezTo>
                  <a:pt x="1755553" y="15058"/>
                  <a:pt x="1753376" y="14514"/>
                  <a:pt x="1751744" y="15058"/>
                </a:cubicBezTo>
                <a:cubicBezTo>
                  <a:pt x="1747934" y="16146"/>
                  <a:pt x="1744669" y="19411"/>
                  <a:pt x="1741404" y="19955"/>
                </a:cubicBezTo>
                <a:cubicBezTo>
                  <a:pt x="1724535" y="21588"/>
                  <a:pt x="1707121" y="23765"/>
                  <a:pt x="1691884" y="11249"/>
                </a:cubicBezTo>
                <a:lnTo>
                  <a:pt x="1685645" y="8369"/>
                </a:lnTo>
                <a:lnTo>
                  <a:pt x="1688620" y="14691"/>
                </a:lnTo>
                <a:cubicBezTo>
                  <a:pt x="1700048" y="32648"/>
                  <a:pt x="1700048" y="50606"/>
                  <a:pt x="1691885" y="69652"/>
                </a:cubicBezTo>
                <a:lnTo>
                  <a:pt x="1684469" y="82365"/>
                </a:lnTo>
                <a:lnTo>
                  <a:pt x="1663044" y="94684"/>
                </a:lnTo>
                <a:cubicBezTo>
                  <a:pt x="1651072" y="101759"/>
                  <a:pt x="1638556" y="100126"/>
                  <a:pt x="1626584" y="96861"/>
                </a:cubicBezTo>
                <a:cubicBezTo>
                  <a:pt x="1608082" y="91419"/>
                  <a:pt x="1595566" y="78359"/>
                  <a:pt x="1590124" y="60401"/>
                </a:cubicBezTo>
                <a:cubicBezTo>
                  <a:pt x="1586315" y="48974"/>
                  <a:pt x="1586315" y="37002"/>
                  <a:pt x="1591757" y="25030"/>
                </a:cubicBezTo>
                <a:close/>
                <a:moveTo>
                  <a:pt x="1460066" y="0"/>
                </a:moveTo>
                <a:lnTo>
                  <a:pt x="1498513" y="0"/>
                </a:lnTo>
                <a:lnTo>
                  <a:pt x="1517204" y="8092"/>
                </a:lnTo>
                <a:cubicBezTo>
                  <a:pt x="1526183" y="17411"/>
                  <a:pt x="1531352" y="30199"/>
                  <a:pt x="1531896" y="45164"/>
                </a:cubicBezTo>
                <a:cubicBezTo>
                  <a:pt x="1532985" y="71829"/>
                  <a:pt x="1505776" y="97949"/>
                  <a:pt x="1479111" y="97949"/>
                </a:cubicBezTo>
                <a:cubicBezTo>
                  <a:pt x="1451902" y="97949"/>
                  <a:pt x="1425238" y="71829"/>
                  <a:pt x="1426870" y="45164"/>
                </a:cubicBezTo>
                <a:cubicBezTo>
                  <a:pt x="1427687" y="29655"/>
                  <a:pt x="1432720" y="16867"/>
                  <a:pt x="1441631" y="7684"/>
                </a:cubicBezTo>
                <a:close/>
                <a:moveTo>
                  <a:pt x="1296749" y="0"/>
                </a:moveTo>
                <a:lnTo>
                  <a:pt x="1335755" y="0"/>
                </a:lnTo>
                <a:lnTo>
                  <a:pt x="1350278" y="10270"/>
                </a:lnTo>
                <a:cubicBezTo>
                  <a:pt x="1359937" y="19861"/>
                  <a:pt x="1366467" y="32649"/>
                  <a:pt x="1365923" y="45165"/>
                </a:cubicBezTo>
                <a:cubicBezTo>
                  <a:pt x="1364291" y="71829"/>
                  <a:pt x="1343068" y="93052"/>
                  <a:pt x="1315315" y="93052"/>
                </a:cubicBezTo>
                <a:cubicBezTo>
                  <a:pt x="1290283" y="95229"/>
                  <a:pt x="1266339" y="69109"/>
                  <a:pt x="1266339" y="44076"/>
                </a:cubicBezTo>
                <a:cubicBezTo>
                  <a:pt x="1266339" y="30472"/>
                  <a:pt x="1273141" y="18228"/>
                  <a:pt x="1282732" y="9317"/>
                </a:cubicBezTo>
                <a:close/>
                <a:moveTo>
                  <a:pt x="1148085" y="0"/>
                </a:moveTo>
                <a:lnTo>
                  <a:pt x="1161802" y="0"/>
                </a:lnTo>
                <a:lnTo>
                  <a:pt x="1169637" y="1315"/>
                </a:lnTo>
                <a:cubicBezTo>
                  <a:pt x="1186447" y="8432"/>
                  <a:pt x="1199813" y="26798"/>
                  <a:pt x="1199405" y="45164"/>
                </a:cubicBezTo>
                <a:cubicBezTo>
                  <a:pt x="1198861" y="69652"/>
                  <a:pt x="1175462" y="93596"/>
                  <a:pt x="1151518" y="91419"/>
                </a:cubicBezTo>
                <a:cubicBezTo>
                  <a:pt x="1123765" y="88154"/>
                  <a:pt x="1109072" y="72373"/>
                  <a:pt x="1105807" y="44620"/>
                </a:cubicBezTo>
                <a:cubicBezTo>
                  <a:pt x="1107440" y="30472"/>
                  <a:pt x="1111657" y="19588"/>
                  <a:pt x="1119139" y="11902"/>
                </a:cubicBezTo>
                <a:close/>
              </a:path>
            </a:pathLst>
          </a:custGeom>
          <a:solidFill>
            <a:srgbClr val="9AA8C5">
              <a:alpha val="17000"/>
            </a:srgbClr>
          </a:solidFill>
          <a:ln w="5432" cap="flat">
            <a:noFill/>
            <a:prstDash val="solid"/>
            <a:miter/>
          </a:ln>
        </p:spPr>
        <p:txBody>
          <a:bodyPr rtlCol="0" anchor="ctr"/>
          <a:lstStyle/>
          <a:p>
            <a:endParaRPr lang="en-IN"/>
          </a:p>
        </p:txBody>
      </p:sp>
    </p:spTree>
    <p:extLst>
      <p:ext uri="{BB962C8B-B14F-4D97-AF65-F5344CB8AC3E}">
        <p14:creationId xmlns:p14="http://schemas.microsoft.com/office/powerpoint/2010/main" val="85348362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Content with Cap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DA78B8C-25F9-4CE3-A74B-A460E7E5716D}"/>
              </a:ext>
            </a:extLst>
          </p:cNvPr>
          <p:cNvGraphicFramePr>
            <a:graphicFrameLocks noChangeAspect="1"/>
          </p:cNvGraphicFramePr>
          <p:nvPr>
            <p:custDataLst>
              <p:tags r:id="rId1"/>
            </p:custDataLst>
            <p:extLst>
              <p:ext uri="{D42A27DB-BD31-4B8C-83A1-F6EECF244321}">
                <p14:modId xmlns:p14="http://schemas.microsoft.com/office/powerpoint/2010/main" val="42552849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0" imgH="393" progId="TCLayout.ActiveDocument.1">
                  <p:embed/>
                </p:oleObj>
              </mc:Choice>
              <mc:Fallback>
                <p:oleObj name="think-cell Slide" r:id="rId3" imgW="400" imgH="393" progId="TCLayout.ActiveDocument.1">
                  <p:embed/>
                  <p:pic>
                    <p:nvPicPr>
                      <p:cNvPr id="3" name="Object 2" hidden="1">
                        <a:extLst>
                          <a:ext uri="{FF2B5EF4-FFF2-40B4-BE49-F238E27FC236}">
                            <a16:creationId xmlns:a16="http://schemas.microsoft.com/office/drawing/2014/main" id="{ADA78B8C-25F9-4CE3-A74B-A460E7E5716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ext Placeholder 3">
            <a:extLst>
              <a:ext uri="{FF2B5EF4-FFF2-40B4-BE49-F238E27FC236}">
                <a16:creationId xmlns:a16="http://schemas.microsoft.com/office/drawing/2014/main" id="{7CE9BDE9-691F-DA4C-988D-81409C76D5A4}"/>
              </a:ext>
            </a:extLst>
          </p:cNvPr>
          <p:cNvSpPr>
            <a:spLocks noGrp="1"/>
          </p:cNvSpPr>
          <p:nvPr>
            <p:ph type="body" sz="half" idx="2"/>
          </p:nvPr>
        </p:nvSpPr>
        <p:spPr>
          <a:xfrm>
            <a:off x="464908" y="1328531"/>
            <a:ext cx="10515600" cy="3811588"/>
          </a:xfrm>
          <a:prstGeom prst="rect">
            <a:avLst/>
          </a:prstGeom>
        </p:spPr>
        <p:txBody>
          <a:bodyPr vert="horz" lIns="0" tIns="0" rIns="0" bIns="0" rtlCol="0">
            <a:normAutofit/>
          </a:bodyPr>
          <a:lstStyle>
            <a:lvl1pPr>
              <a:buClr>
                <a:schemeClr val="accent3"/>
              </a:buClr>
              <a:defRPr lang="en-GB" dirty="0"/>
            </a:lvl1pPr>
          </a:lstStyle>
          <a:p>
            <a:pPr lvl="0"/>
            <a:r>
              <a:rPr lang="en-US"/>
              <a:t>Click to edit Master text styles</a:t>
            </a:r>
          </a:p>
        </p:txBody>
      </p:sp>
      <p:sp>
        <p:nvSpPr>
          <p:cNvPr id="9" name="Title 11">
            <a:extLst>
              <a:ext uri="{FF2B5EF4-FFF2-40B4-BE49-F238E27FC236}">
                <a16:creationId xmlns:a16="http://schemas.microsoft.com/office/drawing/2014/main" id="{A026BE90-548D-7545-8499-A23D5CF132ED}"/>
              </a:ext>
            </a:extLst>
          </p:cNvPr>
          <p:cNvSpPr>
            <a:spLocks noGrp="1"/>
          </p:cNvSpPr>
          <p:nvPr>
            <p:ph type="title" hasCustomPrompt="1"/>
          </p:nvPr>
        </p:nvSpPr>
        <p:spPr>
          <a:xfrm>
            <a:off x="464908" y="185817"/>
            <a:ext cx="10515600" cy="608663"/>
          </a:xfrm>
          <a:prstGeom prst="rect">
            <a:avLst/>
          </a:prstGeom>
        </p:spPr>
        <p:txBody>
          <a:bodyPr vert="horz" lIns="0" tIns="0" rIns="0" bIns="0" rtlCol="0" anchor="ctr">
            <a:normAutofit/>
          </a:bodyPr>
          <a:lstStyle>
            <a:lvl1pPr>
              <a:defRPr lang="en-US" sz="2600" dirty="0">
                <a:solidFill>
                  <a:srgbClr val="334D8B"/>
                </a:solidFill>
              </a:defRPr>
            </a:lvl1pPr>
          </a:lstStyle>
          <a:p>
            <a:pPr lvl="0"/>
            <a:r>
              <a:rPr lang="en-US"/>
              <a:t>Write your Heading here</a:t>
            </a:r>
          </a:p>
        </p:txBody>
      </p:sp>
      <p:sp>
        <p:nvSpPr>
          <p:cNvPr id="12" name="Slide Number Placeholder 5">
            <a:extLst>
              <a:ext uri="{FF2B5EF4-FFF2-40B4-BE49-F238E27FC236}">
                <a16:creationId xmlns:a16="http://schemas.microsoft.com/office/drawing/2014/main" id="{C6627011-63F9-404E-B713-735332DF2995}"/>
              </a:ext>
            </a:extLst>
          </p:cNvPr>
          <p:cNvSpPr txBox="1">
            <a:spLocks/>
          </p:cNvSpPr>
          <p:nvPr userDrawn="1"/>
        </p:nvSpPr>
        <p:spPr>
          <a:xfrm>
            <a:off x="11373135" y="6506785"/>
            <a:ext cx="609600" cy="261610"/>
          </a:xfrm>
          <a:prstGeom prst="rect">
            <a:avLst/>
          </a:prstGeom>
          <a:noFill/>
        </p:spPr>
        <p:txBody>
          <a:bodyPr>
            <a:spAutoFit/>
          </a:bodyPr>
          <a:lstStyle>
            <a:defPPr>
              <a:defRPr lang="en-US"/>
            </a:defPPr>
            <a:lvl1pPr marL="0" algn="ctr" defTabSz="914400" rtl="0" eaLnBrk="1" latinLnBrk="0" hangingPunct="1">
              <a:defRPr lang="en-US" sz="1800" kern="1200" smtClean="0">
                <a:solidFill>
                  <a:schemeClr val="bg1"/>
                </a:solidFill>
                <a:latin typeface="Tahoma" pitchFamily="34" charset="0"/>
                <a:ea typeface="Tahoma" pitchFamily="34" charset="0"/>
                <a:cs typeface="Tahoma"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fld id="{3413C1ED-5599-4BB6-878F-244F2E6B8E4A}" type="slidenum">
              <a:rPr lang="en-IN" sz="1100">
                <a:solidFill>
                  <a:prstClr val="black">
                    <a:lumMod val="50000"/>
                    <a:lumOff val="50000"/>
                  </a:prstClr>
                </a:solidFill>
              </a:rPr>
              <a:pPr fontAlgn="auto">
                <a:spcBef>
                  <a:spcPts val="0"/>
                </a:spcBef>
                <a:spcAft>
                  <a:spcPts val="0"/>
                </a:spcAft>
                <a:defRPr/>
              </a:pPr>
              <a:t>‹#›</a:t>
            </a:fld>
            <a:endParaRPr lang="en-IN" sz="1100">
              <a:solidFill>
                <a:prstClr val="black">
                  <a:lumMod val="50000"/>
                  <a:lumOff val="50000"/>
                </a:prstClr>
              </a:solidFill>
            </a:endParaRPr>
          </a:p>
        </p:txBody>
      </p:sp>
      <p:pic>
        <p:nvPicPr>
          <p:cNvPr id="13" name="Picture 12">
            <a:extLst>
              <a:ext uri="{FF2B5EF4-FFF2-40B4-BE49-F238E27FC236}">
                <a16:creationId xmlns:a16="http://schemas.microsoft.com/office/drawing/2014/main" id="{BFF0F8D9-1895-487D-8255-C831187661BA}"/>
              </a:ext>
            </a:extLst>
          </p:cNvPr>
          <p:cNvPicPr>
            <a:picLocks noChangeAspect="1"/>
          </p:cNvPicPr>
          <p:nvPr userDrawn="1"/>
        </p:nvPicPr>
        <p:blipFill>
          <a:blip r:embed="rId5"/>
          <a:stretch>
            <a:fillRect/>
          </a:stretch>
        </p:blipFill>
        <p:spPr>
          <a:xfrm>
            <a:off x="464908" y="6506785"/>
            <a:ext cx="1148260" cy="138938"/>
          </a:xfrm>
          <a:prstGeom prst="rect">
            <a:avLst/>
          </a:prstGeom>
        </p:spPr>
      </p:pic>
      <p:sp>
        <p:nvSpPr>
          <p:cNvPr id="14" name="Freeform: Shape 14">
            <a:extLst>
              <a:ext uri="{FF2B5EF4-FFF2-40B4-BE49-F238E27FC236}">
                <a16:creationId xmlns:a16="http://schemas.microsoft.com/office/drawing/2014/main" id="{A34B34F5-8360-4773-A57D-5A9DA596E79E}"/>
              </a:ext>
            </a:extLst>
          </p:cNvPr>
          <p:cNvSpPr/>
          <p:nvPr userDrawn="1"/>
        </p:nvSpPr>
        <p:spPr>
          <a:xfrm rot="5400000" flipH="1">
            <a:off x="10650813" y="-6388"/>
            <a:ext cx="1528833" cy="1553542"/>
          </a:xfrm>
          <a:custGeom>
            <a:avLst/>
            <a:gdLst>
              <a:gd name="connsiteX0" fmla="*/ 2051041 w 2051041"/>
              <a:gd name="connsiteY0" fmla="*/ 2080382 h 2084191"/>
              <a:gd name="connsiteX1" fmla="*/ 2051041 w 2051041"/>
              <a:gd name="connsiteY1" fmla="*/ 2083967 h 2084191"/>
              <a:gd name="connsiteX2" fmla="*/ 2047231 w 2051041"/>
              <a:gd name="connsiteY2" fmla="*/ 2084191 h 2084191"/>
              <a:gd name="connsiteX3" fmla="*/ 2045599 w 2051041"/>
              <a:gd name="connsiteY3" fmla="*/ 2081470 h 2084191"/>
              <a:gd name="connsiteX4" fmla="*/ 1478568 w 2051041"/>
              <a:gd name="connsiteY4" fmla="*/ 1997668 h 2084191"/>
              <a:gd name="connsiteX5" fmla="*/ 1484554 w 2051041"/>
              <a:gd name="connsiteY5" fmla="*/ 2004743 h 2084191"/>
              <a:gd name="connsiteX6" fmla="*/ 1478568 w 2051041"/>
              <a:gd name="connsiteY6" fmla="*/ 2009096 h 2084191"/>
              <a:gd name="connsiteX7" fmla="*/ 1473126 w 2051041"/>
              <a:gd name="connsiteY7" fmla="*/ 2003654 h 2084191"/>
              <a:gd name="connsiteX8" fmla="*/ 1478568 w 2051041"/>
              <a:gd name="connsiteY8" fmla="*/ 1997668 h 2084191"/>
              <a:gd name="connsiteX9" fmla="*/ 1641820 w 2051041"/>
              <a:gd name="connsiteY9" fmla="*/ 1993859 h 2084191"/>
              <a:gd name="connsiteX10" fmla="*/ 1652160 w 2051041"/>
              <a:gd name="connsiteY10" fmla="*/ 2003654 h 2084191"/>
              <a:gd name="connsiteX11" fmla="*/ 1641820 w 2051041"/>
              <a:gd name="connsiteY11" fmla="*/ 2013449 h 2084191"/>
              <a:gd name="connsiteX12" fmla="*/ 1632025 w 2051041"/>
              <a:gd name="connsiteY12" fmla="*/ 2003654 h 2084191"/>
              <a:gd name="connsiteX13" fmla="*/ 1641820 w 2051041"/>
              <a:gd name="connsiteY13" fmla="*/ 1993859 h 2084191"/>
              <a:gd name="connsiteX14" fmla="*/ 1969414 w 2051041"/>
              <a:gd name="connsiteY14" fmla="*/ 1992226 h 2084191"/>
              <a:gd name="connsiteX15" fmla="*/ 1979753 w 2051041"/>
              <a:gd name="connsiteY15" fmla="*/ 2003654 h 2084191"/>
              <a:gd name="connsiteX16" fmla="*/ 1968325 w 2051041"/>
              <a:gd name="connsiteY16" fmla="*/ 2014537 h 2084191"/>
              <a:gd name="connsiteX17" fmla="*/ 1957986 w 2051041"/>
              <a:gd name="connsiteY17" fmla="*/ 2003110 h 2084191"/>
              <a:gd name="connsiteX18" fmla="*/ 1969414 w 2051041"/>
              <a:gd name="connsiteY18" fmla="*/ 1992226 h 2084191"/>
              <a:gd name="connsiteX19" fmla="*/ 1805073 w 2051041"/>
              <a:gd name="connsiteY19" fmla="*/ 1992226 h 2084191"/>
              <a:gd name="connsiteX20" fmla="*/ 1815956 w 2051041"/>
              <a:gd name="connsiteY20" fmla="*/ 2002565 h 2084191"/>
              <a:gd name="connsiteX21" fmla="*/ 1805073 w 2051041"/>
              <a:gd name="connsiteY21" fmla="*/ 2014537 h 2084191"/>
              <a:gd name="connsiteX22" fmla="*/ 1794189 w 2051041"/>
              <a:gd name="connsiteY22" fmla="*/ 2004198 h 2084191"/>
              <a:gd name="connsiteX23" fmla="*/ 1805073 w 2051041"/>
              <a:gd name="connsiteY23" fmla="*/ 1992226 h 2084191"/>
              <a:gd name="connsiteX24" fmla="*/ 1234233 w 2051041"/>
              <a:gd name="connsiteY24" fmla="*/ 1916042 h 2084191"/>
              <a:gd name="connsiteX25" fmla="*/ 1240219 w 2051041"/>
              <a:gd name="connsiteY25" fmla="*/ 1923660 h 2084191"/>
              <a:gd name="connsiteX26" fmla="*/ 1236953 w 2051041"/>
              <a:gd name="connsiteY26" fmla="*/ 1926381 h 2084191"/>
              <a:gd name="connsiteX27" fmla="*/ 1229335 w 2051041"/>
              <a:gd name="connsiteY27" fmla="*/ 1918762 h 2084191"/>
              <a:gd name="connsiteX28" fmla="*/ 1234233 w 2051041"/>
              <a:gd name="connsiteY28" fmla="*/ 1916042 h 2084191"/>
              <a:gd name="connsiteX29" fmla="*/ 1397486 w 2051041"/>
              <a:gd name="connsiteY29" fmla="*/ 1911144 h 2084191"/>
              <a:gd name="connsiteX30" fmla="*/ 1408369 w 2051041"/>
              <a:gd name="connsiteY30" fmla="*/ 1921483 h 2084191"/>
              <a:gd name="connsiteX31" fmla="*/ 1399118 w 2051041"/>
              <a:gd name="connsiteY31" fmla="*/ 1931823 h 2084191"/>
              <a:gd name="connsiteX32" fmla="*/ 1387146 w 2051041"/>
              <a:gd name="connsiteY32" fmla="*/ 1922028 h 2084191"/>
              <a:gd name="connsiteX33" fmla="*/ 1397486 w 2051041"/>
              <a:gd name="connsiteY33" fmla="*/ 1911144 h 2084191"/>
              <a:gd name="connsiteX34" fmla="*/ 1560194 w 2051041"/>
              <a:gd name="connsiteY34" fmla="*/ 1906790 h 2084191"/>
              <a:gd name="connsiteX35" fmla="*/ 1574342 w 2051041"/>
              <a:gd name="connsiteY35" fmla="*/ 1921482 h 2084191"/>
              <a:gd name="connsiteX36" fmla="*/ 1560738 w 2051041"/>
              <a:gd name="connsiteY36" fmla="*/ 1935631 h 2084191"/>
              <a:gd name="connsiteX37" fmla="*/ 1547134 w 2051041"/>
              <a:gd name="connsiteY37" fmla="*/ 1922027 h 2084191"/>
              <a:gd name="connsiteX38" fmla="*/ 1560194 w 2051041"/>
              <a:gd name="connsiteY38" fmla="*/ 1906790 h 2084191"/>
              <a:gd name="connsiteX39" fmla="*/ 2049952 w 2051041"/>
              <a:gd name="connsiteY39" fmla="*/ 1905702 h 2084191"/>
              <a:gd name="connsiteX40" fmla="*/ 2051041 w 2051041"/>
              <a:gd name="connsiteY40" fmla="*/ 1906027 h 2084191"/>
              <a:gd name="connsiteX41" fmla="*/ 2051041 w 2051041"/>
              <a:gd name="connsiteY41" fmla="*/ 1938133 h 2084191"/>
              <a:gd name="connsiteX42" fmla="*/ 2050496 w 2051041"/>
              <a:gd name="connsiteY42" fmla="*/ 1938353 h 2084191"/>
              <a:gd name="connsiteX43" fmla="*/ 2034171 w 2051041"/>
              <a:gd name="connsiteY43" fmla="*/ 1922572 h 2084191"/>
              <a:gd name="connsiteX44" fmla="*/ 2049952 w 2051041"/>
              <a:gd name="connsiteY44" fmla="*/ 1905702 h 2084191"/>
              <a:gd name="connsiteX45" fmla="*/ 1723447 w 2051041"/>
              <a:gd name="connsiteY45" fmla="*/ 1905702 h 2084191"/>
              <a:gd name="connsiteX46" fmla="*/ 1739772 w 2051041"/>
              <a:gd name="connsiteY46" fmla="*/ 1920939 h 2084191"/>
              <a:gd name="connsiteX47" fmla="*/ 1724535 w 2051041"/>
              <a:gd name="connsiteY47" fmla="*/ 1937264 h 2084191"/>
              <a:gd name="connsiteX48" fmla="*/ 1708210 w 2051041"/>
              <a:gd name="connsiteY48" fmla="*/ 1922027 h 2084191"/>
              <a:gd name="connsiteX49" fmla="*/ 1723447 w 2051041"/>
              <a:gd name="connsiteY49" fmla="*/ 1905702 h 2084191"/>
              <a:gd name="connsiteX50" fmla="*/ 1887787 w 2051041"/>
              <a:gd name="connsiteY50" fmla="*/ 1905158 h 2084191"/>
              <a:gd name="connsiteX51" fmla="*/ 1904113 w 2051041"/>
              <a:gd name="connsiteY51" fmla="*/ 1922028 h 2084191"/>
              <a:gd name="connsiteX52" fmla="*/ 1886699 w 2051041"/>
              <a:gd name="connsiteY52" fmla="*/ 1937809 h 2084191"/>
              <a:gd name="connsiteX53" fmla="*/ 1870918 w 2051041"/>
              <a:gd name="connsiteY53" fmla="*/ 1921483 h 2084191"/>
              <a:gd name="connsiteX54" fmla="*/ 1887787 w 2051041"/>
              <a:gd name="connsiteY54" fmla="*/ 1905158 h 2084191"/>
              <a:gd name="connsiteX55" fmla="*/ 1152606 w 2051041"/>
              <a:gd name="connsiteY55" fmla="*/ 1831693 h 2084191"/>
              <a:gd name="connsiteX56" fmla="*/ 1161313 w 2051041"/>
              <a:gd name="connsiteY56" fmla="*/ 1839312 h 2084191"/>
              <a:gd name="connsiteX57" fmla="*/ 1153694 w 2051041"/>
              <a:gd name="connsiteY57" fmla="*/ 1852916 h 2084191"/>
              <a:gd name="connsiteX58" fmla="*/ 1144988 w 2051041"/>
              <a:gd name="connsiteY58" fmla="*/ 1841489 h 2084191"/>
              <a:gd name="connsiteX59" fmla="*/ 1152606 w 2051041"/>
              <a:gd name="connsiteY59" fmla="*/ 1831693 h 2084191"/>
              <a:gd name="connsiteX60" fmla="*/ 1315315 w 2051041"/>
              <a:gd name="connsiteY60" fmla="*/ 1825708 h 2084191"/>
              <a:gd name="connsiteX61" fmla="*/ 1330552 w 2051041"/>
              <a:gd name="connsiteY61" fmla="*/ 1840401 h 2084191"/>
              <a:gd name="connsiteX62" fmla="*/ 1316404 w 2051041"/>
              <a:gd name="connsiteY62" fmla="*/ 1854549 h 2084191"/>
              <a:gd name="connsiteX63" fmla="*/ 1301711 w 2051041"/>
              <a:gd name="connsiteY63" fmla="*/ 1840945 h 2084191"/>
              <a:gd name="connsiteX64" fmla="*/ 1315315 w 2051041"/>
              <a:gd name="connsiteY64" fmla="*/ 1825708 h 2084191"/>
              <a:gd name="connsiteX65" fmla="*/ 1479656 w 2051041"/>
              <a:gd name="connsiteY65" fmla="*/ 1822987 h 2084191"/>
              <a:gd name="connsiteX66" fmla="*/ 1495981 w 2051041"/>
              <a:gd name="connsiteY66" fmla="*/ 1840401 h 2084191"/>
              <a:gd name="connsiteX67" fmla="*/ 1478567 w 2051041"/>
              <a:gd name="connsiteY67" fmla="*/ 1856182 h 2084191"/>
              <a:gd name="connsiteX68" fmla="*/ 1462242 w 2051041"/>
              <a:gd name="connsiteY68" fmla="*/ 1839312 h 2084191"/>
              <a:gd name="connsiteX69" fmla="*/ 1479656 w 2051041"/>
              <a:gd name="connsiteY69" fmla="*/ 1822987 h 2084191"/>
              <a:gd name="connsiteX70" fmla="*/ 1642365 w 2051041"/>
              <a:gd name="connsiteY70" fmla="*/ 1821355 h 2084191"/>
              <a:gd name="connsiteX71" fmla="*/ 1660867 w 2051041"/>
              <a:gd name="connsiteY71" fmla="*/ 1840401 h 2084191"/>
              <a:gd name="connsiteX72" fmla="*/ 1642365 w 2051041"/>
              <a:gd name="connsiteY72" fmla="*/ 1857270 h 2084191"/>
              <a:gd name="connsiteX73" fmla="*/ 1624407 w 2051041"/>
              <a:gd name="connsiteY73" fmla="*/ 1839857 h 2084191"/>
              <a:gd name="connsiteX74" fmla="*/ 1642365 w 2051041"/>
              <a:gd name="connsiteY74" fmla="*/ 1821355 h 2084191"/>
              <a:gd name="connsiteX75" fmla="*/ 1806162 w 2051041"/>
              <a:gd name="connsiteY75" fmla="*/ 1819723 h 2084191"/>
              <a:gd name="connsiteX76" fmla="*/ 1826840 w 2051041"/>
              <a:gd name="connsiteY76" fmla="*/ 1840945 h 2084191"/>
              <a:gd name="connsiteX77" fmla="*/ 1804529 w 2051041"/>
              <a:gd name="connsiteY77" fmla="*/ 1861080 h 2084191"/>
              <a:gd name="connsiteX78" fmla="*/ 1784395 w 2051041"/>
              <a:gd name="connsiteY78" fmla="*/ 1839313 h 2084191"/>
              <a:gd name="connsiteX79" fmla="*/ 1806162 w 2051041"/>
              <a:gd name="connsiteY79" fmla="*/ 1819723 h 2084191"/>
              <a:gd name="connsiteX80" fmla="*/ 1968870 w 2051041"/>
              <a:gd name="connsiteY80" fmla="*/ 1819178 h 2084191"/>
              <a:gd name="connsiteX81" fmla="*/ 1990093 w 2051041"/>
              <a:gd name="connsiteY81" fmla="*/ 1840401 h 2084191"/>
              <a:gd name="connsiteX82" fmla="*/ 1968870 w 2051041"/>
              <a:gd name="connsiteY82" fmla="*/ 1861624 h 2084191"/>
              <a:gd name="connsiteX83" fmla="*/ 1947647 w 2051041"/>
              <a:gd name="connsiteY83" fmla="*/ 1840401 h 2084191"/>
              <a:gd name="connsiteX84" fmla="*/ 1968870 w 2051041"/>
              <a:gd name="connsiteY84" fmla="*/ 1819178 h 2084191"/>
              <a:gd name="connsiteX85" fmla="*/ 1070436 w 2051041"/>
              <a:gd name="connsiteY85" fmla="*/ 1747347 h 2084191"/>
              <a:gd name="connsiteX86" fmla="*/ 1081863 w 2051041"/>
              <a:gd name="connsiteY86" fmla="*/ 1758231 h 2084191"/>
              <a:gd name="connsiteX87" fmla="*/ 1070980 w 2051041"/>
              <a:gd name="connsiteY87" fmla="*/ 1769658 h 2084191"/>
              <a:gd name="connsiteX88" fmla="*/ 1059552 w 2051041"/>
              <a:gd name="connsiteY88" fmla="*/ 1758775 h 2084191"/>
              <a:gd name="connsiteX89" fmla="*/ 1070436 w 2051041"/>
              <a:gd name="connsiteY89" fmla="*/ 1747347 h 2084191"/>
              <a:gd name="connsiteX90" fmla="*/ 1233688 w 2051041"/>
              <a:gd name="connsiteY90" fmla="*/ 1742449 h 2084191"/>
              <a:gd name="connsiteX91" fmla="*/ 1250558 w 2051041"/>
              <a:gd name="connsiteY91" fmla="*/ 1758774 h 2084191"/>
              <a:gd name="connsiteX92" fmla="*/ 1233688 w 2051041"/>
              <a:gd name="connsiteY92" fmla="*/ 1775099 h 2084191"/>
              <a:gd name="connsiteX93" fmla="*/ 1217907 w 2051041"/>
              <a:gd name="connsiteY93" fmla="*/ 1759318 h 2084191"/>
              <a:gd name="connsiteX94" fmla="*/ 1233688 w 2051041"/>
              <a:gd name="connsiteY94" fmla="*/ 1742449 h 2084191"/>
              <a:gd name="connsiteX95" fmla="*/ 1399662 w 2051041"/>
              <a:gd name="connsiteY95" fmla="*/ 1739728 h 2084191"/>
              <a:gd name="connsiteX96" fmla="*/ 1417076 w 2051041"/>
              <a:gd name="connsiteY96" fmla="*/ 1760407 h 2084191"/>
              <a:gd name="connsiteX97" fmla="*/ 1396941 w 2051041"/>
              <a:gd name="connsiteY97" fmla="*/ 1779453 h 2084191"/>
              <a:gd name="connsiteX98" fmla="*/ 1377895 w 2051041"/>
              <a:gd name="connsiteY98" fmla="*/ 1757686 h 2084191"/>
              <a:gd name="connsiteX99" fmla="*/ 1399662 w 2051041"/>
              <a:gd name="connsiteY99" fmla="*/ 1739728 h 2084191"/>
              <a:gd name="connsiteX100" fmla="*/ 1723991 w 2051041"/>
              <a:gd name="connsiteY100" fmla="*/ 1735919 h 2084191"/>
              <a:gd name="connsiteX101" fmla="*/ 1746847 w 2051041"/>
              <a:gd name="connsiteY101" fmla="*/ 1758774 h 2084191"/>
              <a:gd name="connsiteX102" fmla="*/ 1723991 w 2051041"/>
              <a:gd name="connsiteY102" fmla="*/ 1781086 h 2084191"/>
              <a:gd name="connsiteX103" fmla="*/ 1701680 w 2051041"/>
              <a:gd name="connsiteY103" fmla="*/ 1758774 h 2084191"/>
              <a:gd name="connsiteX104" fmla="*/ 1723991 w 2051041"/>
              <a:gd name="connsiteY104" fmla="*/ 1735919 h 2084191"/>
              <a:gd name="connsiteX105" fmla="*/ 1560194 w 2051041"/>
              <a:gd name="connsiteY105" fmla="*/ 1735919 h 2084191"/>
              <a:gd name="connsiteX106" fmla="*/ 1582505 w 2051041"/>
              <a:gd name="connsiteY106" fmla="*/ 1758230 h 2084191"/>
              <a:gd name="connsiteX107" fmla="*/ 1560738 w 2051041"/>
              <a:gd name="connsiteY107" fmla="*/ 1779997 h 2084191"/>
              <a:gd name="connsiteX108" fmla="*/ 1538427 w 2051041"/>
              <a:gd name="connsiteY108" fmla="*/ 1758230 h 2084191"/>
              <a:gd name="connsiteX109" fmla="*/ 1560194 w 2051041"/>
              <a:gd name="connsiteY109" fmla="*/ 1735919 h 2084191"/>
              <a:gd name="connsiteX110" fmla="*/ 2051041 w 2051041"/>
              <a:gd name="connsiteY110" fmla="*/ 1734831 h 2084191"/>
              <a:gd name="connsiteX111" fmla="*/ 2051041 w 2051041"/>
              <a:gd name="connsiteY111" fmla="*/ 1781438 h 2084191"/>
              <a:gd name="connsiteX112" fmla="*/ 2050496 w 2051041"/>
              <a:gd name="connsiteY112" fmla="*/ 1781630 h 2084191"/>
              <a:gd name="connsiteX113" fmla="*/ 2027097 w 2051041"/>
              <a:gd name="connsiteY113" fmla="*/ 1758775 h 2084191"/>
              <a:gd name="connsiteX114" fmla="*/ 2051041 w 2051041"/>
              <a:gd name="connsiteY114" fmla="*/ 1734831 h 2084191"/>
              <a:gd name="connsiteX115" fmla="*/ 1887788 w 2051041"/>
              <a:gd name="connsiteY115" fmla="*/ 1734831 h 2084191"/>
              <a:gd name="connsiteX116" fmla="*/ 1910099 w 2051041"/>
              <a:gd name="connsiteY116" fmla="*/ 1758775 h 2084191"/>
              <a:gd name="connsiteX117" fmla="*/ 1886699 w 2051041"/>
              <a:gd name="connsiteY117" fmla="*/ 1781086 h 2084191"/>
              <a:gd name="connsiteX118" fmla="*/ 1863844 w 2051041"/>
              <a:gd name="connsiteY118" fmla="*/ 1757687 h 2084191"/>
              <a:gd name="connsiteX119" fmla="*/ 1887788 w 2051041"/>
              <a:gd name="connsiteY119" fmla="*/ 1734831 h 2084191"/>
              <a:gd name="connsiteX120" fmla="*/ 826100 w 2051041"/>
              <a:gd name="connsiteY120" fmla="*/ 1671706 h 2084191"/>
              <a:gd name="connsiteX121" fmla="*/ 832086 w 2051041"/>
              <a:gd name="connsiteY121" fmla="*/ 1677692 h 2084191"/>
              <a:gd name="connsiteX122" fmla="*/ 825556 w 2051041"/>
              <a:gd name="connsiteY122" fmla="*/ 1683134 h 2084191"/>
              <a:gd name="connsiteX123" fmla="*/ 820658 w 2051041"/>
              <a:gd name="connsiteY123" fmla="*/ 1676603 h 2084191"/>
              <a:gd name="connsiteX124" fmla="*/ 826100 w 2051041"/>
              <a:gd name="connsiteY124" fmla="*/ 1671706 h 2084191"/>
              <a:gd name="connsiteX125" fmla="*/ 989354 w 2051041"/>
              <a:gd name="connsiteY125" fmla="*/ 1661912 h 2084191"/>
              <a:gd name="connsiteX126" fmla="*/ 1004046 w 2051041"/>
              <a:gd name="connsiteY126" fmla="*/ 1676604 h 2084191"/>
              <a:gd name="connsiteX127" fmla="*/ 989354 w 2051041"/>
              <a:gd name="connsiteY127" fmla="*/ 1690209 h 2084191"/>
              <a:gd name="connsiteX128" fmla="*/ 975205 w 2051041"/>
              <a:gd name="connsiteY128" fmla="*/ 1677693 h 2084191"/>
              <a:gd name="connsiteX129" fmla="*/ 989354 w 2051041"/>
              <a:gd name="connsiteY129" fmla="*/ 1661912 h 2084191"/>
              <a:gd name="connsiteX130" fmla="*/ 1153151 w 2051041"/>
              <a:gd name="connsiteY130" fmla="*/ 1659734 h 2084191"/>
              <a:gd name="connsiteX131" fmla="*/ 1170564 w 2051041"/>
              <a:gd name="connsiteY131" fmla="*/ 1677692 h 2084191"/>
              <a:gd name="connsiteX132" fmla="*/ 1152062 w 2051041"/>
              <a:gd name="connsiteY132" fmla="*/ 1694562 h 2084191"/>
              <a:gd name="connsiteX133" fmla="*/ 1135737 w 2051041"/>
              <a:gd name="connsiteY133" fmla="*/ 1677148 h 2084191"/>
              <a:gd name="connsiteX134" fmla="*/ 1153151 w 2051041"/>
              <a:gd name="connsiteY134" fmla="*/ 1659734 h 2084191"/>
              <a:gd name="connsiteX135" fmla="*/ 1315315 w 2051041"/>
              <a:gd name="connsiteY135" fmla="*/ 1655381 h 2084191"/>
              <a:gd name="connsiteX136" fmla="*/ 1337082 w 2051041"/>
              <a:gd name="connsiteY136" fmla="*/ 1676603 h 2084191"/>
              <a:gd name="connsiteX137" fmla="*/ 1315315 w 2051041"/>
              <a:gd name="connsiteY137" fmla="*/ 1698915 h 2084191"/>
              <a:gd name="connsiteX138" fmla="*/ 1294092 w 2051041"/>
              <a:gd name="connsiteY138" fmla="*/ 1677148 h 2084191"/>
              <a:gd name="connsiteX139" fmla="*/ 1315315 w 2051041"/>
              <a:gd name="connsiteY139" fmla="*/ 1655381 h 2084191"/>
              <a:gd name="connsiteX140" fmla="*/ 1479111 w 2051041"/>
              <a:gd name="connsiteY140" fmla="*/ 1654293 h 2084191"/>
              <a:gd name="connsiteX141" fmla="*/ 1501967 w 2051041"/>
              <a:gd name="connsiteY141" fmla="*/ 1677692 h 2084191"/>
              <a:gd name="connsiteX142" fmla="*/ 1479111 w 2051041"/>
              <a:gd name="connsiteY142" fmla="*/ 1700548 h 2084191"/>
              <a:gd name="connsiteX143" fmla="*/ 1455712 w 2051041"/>
              <a:gd name="connsiteY143" fmla="*/ 1676604 h 2084191"/>
              <a:gd name="connsiteX144" fmla="*/ 1479111 w 2051041"/>
              <a:gd name="connsiteY144" fmla="*/ 1654293 h 2084191"/>
              <a:gd name="connsiteX145" fmla="*/ 1643452 w 2051041"/>
              <a:gd name="connsiteY145" fmla="*/ 1650483 h 2084191"/>
              <a:gd name="connsiteX146" fmla="*/ 1668484 w 2051041"/>
              <a:gd name="connsiteY146" fmla="*/ 1676603 h 2084191"/>
              <a:gd name="connsiteX147" fmla="*/ 1643452 w 2051041"/>
              <a:gd name="connsiteY147" fmla="*/ 1703268 h 2084191"/>
              <a:gd name="connsiteX148" fmla="*/ 1617332 w 2051041"/>
              <a:gd name="connsiteY148" fmla="*/ 1677692 h 2084191"/>
              <a:gd name="connsiteX149" fmla="*/ 1643452 w 2051041"/>
              <a:gd name="connsiteY149" fmla="*/ 1650483 h 2084191"/>
              <a:gd name="connsiteX150" fmla="*/ 1968326 w 2051041"/>
              <a:gd name="connsiteY150" fmla="*/ 1649940 h 2084191"/>
              <a:gd name="connsiteX151" fmla="*/ 1995535 w 2051041"/>
              <a:gd name="connsiteY151" fmla="*/ 1676604 h 2084191"/>
              <a:gd name="connsiteX152" fmla="*/ 1968870 w 2051041"/>
              <a:gd name="connsiteY152" fmla="*/ 1704357 h 2084191"/>
              <a:gd name="connsiteX153" fmla="*/ 1941661 w 2051041"/>
              <a:gd name="connsiteY153" fmla="*/ 1677148 h 2084191"/>
              <a:gd name="connsiteX154" fmla="*/ 1968326 w 2051041"/>
              <a:gd name="connsiteY154" fmla="*/ 1649940 h 2084191"/>
              <a:gd name="connsiteX155" fmla="*/ 1805617 w 2051041"/>
              <a:gd name="connsiteY155" fmla="*/ 1649939 h 2084191"/>
              <a:gd name="connsiteX156" fmla="*/ 1832826 w 2051041"/>
              <a:gd name="connsiteY156" fmla="*/ 1677148 h 2084191"/>
              <a:gd name="connsiteX157" fmla="*/ 1805073 w 2051041"/>
              <a:gd name="connsiteY157" fmla="*/ 1704357 h 2084191"/>
              <a:gd name="connsiteX158" fmla="*/ 1778409 w 2051041"/>
              <a:gd name="connsiteY158" fmla="*/ 1677148 h 2084191"/>
              <a:gd name="connsiteX159" fmla="*/ 1805617 w 2051041"/>
              <a:gd name="connsiteY159" fmla="*/ 1649939 h 2084191"/>
              <a:gd name="connsiteX160" fmla="*/ 744474 w 2051041"/>
              <a:gd name="connsiteY160" fmla="*/ 1588992 h 2084191"/>
              <a:gd name="connsiteX161" fmla="*/ 751004 w 2051041"/>
              <a:gd name="connsiteY161" fmla="*/ 1594978 h 2084191"/>
              <a:gd name="connsiteX162" fmla="*/ 745562 w 2051041"/>
              <a:gd name="connsiteY162" fmla="*/ 1602052 h 2084191"/>
              <a:gd name="connsiteX163" fmla="*/ 738488 w 2051041"/>
              <a:gd name="connsiteY163" fmla="*/ 1594978 h 2084191"/>
              <a:gd name="connsiteX164" fmla="*/ 744474 w 2051041"/>
              <a:gd name="connsiteY164" fmla="*/ 1588992 h 2084191"/>
              <a:gd name="connsiteX165" fmla="*/ 907183 w 2051041"/>
              <a:gd name="connsiteY165" fmla="*/ 1579741 h 2084191"/>
              <a:gd name="connsiteX166" fmla="*/ 923508 w 2051041"/>
              <a:gd name="connsiteY166" fmla="*/ 1594978 h 2084191"/>
              <a:gd name="connsiteX167" fmla="*/ 908815 w 2051041"/>
              <a:gd name="connsiteY167" fmla="*/ 1610759 h 2084191"/>
              <a:gd name="connsiteX168" fmla="*/ 892490 w 2051041"/>
              <a:gd name="connsiteY168" fmla="*/ 1595522 h 2084191"/>
              <a:gd name="connsiteX169" fmla="*/ 907183 w 2051041"/>
              <a:gd name="connsiteY169" fmla="*/ 1579741 h 2084191"/>
              <a:gd name="connsiteX170" fmla="*/ 1071524 w 2051041"/>
              <a:gd name="connsiteY170" fmla="*/ 1574843 h 2084191"/>
              <a:gd name="connsiteX171" fmla="*/ 1091114 w 2051041"/>
              <a:gd name="connsiteY171" fmla="*/ 1595522 h 2084191"/>
              <a:gd name="connsiteX172" fmla="*/ 1070980 w 2051041"/>
              <a:gd name="connsiteY172" fmla="*/ 1615656 h 2084191"/>
              <a:gd name="connsiteX173" fmla="*/ 1050301 w 2051041"/>
              <a:gd name="connsiteY173" fmla="*/ 1595522 h 2084191"/>
              <a:gd name="connsiteX174" fmla="*/ 1071524 w 2051041"/>
              <a:gd name="connsiteY174" fmla="*/ 1574843 h 2084191"/>
              <a:gd name="connsiteX175" fmla="*/ 1233688 w 2051041"/>
              <a:gd name="connsiteY175" fmla="*/ 1573210 h 2084191"/>
              <a:gd name="connsiteX176" fmla="*/ 1256544 w 2051041"/>
              <a:gd name="connsiteY176" fmla="*/ 1595522 h 2084191"/>
              <a:gd name="connsiteX177" fmla="*/ 1233688 w 2051041"/>
              <a:gd name="connsiteY177" fmla="*/ 1618377 h 2084191"/>
              <a:gd name="connsiteX178" fmla="*/ 1211377 w 2051041"/>
              <a:gd name="connsiteY178" fmla="*/ 1596610 h 2084191"/>
              <a:gd name="connsiteX179" fmla="*/ 1233688 w 2051041"/>
              <a:gd name="connsiteY179" fmla="*/ 1573210 h 2084191"/>
              <a:gd name="connsiteX180" fmla="*/ 1398030 w 2051041"/>
              <a:gd name="connsiteY180" fmla="*/ 1569402 h 2084191"/>
              <a:gd name="connsiteX181" fmla="*/ 1423062 w 2051041"/>
              <a:gd name="connsiteY181" fmla="*/ 1595522 h 2084191"/>
              <a:gd name="connsiteX182" fmla="*/ 1397485 w 2051041"/>
              <a:gd name="connsiteY182" fmla="*/ 1621099 h 2084191"/>
              <a:gd name="connsiteX183" fmla="*/ 1371365 w 2051041"/>
              <a:gd name="connsiteY183" fmla="*/ 1595522 h 2084191"/>
              <a:gd name="connsiteX184" fmla="*/ 1398030 w 2051041"/>
              <a:gd name="connsiteY184" fmla="*/ 1569402 h 2084191"/>
              <a:gd name="connsiteX185" fmla="*/ 1560194 w 2051041"/>
              <a:gd name="connsiteY185" fmla="*/ 1568313 h 2084191"/>
              <a:gd name="connsiteX186" fmla="*/ 1587947 w 2051041"/>
              <a:gd name="connsiteY186" fmla="*/ 1594433 h 2084191"/>
              <a:gd name="connsiteX187" fmla="*/ 1560194 w 2051041"/>
              <a:gd name="connsiteY187" fmla="*/ 1622730 h 2084191"/>
              <a:gd name="connsiteX188" fmla="*/ 1532985 w 2051041"/>
              <a:gd name="connsiteY188" fmla="*/ 1594977 h 2084191"/>
              <a:gd name="connsiteX189" fmla="*/ 1560194 w 2051041"/>
              <a:gd name="connsiteY189" fmla="*/ 1568313 h 2084191"/>
              <a:gd name="connsiteX190" fmla="*/ 1887244 w 2051041"/>
              <a:gd name="connsiteY190" fmla="*/ 1567225 h 2084191"/>
              <a:gd name="connsiteX191" fmla="*/ 1915541 w 2051041"/>
              <a:gd name="connsiteY191" fmla="*/ 1594978 h 2084191"/>
              <a:gd name="connsiteX192" fmla="*/ 1886699 w 2051041"/>
              <a:gd name="connsiteY192" fmla="*/ 1623819 h 2084191"/>
              <a:gd name="connsiteX193" fmla="*/ 1858947 w 2051041"/>
              <a:gd name="connsiteY193" fmla="*/ 1594978 h 2084191"/>
              <a:gd name="connsiteX194" fmla="*/ 1887244 w 2051041"/>
              <a:gd name="connsiteY194" fmla="*/ 1567225 h 2084191"/>
              <a:gd name="connsiteX195" fmla="*/ 1724535 w 2051041"/>
              <a:gd name="connsiteY195" fmla="*/ 1567225 h 2084191"/>
              <a:gd name="connsiteX196" fmla="*/ 1752288 w 2051041"/>
              <a:gd name="connsiteY196" fmla="*/ 1594978 h 2084191"/>
              <a:gd name="connsiteX197" fmla="*/ 1724535 w 2051041"/>
              <a:gd name="connsiteY197" fmla="*/ 1623275 h 2084191"/>
              <a:gd name="connsiteX198" fmla="*/ 1696238 w 2051041"/>
              <a:gd name="connsiteY198" fmla="*/ 1594978 h 2084191"/>
              <a:gd name="connsiteX199" fmla="*/ 1724535 w 2051041"/>
              <a:gd name="connsiteY199" fmla="*/ 1567225 h 2084191"/>
              <a:gd name="connsiteX200" fmla="*/ 2050496 w 2051041"/>
              <a:gd name="connsiteY200" fmla="*/ 1566680 h 2084191"/>
              <a:gd name="connsiteX201" fmla="*/ 2051041 w 2051041"/>
              <a:gd name="connsiteY201" fmla="*/ 1566888 h 2084191"/>
              <a:gd name="connsiteX202" fmla="*/ 2051041 w 2051041"/>
              <a:gd name="connsiteY202" fmla="*/ 1623794 h 2084191"/>
              <a:gd name="connsiteX203" fmla="*/ 2049408 w 2051041"/>
              <a:gd name="connsiteY203" fmla="*/ 1624363 h 2084191"/>
              <a:gd name="connsiteX204" fmla="*/ 2021655 w 2051041"/>
              <a:gd name="connsiteY204" fmla="*/ 1594977 h 2084191"/>
              <a:gd name="connsiteX205" fmla="*/ 2050496 w 2051041"/>
              <a:gd name="connsiteY205" fmla="*/ 1566680 h 2084191"/>
              <a:gd name="connsiteX206" fmla="*/ 663392 w 2051041"/>
              <a:gd name="connsiteY206" fmla="*/ 1505188 h 2084191"/>
              <a:gd name="connsiteX207" fmla="*/ 674819 w 2051041"/>
              <a:gd name="connsiteY207" fmla="*/ 1513895 h 2084191"/>
              <a:gd name="connsiteX208" fmla="*/ 662848 w 2051041"/>
              <a:gd name="connsiteY208" fmla="*/ 1522058 h 2084191"/>
              <a:gd name="connsiteX209" fmla="*/ 654685 w 2051041"/>
              <a:gd name="connsiteY209" fmla="*/ 1513351 h 2084191"/>
              <a:gd name="connsiteX210" fmla="*/ 663392 w 2051041"/>
              <a:gd name="connsiteY210" fmla="*/ 1505188 h 2084191"/>
              <a:gd name="connsiteX211" fmla="*/ 826101 w 2051041"/>
              <a:gd name="connsiteY211" fmla="*/ 1497570 h 2084191"/>
              <a:gd name="connsiteX212" fmla="*/ 842970 w 2051041"/>
              <a:gd name="connsiteY212" fmla="*/ 1513351 h 2084191"/>
              <a:gd name="connsiteX213" fmla="*/ 826645 w 2051041"/>
              <a:gd name="connsiteY213" fmla="*/ 1529676 h 2084191"/>
              <a:gd name="connsiteX214" fmla="*/ 810319 w 2051041"/>
              <a:gd name="connsiteY214" fmla="*/ 1514983 h 2084191"/>
              <a:gd name="connsiteX215" fmla="*/ 826101 w 2051041"/>
              <a:gd name="connsiteY215" fmla="*/ 1497570 h 2084191"/>
              <a:gd name="connsiteX216" fmla="*/ 988265 w 2051041"/>
              <a:gd name="connsiteY216" fmla="*/ 1492128 h 2084191"/>
              <a:gd name="connsiteX217" fmla="*/ 1010577 w 2051041"/>
              <a:gd name="connsiteY217" fmla="*/ 1513351 h 2084191"/>
              <a:gd name="connsiteX218" fmla="*/ 989354 w 2051041"/>
              <a:gd name="connsiteY218" fmla="*/ 1534574 h 2084191"/>
              <a:gd name="connsiteX219" fmla="*/ 968131 w 2051041"/>
              <a:gd name="connsiteY219" fmla="*/ 1513895 h 2084191"/>
              <a:gd name="connsiteX220" fmla="*/ 988265 w 2051041"/>
              <a:gd name="connsiteY220" fmla="*/ 1492128 h 2084191"/>
              <a:gd name="connsiteX221" fmla="*/ 1152606 w 2051041"/>
              <a:gd name="connsiteY221" fmla="*/ 1490496 h 2084191"/>
              <a:gd name="connsiteX222" fmla="*/ 1176006 w 2051041"/>
              <a:gd name="connsiteY222" fmla="*/ 1513351 h 2084191"/>
              <a:gd name="connsiteX223" fmla="*/ 1152606 w 2051041"/>
              <a:gd name="connsiteY223" fmla="*/ 1537839 h 2084191"/>
              <a:gd name="connsiteX224" fmla="*/ 1129207 w 2051041"/>
              <a:gd name="connsiteY224" fmla="*/ 1514984 h 2084191"/>
              <a:gd name="connsiteX225" fmla="*/ 1152606 w 2051041"/>
              <a:gd name="connsiteY225" fmla="*/ 1490496 h 2084191"/>
              <a:gd name="connsiteX226" fmla="*/ 1316403 w 2051041"/>
              <a:gd name="connsiteY226" fmla="*/ 1487231 h 2084191"/>
              <a:gd name="connsiteX227" fmla="*/ 1342523 w 2051041"/>
              <a:gd name="connsiteY227" fmla="*/ 1513896 h 2084191"/>
              <a:gd name="connsiteX228" fmla="*/ 1315314 w 2051041"/>
              <a:gd name="connsiteY228" fmla="*/ 1540560 h 2084191"/>
              <a:gd name="connsiteX229" fmla="*/ 1288650 w 2051041"/>
              <a:gd name="connsiteY229" fmla="*/ 1513896 h 2084191"/>
              <a:gd name="connsiteX230" fmla="*/ 1316403 w 2051041"/>
              <a:gd name="connsiteY230" fmla="*/ 1487231 h 2084191"/>
              <a:gd name="connsiteX231" fmla="*/ 1479656 w 2051041"/>
              <a:gd name="connsiteY231" fmla="*/ 1485054 h 2084191"/>
              <a:gd name="connsiteX232" fmla="*/ 1507409 w 2051041"/>
              <a:gd name="connsiteY232" fmla="*/ 1513895 h 2084191"/>
              <a:gd name="connsiteX233" fmla="*/ 1479112 w 2051041"/>
              <a:gd name="connsiteY233" fmla="*/ 1541648 h 2084191"/>
              <a:gd name="connsiteX234" fmla="*/ 1451359 w 2051041"/>
              <a:gd name="connsiteY234" fmla="*/ 1513351 h 2084191"/>
              <a:gd name="connsiteX235" fmla="*/ 1479656 w 2051041"/>
              <a:gd name="connsiteY235" fmla="*/ 1485054 h 2084191"/>
              <a:gd name="connsiteX236" fmla="*/ 1641820 w 2051041"/>
              <a:gd name="connsiteY236" fmla="*/ 1482334 h 2084191"/>
              <a:gd name="connsiteX237" fmla="*/ 1673382 w 2051041"/>
              <a:gd name="connsiteY237" fmla="*/ 1512807 h 2084191"/>
              <a:gd name="connsiteX238" fmla="*/ 1642909 w 2051041"/>
              <a:gd name="connsiteY238" fmla="*/ 1544370 h 2084191"/>
              <a:gd name="connsiteX239" fmla="*/ 1612435 w 2051041"/>
              <a:gd name="connsiteY239" fmla="*/ 1513351 h 2084191"/>
              <a:gd name="connsiteX240" fmla="*/ 1641820 w 2051041"/>
              <a:gd name="connsiteY240" fmla="*/ 1482334 h 2084191"/>
              <a:gd name="connsiteX241" fmla="*/ 1804529 w 2051041"/>
              <a:gd name="connsiteY241" fmla="*/ 1481788 h 2084191"/>
              <a:gd name="connsiteX242" fmla="*/ 1837180 w 2051041"/>
              <a:gd name="connsiteY242" fmla="*/ 1513351 h 2084191"/>
              <a:gd name="connsiteX243" fmla="*/ 1805617 w 2051041"/>
              <a:gd name="connsiteY243" fmla="*/ 1545457 h 2084191"/>
              <a:gd name="connsiteX244" fmla="*/ 1773511 w 2051041"/>
              <a:gd name="connsiteY244" fmla="*/ 1514983 h 2084191"/>
              <a:gd name="connsiteX245" fmla="*/ 1804529 w 2051041"/>
              <a:gd name="connsiteY245" fmla="*/ 1481788 h 2084191"/>
              <a:gd name="connsiteX246" fmla="*/ 1968870 w 2051041"/>
              <a:gd name="connsiteY246" fmla="*/ 1480700 h 2084191"/>
              <a:gd name="connsiteX247" fmla="*/ 2000977 w 2051041"/>
              <a:gd name="connsiteY247" fmla="*/ 1513351 h 2084191"/>
              <a:gd name="connsiteX248" fmla="*/ 1968870 w 2051041"/>
              <a:gd name="connsiteY248" fmla="*/ 1545457 h 2084191"/>
              <a:gd name="connsiteX249" fmla="*/ 1936764 w 2051041"/>
              <a:gd name="connsiteY249" fmla="*/ 1513351 h 2084191"/>
              <a:gd name="connsiteX250" fmla="*/ 1968870 w 2051041"/>
              <a:gd name="connsiteY250" fmla="*/ 1480700 h 2084191"/>
              <a:gd name="connsiteX251" fmla="*/ 581221 w 2051041"/>
              <a:gd name="connsiteY251" fmla="*/ 1423562 h 2084191"/>
              <a:gd name="connsiteX252" fmla="*/ 588840 w 2051041"/>
              <a:gd name="connsiteY252" fmla="*/ 1431725 h 2084191"/>
              <a:gd name="connsiteX253" fmla="*/ 581765 w 2051041"/>
              <a:gd name="connsiteY253" fmla="*/ 1443153 h 2084191"/>
              <a:gd name="connsiteX254" fmla="*/ 573059 w 2051041"/>
              <a:gd name="connsiteY254" fmla="*/ 1432813 h 2084191"/>
              <a:gd name="connsiteX255" fmla="*/ 581221 w 2051041"/>
              <a:gd name="connsiteY255" fmla="*/ 1423562 h 2084191"/>
              <a:gd name="connsiteX256" fmla="*/ 745562 w 2051041"/>
              <a:gd name="connsiteY256" fmla="*/ 1414855 h 2084191"/>
              <a:gd name="connsiteX257" fmla="*/ 761344 w 2051041"/>
              <a:gd name="connsiteY257" fmla="*/ 1432269 h 2084191"/>
              <a:gd name="connsiteX258" fmla="*/ 745018 w 2051041"/>
              <a:gd name="connsiteY258" fmla="*/ 1448050 h 2084191"/>
              <a:gd name="connsiteX259" fmla="*/ 728693 w 2051041"/>
              <a:gd name="connsiteY259" fmla="*/ 1431725 h 2084191"/>
              <a:gd name="connsiteX260" fmla="*/ 745562 w 2051041"/>
              <a:gd name="connsiteY260" fmla="*/ 1414855 h 2084191"/>
              <a:gd name="connsiteX261" fmla="*/ 908815 w 2051041"/>
              <a:gd name="connsiteY261" fmla="*/ 1409958 h 2084191"/>
              <a:gd name="connsiteX262" fmla="*/ 930038 w 2051041"/>
              <a:gd name="connsiteY262" fmla="*/ 1431725 h 2084191"/>
              <a:gd name="connsiteX263" fmla="*/ 907183 w 2051041"/>
              <a:gd name="connsiteY263" fmla="*/ 1453492 h 2084191"/>
              <a:gd name="connsiteX264" fmla="*/ 885960 w 2051041"/>
              <a:gd name="connsiteY264" fmla="*/ 1431725 h 2084191"/>
              <a:gd name="connsiteX265" fmla="*/ 908815 w 2051041"/>
              <a:gd name="connsiteY265" fmla="*/ 1409958 h 2084191"/>
              <a:gd name="connsiteX266" fmla="*/ 1070436 w 2051041"/>
              <a:gd name="connsiteY266" fmla="*/ 1406693 h 2084191"/>
              <a:gd name="connsiteX267" fmla="*/ 1096012 w 2051041"/>
              <a:gd name="connsiteY267" fmla="*/ 1432269 h 2084191"/>
              <a:gd name="connsiteX268" fmla="*/ 1070436 w 2051041"/>
              <a:gd name="connsiteY268" fmla="*/ 1457846 h 2084191"/>
              <a:gd name="connsiteX269" fmla="*/ 1045404 w 2051041"/>
              <a:gd name="connsiteY269" fmla="*/ 1431181 h 2084191"/>
              <a:gd name="connsiteX270" fmla="*/ 1070436 w 2051041"/>
              <a:gd name="connsiteY270" fmla="*/ 1406693 h 2084191"/>
              <a:gd name="connsiteX271" fmla="*/ 1235865 w 2051041"/>
              <a:gd name="connsiteY271" fmla="*/ 1404516 h 2084191"/>
              <a:gd name="connsiteX272" fmla="*/ 1261986 w 2051041"/>
              <a:gd name="connsiteY272" fmla="*/ 1433358 h 2084191"/>
              <a:gd name="connsiteX273" fmla="*/ 1233689 w 2051041"/>
              <a:gd name="connsiteY273" fmla="*/ 1459478 h 2084191"/>
              <a:gd name="connsiteX274" fmla="*/ 1206480 w 2051041"/>
              <a:gd name="connsiteY274" fmla="*/ 1432269 h 2084191"/>
              <a:gd name="connsiteX275" fmla="*/ 1235865 w 2051041"/>
              <a:gd name="connsiteY275" fmla="*/ 1404516 h 2084191"/>
              <a:gd name="connsiteX276" fmla="*/ 1397485 w 2051041"/>
              <a:gd name="connsiteY276" fmla="*/ 1400162 h 2084191"/>
              <a:gd name="connsiteX277" fmla="*/ 1427959 w 2051041"/>
              <a:gd name="connsiteY277" fmla="*/ 1431724 h 2084191"/>
              <a:gd name="connsiteX278" fmla="*/ 1398029 w 2051041"/>
              <a:gd name="connsiteY278" fmla="*/ 1463287 h 2084191"/>
              <a:gd name="connsiteX279" fmla="*/ 1366467 w 2051041"/>
              <a:gd name="connsiteY279" fmla="*/ 1432813 h 2084191"/>
              <a:gd name="connsiteX280" fmla="*/ 1397485 w 2051041"/>
              <a:gd name="connsiteY280" fmla="*/ 1400162 h 2084191"/>
              <a:gd name="connsiteX281" fmla="*/ 1561282 w 2051041"/>
              <a:gd name="connsiteY281" fmla="*/ 1399618 h 2084191"/>
              <a:gd name="connsiteX282" fmla="*/ 1593388 w 2051041"/>
              <a:gd name="connsiteY282" fmla="*/ 1432269 h 2084191"/>
              <a:gd name="connsiteX283" fmla="*/ 1560738 w 2051041"/>
              <a:gd name="connsiteY283" fmla="*/ 1464375 h 2084191"/>
              <a:gd name="connsiteX284" fmla="*/ 1528631 w 2051041"/>
              <a:gd name="connsiteY284" fmla="*/ 1432813 h 2084191"/>
              <a:gd name="connsiteX285" fmla="*/ 1561282 w 2051041"/>
              <a:gd name="connsiteY285" fmla="*/ 1399618 h 2084191"/>
              <a:gd name="connsiteX286" fmla="*/ 1723446 w 2051041"/>
              <a:gd name="connsiteY286" fmla="*/ 1399074 h 2084191"/>
              <a:gd name="connsiteX287" fmla="*/ 1757185 w 2051041"/>
              <a:gd name="connsiteY287" fmla="*/ 1432269 h 2084191"/>
              <a:gd name="connsiteX288" fmla="*/ 1723991 w 2051041"/>
              <a:gd name="connsiteY288" fmla="*/ 1465464 h 2084191"/>
              <a:gd name="connsiteX289" fmla="*/ 1691340 w 2051041"/>
              <a:gd name="connsiteY289" fmla="*/ 1433357 h 2084191"/>
              <a:gd name="connsiteX290" fmla="*/ 1723446 w 2051041"/>
              <a:gd name="connsiteY290" fmla="*/ 1399074 h 2084191"/>
              <a:gd name="connsiteX291" fmla="*/ 1886700 w 2051041"/>
              <a:gd name="connsiteY291" fmla="*/ 1398530 h 2084191"/>
              <a:gd name="connsiteX292" fmla="*/ 1920439 w 2051041"/>
              <a:gd name="connsiteY292" fmla="*/ 1432269 h 2084191"/>
              <a:gd name="connsiteX293" fmla="*/ 1887788 w 2051041"/>
              <a:gd name="connsiteY293" fmla="*/ 1464920 h 2084191"/>
              <a:gd name="connsiteX294" fmla="*/ 1854049 w 2051041"/>
              <a:gd name="connsiteY294" fmla="*/ 1433358 h 2084191"/>
              <a:gd name="connsiteX295" fmla="*/ 1886700 w 2051041"/>
              <a:gd name="connsiteY295" fmla="*/ 1398530 h 2084191"/>
              <a:gd name="connsiteX296" fmla="*/ 2051041 w 2051041"/>
              <a:gd name="connsiteY296" fmla="*/ 1398217 h 2084191"/>
              <a:gd name="connsiteX297" fmla="*/ 2051041 w 2051041"/>
              <a:gd name="connsiteY297" fmla="*/ 1464535 h 2084191"/>
              <a:gd name="connsiteX298" fmla="*/ 2049953 w 2051041"/>
              <a:gd name="connsiteY298" fmla="*/ 1464920 h 2084191"/>
              <a:gd name="connsiteX299" fmla="*/ 2017302 w 2051041"/>
              <a:gd name="connsiteY299" fmla="*/ 1431725 h 2084191"/>
              <a:gd name="connsiteX300" fmla="*/ 2027709 w 2051041"/>
              <a:gd name="connsiteY300" fmla="*/ 1408121 h 2084191"/>
              <a:gd name="connsiteX301" fmla="*/ 500139 w 2051041"/>
              <a:gd name="connsiteY301" fmla="*/ 1341936 h 2084191"/>
              <a:gd name="connsiteX302" fmla="*/ 511023 w 2051041"/>
              <a:gd name="connsiteY302" fmla="*/ 1350643 h 2084191"/>
              <a:gd name="connsiteX303" fmla="*/ 499595 w 2051041"/>
              <a:gd name="connsiteY303" fmla="*/ 1358261 h 2084191"/>
              <a:gd name="connsiteX304" fmla="*/ 491432 w 2051041"/>
              <a:gd name="connsiteY304" fmla="*/ 1349010 h 2084191"/>
              <a:gd name="connsiteX305" fmla="*/ 500139 w 2051041"/>
              <a:gd name="connsiteY305" fmla="*/ 1341936 h 2084191"/>
              <a:gd name="connsiteX306" fmla="*/ 662848 w 2051041"/>
              <a:gd name="connsiteY306" fmla="*/ 1333773 h 2084191"/>
              <a:gd name="connsiteX307" fmla="*/ 679173 w 2051041"/>
              <a:gd name="connsiteY307" fmla="*/ 1350643 h 2084191"/>
              <a:gd name="connsiteX308" fmla="*/ 662848 w 2051041"/>
              <a:gd name="connsiteY308" fmla="*/ 1366424 h 2084191"/>
              <a:gd name="connsiteX309" fmla="*/ 647067 w 2051041"/>
              <a:gd name="connsiteY309" fmla="*/ 1350098 h 2084191"/>
              <a:gd name="connsiteX310" fmla="*/ 662848 w 2051041"/>
              <a:gd name="connsiteY310" fmla="*/ 1333773 h 2084191"/>
              <a:gd name="connsiteX311" fmla="*/ 826645 w 2051041"/>
              <a:gd name="connsiteY311" fmla="*/ 1328331 h 2084191"/>
              <a:gd name="connsiteX312" fmla="*/ 847868 w 2051041"/>
              <a:gd name="connsiteY312" fmla="*/ 1350642 h 2084191"/>
              <a:gd name="connsiteX313" fmla="*/ 825556 w 2051041"/>
              <a:gd name="connsiteY313" fmla="*/ 1372409 h 2084191"/>
              <a:gd name="connsiteX314" fmla="*/ 804334 w 2051041"/>
              <a:gd name="connsiteY314" fmla="*/ 1349554 h 2084191"/>
              <a:gd name="connsiteX315" fmla="*/ 826645 w 2051041"/>
              <a:gd name="connsiteY315" fmla="*/ 1328331 h 2084191"/>
              <a:gd name="connsiteX316" fmla="*/ 989353 w 2051041"/>
              <a:gd name="connsiteY316" fmla="*/ 1323978 h 2084191"/>
              <a:gd name="connsiteX317" fmla="*/ 1015473 w 2051041"/>
              <a:gd name="connsiteY317" fmla="*/ 1350098 h 2084191"/>
              <a:gd name="connsiteX318" fmla="*/ 989353 w 2051041"/>
              <a:gd name="connsiteY318" fmla="*/ 1376763 h 2084191"/>
              <a:gd name="connsiteX319" fmla="*/ 963777 w 2051041"/>
              <a:gd name="connsiteY319" fmla="*/ 1350642 h 2084191"/>
              <a:gd name="connsiteX320" fmla="*/ 989353 w 2051041"/>
              <a:gd name="connsiteY320" fmla="*/ 1323978 h 2084191"/>
              <a:gd name="connsiteX321" fmla="*/ 1152606 w 2051041"/>
              <a:gd name="connsiteY321" fmla="*/ 1322889 h 2084191"/>
              <a:gd name="connsiteX322" fmla="*/ 1181447 w 2051041"/>
              <a:gd name="connsiteY322" fmla="*/ 1350098 h 2084191"/>
              <a:gd name="connsiteX323" fmla="*/ 1152606 w 2051041"/>
              <a:gd name="connsiteY323" fmla="*/ 1379483 h 2084191"/>
              <a:gd name="connsiteX324" fmla="*/ 1124853 w 2051041"/>
              <a:gd name="connsiteY324" fmla="*/ 1350642 h 2084191"/>
              <a:gd name="connsiteX325" fmla="*/ 1152606 w 2051041"/>
              <a:gd name="connsiteY325" fmla="*/ 1322889 h 2084191"/>
              <a:gd name="connsiteX326" fmla="*/ 1315315 w 2051041"/>
              <a:gd name="connsiteY326" fmla="*/ 1318536 h 2084191"/>
              <a:gd name="connsiteX327" fmla="*/ 1347966 w 2051041"/>
              <a:gd name="connsiteY327" fmla="*/ 1350098 h 2084191"/>
              <a:gd name="connsiteX328" fmla="*/ 1315315 w 2051041"/>
              <a:gd name="connsiteY328" fmla="*/ 1381661 h 2084191"/>
              <a:gd name="connsiteX329" fmla="*/ 1284297 w 2051041"/>
              <a:gd name="connsiteY329" fmla="*/ 1350098 h 2084191"/>
              <a:gd name="connsiteX330" fmla="*/ 1315315 w 2051041"/>
              <a:gd name="connsiteY330" fmla="*/ 1318536 h 2084191"/>
              <a:gd name="connsiteX331" fmla="*/ 1480744 w 2051041"/>
              <a:gd name="connsiteY331" fmla="*/ 1317448 h 2084191"/>
              <a:gd name="connsiteX332" fmla="*/ 1512306 w 2051041"/>
              <a:gd name="connsiteY332" fmla="*/ 1351731 h 2084191"/>
              <a:gd name="connsiteX333" fmla="*/ 1477479 w 2051041"/>
              <a:gd name="connsiteY333" fmla="*/ 1383293 h 2084191"/>
              <a:gd name="connsiteX334" fmla="*/ 1446461 w 2051041"/>
              <a:gd name="connsiteY334" fmla="*/ 1349554 h 2084191"/>
              <a:gd name="connsiteX335" fmla="*/ 1480744 w 2051041"/>
              <a:gd name="connsiteY335" fmla="*/ 1317448 h 2084191"/>
              <a:gd name="connsiteX336" fmla="*/ 1642908 w 2051041"/>
              <a:gd name="connsiteY336" fmla="*/ 1315815 h 2084191"/>
              <a:gd name="connsiteX337" fmla="*/ 1676647 w 2051041"/>
              <a:gd name="connsiteY337" fmla="*/ 1351731 h 2084191"/>
              <a:gd name="connsiteX338" fmla="*/ 1640732 w 2051041"/>
              <a:gd name="connsiteY338" fmla="*/ 1383837 h 2084191"/>
              <a:gd name="connsiteX339" fmla="*/ 1608081 w 2051041"/>
              <a:gd name="connsiteY339" fmla="*/ 1349554 h 2084191"/>
              <a:gd name="connsiteX340" fmla="*/ 1642908 w 2051041"/>
              <a:gd name="connsiteY340" fmla="*/ 1315815 h 2084191"/>
              <a:gd name="connsiteX341" fmla="*/ 1968870 w 2051041"/>
              <a:gd name="connsiteY341" fmla="*/ 1314183 h 2084191"/>
              <a:gd name="connsiteX342" fmla="*/ 2005329 w 2051041"/>
              <a:gd name="connsiteY342" fmla="*/ 1351187 h 2084191"/>
              <a:gd name="connsiteX343" fmla="*/ 1967781 w 2051041"/>
              <a:gd name="connsiteY343" fmla="*/ 1388191 h 2084191"/>
              <a:gd name="connsiteX344" fmla="*/ 1931866 w 2051041"/>
              <a:gd name="connsiteY344" fmla="*/ 1350098 h 2084191"/>
              <a:gd name="connsiteX345" fmla="*/ 1968870 w 2051041"/>
              <a:gd name="connsiteY345" fmla="*/ 1314183 h 2084191"/>
              <a:gd name="connsiteX346" fmla="*/ 1806161 w 2051041"/>
              <a:gd name="connsiteY346" fmla="*/ 1313639 h 2084191"/>
              <a:gd name="connsiteX347" fmla="*/ 1841533 w 2051041"/>
              <a:gd name="connsiteY347" fmla="*/ 1351187 h 2084191"/>
              <a:gd name="connsiteX348" fmla="*/ 1830105 w 2051041"/>
              <a:gd name="connsiteY348" fmla="*/ 1376763 h 2084191"/>
              <a:gd name="connsiteX349" fmla="*/ 1803984 w 2051041"/>
              <a:gd name="connsiteY349" fmla="*/ 1387102 h 2084191"/>
              <a:gd name="connsiteX350" fmla="*/ 1768613 w 2051041"/>
              <a:gd name="connsiteY350" fmla="*/ 1350098 h 2084191"/>
              <a:gd name="connsiteX351" fmla="*/ 1806161 w 2051041"/>
              <a:gd name="connsiteY351" fmla="*/ 1313639 h 2084191"/>
              <a:gd name="connsiteX352" fmla="*/ 419057 w 2051041"/>
              <a:gd name="connsiteY352" fmla="*/ 1262486 h 2084191"/>
              <a:gd name="connsiteX353" fmla="*/ 424499 w 2051041"/>
              <a:gd name="connsiteY353" fmla="*/ 1269016 h 2084191"/>
              <a:gd name="connsiteX354" fmla="*/ 417969 w 2051041"/>
              <a:gd name="connsiteY354" fmla="*/ 1278811 h 2084191"/>
              <a:gd name="connsiteX355" fmla="*/ 411983 w 2051041"/>
              <a:gd name="connsiteY355" fmla="*/ 1269016 h 2084191"/>
              <a:gd name="connsiteX356" fmla="*/ 419057 w 2051041"/>
              <a:gd name="connsiteY356" fmla="*/ 1262486 h 2084191"/>
              <a:gd name="connsiteX357" fmla="*/ 581221 w 2051041"/>
              <a:gd name="connsiteY357" fmla="*/ 1252147 h 2084191"/>
              <a:gd name="connsiteX358" fmla="*/ 597547 w 2051041"/>
              <a:gd name="connsiteY358" fmla="*/ 1269017 h 2084191"/>
              <a:gd name="connsiteX359" fmla="*/ 580133 w 2051041"/>
              <a:gd name="connsiteY359" fmla="*/ 1284254 h 2084191"/>
              <a:gd name="connsiteX360" fmla="*/ 564896 w 2051041"/>
              <a:gd name="connsiteY360" fmla="*/ 1268472 h 2084191"/>
              <a:gd name="connsiteX361" fmla="*/ 581221 w 2051041"/>
              <a:gd name="connsiteY361" fmla="*/ 1252147 h 2084191"/>
              <a:gd name="connsiteX362" fmla="*/ 745018 w 2051041"/>
              <a:gd name="connsiteY362" fmla="*/ 1246705 h 2084191"/>
              <a:gd name="connsiteX363" fmla="*/ 766241 w 2051041"/>
              <a:gd name="connsiteY363" fmla="*/ 1269560 h 2084191"/>
              <a:gd name="connsiteX364" fmla="*/ 744474 w 2051041"/>
              <a:gd name="connsiteY364" fmla="*/ 1290783 h 2084191"/>
              <a:gd name="connsiteX365" fmla="*/ 722707 w 2051041"/>
              <a:gd name="connsiteY365" fmla="*/ 1267928 h 2084191"/>
              <a:gd name="connsiteX366" fmla="*/ 745018 w 2051041"/>
              <a:gd name="connsiteY366" fmla="*/ 1246705 h 2084191"/>
              <a:gd name="connsiteX367" fmla="*/ 907727 w 2051041"/>
              <a:gd name="connsiteY367" fmla="*/ 1241807 h 2084191"/>
              <a:gd name="connsiteX368" fmla="*/ 933847 w 2051041"/>
              <a:gd name="connsiteY368" fmla="*/ 1269016 h 2084191"/>
              <a:gd name="connsiteX369" fmla="*/ 907183 w 2051041"/>
              <a:gd name="connsiteY369" fmla="*/ 1295136 h 2084191"/>
              <a:gd name="connsiteX370" fmla="*/ 880518 w 2051041"/>
              <a:gd name="connsiteY370" fmla="*/ 1267927 h 2084191"/>
              <a:gd name="connsiteX371" fmla="*/ 907727 w 2051041"/>
              <a:gd name="connsiteY371" fmla="*/ 1241807 h 2084191"/>
              <a:gd name="connsiteX372" fmla="*/ 1070979 w 2051041"/>
              <a:gd name="connsiteY372" fmla="*/ 1240719 h 2084191"/>
              <a:gd name="connsiteX373" fmla="*/ 1099821 w 2051041"/>
              <a:gd name="connsiteY373" fmla="*/ 1268472 h 2084191"/>
              <a:gd name="connsiteX374" fmla="*/ 1070435 w 2051041"/>
              <a:gd name="connsiteY374" fmla="*/ 1297858 h 2084191"/>
              <a:gd name="connsiteX375" fmla="*/ 1042138 w 2051041"/>
              <a:gd name="connsiteY375" fmla="*/ 1269560 h 2084191"/>
              <a:gd name="connsiteX376" fmla="*/ 1070979 w 2051041"/>
              <a:gd name="connsiteY376" fmla="*/ 1240719 h 2084191"/>
              <a:gd name="connsiteX377" fmla="*/ 1234233 w 2051041"/>
              <a:gd name="connsiteY377" fmla="*/ 1235821 h 2084191"/>
              <a:gd name="connsiteX378" fmla="*/ 1266883 w 2051041"/>
              <a:gd name="connsiteY378" fmla="*/ 1269016 h 2084191"/>
              <a:gd name="connsiteX379" fmla="*/ 1234233 w 2051041"/>
              <a:gd name="connsiteY379" fmla="*/ 1300578 h 2084191"/>
              <a:gd name="connsiteX380" fmla="*/ 1201582 w 2051041"/>
              <a:gd name="connsiteY380" fmla="*/ 1267383 h 2084191"/>
              <a:gd name="connsiteX381" fmla="*/ 1234233 w 2051041"/>
              <a:gd name="connsiteY381" fmla="*/ 1235821 h 2084191"/>
              <a:gd name="connsiteX382" fmla="*/ 1396397 w 2051041"/>
              <a:gd name="connsiteY382" fmla="*/ 1234733 h 2084191"/>
              <a:gd name="connsiteX383" fmla="*/ 1431224 w 2051041"/>
              <a:gd name="connsiteY383" fmla="*/ 1268472 h 2084191"/>
              <a:gd name="connsiteX384" fmla="*/ 1396941 w 2051041"/>
              <a:gd name="connsiteY384" fmla="*/ 1302755 h 2084191"/>
              <a:gd name="connsiteX385" fmla="*/ 1363746 w 2051041"/>
              <a:gd name="connsiteY385" fmla="*/ 1269016 h 2084191"/>
              <a:gd name="connsiteX386" fmla="*/ 1396397 w 2051041"/>
              <a:gd name="connsiteY386" fmla="*/ 1234733 h 2084191"/>
              <a:gd name="connsiteX387" fmla="*/ 1559649 w 2051041"/>
              <a:gd name="connsiteY387" fmla="*/ 1232557 h 2084191"/>
              <a:gd name="connsiteX388" fmla="*/ 1597742 w 2051041"/>
              <a:gd name="connsiteY388" fmla="*/ 1268472 h 2084191"/>
              <a:gd name="connsiteX389" fmla="*/ 1561826 w 2051041"/>
              <a:gd name="connsiteY389" fmla="*/ 1305476 h 2084191"/>
              <a:gd name="connsiteX390" fmla="*/ 1523734 w 2051041"/>
              <a:gd name="connsiteY390" fmla="*/ 1269561 h 2084191"/>
              <a:gd name="connsiteX391" fmla="*/ 1559649 w 2051041"/>
              <a:gd name="connsiteY391" fmla="*/ 1232557 h 2084191"/>
              <a:gd name="connsiteX392" fmla="*/ 1723990 w 2051041"/>
              <a:gd name="connsiteY392" fmla="*/ 1231468 h 2084191"/>
              <a:gd name="connsiteX393" fmla="*/ 1762083 w 2051041"/>
              <a:gd name="connsiteY393" fmla="*/ 1268472 h 2084191"/>
              <a:gd name="connsiteX394" fmla="*/ 1724535 w 2051041"/>
              <a:gd name="connsiteY394" fmla="*/ 1307109 h 2084191"/>
              <a:gd name="connsiteX395" fmla="*/ 1686442 w 2051041"/>
              <a:gd name="connsiteY395" fmla="*/ 1270105 h 2084191"/>
              <a:gd name="connsiteX396" fmla="*/ 1723990 w 2051041"/>
              <a:gd name="connsiteY396" fmla="*/ 1231468 h 2084191"/>
              <a:gd name="connsiteX397" fmla="*/ 1888332 w 2051041"/>
              <a:gd name="connsiteY397" fmla="*/ 1230924 h 2084191"/>
              <a:gd name="connsiteX398" fmla="*/ 1925336 w 2051041"/>
              <a:gd name="connsiteY398" fmla="*/ 1269561 h 2084191"/>
              <a:gd name="connsiteX399" fmla="*/ 1887243 w 2051041"/>
              <a:gd name="connsiteY399" fmla="*/ 1307653 h 2084191"/>
              <a:gd name="connsiteX400" fmla="*/ 1849151 w 2051041"/>
              <a:gd name="connsiteY400" fmla="*/ 1267928 h 2084191"/>
              <a:gd name="connsiteX401" fmla="*/ 1888332 w 2051041"/>
              <a:gd name="connsiteY401" fmla="*/ 1230924 h 2084191"/>
              <a:gd name="connsiteX402" fmla="*/ 2049952 w 2051041"/>
              <a:gd name="connsiteY402" fmla="*/ 1230380 h 2084191"/>
              <a:gd name="connsiteX403" fmla="*/ 2051041 w 2051041"/>
              <a:gd name="connsiteY403" fmla="*/ 1230805 h 2084191"/>
              <a:gd name="connsiteX404" fmla="*/ 2051041 w 2051041"/>
              <a:gd name="connsiteY404" fmla="*/ 1307109 h 2084191"/>
              <a:gd name="connsiteX405" fmla="*/ 2012404 w 2051041"/>
              <a:gd name="connsiteY405" fmla="*/ 1268472 h 2084191"/>
              <a:gd name="connsiteX406" fmla="*/ 2049952 w 2051041"/>
              <a:gd name="connsiteY406" fmla="*/ 1230380 h 2084191"/>
              <a:gd name="connsiteX407" fmla="*/ 337431 w 2051041"/>
              <a:gd name="connsiteY407" fmla="*/ 1181404 h 2084191"/>
              <a:gd name="connsiteX408" fmla="*/ 345050 w 2051041"/>
              <a:gd name="connsiteY408" fmla="*/ 1187934 h 2084191"/>
              <a:gd name="connsiteX409" fmla="*/ 336343 w 2051041"/>
              <a:gd name="connsiteY409" fmla="*/ 1192288 h 2084191"/>
              <a:gd name="connsiteX410" fmla="*/ 330901 w 2051041"/>
              <a:gd name="connsiteY410" fmla="*/ 1185758 h 2084191"/>
              <a:gd name="connsiteX411" fmla="*/ 337431 w 2051041"/>
              <a:gd name="connsiteY411" fmla="*/ 1181404 h 2084191"/>
              <a:gd name="connsiteX412" fmla="*/ 499051 w 2051041"/>
              <a:gd name="connsiteY412" fmla="*/ 1171065 h 2084191"/>
              <a:gd name="connsiteX413" fmla="*/ 516465 w 2051041"/>
              <a:gd name="connsiteY413" fmla="*/ 1187390 h 2084191"/>
              <a:gd name="connsiteX414" fmla="*/ 500140 w 2051041"/>
              <a:gd name="connsiteY414" fmla="*/ 1202627 h 2084191"/>
              <a:gd name="connsiteX415" fmla="*/ 483814 w 2051041"/>
              <a:gd name="connsiteY415" fmla="*/ 1187390 h 2084191"/>
              <a:gd name="connsiteX416" fmla="*/ 499051 w 2051041"/>
              <a:gd name="connsiteY416" fmla="*/ 1171065 h 2084191"/>
              <a:gd name="connsiteX417" fmla="*/ 662848 w 2051041"/>
              <a:gd name="connsiteY417" fmla="*/ 1165623 h 2084191"/>
              <a:gd name="connsiteX418" fmla="*/ 684615 w 2051041"/>
              <a:gd name="connsiteY418" fmla="*/ 1187390 h 2084191"/>
              <a:gd name="connsiteX419" fmla="*/ 662848 w 2051041"/>
              <a:gd name="connsiteY419" fmla="*/ 1209157 h 2084191"/>
              <a:gd name="connsiteX420" fmla="*/ 641081 w 2051041"/>
              <a:gd name="connsiteY420" fmla="*/ 1186846 h 2084191"/>
              <a:gd name="connsiteX421" fmla="*/ 662848 w 2051041"/>
              <a:gd name="connsiteY421" fmla="*/ 1165623 h 2084191"/>
              <a:gd name="connsiteX422" fmla="*/ 825556 w 2051041"/>
              <a:gd name="connsiteY422" fmla="*/ 1160725 h 2084191"/>
              <a:gd name="connsiteX423" fmla="*/ 852765 w 2051041"/>
              <a:gd name="connsiteY423" fmla="*/ 1186846 h 2084191"/>
              <a:gd name="connsiteX424" fmla="*/ 826645 w 2051041"/>
              <a:gd name="connsiteY424" fmla="*/ 1213511 h 2084191"/>
              <a:gd name="connsiteX425" fmla="*/ 798892 w 2051041"/>
              <a:gd name="connsiteY425" fmla="*/ 1188479 h 2084191"/>
              <a:gd name="connsiteX426" fmla="*/ 825556 w 2051041"/>
              <a:gd name="connsiteY426" fmla="*/ 1160725 h 2084191"/>
              <a:gd name="connsiteX427" fmla="*/ 989353 w 2051041"/>
              <a:gd name="connsiteY427" fmla="*/ 1158004 h 2084191"/>
              <a:gd name="connsiteX428" fmla="*/ 1018195 w 2051041"/>
              <a:gd name="connsiteY428" fmla="*/ 1187934 h 2084191"/>
              <a:gd name="connsiteX429" fmla="*/ 988809 w 2051041"/>
              <a:gd name="connsiteY429" fmla="*/ 1216775 h 2084191"/>
              <a:gd name="connsiteX430" fmla="*/ 959968 w 2051041"/>
              <a:gd name="connsiteY430" fmla="*/ 1187934 h 2084191"/>
              <a:gd name="connsiteX431" fmla="*/ 989353 w 2051041"/>
              <a:gd name="connsiteY431" fmla="*/ 1158004 h 2084191"/>
              <a:gd name="connsiteX432" fmla="*/ 1152062 w 2051041"/>
              <a:gd name="connsiteY432" fmla="*/ 1153651 h 2084191"/>
              <a:gd name="connsiteX433" fmla="*/ 1185801 w 2051041"/>
              <a:gd name="connsiteY433" fmla="*/ 1186301 h 2084191"/>
              <a:gd name="connsiteX434" fmla="*/ 1153150 w 2051041"/>
              <a:gd name="connsiteY434" fmla="*/ 1219496 h 2084191"/>
              <a:gd name="connsiteX435" fmla="*/ 1119956 w 2051041"/>
              <a:gd name="connsiteY435" fmla="*/ 1187390 h 2084191"/>
              <a:gd name="connsiteX436" fmla="*/ 1152062 w 2051041"/>
              <a:gd name="connsiteY436" fmla="*/ 1153651 h 2084191"/>
              <a:gd name="connsiteX437" fmla="*/ 1315315 w 2051041"/>
              <a:gd name="connsiteY437" fmla="*/ 1152018 h 2084191"/>
              <a:gd name="connsiteX438" fmla="*/ 1351230 w 2051041"/>
              <a:gd name="connsiteY438" fmla="*/ 1186845 h 2084191"/>
              <a:gd name="connsiteX439" fmla="*/ 1315859 w 2051041"/>
              <a:gd name="connsiteY439" fmla="*/ 1221673 h 2084191"/>
              <a:gd name="connsiteX440" fmla="*/ 1281576 w 2051041"/>
              <a:gd name="connsiteY440" fmla="*/ 1187390 h 2084191"/>
              <a:gd name="connsiteX441" fmla="*/ 1315315 w 2051041"/>
              <a:gd name="connsiteY441" fmla="*/ 1152018 h 2084191"/>
              <a:gd name="connsiteX442" fmla="*/ 1479656 w 2051041"/>
              <a:gd name="connsiteY442" fmla="*/ 1149298 h 2084191"/>
              <a:gd name="connsiteX443" fmla="*/ 1516660 w 2051041"/>
              <a:gd name="connsiteY443" fmla="*/ 1188479 h 2084191"/>
              <a:gd name="connsiteX444" fmla="*/ 1478023 w 2051041"/>
              <a:gd name="connsiteY444" fmla="*/ 1224394 h 2084191"/>
              <a:gd name="connsiteX445" fmla="*/ 1441563 w 2051041"/>
              <a:gd name="connsiteY445" fmla="*/ 1185758 h 2084191"/>
              <a:gd name="connsiteX446" fmla="*/ 1479656 w 2051041"/>
              <a:gd name="connsiteY446" fmla="*/ 1149298 h 2084191"/>
              <a:gd name="connsiteX447" fmla="*/ 1642365 w 2051041"/>
              <a:gd name="connsiteY447" fmla="*/ 1148209 h 2084191"/>
              <a:gd name="connsiteX448" fmla="*/ 1681001 w 2051041"/>
              <a:gd name="connsiteY448" fmla="*/ 1187390 h 2084191"/>
              <a:gd name="connsiteX449" fmla="*/ 1641821 w 2051041"/>
              <a:gd name="connsiteY449" fmla="*/ 1226026 h 2084191"/>
              <a:gd name="connsiteX450" fmla="*/ 1603728 w 2051041"/>
              <a:gd name="connsiteY450" fmla="*/ 1186846 h 2084191"/>
              <a:gd name="connsiteX451" fmla="*/ 1642365 w 2051041"/>
              <a:gd name="connsiteY451" fmla="*/ 1148209 h 2084191"/>
              <a:gd name="connsiteX452" fmla="*/ 1969414 w 2051041"/>
              <a:gd name="connsiteY452" fmla="*/ 1147665 h 2084191"/>
              <a:gd name="connsiteX453" fmla="*/ 2009139 w 2051041"/>
              <a:gd name="connsiteY453" fmla="*/ 1187934 h 2084191"/>
              <a:gd name="connsiteX454" fmla="*/ 1968870 w 2051041"/>
              <a:gd name="connsiteY454" fmla="*/ 1227114 h 2084191"/>
              <a:gd name="connsiteX455" fmla="*/ 1929145 w 2051041"/>
              <a:gd name="connsiteY455" fmla="*/ 1186301 h 2084191"/>
              <a:gd name="connsiteX456" fmla="*/ 1969414 w 2051041"/>
              <a:gd name="connsiteY456" fmla="*/ 1147665 h 2084191"/>
              <a:gd name="connsiteX457" fmla="*/ 1805617 w 2051041"/>
              <a:gd name="connsiteY457" fmla="*/ 1147665 h 2084191"/>
              <a:gd name="connsiteX458" fmla="*/ 1844798 w 2051041"/>
              <a:gd name="connsiteY458" fmla="*/ 1187934 h 2084191"/>
              <a:gd name="connsiteX459" fmla="*/ 1805073 w 2051041"/>
              <a:gd name="connsiteY459" fmla="*/ 1226571 h 2084191"/>
              <a:gd name="connsiteX460" fmla="*/ 1766981 w 2051041"/>
              <a:gd name="connsiteY460" fmla="*/ 1186845 h 2084191"/>
              <a:gd name="connsiteX461" fmla="*/ 1805617 w 2051041"/>
              <a:gd name="connsiteY461" fmla="*/ 1147665 h 2084191"/>
              <a:gd name="connsiteX462" fmla="*/ 417425 w 2051041"/>
              <a:gd name="connsiteY462" fmla="*/ 1090527 h 2084191"/>
              <a:gd name="connsiteX463" fmla="*/ 432662 w 2051041"/>
              <a:gd name="connsiteY463" fmla="*/ 1105764 h 2084191"/>
              <a:gd name="connsiteX464" fmla="*/ 417969 w 2051041"/>
              <a:gd name="connsiteY464" fmla="*/ 1120457 h 2084191"/>
              <a:gd name="connsiteX465" fmla="*/ 402732 w 2051041"/>
              <a:gd name="connsiteY465" fmla="*/ 1105219 h 2084191"/>
              <a:gd name="connsiteX466" fmla="*/ 417425 w 2051041"/>
              <a:gd name="connsiteY466" fmla="*/ 1090527 h 2084191"/>
              <a:gd name="connsiteX467" fmla="*/ 580677 w 2051041"/>
              <a:gd name="connsiteY467" fmla="*/ 1083996 h 2084191"/>
              <a:gd name="connsiteX468" fmla="*/ 602444 w 2051041"/>
              <a:gd name="connsiteY468" fmla="*/ 1105219 h 2084191"/>
              <a:gd name="connsiteX469" fmla="*/ 581221 w 2051041"/>
              <a:gd name="connsiteY469" fmla="*/ 1127530 h 2084191"/>
              <a:gd name="connsiteX470" fmla="*/ 558910 w 2051041"/>
              <a:gd name="connsiteY470" fmla="*/ 1105219 h 2084191"/>
              <a:gd name="connsiteX471" fmla="*/ 580677 w 2051041"/>
              <a:gd name="connsiteY471" fmla="*/ 1083996 h 2084191"/>
              <a:gd name="connsiteX472" fmla="*/ 743386 w 2051041"/>
              <a:gd name="connsiteY472" fmla="*/ 1079099 h 2084191"/>
              <a:gd name="connsiteX473" fmla="*/ 770595 w 2051041"/>
              <a:gd name="connsiteY473" fmla="*/ 1105219 h 2084191"/>
              <a:gd name="connsiteX474" fmla="*/ 745019 w 2051041"/>
              <a:gd name="connsiteY474" fmla="*/ 1132428 h 2084191"/>
              <a:gd name="connsiteX475" fmla="*/ 717810 w 2051041"/>
              <a:gd name="connsiteY475" fmla="*/ 1106308 h 2084191"/>
              <a:gd name="connsiteX476" fmla="*/ 743386 w 2051041"/>
              <a:gd name="connsiteY476" fmla="*/ 1079099 h 2084191"/>
              <a:gd name="connsiteX477" fmla="*/ 907727 w 2051041"/>
              <a:gd name="connsiteY477" fmla="*/ 1076378 h 2084191"/>
              <a:gd name="connsiteX478" fmla="*/ 937112 w 2051041"/>
              <a:gd name="connsiteY478" fmla="*/ 1105219 h 2084191"/>
              <a:gd name="connsiteX479" fmla="*/ 908271 w 2051041"/>
              <a:gd name="connsiteY479" fmla="*/ 1134061 h 2084191"/>
              <a:gd name="connsiteX480" fmla="*/ 878885 w 2051041"/>
              <a:gd name="connsiteY480" fmla="*/ 1105764 h 2084191"/>
              <a:gd name="connsiteX481" fmla="*/ 907727 w 2051041"/>
              <a:gd name="connsiteY481" fmla="*/ 1076378 h 2084191"/>
              <a:gd name="connsiteX482" fmla="*/ 1071524 w 2051041"/>
              <a:gd name="connsiteY482" fmla="*/ 1072569 h 2084191"/>
              <a:gd name="connsiteX483" fmla="*/ 1104174 w 2051041"/>
              <a:gd name="connsiteY483" fmla="*/ 1105220 h 2084191"/>
              <a:gd name="connsiteX484" fmla="*/ 1070435 w 2051041"/>
              <a:gd name="connsiteY484" fmla="*/ 1137870 h 2084191"/>
              <a:gd name="connsiteX485" fmla="*/ 1038329 w 2051041"/>
              <a:gd name="connsiteY485" fmla="*/ 1105764 h 2084191"/>
              <a:gd name="connsiteX486" fmla="*/ 1071524 w 2051041"/>
              <a:gd name="connsiteY486" fmla="*/ 1072569 h 2084191"/>
              <a:gd name="connsiteX487" fmla="*/ 1235865 w 2051041"/>
              <a:gd name="connsiteY487" fmla="*/ 1068760 h 2084191"/>
              <a:gd name="connsiteX488" fmla="*/ 1271237 w 2051041"/>
              <a:gd name="connsiteY488" fmla="*/ 1106852 h 2084191"/>
              <a:gd name="connsiteX489" fmla="*/ 1234777 w 2051041"/>
              <a:gd name="connsiteY489" fmla="*/ 1142223 h 2084191"/>
              <a:gd name="connsiteX490" fmla="*/ 1198861 w 2051041"/>
              <a:gd name="connsiteY490" fmla="*/ 1105219 h 2084191"/>
              <a:gd name="connsiteX491" fmla="*/ 1235865 w 2051041"/>
              <a:gd name="connsiteY491" fmla="*/ 1068760 h 2084191"/>
              <a:gd name="connsiteX492" fmla="*/ 1396397 w 2051041"/>
              <a:gd name="connsiteY492" fmla="*/ 1067127 h 2084191"/>
              <a:gd name="connsiteX493" fmla="*/ 1435578 w 2051041"/>
              <a:gd name="connsiteY493" fmla="*/ 1105219 h 2084191"/>
              <a:gd name="connsiteX494" fmla="*/ 1396941 w 2051041"/>
              <a:gd name="connsiteY494" fmla="*/ 1143856 h 2084191"/>
              <a:gd name="connsiteX495" fmla="*/ 1358849 w 2051041"/>
              <a:gd name="connsiteY495" fmla="*/ 1105763 h 2084191"/>
              <a:gd name="connsiteX496" fmla="*/ 1396397 w 2051041"/>
              <a:gd name="connsiteY496" fmla="*/ 1067127 h 2084191"/>
              <a:gd name="connsiteX497" fmla="*/ 1560738 w 2051041"/>
              <a:gd name="connsiteY497" fmla="*/ 1066582 h 2084191"/>
              <a:gd name="connsiteX498" fmla="*/ 1599919 w 2051041"/>
              <a:gd name="connsiteY498" fmla="*/ 1105763 h 2084191"/>
              <a:gd name="connsiteX499" fmla="*/ 1560738 w 2051041"/>
              <a:gd name="connsiteY499" fmla="*/ 1144400 h 2084191"/>
              <a:gd name="connsiteX500" fmla="*/ 1521013 w 2051041"/>
              <a:gd name="connsiteY500" fmla="*/ 1105763 h 2084191"/>
              <a:gd name="connsiteX501" fmla="*/ 1560738 w 2051041"/>
              <a:gd name="connsiteY501" fmla="*/ 1066582 h 2084191"/>
              <a:gd name="connsiteX502" fmla="*/ 1723447 w 2051041"/>
              <a:gd name="connsiteY502" fmla="*/ 1064406 h 2084191"/>
              <a:gd name="connsiteX503" fmla="*/ 1764260 w 2051041"/>
              <a:gd name="connsiteY503" fmla="*/ 1104675 h 2084191"/>
              <a:gd name="connsiteX504" fmla="*/ 1724535 w 2051041"/>
              <a:gd name="connsiteY504" fmla="*/ 1146032 h 2084191"/>
              <a:gd name="connsiteX505" fmla="*/ 1683178 w 2051041"/>
              <a:gd name="connsiteY505" fmla="*/ 1105764 h 2084191"/>
              <a:gd name="connsiteX506" fmla="*/ 1723447 w 2051041"/>
              <a:gd name="connsiteY506" fmla="*/ 1064406 h 2084191"/>
              <a:gd name="connsiteX507" fmla="*/ 2051041 w 2051041"/>
              <a:gd name="connsiteY507" fmla="*/ 1063318 h 2084191"/>
              <a:gd name="connsiteX508" fmla="*/ 2051041 w 2051041"/>
              <a:gd name="connsiteY508" fmla="*/ 1147740 h 2084191"/>
              <a:gd name="connsiteX509" fmla="*/ 2049952 w 2051041"/>
              <a:gd name="connsiteY509" fmla="*/ 1148210 h 2084191"/>
              <a:gd name="connsiteX510" fmla="*/ 2008051 w 2051041"/>
              <a:gd name="connsiteY510" fmla="*/ 1105764 h 2084191"/>
              <a:gd name="connsiteX511" fmla="*/ 2051041 w 2051041"/>
              <a:gd name="connsiteY511" fmla="*/ 1063318 h 2084191"/>
              <a:gd name="connsiteX512" fmla="*/ 1887787 w 2051041"/>
              <a:gd name="connsiteY512" fmla="*/ 1062773 h 2084191"/>
              <a:gd name="connsiteX513" fmla="*/ 1929145 w 2051041"/>
              <a:gd name="connsiteY513" fmla="*/ 1105763 h 2084191"/>
              <a:gd name="connsiteX514" fmla="*/ 1886699 w 2051041"/>
              <a:gd name="connsiteY514" fmla="*/ 1147665 h 2084191"/>
              <a:gd name="connsiteX515" fmla="*/ 1844798 w 2051041"/>
              <a:gd name="connsiteY515" fmla="*/ 1105219 h 2084191"/>
              <a:gd name="connsiteX516" fmla="*/ 1887787 w 2051041"/>
              <a:gd name="connsiteY516" fmla="*/ 1062773 h 2084191"/>
              <a:gd name="connsiteX517" fmla="*/ 335798 w 2051041"/>
              <a:gd name="connsiteY517" fmla="*/ 1011621 h 2084191"/>
              <a:gd name="connsiteX518" fmla="*/ 348314 w 2051041"/>
              <a:gd name="connsiteY518" fmla="*/ 1023049 h 2084191"/>
              <a:gd name="connsiteX519" fmla="*/ 336886 w 2051041"/>
              <a:gd name="connsiteY519" fmla="*/ 1036109 h 2084191"/>
              <a:gd name="connsiteX520" fmla="*/ 324370 w 2051041"/>
              <a:gd name="connsiteY520" fmla="*/ 1024681 h 2084191"/>
              <a:gd name="connsiteX521" fmla="*/ 335798 w 2051041"/>
              <a:gd name="connsiteY521" fmla="*/ 1011621 h 2084191"/>
              <a:gd name="connsiteX522" fmla="*/ 499051 w 2051041"/>
              <a:gd name="connsiteY522" fmla="*/ 1002914 h 2084191"/>
              <a:gd name="connsiteX523" fmla="*/ 520818 w 2051041"/>
              <a:gd name="connsiteY523" fmla="*/ 1024137 h 2084191"/>
              <a:gd name="connsiteX524" fmla="*/ 499595 w 2051041"/>
              <a:gd name="connsiteY524" fmla="*/ 1045360 h 2084191"/>
              <a:gd name="connsiteX525" fmla="*/ 478372 w 2051041"/>
              <a:gd name="connsiteY525" fmla="*/ 1024137 h 2084191"/>
              <a:gd name="connsiteX526" fmla="*/ 499051 w 2051041"/>
              <a:gd name="connsiteY526" fmla="*/ 1002914 h 2084191"/>
              <a:gd name="connsiteX527" fmla="*/ 663392 w 2051041"/>
              <a:gd name="connsiteY527" fmla="*/ 997473 h 2084191"/>
              <a:gd name="connsiteX528" fmla="*/ 688424 w 2051041"/>
              <a:gd name="connsiteY528" fmla="*/ 1024138 h 2084191"/>
              <a:gd name="connsiteX529" fmla="*/ 661759 w 2051041"/>
              <a:gd name="connsiteY529" fmla="*/ 1050258 h 2084191"/>
              <a:gd name="connsiteX530" fmla="*/ 636727 w 2051041"/>
              <a:gd name="connsiteY530" fmla="*/ 1023593 h 2084191"/>
              <a:gd name="connsiteX531" fmla="*/ 663392 w 2051041"/>
              <a:gd name="connsiteY531" fmla="*/ 997473 h 2084191"/>
              <a:gd name="connsiteX532" fmla="*/ 826645 w 2051041"/>
              <a:gd name="connsiteY532" fmla="*/ 995840 h 2084191"/>
              <a:gd name="connsiteX533" fmla="*/ 854942 w 2051041"/>
              <a:gd name="connsiteY533" fmla="*/ 1024137 h 2084191"/>
              <a:gd name="connsiteX534" fmla="*/ 825557 w 2051041"/>
              <a:gd name="connsiteY534" fmla="*/ 1052978 h 2084191"/>
              <a:gd name="connsiteX535" fmla="*/ 797260 w 2051041"/>
              <a:gd name="connsiteY535" fmla="*/ 1023593 h 2084191"/>
              <a:gd name="connsiteX536" fmla="*/ 826645 w 2051041"/>
              <a:gd name="connsiteY536" fmla="*/ 995840 h 2084191"/>
              <a:gd name="connsiteX537" fmla="*/ 990441 w 2051041"/>
              <a:gd name="connsiteY537" fmla="*/ 990942 h 2084191"/>
              <a:gd name="connsiteX538" fmla="*/ 1022548 w 2051041"/>
              <a:gd name="connsiteY538" fmla="*/ 1025225 h 2084191"/>
              <a:gd name="connsiteX539" fmla="*/ 988809 w 2051041"/>
              <a:gd name="connsiteY539" fmla="*/ 1056787 h 2084191"/>
              <a:gd name="connsiteX540" fmla="*/ 956702 w 2051041"/>
              <a:gd name="connsiteY540" fmla="*/ 1023593 h 2084191"/>
              <a:gd name="connsiteX541" fmla="*/ 990441 w 2051041"/>
              <a:gd name="connsiteY541" fmla="*/ 990942 h 2084191"/>
              <a:gd name="connsiteX542" fmla="*/ 1150974 w 2051041"/>
              <a:gd name="connsiteY542" fmla="*/ 987678 h 2084191"/>
              <a:gd name="connsiteX543" fmla="*/ 1189610 w 2051041"/>
              <a:gd name="connsiteY543" fmla="*/ 1023593 h 2084191"/>
              <a:gd name="connsiteX544" fmla="*/ 1152062 w 2051041"/>
              <a:gd name="connsiteY544" fmla="*/ 1061685 h 2084191"/>
              <a:gd name="connsiteX545" fmla="*/ 1115058 w 2051041"/>
              <a:gd name="connsiteY545" fmla="*/ 1024682 h 2084191"/>
              <a:gd name="connsiteX546" fmla="*/ 1150974 w 2051041"/>
              <a:gd name="connsiteY546" fmla="*/ 987678 h 2084191"/>
              <a:gd name="connsiteX547" fmla="*/ 1315314 w 2051041"/>
              <a:gd name="connsiteY547" fmla="*/ 985501 h 2084191"/>
              <a:gd name="connsiteX548" fmla="*/ 1354495 w 2051041"/>
              <a:gd name="connsiteY548" fmla="*/ 1023593 h 2084191"/>
              <a:gd name="connsiteX549" fmla="*/ 1315858 w 2051041"/>
              <a:gd name="connsiteY549" fmla="*/ 1062230 h 2084191"/>
              <a:gd name="connsiteX550" fmla="*/ 1277222 w 2051041"/>
              <a:gd name="connsiteY550" fmla="*/ 1024137 h 2084191"/>
              <a:gd name="connsiteX551" fmla="*/ 1315314 w 2051041"/>
              <a:gd name="connsiteY551" fmla="*/ 985501 h 2084191"/>
              <a:gd name="connsiteX552" fmla="*/ 1479656 w 2051041"/>
              <a:gd name="connsiteY552" fmla="*/ 984412 h 2084191"/>
              <a:gd name="connsiteX553" fmla="*/ 1519380 w 2051041"/>
              <a:gd name="connsiteY553" fmla="*/ 1025225 h 2084191"/>
              <a:gd name="connsiteX554" fmla="*/ 1478567 w 2051041"/>
              <a:gd name="connsiteY554" fmla="*/ 1063318 h 2084191"/>
              <a:gd name="connsiteX555" fmla="*/ 1439387 w 2051041"/>
              <a:gd name="connsiteY555" fmla="*/ 1023593 h 2084191"/>
              <a:gd name="connsiteX556" fmla="*/ 1479656 w 2051041"/>
              <a:gd name="connsiteY556" fmla="*/ 984412 h 2084191"/>
              <a:gd name="connsiteX557" fmla="*/ 1641820 w 2051041"/>
              <a:gd name="connsiteY557" fmla="*/ 981691 h 2084191"/>
              <a:gd name="connsiteX558" fmla="*/ 1684810 w 2051041"/>
              <a:gd name="connsiteY558" fmla="*/ 1023592 h 2084191"/>
              <a:gd name="connsiteX559" fmla="*/ 1642909 w 2051041"/>
              <a:gd name="connsiteY559" fmla="*/ 1066038 h 2084191"/>
              <a:gd name="connsiteX560" fmla="*/ 1599919 w 2051041"/>
              <a:gd name="connsiteY560" fmla="*/ 1023592 h 2084191"/>
              <a:gd name="connsiteX561" fmla="*/ 1641820 w 2051041"/>
              <a:gd name="connsiteY561" fmla="*/ 981691 h 2084191"/>
              <a:gd name="connsiteX562" fmla="*/ 1806161 w 2051041"/>
              <a:gd name="connsiteY562" fmla="*/ 980603 h 2084191"/>
              <a:gd name="connsiteX563" fmla="*/ 1849151 w 2051041"/>
              <a:gd name="connsiteY563" fmla="*/ 1023592 h 2084191"/>
              <a:gd name="connsiteX564" fmla="*/ 1805617 w 2051041"/>
              <a:gd name="connsiteY564" fmla="*/ 1067127 h 2084191"/>
              <a:gd name="connsiteX565" fmla="*/ 1762083 w 2051041"/>
              <a:gd name="connsiteY565" fmla="*/ 1023592 h 2084191"/>
              <a:gd name="connsiteX566" fmla="*/ 1806161 w 2051041"/>
              <a:gd name="connsiteY566" fmla="*/ 980603 h 2084191"/>
              <a:gd name="connsiteX567" fmla="*/ 1969414 w 2051041"/>
              <a:gd name="connsiteY567" fmla="*/ 980059 h 2084191"/>
              <a:gd name="connsiteX568" fmla="*/ 2012404 w 2051041"/>
              <a:gd name="connsiteY568" fmla="*/ 1024137 h 2084191"/>
              <a:gd name="connsiteX569" fmla="*/ 1968870 w 2051041"/>
              <a:gd name="connsiteY569" fmla="*/ 1067127 h 2084191"/>
              <a:gd name="connsiteX570" fmla="*/ 1924792 w 2051041"/>
              <a:gd name="connsiteY570" fmla="*/ 1024137 h 2084191"/>
              <a:gd name="connsiteX571" fmla="*/ 1969414 w 2051041"/>
              <a:gd name="connsiteY571" fmla="*/ 980059 h 2084191"/>
              <a:gd name="connsiteX572" fmla="*/ 254171 w 2051041"/>
              <a:gd name="connsiteY572" fmla="*/ 931083 h 2084191"/>
              <a:gd name="connsiteX573" fmla="*/ 265599 w 2051041"/>
              <a:gd name="connsiteY573" fmla="*/ 941967 h 2084191"/>
              <a:gd name="connsiteX574" fmla="*/ 254171 w 2051041"/>
              <a:gd name="connsiteY574" fmla="*/ 952850 h 2084191"/>
              <a:gd name="connsiteX575" fmla="*/ 243832 w 2051041"/>
              <a:gd name="connsiteY575" fmla="*/ 941967 h 2084191"/>
              <a:gd name="connsiteX576" fmla="*/ 254171 w 2051041"/>
              <a:gd name="connsiteY576" fmla="*/ 931083 h 2084191"/>
              <a:gd name="connsiteX577" fmla="*/ 417968 w 2051041"/>
              <a:gd name="connsiteY577" fmla="*/ 922377 h 2084191"/>
              <a:gd name="connsiteX578" fmla="*/ 437559 w 2051041"/>
              <a:gd name="connsiteY578" fmla="*/ 942511 h 2084191"/>
              <a:gd name="connsiteX579" fmla="*/ 417968 w 2051041"/>
              <a:gd name="connsiteY579" fmla="*/ 961557 h 2084191"/>
              <a:gd name="connsiteX580" fmla="*/ 397834 w 2051041"/>
              <a:gd name="connsiteY580" fmla="*/ 941423 h 2084191"/>
              <a:gd name="connsiteX581" fmla="*/ 417968 w 2051041"/>
              <a:gd name="connsiteY581" fmla="*/ 922377 h 2084191"/>
              <a:gd name="connsiteX582" fmla="*/ 581222 w 2051041"/>
              <a:gd name="connsiteY582" fmla="*/ 916934 h 2084191"/>
              <a:gd name="connsiteX583" fmla="*/ 606798 w 2051041"/>
              <a:gd name="connsiteY583" fmla="*/ 943054 h 2084191"/>
              <a:gd name="connsiteX584" fmla="*/ 581222 w 2051041"/>
              <a:gd name="connsiteY584" fmla="*/ 967542 h 2084191"/>
              <a:gd name="connsiteX585" fmla="*/ 556190 w 2051041"/>
              <a:gd name="connsiteY585" fmla="*/ 943054 h 2084191"/>
              <a:gd name="connsiteX586" fmla="*/ 581222 w 2051041"/>
              <a:gd name="connsiteY586" fmla="*/ 916934 h 2084191"/>
              <a:gd name="connsiteX587" fmla="*/ 744474 w 2051041"/>
              <a:gd name="connsiteY587" fmla="*/ 913669 h 2084191"/>
              <a:gd name="connsiteX588" fmla="*/ 773315 w 2051041"/>
              <a:gd name="connsiteY588" fmla="*/ 942510 h 2084191"/>
              <a:gd name="connsiteX589" fmla="*/ 743930 w 2051041"/>
              <a:gd name="connsiteY589" fmla="*/ 970807 h 2084191"/>
              <a:gd name="connsiteX590" fmla="*/ 716177 w 2051041"/>
              <a:gd name="connsiteY590" fmla="*/ 941966 h 2084191"/>
              <a:gd name="connsiteX591" fmla="*/ 744474 w 2051041"/>
              <a:gd name="connsiteY591" fmla="*/ 913669 h 2084191"/>
              <a:gd name="connsiteX592" fmla="*/ 908271 w 2051041"/>
              <a:gd name="connsiteY592" fmla="*/ 908772 h 2084191"/>
              <a:gd name="connsiteX593" fmla="*/ 940377 w 2051041"/>
              <a:gd name="connsiteY593" fmla="*/ 944144 h 2084191"/>
              <a:gd name="connsiteX594" fmla="*/ 906094 w 2051041"/>
              <a:gd name="connsiteY594" fmla="*/ 975162 h 2084191"/>
              <a:gd name="connsiteX595" fmla="*/ 874532 w 2051041"/>
              <a:gd name="connsiteY595" fmla="*/ 940879 h 2084191"/>
              <a:gd name="connsiteX596" fmla="*/ 908271 w 2051041"/>
              <a:gd name="connsiteY596" fmla="*/ 908772 h 2084191"/>
              <a:gd name="connsiteX597" fmla="*/ 1072068 w 2051041"/>
              <a:gd name="connsiteY597" fmla="*/ 906051 h 2084191"/>
              <a:gd name="connsiteX598" fmla="*/ 1107984 w 2051041"/>
              <a:gd name="connsiteY598" fmla="*/ 942511 h 2084191"/>
              <a:gd name="connsiteX599" fmla="*/ 1070980 w 2051041"/>
              <a:gd name="connsiteY599" fmla="*/ 979515 h 2084191"/>
              <a:gd name="connsiteX600" fmla="*/ 1034520 w 2051041"/>
              <a:gd name="connsiteY600" fmla="*/ 942511 h 2084191"/>
              <a:gd name="connsiteX601" fmla="*/ 1072068 w 2051041"/>
              <a:gd name="connsiteY601" fmla="*/ 906051 h 2084191"/>
              <a:gd name="connsiteX602" fmla="*/ 1235321 w 2051041"/>
              <a:gd name="connsiteY602" fmla="*/ 903874 h 2084191"/>
              <a:gd name="connsiteX603" fmla="*/ 1272325 w 2051041"/>
              <a:gd name="connsiteY603" fmla="*/ 943054 h 2084191"/>
              <a:gd name="connsiteX604" fmla="*/ 1233688 w 2051041"/>
              <a:gd name="connsiteY604" fmla="*/ 981147 h 2084191"/>
              <a:gd name="connsiteX605" fmla="*/ 1195596 w 2051041"/>
              <a:gd name="connsiteY605" fmla="*/ 940878 h 2084191"/>
              <a:gd name="connsiteX606" fmla="*/ 1235321 w 2051041"/>
              <a:gd name="connsiteY606" fmla="*/ 903874 h 2084191"/>
              <a:gd name="connsiteX607" fmla="*/ 1397486 w 2051041"/>
              <a:gd name="connsiteY607" fmla="*/ 901153 h 2084191"/>
              <a:gd name="connsiteX608" fmla="*/ 1438299 w 2051041"/>
              <a:gd name="connsiteY608" fmla="*/ 942511 h 2084191"/>
              <a:gd name="connsiteX609" fmla="*/ 1396941 w 2051041"/>
              <a:gd name="connsiteY609" fmla="*/ 983324 h 2084191"/>
              <a:gd name="connsiteX610" fmla="*/ 1356128 w 2051041"/>
              <a:gd name="connsiteY610" fmla="*/ 941967 h 2084191"/>
              <a:gd name="connsiteX611" fmla="*/ 1397486 w 2051041"/>
              <a:gd name="connsiteY611" fmla="*/ 901153 h 2084191"/>
              <a:gd name="connsiteX612" fmla="*/ 1560738 w 2051041"/>
              <a:gd name="connsiteY612" fmla="*/ 898977 h 2084191"/>
              <a:gd name="connsiteX613" fmla="*/ 1603728 w 2051041"/>
              <a:gd name="connsiteY613" fmla="*/ 942511 h 2084191"/>
              <a:gd name="connsiteX614" fmla="*/ 1560738 w 2051041"/>
              <a:gd name="connsiteY614" fmla="*/ 985501 h 2084191"/>
              <a:gd name="connsiteX615" fmla="*/ 1517204 w 2051041"/>
              <a:gd name="connsiteY615" fmla="*/ 941423 h 2084191"/>
              <a:gd name="connsiteX616" fmla="*/ 1560738 w 2051041"/>
              <a:gd name="connsiteY616" fmla="*/ 898977 h 2084191"/>
              <a:gd name="connsiteX617" fmla="*/ 1723990 w 2051041"/>
              <a:gd name="connsiteY617" fmla="*/ 897888 h 2084191"/>
              <a:gd name="connsiteX618" fmla="*/ 1768069 w 2051041"/>
              <a:gd name="connsiteY618" fmla="*/ 942510 h 2084191"/>
              <a:gd name="connsiteX619" fmla="*/ 1723990 w 2051041"/>
              <a:gd name="connsiteY619" fmla="*/ 986589 h 2084191"/>
              <a:gd name="connsiteX620" fmla="*/ 1679912 w 2051041"/>
              <a:gd name="connsiteY620" fmla="*/ 941422 h 2084191"/>
              <a:gd name="connsiteX621" fmla="*/ 1723990 w 2051041"/>
              <a:gd name="connsiteY621" fmla="*/ 897888 h 2084191"/>
              <a:gd name="connsiteX622" fmla="*/ 2050497 w 2051041"/>
              <a:gd name="connsiteY622" fmla="*/ 897344 h 2084191"/>
              <a:gd name="connsiteX623" fmla="*/ 2051041 w 2051041"/>
              <a:gd name="connsiteY623" fmla="*/ 897453 h 2084191"/>
              <a:gd name="connsiteX624" fmla="*/ 2051041 w 2051041"/>
              <a:gd name="connsiteY624" fmla="*/ 986917 h 2084191"/>
              <a:gd name="connsiteX625" fmla="*/ 2049952 w 2051041"/>
              <a:gd name="connsiteY625" fmla="*/ 987133 h 2084191"/>
              <a:gd name="connsiteX626" fmla="*/ 2005330 w 2051041"/>
              <a:gd name="connsiteY626" fmla="*/ 941422 h 2084191"/>
              <a:gd name="connsiteX627" fmla="*/ 2050497 w 2051041"/>
              <a:gd name="connsiteY627" fmla="*/ 897344 h 2084191"/>
              <a:gd name="connsiteX628" fmla="*/ 1887243 w 2051041"/>
              <a:gd name="connsiteY628" fmla="*/ 897344 h 2084191"/>
              <a:gd name="connsiteX629" fmla="*/ 1931866 w 2051041"/>
              <a:gd name="connsiteY629" fmla="*/ 942511 h 2084191"/>
              <a:gd name="connsiteX630" fmla="*/ 1887243 w 2051041"/>
              <a:gd name="connsiteY630" fmla="*/ 986589 h 2084191"/>
              <a:gd name="connsiteX631" fmla="*/ 1843165 w 2051041"/>
              <a:gd name="connsiteY631" fmla="*/ 941422 h 2084191"/>
              <a:gd name="connsiteX632" fmla="*/ 1887243 w 2051041"/>
              <a:gd name="connsiteY632" fmla="*/ 897344 h 2084191"/>
              <a:gd name="connsiteX633" fmla="*/ 172545 w 2051041"/>
              <a:gd name="connsiteY633" fmla="*/ 854354 h 2084191"/>
              <a:gd name="connsiteX634" fmla="*/ 179619 w 2051041"/>
              <a:gd name="connsiteY634" fmla="*/ 860884 h 2084191"/>
              <a:gd name="connsiteX635" fmla="*/ 173634 w 2051041"/>
              <a:gd name="connsiteY635" fmla="*/ 866870 h 2084191"/>
              <a:gd name="connsiteX636" fmla="*/ 166015 w 2051041"/>
              <a:gd name="connsiteY636" fmla="*/ 861973 h 2084191"/>
              <a:gd name="connsiteX637" fmla="*/ 172545 w 2051041"/>
              <a:gd name="connsiteY637" fmla="*/ 854354 h 2084191"/>
              <a:gd name="connsiteX638" fmla="*/ 336342 w 2051041"/>
              <a:gd name="connsiteY638" fmla="*/ 843471 h 2084191"/>
              <a:gd name="connsiteX639" fmla="*/ 353211 w 2051041"/>
              <a:gd name="connsiteY639" fmla="*/ 860340 h 2084191"/>
              <a:gd name="connsiteX640" fmla="*/ 336886 w 2051041"/>
              <a:gd name="connsiteY640" fmla="*/ 877210 h 2084191"/>
              <a:gd name="connsiteX641" fmla="*/ 320017 w 2051041"/>
              <a:gd name="connsiteY641" fmla="*/ 860884 h 2084191"/>
              <a:gd name="connsiteX642" fmla="*/ 336342 w 2051041"/>
              <a:gd name="connsiteY642" fmla="*/ 843471 h 2084191"/>
              <a:gd name="connsiteX643" fmla="*/ 500139 w 2051041"/>
              <a:gd name="connsiteY643" fmla="*/ 837485 h 2084191"/>
              <a:gd name="connsiteX644" fmla="*/ 522994 w 2051041"/>
              <a:gd name="connsiteY644" fmla="*/ 861428 h 2084191"/>
              <a:gd name="connsiteX645" fmla="*/ 499595 w 2051041"/>
              <a:gd name="connsiteY645" fmla="*/ 884284 h 2084191"/>
              <a:gd name="connsiteX646" fmla="*/ 476739 w 2051041"/>
              <a:gd name="connsiteY646" fmla="*/ 860340 h 2084191"/>
              <a:gd name="connsiteX647" fmla="*/ 500139 w 2051041"/>
              <a:gd name="connsiteY647" fmla="*/ 837485 h 2084191"/>
              <a:gd name="connsiteX648" fmla="*/ 662848 w 2051041"/>
              <a:gd name="connsiteY648" fmla="*/ 832587 h 2084191"/>
              <a:gd name="connsiteX649" fmla="*/ 690057 w 2051041"/>
              <a:gd name="connsiteY649" fmla="*/ 860340 h 2084191"/>
              <a:gd name="connsiteX650" fmla="*/ 662848 w 2051041"/>
              <a:gd name="connsiteY650" fmla="*/ 888637 h 2084191"/>
              <a:gd name="connsiteX651" fmla="*/ 634551 w 2051041"/>
              <a:gd name="connsiteY651" fmla="*/ 861428 h 2084191"/>
              <a:gd name="connsiteX652" fmla="*/ 662848 w 2051041"/>
              <a:gd name="connsiteY652" fmla="*/ 832587 h 2084191"/>
              <a:gd name="connsiteX653" fmla="*/ 826101 w 2051041"/>
              <a:gd name="connsiteY653" fmla="*/ 827146 h 2084191"/>
              <a:gd name="connsiteX654" fmla="*/ 859295 w 2051041"/>
              <a:gd name="connsiteY654" fmla="*/ 860885 h 2084191"/>
              <a:gd name="connsiteX655" fmla="*/ 825556 w 2051041"/>
              <a:gd name="connsiteY655" fmla="*/ 892991 h 2084191"/>
              <a:gd name="connsiteX656" fmla="*/ 793450 w 2051041"/>
              <a:gd name="connsiteY656" fmla="*/ 860885 h 2084191"/>
              <a:gd name="connsiteX657" fmla="*/ 826101 w 2051041"/>
              <a:gd name="connsiteY657" fmla="*/ 827146 h 2084191"/>
              <a:gd name="connsiteX658" fmla="*/ 988809 w 2051041"/>
              <a:gd name="connsiteY658" fmla="*/ 824424 h 2084191"/>
              <a:gd name="connsiteX659" fmla="*/ 1025813 w 2051041"/>
              <a:gd name="connsiteY659" fmla="*/ 860339 h 2084191"/>
              <a:gd name="connsiteX660" fmla="*/ 989897 w 2051041"/>
              <a:gd name="connsiteY660" fmla="*/ 897344 h 2084191"/>
              <a:gd name="connsiteX661" fmla="*/ 953437 w 2051041"/>
              <a:gd name="connsiteY661" fmla="*/ 861972 h 2084191"/>
              <a:gd name="connsiteX662" fmla="*/ 988809 w 2051041"/>
              <a:gd name="connsiteY662" fmla="*/ 824424 h 2084191"/>
              <a:gd name="connsiteX663" fmla="*/ 1153695 w 2051041"/>
              <a:gd name="connsiteY663" fmla="*/ 821704 h 2084191"/>
              <a:gd name="connsiteX664" fmla="*/ 1191243 w 2051041"/>
              <a:gd name="connsiteY664" fmla="*/ 861429 h 2084191"/>
              <a:gd name="connsiteX665" fmla="*/ 1152606 w 2051041"/>
              <a:gd name="connsiteY665" fmla="*/ 899521 h 2084191"/>
              <a:gd name="connsiteX666" fmla="*/ 1114514 w 2051041"/>
              <a:gd name="connsiteY666" fmla="*/ 859252 h 2084191"/>
              <a:gd name="connsiteX667" fmla="*/ 1153695 w 2051041"/>
              <a:gd name="connsiteY667" fmla="*/ 821704 h 2084191"/>
              <a:gd name="connsiteX668" fmla="*/ 1316403 w 2051041"/>
              <a:gd name="connsiteY668" fmla="*/ 818982 h 2084191"/>
              <a:gd name="connsiteX669" fmla="*/ 1357216 w 2051041"/>
              <a:gd name="connsiteY669" fmla="*/ 860884 h 2084191"/>
              <a:gd name="connsiteX670" fmla="*/ 1315315 w 2051041"/>
              <a:gd name="connsiteY670" fmla="*/ 901697 h 2084191"/>
              <a:gd name="connsiteX671" fmla="*/ 1274501 w 2051041"/>
              <a:gd name="connsiteY671" fmla="*/ 860340 h 2084191"/>
              <a:gd name="connsiteX672" fmla="*/ 1316403 w 2051041"/>
              <a:gd name="connsiteY672" fmla="*/ 818982 h 2084191"/>
              <a:gd name="connsiteX673" fmla="*/ 1479112 w 2051041"/>
              <a:gd name="connsiteY673" fmla="*/ 816806 h 2084191"/>
              <a:gd name="connsiteX674" fmla="*/ 1522646 w 2051041"/>
              <a:gd name="connsiteY674" fmla="*/ 860340 h 2084191"/>
              <a:gd name="connsiteX675" fmla="*/ 1479656 w 2051041"/>
              <a:gd name="connsiteY675" fmla="*/ 904419 h 2084191"/>
              <a:gd name="connsiteX676" fmla="*/ 1435578 w 2051041"/>
              <a:gd name="connsiteY676" fmla="*/ 860884 h 2084191"/>
              <a:gd name="connsiteX677" fmla="*/ 1479112 w 2051041"/>
              <a:gd name="connsiteY677" fmla="*/ 816806 h 2084191"/>
              <a:gd name="connsiteX678" fmla="*/ 1642909 w 2051041"/>
              <a:gd name="connsiteY678" fmla="*/ 815718 h 2084191"/>
              <a:gd name="connsiteX679" fmla="*/ 1686987 w 2051041"/>
              <a:gd name="connsiteY679" fmla="*/ 860885 h 2084191"/>
              <a:gd name="connsiteX680" fmla="*/ 1641276 w 2051041"/>
              <a:gd name="connsiteY680" fmla="*/ 905507 h 2084191"/>
              <a:gd name="connsiteX681" fmla="*/ 1597742 w 2051041"/>
              <a:gd name="connsiteY681" fmla="*/ 860340 h 2084191"/>
              <a:gd name="connsiteX682" fmla="*/ 1642909 w 2051041"/>
              <a:gd name="connsiteY682" fmla="*/ 815718 h 2084191"/>
              <a:gd name="connsiteX683" fmla="*/ 1806161 w 2051041"/>
              <a:gd name="connsiteY683" fmla="*/ 815173 h 2084191"/>
              <a:gd name="connsiteX684" fmla="*/ 1852416 w 2051041"/>
              <a:gd name="connsiteY684" fmla="*/ 860884 h 2084191"/>
              <a:gd name="connsiteX685" fmla="*/ 1805617 w 2051041"/>
              <a:gd name="connsiteY685" fmla="*/ 906594 h 2084191"/>
              <a:gd name="connsiteX686" fmla="*/ 1759906 w 2051041"/>
              <a:gd name="connsiteY686" fmla="*/ 860884 h 2084191"/>
              <a:gd name="connsiteX687" fmla="*/ 1806161 w 2051041"/>
              <a:gd name="connsiteY687" fmla="*/ 815173 h 2084191"/>
              <a:gd name="connsiteX688" fmla="*/ 1968326 w 2051041"/>
              <a:gd name="connsiteY688" fmla="*/ 812453 h 2084191"/>
              <a:gd name="connsiteX689" fmla="*/ 2000977 w 2051041"/>
              <a:gd name="connsiteY689" fmla="*/ 826057 h 2084191"/>
              <a:gd name="connsiteX690" fmla="*/ 2015670 w 2051041"/>
              <a:gd name="connsiteY690" fmla="*/ 859796 h 2084191"/>
              <a:gd name="connsiteX691" fmla="*/ 1969415 w 2051041"/>
              <a:gd name="connsiteY691" fmla="*/ 907684 h 2084191"/>
              <a:gd name="connsiteX692" fmla="*/ 1922071 w 2051041"/>
              <a:gd name="connsiteY692" fmla="*/ 860885 h 2084191"/>
              <a:gd name="connsiteX693" fmla="*/ 1968326 w 2051041"/>
              <a:gd name="connsiteY693" fmla="*/ 812453 h 2084191"/>
              <a:gd name="connsiteX694" fmla="*/ 255260 w 2051041"/>
              <a:gd name="connsiteY694" fmla="*/ 762932 h 2084191"/>
              <a:gd name="connsiteX695" fmla="*/ 270497 w 2051041"/>
              <a:gd name="connsiteY695" fmla="*/ 779802 h 2084191"/>
              <a:gd name="connsiteX696" fmla="*/ 254172 w 2051041"/>
              <a:gd name="connsiteY696" fmla="*/ 795038 h 2084191"/>
              <a:gd name="connsiteX697" fmla="*/ 238935 w 2051041"/>
              <a:gd name="connsiteY697" fmla="*/ 778713 h 2084191"/>
              <a:gd name="connsiteX698" fmla="*/ 255260 w 2051041"/>
              <a:gd name="connsiteY698" fmla="*/ 762932 h 2084191"/>
              <a:gd name="connsiteX699" fmla="*/ 416881 w 2051041"/>
              <a:gd name="connsiteY699" fmla="*/ 756402 h 2084191"/>
              <a:gd name="connsiteX700" fmla="*/ 440280 w 2051041"/>
              <a:gd name="connsiteY700" fmla="*/ 778713 h 2084191"/>
              <a:gd name="connsiteX701" fmla="*/ 419057 w 2051041"/>
              <a:gd name="connsiteY701" fmla="*/ 801024 h 2084191"/>
              <a:gd name="connsiteX702" fmla="*/ 396202 w 2051041"/>
              <a:gd name="connsiteY702" fmla="*/ 779257 h 2084191"/>
              <a:gd name="connsiteX703" fmla="*/ 416881 w 2051041"/>
              <a:gd name="connsiteY703" fmla="*/ 756402 h 2084191"/>
              <a:gd name="connsiteX704" fmla="*/ 581766 w 2051041"/>
              <a:gd name="connsiteY704" fmla="*/ 751505 h 2084191"/>
              <a:gd name="connsiteX705" fmla="*/ 608975 w 2051041"/>
              <a:gd name="connsiteY705" fmla="*/ 779802 h 2084191"/>
              <a:gd name="connsiteX706" fmla="*/ 580678 w 2051041"/>
              <a:gd name="connsiteY706" fmla="*/ 806467 h 2084191"/>
              <a:gd name="connsiteX707" fmla="*/ 553469 w 2051041"/>
              <a:gd name="connsiteY707" fmla="*/ 778714 h 2084191"/>
              <a:gd name="connsiteX708" fmla="*/ 581766 w 2051041"/>
              <a:gd name="connsiteY708" fmla="*/ 751505 h 2084191"/>
              <a:gd name="connsiteX709" fmla="*/ 746107 w 2051041"/>
              <a:gd name="connsiteY709" fmla="*/ 746607 h 2084191"/>
              <a:gd name="connsiteX710" fmla="*/ 777125 w 2051041"/>
              <a:gd name="connsiteY710" fmla="*/ 780346 h 2084191"/>
              <a:gd name="connsiteX711" fmla="*/ 742842 w 2051041"/>
              <a:gd name="connsiteY711" fmla="*/ 811364 h 2084191"/>
              <a:gd name="connsiteX712" fmla="*/ 712368 w 2051041"/>
              <a:gd name="connsiteY712" fmla="*/ 778713 h 2084191"/>
              <a:gd name="connsiteX713" fmla="*/ 746107 w 2051041"/>
              <a:gd name="connsiteY713" fmla="*/ 746607 h 2084191"/>
              <a:gd name="connsiteX714" fmla="*/ 907727 w 2051041"/>
              <a:gd name="connsiteY714" fmla="*/ 741710 h 2084191"/>
              <a:gd name="connsiteX715" fmla="*/ 944187 w 2051041"/>
              <a:gd name="connsiteY715" fmla="*/ 778714 h 2084191"/>
              <a:gd name="connsiteX716" fmla="*/ 907727 w 2051041"/>
              <a:gd name="connsiteY716" fmla="*/ 815174 h 2084191"/>
              <a:gd name="connsiteX717" fmla="*/ 872355 w 2051041"/>
              <a:gd name="connsiteY717" fmla="*/ 779258 h 2084191"/>
              <a:gd name="connsiteX718" fmla="*/ 907727 w 2051041"/>
              <a:gd name="connsiteY718" fmla="*/ 741710 h 2084191"/>
              <a:gd name="connsiteX719" fmla="*/ 1070979 w 2051041"/>
              <a:gd name="connsiteY719" fmla="*/ 740621 h 2084191"/>
              <a:gd name="connsiteX720" fmla="*/ 1110160 w 2051041"/>
              <a:gd name="connsiteY720" fmla="*/ 779258 h 2084191"/>
              <a:gd name="connsiteX721" fmla="*/ 1070979 w 2051041"/>
              <a:gd name="connsiteY721" fmla="*/ 817894 h 2084191"/>
              <a:gd name="connsiteX722" fmla="*/ 1031799 w 2051041"/>
              <a:gd name="connsiteY722" fmla="*/ 778714 h 2084191"/>
              <a:gd name="connsiteX723" fmla="*/ 1070979 w 2051041"/>
              <a:gd name="connsiteY723" fmla="*/ 740621 h 2084191"/>
              <a:gd name="connsiteX724" fmla="*/ 1233688 w 2051041"/>
              <a:gd name="connsiteY724" fmla="*/ 736268 h 2084191"/>
              <a:gd name="connsiteX725" fmla="*/ 1276134 w 2051041"/>
              <a:gd name="connsiteY725" fmla="*/ 777625 h 2084191"/>
              <a:gd name="connsiteX726" fmla="*/ 1235320 w 2051041"/>
              <a:gd name="connsiteY726" fmla="*/ 820615 h 2084191"/>
              <a:gd name="connsiteX727" fmla="*/ 1192331 w 2051041"/>
              <a:gd name="connsiteY727" fmla="*/ 779258 h 2084191"/>
              <a:gd name="connsiteX728" fmla="*/ 1233688 w 2051041"/>
              <a:gd name="connsiteY728" fmla="*/ 736268 h 2084191"/>
              <a:gd name="connsiteX729" fmla="*/ 1397485 w 2051041"/>
              <a:gd name="connsiteY729" fmla="*/ 735724 h 2084191"/>
              <a:gd name="connsiteX730" fmla="*/ 1441019 w 2051041"/>
              <a:gd name="connsiteY730" fmla="*/ 779802 h 2084191"/>
              <a:gd name="connsiteX731" fmla="*/ 1396397 w 2051041"/>
              <a:gd name="connsiteY731" fmla="*/ 823336 h 2084191"/>
              <a:gd name="connsiteX732" fmla="*/ 1352863 w 2051041"/>
              <a:gd name="connsiteY732" fmla="*/ 779258 h 2084191"/>
              <a:gd name="connsiteX733" fmla="*/ 1397485 w 2051041"/>
              <a:gd name="connsiteY733" fmla="*/ 735724 h 2084191"/>
              <a:gd name="connsiteX734" fmla="*/ 1562371 w 2051041"/>
              <a:gd name="connsiteY734" fmla="*/ 734636 h 2084191"/>
              <a:gd name="connsiteX735" fmla="*/ 1605905 w 2051041"/>
              <a:gd name="connsiteY735" fmla="*/ 779802 h 2084191"/>
              <a:gd name="connsiteX736" fmla="*/ 1560194 w 2051041"/>
              <a:gd name="connsiteY736" fmla="*/ 823881 h 2084191"/>
              <a:gd name="connsiteX737" fmla="*/ 1515572 w 2051041"/>
              <a:gd name="connsiteY737" fmla="*/ 777626 h 2084191"/>
              <a:gd name="connsiteX738" fmla="*/ 1562371 w 2051041"/>
              <a:gd name="connsiteY738" fmla="*/ 734636 h 2084191"/>
              <a:gd name="connsiteX739" fmla="*/ 1724535 w 2051041"/>
              <a:gd name="connsiteY739" fmla="*/ 730827 h 2084191"/>
              <a:gd name="connsiteX740" fmla="*/ 1772422 w 2051041"/>
              <a:gd name="connsiteY740" fmla="*/ 779258 h 2084191"/>
              <a:gd name="connsiteX741" fmla="*/ 1723446 w 2051041"/>
              <a:gd name="connsiteY741" fmla="*/ 826602 h 2084191"/>
              <a:gd name="connsiteX742" fmla="*/ 1676647 w 2051041"/>
              <a:gd name="connsiteY742" fmla="*/ 778714 h 2084191"/>
              <a:gd name="connsiteX743" fmla="*/ 1724535 w 2051041"/>
              <a:gd name="connsiteY743" fmla="*/ 730827 h 2084191"/>
              <a:gd name="connsiteX744" fmla="*/ 1886699 w 2051041"/>
              <a:gd name="connsiteY744" fmla="*/ 730826 h 2084191"/>
              <a:gd name="connsiteX745" fmla="*/ 1935131 w 2051041"/>
              <a:gd name="connsiteY745" fmla="*/ 778713 h 2084191"/>
              <a:gd name="connsiteX746" fmla="*/ 1887244 w 2051041"/>
              <a:gd name="connsiteY746" fmla="*/ 827145 h 2084191"/>
              <a:gd name="connsiteX747" fmla="*/ 1838812 w 2051041"/>
              <a:gd name="connsiteY747" fmla="*/ 778713 h 2084191"/>
              <a:gd name="connsiteX748" fmla="*/ 1886699 w 2051041"/>
              <a:gd name="connsiteY748" fmla="*/ 730826 h 2084191"/>
              <a:gd name="connsiteX749" fmla="*/ 2050496 w 2051041"/>
              <a:gd name="connsiteY749" fmla="*/ 730282 h 2084191"/>
              <a:gd name="connsiteX750" fmla="*/ 2051041 w 2051041"/>
              <a:gd name="connsiteY750" fmla="*/ 730396 h 2084191"/>
              <a:gd name="connsiteX751" fmla="*/ 2051041 w 2051041"/>
              <a:gd name="connsiteY751" fmla="*/ 826942 h 2084191"/>
              <a:gd name="connsiteX752" fmla="*/ 2049952 w 2051041"/>
              <a:gd name="connsiteY752" fmla="*/ 827145 h 2084191"/>
              <a:gd name="connsiteX753" fmla="*/ 2002065 w 2051041"/>
              <a:gd name="connsiteY753" fmla="*/ 778169 h 2084191"/>
              <a:gd name="connsiteX754" fmla="*/ 2050496 w 2051041"/>
              <a:gd name="connsiteY754" fmla="*/ 730282 h 2084191"/>
              <a:gd name="connsiteX755" fmla="*/ 173634 w 2051041"/>
              <a:gd name="connsiteY755" fmla="*/ 685660 h 2084191"/>
              <a:gd name="connsiteX756" fmla="*/ 184518 w 2051041"/>
              <a:gd name="connsiteY756" fmla="*/ 698176 h 2084191"/>
              <a:gd name="connsiteX757" fmla="*/ 172546 w 2051041"/>
              <a:gd name="connsiteY757" fmla="*/ 709059 h 2084191"/>
              <a:gd name="connsiteX758" fmla="*/ 161118 w 2051041"/>
              <a:gd name="connsiteY758" fmla="*/ 697088 h 2084191"/>
              <a:gd name="connsiteX759" fmla="*/ 173634 w 2051041"/>
              <a:gd name="connsiteY759" fmla="*/ 685660 h 2084191"/>
              <a:gd name="connsiteX760" fmla="*/ 335798 w 2051041"/>
              <a:gd name="connsiteY760" fmla="*/ 675320 h 2084191"/>
              <a:gd name="connsiteX761" fmla="*/ 357565 w 2051041"/>
              <a:gd name="connsiteY761" fmla="*/ 696543 h 2084191"/>
              <a:gd name="connsiteX762" fmla="*/ 336342 w 2051041"/>
              <a:gd name="connsiteY762" fmla="*/ 718854 h 2084191"/>
              <a:gd name="connsiteX763" fmla="*/ 315120 w 2051041"/>
              <a:gd name="connsiteY763" fmla="*/ 697631 h 2084191"/>
              <a:gd name="connsiteX764" fmla="*/ 335798 w 2051041"/>
              <a:gd name="connsiteY764" fmla="*/ 675320 h 2084191"/>
              <a:gd name="connsiteX765" fmla="*/ 499051 w 2051041"/>
              <a:gd name="connsiteY765" fmla="*/ 670423 h 2084191"/>
              <a:gd name="connsiteX766" fmla="*/ 526804 w 2051041"/>
              <a:gd name="connsiteY766" fmla="*/ 697088 h 2084191"/>
              <a:gd name="connsiteX767" fmla="*/ 499595 w 2051041"/>
              <a:gd name="connsiteY767" fmla="*/ 724296 h 2084191"/>
              <a:gd name="connsiteX768" fmla="*/ 472930 w 2051041"/>
              <a:gd name="connsiteY768" fmla="*/ 697632 h 2084191"/>
              <a:gd name="connsiteX769" fmla="*/ 499051 w 2051041"/>
              <a:gd name="connsiteY769" fmla="*/ 670423 h 2084191"/>
              <a:gd name="connsiteX770" fmla="*/ 662848 w 2051041"/>
              <a:gd name="connsiteY770" fmla="*/ 665525 h 2084191"/>
              <a:gd name="connsiteX771" fmla="*/ 694954 w 2051041"/>
              <a:gd name="connsiteY771" fmla="*/ 697087 h 2084191"/>
              <a:gd name="connsiteX772" fmla="*/ 663392 w 2051041"/>
              <a:gd name="connsiteY772" fmla="*/ 729194 h 2084191"/>
              <a:gd name="connsiteX773" fmla="*/ 632374 w 2051041"/>
              <a:gd name="connsiteY773" fmla="*/ 698176 h 2084191"/>
              <a:gd name="connsiteX774" fmla="*/ 662848 w 2051041"/>
              <a:gd name="connsiteY774" fmla="*/ 665525 h 2084191"/>
              <a:gd name="connsiteX775" fmla="*/ 825013 w 2051041"/>
              <a:gd name="connsiteY775" fmla="*/ 663349 h 2084191"/>
              <a:gd name="connsiteX776" fmla="*/ 860384 w 2051041"/>
              <a:gd name="connsiteY776" fmla="*/ 697632 h 2084191"/>
              <a:gd name="connsiteX777" fmla="*/ 826101 w 2051041"/>
              <a:gd name="connsiteY777" fmla="*/ 731915 h 2084191"/>
              <a:gd name="connsiteX778" fmla="*/ 791818 w 2051041"/>
              <a:gd name="connsiteY778" fmla="*/ 698176 h 2084191"/>
              <a:gd name="connsiteX779" fmla="*/ 825013 w 2051041"/>
              <a:gd name="connsiteY779" fmla="*/ 663349 h 2084191"/>
              <a:gd name="connsiteX780" fmla="*/ 988809 w 2051041"/>
              <a:gd name="connsiteY780" fmla="*/ 658995 h 2084191"/>
              <a:gd name="connsiteX781" fmla="*/ 1027446 w 2051041"/>
              <a:gd name="connsiteY781" fmla="*/ 697087 h 2084191"/>
              <a:gd name="connsiteX782" fmla="*/ 989353 w 2051041"/>
              <a:gd name="connsiteY782" fmla="*/ 735723 h 2084191"/>
              <a:gd name="connsiteX783" fmla="*/ 950717 w 2051041"/>
              <a:gd name="connsiteY783" fmla="*/ 697631 h 2084191"/>
              <a:gd name="connsiteX784" fmla="*/ 988809 w 2051041"/>
              <a:gd name="connsiteY784" fmla="*/ 658995 h 2084191"/>
              <a:gd name="connsiteX785" fmla="*/ 1152607 w 2051041"/>
              <a:gd name="connsiteY785" fmla="*/ 655729 h 2084191"/>
              <a:gd name="connsiteX786" fmla="*/ 1195052 w 2051041"/>
              <a:gd name="connsiteY786" fmla="*/ 697087 h 2084191"/>
              <a:gd name="connsiteX787" fmla="*/ 1153151 w 2051041"/>
              <a:gd name="connsiteY787" fmla="*/ 739533 h 2084191"/>
              <a:gd name="connsiteX788" fmla="*/ 1110705 w 2051041"/>
              <a:gd name="connsiteY788" fmla="*/ 697631 h 2084191"/>
              <a:gd name="connsiteX789" fmla="*/ 1152607 w 2051041"/>
              <a:gd name="connsiteY789" fmla="*/ 655729 h 2084191"/>
              <a:gd name="connsiteX790" fmla="*/ 1316948 w 2051041"/>
              <a:gd name="connsiteY790" fmla="*/ 653554 h 2084191"/>
              <a:gd name="connsiteX791" fmla="*/ 1359937 w 2051041"/>
              <a:gd name="connsiteY791" fmla="*/ 697632 h 2084191"/>
              <a:gd name="connsiteX792" fmla="*/ 1315315 w 2051041"/>
              <a:gd name="connsiteY792" fmla="*/ 740622 h 2084191"/>
              <a:gd name="connsiteX793" fmla="*/ 1271781 w 2051041"/>
              <a:gd name="connsiteY793" fmla="*/ 696544 h 2084191"/>
              <a:gd name="connsiteX794" fmla="*/ 1316948 w 2051041"/>
              <a:gd name="connsiteY794" fmla="*/ 653554 h 2084191"/>
              <a:gd name="connsiteX795" fmla="*/ 1479112 w 2051041"/>
              <a:gd name="connsiteY795" fmla="*/ 651921 h 2084191"/>
              <a:gd name="connsiteX796" fmla="*/ 1524823 w 2051041"/>
              <a:gd name="connsiteY796" fmla="*/ 697088 h 2084191"/>
              <a:gd name="connsiteX797" fmla="*/ 1479112 w 2051041"/>
              <a:gd name="connsiteY797" fmla="*/ 742254 h 2084191"/>
              <a:gd name="connsiteX798" fmla="*/ 1433945 w 2051041"/>
              <a:gd name="connsiteY798" fmla="*/ 697088 h 2084191"/>
              <a:gd name="connsiteX799" fmla="*/ 1479112 w 2051041"/>
              <a:gd name="connsiteY799" fmla="*/ 651921 h 2084191"/>
              <a:gd name="connsiteX800" fmla="*/ 1642909 w 2051041"/>
              <a:gd name="connsiteY800" fmla="*/ 649744 h 2084191"/>
              <a:gd name="connsiteX801" fmla="*/ 1690796 w 2051041"/>
              <a:gd name="connsiteY801" fmla="*/ 697087 h 2084191"/>
              <a:gd name="connsiteX802" fmla="*/ 1642909 w 2051041"/>
              <a:gd name="connsiteY802" fmla="*/ 745519 h 2084191"/>
              <a:gd name="connsiteX803" fmla="*/ 1594477 w 2051041"/>
              <a:gd name="connsiteY803" fmla="*/ 697632 h 2084191"/>
              <a:gd name="connsiteX804" fmla="*/ 1642909 w 2051041"/>
              <a:gd name="connsiteY804" fmla="*/ 649744 h 2084191"/>
              <a:gd name="connsiteX805" fmla="*/ 1805617 w 2051041"/>
              <a:gd name="connsiteY805" fmla="*/ 648112 h 2084191"/>
              <a:gd name="connsiteX806" fmla="*/ 1854593 w 2051041"/>
              <a:gd name="connsiteY806" fmla="*/ 698176 h 2084191"/>
              <a:gd name="connsiteX807" fmla="*/ 1805073 w 2051041"/>
              <a:gd name="connsiteY807" fmla="*/ 746607 h 2084191"/>
              <a:gd name="connsiteX808" fmla="*/ 1756097 w 2051041"/>
              <a:gd name="connsiteY808" fmla="*/ 697087 h 2084191"/>
              <a:gd name="connsiteX809" fmla="*/ 1805617 w 2051041"/>
              <a:gd name="connsiteY809" fmla="*/ 648112 h 2084191"/>
              <a:gd name="connsiteX810" fmla="*/ 1969414 w 2051041"/>
              <a:gd name="connsiteY810" fmla="*/ 647023 h 2084191"/>
              <a:gd name="connsiteX811" fmla="*/ 2018934 w 2051041"/>
              <a:gd name="connsiteY811" fmla="*/ 698176 h 2084191"/>
              <a:gd name="connsiteX812" fmla="*/ 1968326 w 2051041"/>
              <a:gd name="connsiteY812" fmla="*/ 746063 h 2084191"/>
              <a:gd name="connsiteX813" fmla="*/ 1918806 w 2051041"/>
              <a:gd name="connsiteY813" fmla="*/ 697087 h 2084191"/>
              <a:gd name="connsiteX814" fmla="*/ 1969414 w 2051041"/>
              <a:gd name="connsiteY814" fmla="*/ 647023 h 2084191"/>
              <a:gd name="connsiteX815" fmla="*/ 90919 w 2051041"/>
              <a:gd name="connsiteY815" fmla="*/ 606754 h 2084191"/>
              <a:gd name="connsiteX816" fmla="*/ 99626 w 2051041"/>
              <a:gd name="connsiteY816" fmla="*/ 615460 h 2084191"/>
              <a:gd name="connsiteX817" fmla="*/ 92007 w 2051041"/>
              <a:gd name="connsiteY817" fmla="*/ 627976 h 2084191"/>
              <a:gd name="connsiteX818" fmla="*/ 82756 w 2051041"/>
              <a:gd name="connsiteY818" fmla="*/ 616005 h 2084191"/>
              <a:gd name="connsiteX819" fmla="*/ 90919 w 2051041"/>
              <a:gd name="connsiteY819" fmla="*/ 606754 h 2084191"/>
              <a:gd name="connsiteX820" fmla="*/ 254172 w 2051041"/>
              <a:gd name="connsiteY820" fmla="*/ 598047 h 2084191"/>
              <a:gd name="connsiteX821" fmla="*/ 272674 w 2051041"/>
              <a:gd name="connsiteY821" fmla="*/ 614917 h 2084191"/>
              <a:gd name="connsiteX822" fmla="*/ 255260 w 2051041"/>
              <a:gd name="connsiteY822" fmla="*/ 633419 h 2084191"/>
              <a:gd name="connsiteX823" fmla="*/ 236758 w 2051041"/>
              <a:gd name="connsiteY823" fmla="*/ 616005 h 2084191"/>
              <a:gd name="connsiteX824" fmla="*/ 254172 w 2051041"/>
              <a:gd name="connsiteY824" fmla="*/ 598047 h 2084191"/>
              <a:gd name="connsiteX825" fmla="*/ 418513 w 2051041"/>
              <a:gd name="connsiteY825" fmla="*/ 590429 h 2084191"/>
              <a:gd name="connsiteX826" fmla="*/ 443001 w 2051041"/>
              <a:gd name="connsiteY826" fmla="*/ 614917 h 2084191"/>
              <a:gd name="connsiteX827" fmla="*/ 419058 w 2051041"/>
              <a:gd name="connsiteY827" fmla="*/ 640493 h 2084191"/>
              <a:gd name="connsiteX828" fmla="*/ 392937 w 2051041"/>
              <a:gd name="connsiteY828" fmla="*/ 616005 h 2084191"/>
              <a:gd name="connsiteX829" fmla="*/ 418513 w 2051041"/>
              <a:gd name="connsiteY829" fmla="*/ 590429 h 2084191"/>
              <a:gd name="connsiteX830" fmla="*/ 581222 w 2051041"/>
              <a:gd name="connsiteY830" fmla="*/ 587163 h 2084191"/>
              <a:gd name="connsiteX831" fmla="*/ 610063 w 2051041"/>
              <a:gd name="connsiteY831" fmla="*/ 616549 h 2084191"/>
              <a:gd name="connsiteX832" fmla="*/ 580677 w 2051041"/>
              <a:gd name="connsiteY832" fmla="*/ 645390 h 2084191"/>
              <a:gd name="connsiteX833" fmla="*/ 551836 w 2051041"/>
              <a:gd name="connsiteY833" fmla="*/ 615461 h 2084191"/>
              <a:gd name="connsiteX834" fmla="*/ 581222 w 2051041"/>
              <a:gd name="connsiteY834" fmla="*/ 587163 h 2084191"/>
              <a:gd name="connsiteX835" fmla="*/ 743930 w 2051041"/>
              <a:gd name="connsiteY835" fmla="*/ 582266 h 2084191"/>
              <a:gd name="connsiteX836" fmla="*/ 779301 w 2051041"/>
              <a:gd name="connsiteY836" fmla="*/ 616005 h 2084191"/>
              <a:gd name="connsiteX837" fmla="*/ 745563 w 2051041"/>
              <a:gd name="connsiteY837" fmla="*/ 649744 h 2084191"/>
              <a:gd name="connsiteX838" fmla="*/ 711824 w 2051041"/>
              <a:gd name="connsiteY838" fmla="*/ 616549 h 2084191"/>
              <a:gd name="connsiteX839" fmla="*/ 743930 w 2051041"/>
              <a:gd name="connsiteY839" fmla="*/ 582266 h 2084191"/>
              <a:gd name="connsiteX840" fmla="*/ 907183 w 2051041"/>
              <a:gd name="connsiteY840" fmla="*/ 577913 h 2084191"/>
              <a:gd name="connsiteX841" fmla="*/ 945276 w 2051041"/>
              <a:gd name="connsiteY841" fmla="*/ 615461 h 2084191"/>
              <a:gd name="connsiteX842" fmla="*/ 907727 w 2051041"/>
              <a:gd name="connsiteY842" fmla="*/ 654098 h 2084191"/>
              <a:gd name="connsiteX843" fmla="*/ 869091 w 2051041"/>
              <a:gd name="connsiteY843" fmla="*/ 616006 h 2084191"/>
              <a:gd name="connsiteX844" fmla="*/ 907183 w 2051041"/>
              <a:gd name="connsiteY844" fmla="*/ 577913 h 2084191"/>
              <a:gd name="connsiteX845" fmla="*/ 1069891 w 2051041"/>
              <a:gd name="connsiteY845" fmla="*/ 574648 h 2084191"/>
              <a:gd name="connsiteX846" fmla="*/ 1111248 w 2051041"/>
              <a:gd name="connsiteY846" fmla="*/ 615461 h 2084191"/>
              <a:gd name="connsiteX847" fmla="*/ 1070435 w 2051041"/>
              <a:gd name="connsiteY847" fmla="*/ 656274 h 2084191"/>
              <a:gd name="connsiteX848" fmla="*/ 1029622 w 2051041"/>
              <a:gd name="connsiteY848" fmla="*/ 614917 h 2084191"/>
              <a:gd name="connsiteX849" fmla="*/ 1069891 w 2051041"/>
              <a:gd name="connsiteY849" fmla="*/ 574648 h 2084191"/>
              <a:gd name="connsiteX850" fmla="*/ 1235321 w 2051041"/>
              <a:gd name="connsiteY850" fmla="*/ 572472 h 2084191"/>
              <a:gd name="connsiteX851" fmla="*/ 1277222 w 2051041"/>
              <a:gd name="connsiteY851" fmla="*/ 616550 h 2084191"/>
              <a:gd name="connsiteX852" fmla="*/ 1233688 w 2051041"/>
              <a:gd name="connsiteY852" fmla="*/ 660084 h 2084191"/>
              <a:gd name="connsiteX853" fmla="*/ 1190154 w 2051041"/>
              <a:gd name="connsiteY853" fmla="*/ 614917 h 2084191"/>
              <a:gd name="connsiteX854" fmla="*/ 1235321 w 2051041"/>
              <a:gd name="connsiteY854" fmla="*/ 572472 h 2084191"/>
              <a:gd name="connsiteX855" fmla="*/ 1397485 w 2051041"/>
              <a:gd name="connsiteY855" fmla="*/ 569206 h 2084191"/>
              <a:gd name="connsiteX856" fmla="*/ 1443196 w 2051041"/>
              <a:gd name="connsiteY856" fmla="*/ 616005 h 2084191"/>
              <a:gd name="connsiteX857" fmla="*/ 1396941 w 2051041"/>
              <a:gd name="connsiteY857" fmla="*/ 661172 h 2084191"/>
              <a:gd name="connsiteX858" fmla="*/ 1351775 w 2051041"/>
              <a:gd name="connsiteY858" fmla="*/ 614373 h 2084191"/>
              <a:gd name="connsiteX859" fmla="*/ 1397485 w 2051041"/>
              <a:gd name="connsiteY859" fmla="*/ 569206 h 2084191"/>
              <a:gd name="connsiteX860" fmla="*/ 1560738 w 2051041"/>
              <a:gd name="connsiteY860" fmla="*/ 567029 h 2084191"/>
              <a:gd name="connsiteX861" fmla="*/ 1609714 w 2051041"/>
              <a:gd name="connsiteY861" fmla="*/ 615461 h 2084191"/>
              <a:gd name="connsiteX862" fmla="*/ 1561283 w 2051041"/>
              <a:gd name="connsiteY862" fmla="*/ 663892 h 2084191"/>
              <a:gd name="connsiteX863" fmla="*/ 1512851 w 2051041"/>
              <a:gd name="connsiteY863" fmla="*/ 616005 h 2084191"/>
              <a:gd name="connsiteX864" fmla="*/ 1560738 w 2051041"/>
              <a:gd name="connsiteY864" fmla="*/ 567029 h 2084191"/>
              <a:gd name="connsiteX865" fmla="*/ 1725624 w 2051041"/>
              <a:gd name="connsiteY865" fmla="*/ 565397 h 2084191"/>
              <a:gd name="connsiteX866" fmla="*/ 1774599 w 2051041"/>
              <a:gd name="connsiteY866" fmla="*/ 616005 h 2084191"/>
              <a:gd name="connsiteX867" fmla="*/ 1723447 w 2051041"/>
              <a:gd name="connsiteY867" fmla="*/ 664981 h 2084191"/>
              <a:gd name="connsiteX868" fmla="*/ 1674471 w 2051041"/>
              <a:gd name="connsiteY868" fmla="*/ 615461 h 2084191"/>
              <a:gd name="connsiteX869" fmla="*/ 1725624 w 2051041"/>
              <a:gd name="connsiteY869" fmla="*/ 565397 h 2084191"/>
              <a:gd name="connsiteX870" fmla="*/ 1886699 w 2051041"/>
              <a:gd name="connsiteY870" fmla="*/ 564853 h 2084191"/>
              <a:gd name="connsiteX871" fmla="*/ 1938396 w 2051041"/>
              <a:gd name="connsiteY871" fmla="*/ 614917 h 2084191"/>
              <a:gd name="connsiteX872" fmla="*/ 1887787 w 2051041"/>
              <a:gd name="connsiteY872" fmla="*/ 665525 h 2084191"/>
              <a:gd name="connsiteX873" fmla="*/ 1837179 w 2051041"/>
              <a:gd name="connsiteY873" fmla="*/ 615461 h 2084191"/>
              <a:gd name="connsiteX874" fmla="*/ 1886699 w 2051041"/>
              <a:gd name="connsiteY874" fmla="*/ 564853 h 2084191"/>
              <a:gd name="connsiteX875" fmla="*/ 2050496 w 2051041"/>
              <a:gd name="connsiteY875" fmla="*/ 564852 h 2084191"/>
              <a:gd name="connsiteX876" fmla="*/ 2051041 w 2051041"/>
              <a:gd name="connsiteY876" fmla="*/ 564962 h 2084191"/>
              <a:gd name="connsiteX877" fmla="*/ 2051041 w 2051041"/>
              <a:gd name="connsiteY877" fmla="*/ 665899 h 2084191"/>
              <a:gd name="connsiteX878" fmla="*/ 2049952 w 2051041"/>
              <a:gd name="connsiteY878" fmla="*/ 666069 h 2084191"/>
              <a:gd name="connsiteX879" fmla="*/ 1999344 w 2051041"/>
              <a:gd name="connsiteY879" fmla="*/ 615460 h 2084191"/>
              <a:gd name="connsiteX880" fmla="*/ 2050496 w 2051041"/>
              <a:gd name="connsiteY880" fmla="*/ 564852 h 2084191"/>
              <a:gd name="connsiteX881" fmla="*/ 173090 w 2051041"/>
              <a:gd name="connsiteY881" fmla="*/ 517509 h 2084191"/>
              <a:gd name="connsiteX882" fmla="*/ 189959 w 2051041"/>
              <a:gd name="connsiteY882" fmla="*/ 533834 h 2084191"/>
              <a:gd name="connsiteX883" fmla="*/ 173634 w 2051041"/>
              <a:gd name="connsiteY883" fmla="*/ 550160 h 2084191"/>
              <a:gd name="connsiteX884" fmla="*/ 157308 w 2051041"/>
              <a:gd name="connsiteY884" fmla="*/ 534923 h 2084191"/>
              <a:gd name="connsiteX885" fmla="*/ 173090 w 2051041"/>
              <a:gd name="connsiteY885" fmla="*/ 517509 h 2084191"/>
              <a:gd name="connsiteX886" fmla="*/ 335798 w 2051041"/>
              <a:gd name="connsiteY886" fmla="*/ 511523 h 2084191"/>
              <a:gd name="connsiteX887" fmla="*/ 358654 w 2051041"/>
              <a:gd name="connsiteY887" fmla="*/ 533834 h 2084191"/>
              <a:gd name="connsiteX888" fmla="*/ 336343 w 2051041"/>
              <a:gd name="connsiteY888" fmla="*/ 556689 h 2084191"/>
              <a:gd name="connsiteX889" fmla="*/ 312943 w 2051041"/>
              <a:gd name="connsiteY889" fmla="*/ 534378 h 2084191"/>
              <a:gd name="connsiteX890" fmla="*/ 335798 w 2051041"/>
              <a:gd name="connsiteY890" fmla="*/ 511523 h 2084191"/>
              <a:gd name="connsiteX891" fmla="*/ 500139 w 2051041"/>
              <a:gd name="connsiteY891" fmla="*/ 506626 h 2084191"/>
              <a:gd name="connsiteX892" fmla="*/ 527348 w 2051041"/>
              <a:gd name="connsiteY892" fmla="*/ 535467 h 2084191"/>
              <a:gd name="connsiteX893" fmla="*/ 497963 w 2051041"/>
              <a:gd name="connsiteY893" fmla="*/ 561587 h 2084191"/>
              <a:gd name="connsiteX894" fmla="*/ 471842 w 2051041"/>
              <a:gd name="connsiteY894" fmla="*/ 533290 h 2084191"/>
              <a:gd name="connsiteX895" fmla="*/ 500139 w 2051041"/>
              <a:gd name="connsiteY895" fmla="*/ 506626 h 2084191"/>
              <a:gd name="connsiteX896" fmla="*/ 662304 w 2051041"/>
              <a:gd name="connsiteY896" fmla="*/ 500639 h 2084191"/>
              <a:gd name="connsiteX897" fmla="*/ 696042 w 2051041"/>
              <a:gd name="connsiteY897" fmla="*/ 533290 h 2084191"/>
              <a:gd name="connsiteX898" fmla="*/ 663392 w 2051041"/>
              <a:gd name="connsiteY898" fmla="*/ 566485 h 2084191"/>
              <a:gd name="connsiteX899" fmla="*/ 630197 w 2051041"/>
              <a:gd name="connsiteY899" fmla="*/ 534378 h 2084191"/>
              <a:gd name="connsiteX900" fmla="*/ 662304 w 2051041"/>
              <a:gd name="connsiteY900" fmla="*/ 500639 h 2084191"/>
              <a:gd name="connsiteX901" fmla="*/ 825557 w 2051041"/>
              <a:gd name="connsiteY901" fmla="*/ 496830 h 2084191"/>
              <a:gd name="connsiteX902" fmla="*/ 863649 w 2051041"/>
              <a:gd name="connsiteY902" fmla="*/ 534923 h 2084191"/>
              <a:gd name="connsiteX903" fmla="*/ 825557 w 2051041"/>
              <a:gd name="connsiteY903" fmla="*/ 571383 h 2084191"/>
              <a:gd name="connsiteX904" fmla="*/ 788553 w 2051041"/>
              <a:gd name="connsiteY904" fmla="*/ 534379 h 2084191"/>
              <a:gd name="connsiteX905" fmla="*/ 825557 w 2051041"/>
              <a:gd name="connsiteY905" fmla="*/ 496830 h 2084191"/>
              <a:gd name="connsiteX906" fmla="*/ 989898 w 2051041"/>
              <a:gd name="connsiteY906" fmla="*/ 494110 h 2084191"/>
              <a:gd name="connsiteX907" fmla="*/ 1029078 w 2051041"/>
              <a:gd name="connsiteY907" fmla="*/ 534923 h 2084191"/>
              <a:gd name="connsiteX908" fmla="*/ 989353 w 2051041"/>
              <a:gd name="connsiteY908" fmla="*/ 574104 h 2084191"/>
              <a:gd name="connsiteX909" fmla="*/ 949629 w 2051041"/>
              <a:gd name="connsiteY909" fmla="*/ 533835 h 2084191"/>
              <a:gd name="connsiteX910" fmla="*/ 989898 w 2051041"/>
              <a:gd name="connsiteY910" fmla="*/ 494110 h 2084191"/>
              <a:gd name="connsiteX911" fmla="*/ 1152062 w 2051041"/>
              <a:gd name="connsiteY911" fmla="*/ 490301 h 2084191"/>
              <a:gd name="connsiteX912" fmla="*/ 1196140 w 2051041"/>
              <a:gd name="connsiteY912" fmla="*/ 533835 h 2084191"/>
              <a:gd name="connsiteX913" fmla="*/ 1152606 w 2051041"/>
              <a:gd name="connsiteY913" fmla="*/ 577369 h 2084191"/>
              <a:gd name="connsiteX914" fmla="*/ 1109072 w 2051041"/>
              <a:gd name="connsiteY914" fmla="*/ 534379 h 2084191"/>
              <a:gd name="connsiteX915" fmla="*/ 1152062 w 2051041"/>
              <a:gd name="connsiteY915" fmla="*/ 490301 h 2084191"/>
              <a:gd name="connsiteX916" fmla="*/ 1316947 w 2051041"/>
              <a:gd name="connsiteY916" fmla="*/ 489212 h 2084191"/>
              <a:gd name="connsiteX917" fmla="*/ 1361570 w 2051041"/>
              <a:gd name="connsiteY917" fmla="*/ 534923 h 2084191"/>
              <a:gd name="connsiteX918" fmla="*/ 1315859 w 2051041"/>
              <a:gd name="connsiteY918" fmla="*/ 580090 h 2084191"/>
              <a:gd name="connsiteX919" fmla="*/ 1270693 w 2051041"/>
              <a:gd name="connsiteY919" fmla="*/ 533835 h 2084191"/>
              <a:gd name="connsiteX920" fmla="*/ 1316947 w 2051041"/>
              <a:gd name="connsiteY920" fmla="*/ 489212 h 2084191"/>
              <a:gd name="connsiteX921" fmla="*/ 1479112 w 2051041"/>
              <a:gd name="connsiteY921" fmla="*/ 484315 h 2084191"/>
              <a:gd name="connsiteX922" fmla="*/ 1528087 w 2051041"/>
              <a:gd name="connsiteY922" fmla="*/ 533835 h 2084191"/>
              <a:gd name="connsiteX923" fmla="*/ 1479656 w 2051041"/>
              <a:gd name="connsiteY923" fmla="*/ 582267 h 2084191"/>
              <a:gd name="connsiteX924" fmla="*/ 1431224 w 2051041"/>
              <a:gd name="connsiteY924" fmla="*/ 533835 h 2084191"/>
              <a:gd name="connsiteX925" fmla="*/ 1479112 w 2051041"/>
              <a:gd name="connsiteY925" fmla="*/ 484315 h 2084191"/>
              <a:gd name="connsiteX926" fmla="*/ 1643452 w 2051041"/>
              <a:gd name="connsiteY926" fmla="*/ 484314 h 2084191"/>
              <a:gd name="connsiteX927" fmla="*/ 1692973 w 2051041"/>
              <a:gd name="connsiteY927" fmla="*/ 534923 h 2084191"/>
              <a:gd name="connsiteX928" fmla="*/ 1641276 w 2051041"/>
              <a:gd name="connsiteY928" fmla="*/ 583898 h 2084191"/>
              <a:gd name="connsiteX929" fmla="*/ 1592300 w 2051041"/>
              <a:gd name="connsiteY929" fmla="*/ 532202 h 2084191"/>
              <a:gd name="connsiteX930" fmla="*/ 1643452 w 2051041"/>
              <a:gd name="connsiteY930" fmla="*/ 484314 h 2084191"/>
              <a:gd name="connsiteX931" fmla="*/ 1806162 w 2051041"/>
              <a:gd name="connsiteY931" fmla="*/ 481594 h 2084191"/>
              <a:gd name="connsiteX932" fmla="*/ 1857858 w 2051041"/>
              <a:gd name="connsiteY932" fmla="*/ 536011 h 2084191"/>
              <a:gd name="connsiteX933" fmla="*/ 1803441 w 2051041"/>
              <a:gd name="connsiteY933" fmla="*/ 586075 h 2084191"/>
              <a:gd name="connsiteX934" fmla="*/ 1753377 w 2051041"/>
              <a:gd name="connsiteY934" fmla="*/ 533290 h 2084191"/>
              <a:gd name="connsiteX935" fmla="*/ 1806162 w 2051041"/>
              <a:gd name="connsiteY935" fmla="*/ 481594 h 2084191"/>
              <a:gd name="connsiteX936" fmla="*/ 1968326 w 2051041"/>
              <a:gd name="connsiteY936" fmla="*/ 480505 h 2084191"/>
              <a:gd name="connsiteX937" fmla="*/ 2022200 w 2051041"/>
              <a:gd name="connsiteY937" fmla="*/ 534379 h 2084191"/>
              <a:gd name="connsiteX938" fmla="*/ 1969415 w 2051041"/>
              <a:gd name="connsiteY938" fmla="*/ 588252 h 2084191"/>
              <a:gd name="connsiteX939" fmla="*/ 1915541 w 2051041"/>
              <a:gd name="connsiteY939" fmla="*/ 534923 h 2084191"/>
              <a:gd name="connsiteX940" fmla="*/ 1968326 w 2051041"/>
              <a:gd name="connsiteY940" fmla="*/ 480505 h 2084191"/>
              <a:gd name="connsiteX941" fmla="*/ 91464 w 2051041"/>
              <a:gd name="connsiteY941" fmla="*/ 440780 h 2084191"/>
              <a:gd name="connsiteX942" fmla="*/ 102891 w 2051041"/>
              <a:gd name="connsiteY942" fmla="*/ 451664 h 2084191"/>
              <a:gd name="connsiteX943" fmla="*/ 92008 w 2051041"/>
              <a:gd name="connsiteY943" fmla="*/ 464179 h 2084191"/>
              <a:gd name="connsiteX944" fmla="*/ 80036 w 2051041"/>
              <a:gd name="connsiteY944" fmla="*/ 452752 h 2084191"/>
              <a:gd name="connsiteX945" fmla="*/ 91464 w 2051041"/>
              <a:gd name="connsiteY945" fmla="*/ 440780 h 2084191"/>
              <a:gd name="connsiteX946" fmla="*/ 254172 w 2051041"/>
              <a:gd name="connsiteY946" fmla="*/ 430441 h 2084191"/>
              <a:gd name="connsiteX947" fmla="*/ 275939 w 2051041"/>
              <a:gd name="connsiteY947" fmla="*/ 452208 h 2084191"/>
              <a:gd name="connsiteX948" fmla="*/ 254716 w 2051041"/>
              <a:gd name="connsiteY948" fmla="*/ 473975 h 2084191"/>
              <a:gd name="connsiteX949" fmla="*/ 232405 w 2051041"/>
              <a:gd name="connsiteY949" fmla="*/ 452752 h 2084191"/>
              <a:gd name="connsiteX950" fmla="*/ 254172 w 2051041"/>
              <a:gd name="connsiteY950" fmla="*/ 430441 h 2084191"/>
              <a:gd name="connsiteX951" fmla="*/ 417969 w 2051041"/>
              <a:gd name="connsiteY951" fmla="*/ 424999 h 2084191"/>
              <a:gd name="connsiteX952" fmla="*/ 444634 w 2051041"/>
              <a:gd name="connsiteY952" fmla="*/ 452752 h 2084191"/>
              <a:gd name="connsiteX953" fmla="*/ 417425 w 2051041"/>
              <a:gd name="connsiteY953" fmla="*/ 479417 h 2084191"/>
              <a:gd name="connsiteX954" fmla="*/ 390760 w 2051041"/>
              <a:gd name="connsiteY954" fmla="*/ 452208 h 2084191"/>
              <a:gd name="connsiteX955" fmla="*/ 417969 w 2051041"/>
              <a:gd name="connsiteY955" fmla="*/ 424999 h 2084191"/>
              <a:gd name="connsiteX956" fmla="*/ 580677 w 2051041"/>
              <a:gd name="connsiteY956" fmla="*/ 419558 h 2084191"/>
              <a:gd name="connsiteX957" fmla="*/ 612783 w 2051041"/>
              <a:gd name="connsiteY957" fmla="*/ 452208 h 2084191"/>
              <a:gd name="connsiteX958" fmla="*/ 581221 w 2051041"/>
              <a:gd name="connsiteY958" fmla="*/ 484315 h 2084191"/>
              <a:gd name="connsiteX959" fmla="*/ 549115 w 2051041"/>
              <a:gd name="connsiteY959" fmla="*/ 452208 h 2084191"/>
              <a:gd name="connsiteX960" fmla="*/ 580677 w 2051041"/>
              <a:gd name="connsiteY960" fmla="*/ 419558 h 2084191"/>
              <a:gd name="connsiteX961" fmla="*/ 743931 w 2051041"/>
              <a:gd name="connsiteY961" fmla="*/ 415748 h 2084191"/>
              <a:gd name="connsiteX962" fmla="*/ 780390 w 2051041"/>
              <a:gd name="connsiteY962" fmla="*/ 452208 h 2084191"/>
              <a:gd name="connsiteX963" fmla="*/ 744475 w 2051041"/>
              <a:gd name="connsiteY963" fmla="*/ 489212 h 2084191"/>
              <a:gd name="connsiteX964" fmla="*/ 708559 w 2051041"/>
              <a:gd name="connsiteY964" fmla="*/ 453840 h 2084191"/>
              <a:gd name="connsiteX965" fmla="*/ 743931 w 2051041"/>
              <a:gd name="connsiteY965" fmla="*/ 415748 h 2084191"/>
              <a:gd name="connsiteX966" fmla="*/ 908271 w 2051041"/>
              <a:gd name="connsiteY966" fmla="*/ 414116 h 2084191"/>
              <a:gd name="connsiteX967" fmla="*/ 946363 w 2051041"/>
              <a:gd name="connsiteY967" fmla="*/ 453296 h 2084191"/>
              <a:gd name="connsiteX968" fmla="*/ 906638 w 2051041"/>
              <a:gd name="connsiteY968" fmla="*/ 491933 h 2084191"/>
              <a:gd name="connsiteX969" fmla="*/ 868546 w 2051041"/>
              <a:gd name="connsiteY969" fmla="*/ 452208 h 2084191"/>
              <a:gd name="connsiteX970" fmla="*/ 908271 w 2051041"/>
              <a:gd name="connsiteY970" fmla="*/ 414116 h 2084191"/>
              <a:gd name="connsiteX971" fmla="*/ 1072068 w 2051041"/>
              <a:gd name="connsiteY971" fmla="*/ 409218 h 2084191"/>
              <a:gd name="connsiteX972" fmla="*/ 1113970 w 2051041"/>
              <a:gd name="connsiteY972" fmla="*/ 452752 h 2084191"/>
              <a:gd name="connsiteX973" fmla="*/ 1070436 w 2051041"/>
              <a:gd name="connsiteY973" fmla="*/ 495198 h 2084191"/>
              <a:gd name="connsiteX974" fmla="*/ 1028534 w 2051041"/>
              <a:gd name="connsiteY974" fmla="*/ 451120 h 2084191"/>
              <a:gd name="connsiteX975" fmla="*/ 1072068 w 2051041"/>
              <a:gd name="connsiteY975" fmla="*/ 409218 h 2084191"/>
              <a:gd name="connsiteX976" fmla="*/ 1235865 w 2051041"/>
              <a:gd name="connsiteY976" fmla="*/ 408130 h 2084191"/>
              <a:gd name="connsiteX977" fmla="*/ 1279400 w 2051041"/>
              <a:gd name="connsiteY977" fmla="*/ 453296 h 2084191"/>
              <a:gd name="connsiteX978" fmla="*/ 1233689 w 2051041"/>
              <a:gd name="connsiteY978" fmla="*/ 497374 h 2084191"/>
              <a:gd name="connsiteX979" fmla="*/ 1189611 w 2051041"/>
              <a:gd name="connsiteY979" fmla="*/ 451664 h 2084191"/>
              <a:gd name="connsiteX980" fmla="*/ 1235865 w 2051041"/>
              <a:gd name="connsiteY980" fmla="*/ 408130 h 2084191"/>
              <a:gd name="connsiteX981" fmla="*/ 1396941 w 2051041"/>
              <a:gd name="connsiteY981" fmla="*/ 403776 h 2084191"/>
              <a:gd name="connsiteX982" fmla="*/ 1446461 w 2051041"/>
              <a:gd name="connsiteY982" fmla="*/ 450575 h 2084191"/>
              <a:gd name="connsiteX983" fmla="*/ 1399118 w 2051041"/>
              <a:gd name="connsiteY983" fmla="*/ 500640 h 2084191"/>
              <a:gd name="connsiteX984" fmla="*/ 1349598 w 2051041"/>
              <a:gd name="connsiteY984" fmla="*/ 453296 h 2084191"/>
              <a:gd name="connsiteX985" fmla="*/ 1396941 w 2051041"/>
              <a:gd name="connsiteY985" fmla="*/ 403776 h 2084191"/>
              <a:gd name="connsiteX986" fmla="*/ 1560738 w 2051041"/>
              <a:gd name="connsiteY986" fmla="*/ 402144 h 2084191"/>
              <a:gd name="connsiteX987" fmla="*/ 1611347 w 2051041"/>
              <a:gd name="connsiteY987" fmla="*/ 453297 h 2084191"/>
              <a:gd name="connsiteX988" fmla="*/ 1560194 w 2051041"/>
              <a:gd name="connsiteY988" fmla="*/ 502272 h 2084191"/>
              <a:gd name="connsiteX989" fmla="*/ 1511218 w 2051041"/>
              <a:gd name="connsiteY989" fmla="*/ 451664 h 2084191"/>
              <a:gd name="connsiteX990" fmla="*/ 1560738 w 2051041"/>
              <a:gd name="connsiteY990" fmla="*/ 402144 h 2084191"/>
              <a:gd name="connsiteX991" fmla="*/ 1723991 w 2051041"/>
              <a:gd name="connsiteY991" fmla="*/ 399423 h 2084191"/>
              <a:gd name="connsiteX992" fmla="*/ 1776776 w 2051041"/>
              <a:gd name="connsiteY992" fmla="*/ 452752 h 2084191"/>
              <a:gd name="connsiteX993" fmla="*/ 1725079 w 2051041"/>
              <a:gd name="connsiteY993" fmla="*/ 504993 h 2084191"/>
              <a:gd name="connsiteX994" fmla="*/ 1671750 w 2051041"/>
              <a:gd name="connsiteY994" fmla="*/ 452752 h 2084191"/>
              <a:gd name="connsiteX995" fmla="*/ 1723991 w 2051041"/>
              <a:gd name="connsiteY995" fmla="*/ 399423 h 2084191"/>
              <a:gd name="connsiteX996" fmla="*/ 2051040 w 2051041"/>
              <a:gd name="connsiteY996" fmla="*/ 398335 h 2084191"/>
              <a:gd name="connsiteX997" fmla="*/ 2051041 w 2051041"/>
              <a:gd name="connsiteY997" fmla="*/ 398335 h 2084191"/>
              <a:gd name="connsiteX998" fmla="*/ 2051041 w 2051041"/>
              <a:gd name="connsiteY998" fmla="*/ 506936 h 2084191"/>
              <a:gd name="connsiteX999" fmla="*/ 2049952 w 2051041"/>
              <a:gd name="connsiteY999" fmla="*/ 507170 h 2084191"/>
              <a:gd name="connsiteX1000" fmla="*/ 1995534 w 2051041"/>
              <a:gd name="connsiteY1000" fmla="*/ 452208 h 2084191"/>
              <a:gd name="connsiteX1001" fmla="*/ 2051040 w 2051041"/>
              <a:gd name="connsiteY1001" fmla="*/ 398335 h 2084191"/>
              <a:gd name="connsiteX1002" fmla="*/ 1888332 w 2051041"/>
              <a:gd name="connsiteY1002" fmla="*/ 398335 h 2084191"/>
              <a:gd name="connsiteX1003" fmla="*/ 1941661 w 2051041"/>
              <a:gd name="connsiteY1003" fmla="*/ 452208 h 2084191"/>
              <a:gd name="connsiteX1004" fmla="*/ 1886699 w 2051041"/>
              <a:gd name="connsiteY1004" fmla="*/ 506082 h 2084191"/>
              <a:gd name="connsiteX1005" fmla="*/ 1833370 w 2051041"/>
              <a:gd name="connsiteY1005" fmla="*/ 452208 h 2084191"/>
              <a:gd name="connsiteX1006" fmla="*/ 1888332 w 2051041"/>
              <a:gd name="connsiteY1006" fmla="*/ 398335 h 2084191"/>
              <a:gd name="connsiteX1007" fmla="*/ 12014 w 2051041"/>
              <a:gd name="connsiteY1007" fmla="*/ 364052 h 2084191"/>
              <a:gd name="connsiteX1008" fmla="*/ 15823 w 2051041"/>
              <a:gd name="connsiteY1008" fmla="*/ 370038 h 2084191"/>
              <a:gd name="connsiteX1009" fmla="*/ 9293 w 2051041"/>
              <a:gd name="connsiteY1009" fmla="*/ 377656 h 2084191"/>
              <a:gd name="connsiteX1010" fmla="*/ 3307 w 2051041"/>
              <a:gd name="connsiteY1010" fmla="*/ 371126 h 2084191"/>
              <a:gd name="connsiteX1011" fmla="*/ 12014 w 2051041"/>
              <a:gd name="connsiteY1011" fmla="*/ 364052 h 2084191"/>
              <a:gd name="connsiteX1012" fmla="*/ 172545 w 2051041"/>
              <a:gd name="connsiteY1012" fmla="*/ 353713 h 2084191"/>
              <a:gd name="connsiteX1013" fmla="*/ 190503 w 2051041"/>
              <a:gd name="connsiteY1013" fmla="*/ 370582 h 2084191"/>
              <a:gd name="connsiteX1014" fmla="*/ 173090 w 2051041"/>
              <a:gd name="connsiteY1014" fmla="*/ 387996 h 2084191"/>
              <a:gd name="connsiteX1015" fmla="*/ 155676 w 2051041"/>
              <a:gd name="connsiteY1015" fmla="*/ 371126 h 2084191"/>
              <a:gd name="connsiteX1016" fmla="*/ 172545 w 2051041"/>
              <a:gd name="connsiteY1016" fmla="*/ 353713 h 2084191"/>
              <a:gd name="connsiteX1017" fmla="*/ 336886 w 2051041"/>
              <a:gd name="connsiteY1017" fmla="*/ 345550 h 2084191"/>
              <a:gd name="connsiteX1018" fmla="*/ 361374 w 2051041"/>
              <a:gd name="connsiteY1018" fmla="*/ 371670 h 2084191"/>
              <a:gd name="connsiteX1019" fmla="*/ 335798 w 2051041"/>
              <a:gd name="connsiteY1019" fmla="*/ 395070 h 2084191"/>
              <a:gd name="connsiteX1020" fmla="*/ 311854 w 2051041"/>
              <a:gd name="connsiteY1020" fmla="*/ 370038 h 2084191"/>
              <a:gd name="connsiteX1021" fmla="*/ 336886 w 2051041"/>
              <a:gd name="connsiteY1021" fmla="*/ 345550 h 2084191"/>
              <a:gd name="connsiteX1022" fmla="*/ 499596 w 2051041"/>
              <a:gd name="connsiteY1022" fmla="*/ 342284 h 2084191"/>
              <a:gd name="connsiteX1023" fmla="*/ 528437 w 2051041"/>
              <a:gd name="connsiteY1023" fmla="*/ 370582 h 2084191"/>
              <a:gd name="connsiteX1024" fmla="*/ 499051 w 2051041"/>
              <a:gd name="connsiteY1024" fmla="*/ 399423 h 2084191"/>
              <a:gd name="connsiteX1025" fmla="*/ 470210 w 2051041"/>
              <a:gd name="connsiteY1025" fmla="*/ 370037 h 2084191"/>
              <a:gd name="connsiteX1026" fmla="*/ 499596 w 2051041"/>
              <a:gd name="connsiteY1026" fmla="*/ 342284 h 2084191"/>
              <a:gd name="connsiteX1027" fmla="*/ 663392 w 2051041"/>
              <a:gd name="connsiteY1027" fmla="*/ 337387 h 2084191"/>
              <a:gd name="connsiteX1028" fmla="*/ 697131 w 2051041"/>
              <a:gd name="connsiteY1028" fmla="*/ 371126 h 2084191"/>
              <a:gd name="connsiteX1029" fmla="*/ 662304 w 2051041"/>
              <a:gd name="connsiteY1029" fmla="*/ 404321 h 2084191"/>
              <a:gd name="connsiteX1030" fmla="*/ 629109 w 2051041"/>
              <a:gd name="connsiteY1030" fmla="*/ 371126 h 2084191"/>
              <a:gd name="connsiteX1031" fmla="*/ 663392 w 2051041"/>
              <a:gd name="connsiteY1031" fmla="*/ 337387 h 2084191"/>
              <a:gd name="connsiteX1032" fmla="*/ 825556 w 2051041"/>
              <a:gd name="connsiteY1032" fmla="*/ 332489 h 2084191"/>
              <a:gd name="connsiteX1033" fmla="*/ 864737 w 2051041"/>
              <a:gd name="connsiteY1033" fmla="*/ 370037 h 2084191"/>
              <a:gd name="connsiteX1034" fmla="*/ 826645 w 2051041"/>
              <a:gd name="connsiteY1034" fmla="*/ 409218 h 2084191"/>
              <a:gd name="connsiteX1035" fmla="*/ 787464 w 2051041"/>
              <a:gd name="connsiteY1035" fmla="*/ 371126 h 2084191"/>
              <a:gd name="connsiteX1036" fmla="*/ 825556 w 2051041"/>
              <a:gd name="connsiteY1036" fmla="*/ 332489 h 2084191"/>
              <a:gd name="connsiteX1037" fmla="*/ 989898 w 2051041"/>
              <a:gd name="connsiteY1037" fmla="*/ 328680 h 2084191"/>
              <a:gd name="connsiteX1038" fmla="*/ 1031255 w 2051041"/>
              <a:gd name="connsiteY1038" fmla="*/ 371126 h 2084191"/>
              <a:gd name="connsiteX1039" fmla="*/ 989354 w 2051041"/>
              <a:gd name="connsiteY1039" fmla="*/ 413027 h 2084191"/>
              <a:gd name="connsiteX1040" fmla="*/ 947452 w 2051041"/>
              <a:gd name="connsiteY1040" fmla="*/ 370037 h 2084191"/>
              <a:gd name="connsiteX1041" fmla="*/ 989898 w 2051041"/>
              <a:gd name="connsiteY1041" fmla="*/ 328680 h 2084191"/>
              <a:gd name="connsiteX1042" fmla="*/ 1153150 w 2051041"/>
              <a:gd name="connsiteY1042" fmla="*/ 326504 h 2084191"/>
              <a:gd name="connsiteX1043" fmla="*/ 1197228 w 2051041"/>
              <a:gd name="connsiteY1043" fmla="*/ 370582 h 2084191"/>
              <a:gd name="connsiteX1044" fmla="*/ 1152606 w 2051041"/>
              <a:gd name="connsiteY1044" fmla="*/ 414661 h 2084191"/>
              <a:gd name="connsiteX1045" fmla="*/ 1108528 w 2051041"/>
              <a:gd name="connsiteY1045" fmla="*/ 370038 h 2084191"/>
              <a:gd name="connsiteX1046" fmla="*/ 1153150 w 2051041"/>
              <a:gd name="connsiteY1046" fmla="*/ 326504 h 2084191"/>
              <a:gd name="connsiteX1047" fmla="*/ 1317492 w 2051041"/>
              <a:gd name="connsiteY1047" fmla="*/ 323239 h 2084191"/>
              <a:gd name="connsiteX1048" fmla="*/ 1364835 w 2051041"/>
              <a:gd name="connsiteY1048" fmla="*/ 372215 h 2084191"/>
              <a:gd name="connsiteX1049" fmla="*/ 1314771 w 2051041"/>
              <a:gd name="connsiteY1049" fmla="*/ 419014 h 2084191"/>
              <a:gd name="connsiteX1050" fmla="*/ 1268516 w 2051041"/>
              <a:gd name="connsiteY1050" fmla="*/ 370582 h 2084191"/>
              <a:gd name="connsiteX1051" fmla="*/ 1317492 w 2051041"/>
              <a:gd name="connsiteY1051" fmla="*/ 323239 h 2084191"/>
              <a:gd name="connsiteX1052" fmla="*/ 1479112 w 2051041"/>
              <a:gd name="connsiteY1052" fmla="*/ 320517 h 2084191"/>
              <a:gd name="connsiteX1053" fmla="*/ 1529720 w 2051041"/>
              <a:gd name="connsiteY1053" fmla="*/ 371670 h 2084191"/>
              <a:gd name="connsiteX1054" fmla="*/ 1478568 w 2051041"/>
              <a:gd name="connsiteY1054" fmla="*/ 420101 h 2084191"/>
              <a:gd name="connsiteX1055" fmla="*/ 1429592 w 2051041"/>
              <a:gd name="connsiteY1055" fmla="*/ 370037 h 2084191"/>
              <a:gd name="connsiteX1056" fmla="*/ 1479112 w 2051041"/>
              <a:gd name="connsiteY1056" fmla="*/ 320517 h 2084191"/>
              <a:gd name="connsiteX1057" fmla="*/ 1642364 w 2051041"/>
              <a:gd name="connsiteY1057" fmla="*/ 318341 h 2084191"/>
              <a:gd name="connsiteX1058" fmla="*/ 1695694 w 2051041"/>
              <a:gd name="connsiteY1058" fmla="*/ 370582 h 2084191"/>
              <a:gd name="connsiteX1059" fmla="*/ 1643453 w 2051041"/>
              <a:gd name="connsiteY1059" fmla="*/ 424455 h 2084191"/>
              <a:gd name="connsiteX1060" fmla="*/ 1589035 w 2051041"/>
              <a:gd name="connsiteY1060" fmla="*/ 371670 h 2084191"/>
              <a:gd name="connsiteX1061" fmla="*/ 1642364 w 2051041"/>
              <a:gd name="connsiteY1061" fmla="*/ 318341 h 2084191"/>
              <a:gd name="connsiteX1062" fmla="*/ 90919 w 2051041"/>
              <a:gd name="connsiteY1062" fmla="*/ 273718 h 2084191"/>
              <a:gd name="connsiteX1063" fmla="*/ 106700 w 2051041"/>
              <a:gd name="connsiteY1063" fmla="*/ 288411 h 2084191"/>
              <a:gd name="connsiteX1064" fmla="*/ 91463 w 2051041"/>
              <a:gd name="connsiteY1064" fmla="*/ 303648 h 2084191"/>
              <a:gd name="connsiteX1065" fmla="*/ 76770 w 2051041"/>
              <a:gd name="connsiteY1065" fmla="*/ 288411 h 2084191"/>
              <a:gd name="connsiteX1066" fmla="*/ 90919 w 2051041"/>
              <a:gd name="connsiteY1066" fmla="*/ 273718 h 2084191"/>
              <a:gd name="connsiteX1067" fmla="*/ 254716 w 2051041"/>
              <a:gd name="connsiteY1067" fmla="*/ 267733 h 2084191"/>
              <a:gd name="connsiteX1068" fmla="*/ 276483 w 2051041"/>
              <a:gd name="connsiteY1068" fmla="*/ 288956 h 2084191"/>
              <a:gd name="connsiteX1069" fmla="*/ 254172 w 2051041"/>
              <a:gd name="connsiteY1069" fmla="*/ 311811 h 2084191"/>
              <a:gd name="connsiteX1070" fmla="*/ 232405 w 2051041"/>
              <a:gd name="connsiteY1070" fmla="*/ 289500 h 2084191"/>
              <a:gd name="connsiteX1071" fmla="*/ 254716 w 2051041"/>
              <a:gd name="connsiteY1071" fmla="*/ 267733 h 2084191"/>
              <a:gd name="connsiteX1072" fmla="*/ 1941117 w 2051041"/>
              <a:gd name="connsiteY1072" fmla="*/ 263202 h 2084191"/>
              <a:gd name="connsiteX1073" fmla="*/ 1936219 w 2051041"/>
              <a:gd name="connsiteY1073" fmla="*/ 266467 h 2084191"/>
              <a:gd name="connsiteX1074" fmla="*/ 1938396 w 2051041"/>
              <a:gd name="connsiteY1074" fmla="*/ 272453 h 2084191"/>
              <a:gd name="connsiteX1075" fmla="*/ 1932954 w 2051041"/>
              <a:gd name="connsiteY1075" fmla="*/ 325782 h 2084191"/>
              <a:gd name="connsiteX1076" fmla="*/ 1930777 w 2051041"/>
              <a:gd name="connsiteY1076" fmla="*/ 331224 h 2084191"/>
              <a:gd name="connsiteX1077" fmla="*/ 1936219 w 2051041"/>
              <a:gd name="connsiteY1077" fmla="*/ 330136 h 2084191"/>
              <a:gd name="connsiteX1078" fmla="*/ 1966693 w 2051041"/>
              <a:gd name="connsiteY1078" fmla="*/ 320340 h 2084191"/>
              <a:gd name="connsiteX1079" fmla="*/ 1998799 w 2051041"/>
              <a:gd name="connsiteY1079" fmla="*/ 328503 h 2084191"/>
              <a:gd name="connsiteX1080" fmla="*/ 2003153 w 2051041"/>
              <a:gd name="connsiteY1080" fmla="*/ 330136 h 2084191"/>
              <a:gd name="connsiteX1081" fmla="*/ 2001520 w 2051041"/>
              <a:gd name="connsiteY1081" fmla="*/ 324694 h 2084191"/>
              <a:gd name="connsiteX1082" fmla="*/ 1994446 w 2051041"/>
              <a:gd name="connsiteY1082" fmla="*/ 309457 h 2084191"/>
              <a:gd name="connsiteX1083" fmla="*/ 1998255 w 2051041"/>
              <a:gd name="connsiteY1083" fmla="*/ 267555 h 2084191"/>
              <a:gd name="connsiteX1084" fmla="*/ 2000976 w 2051041"/>
              <a:gd name="connsiteY1084" fmla="*/ 263746 h 2084191"/>
              <a:gd name="connsiteX1085" fmla="*/ 1995534 w 2051041"/>
              <a:gd name="connsiteY1085" fmla="*/ 263746 h 2084191"/>
              <a:gd name="connsiteX1086" fmla="*/ 1941117 w 2051041"/>
              <a:gd name="connsiteY1086" fmla="*/ 263202 h 2084191"/>
              <a:gd name="connsiteX1087" fmla="*/ 417425 w 2051041"/>
              <a:gd name="connsiteY1087" fmla="*/ 262291 h 2084191"/>
              <a:gd name="connsiteX1088" fmla="*/ 445178 w 2051041"/>
              <a:gd name="connsiteY1088" fmla="*/ 288956 h 2084191"/>
              <a:gd name="connsiteX1089" fmla="*/ 417969 w 2051041"/>
              <a:gd name="connsiteY1089" fmla="*/ 317253 h 2084191"/>
              <a:gd name="connsiteX1090" fmla="*/ 390216 w 2051041"/>
              <a:gd name="connsiteY1090" fmla="*/ 290044 h 2084191"/>
              <a:gd name="connsiteX1091" fmla="*/ 417425 w 2051041"/>
              <a:gd name="connsiteY1091" fmla="*/ 262291 h 2084191"/>
              <a:gd name="connsiteX1092" fmla="*/ 580678 w 2051041"/>
              <a:gd name="connsiteY1092" fmla="*/ 256304 h 2084191"/>
              <a:gd name="connsiteX1093" fmla="*/ 613872 w 2051041"/>
              <a:gd name="connsiteY1093" fmla="*/ 288955 h 2084191"/>
              <a:gd name="connsiteX1094" fmla="*/ 581222 w 2051041"/>
              <a:gd name="connsiteY1094" fmla="*/ 322150 h 2084191"/>
              <a:gd name="connsiteX1095" fmla="*/ 548027 w 2051041"/>
              <a:gd name="connsiteY1095" fmla="*/ 289499 h 2084191"/>
              <a:gd name="connsiteX1096" fmla="*/ 580678 w 2051041"/>
              <a:gd name="connsiteY1096" fmla="*/ 256304 h 2084191"/>
              <a:gd name="connsiteX1097" fmla="*/ 743930 w 2051041"/>
              <a:gd name="connsiteY1097" fmla="*/ 251951 h 2084191"/>
              <a:gd name="connsiteX1098" fmla="*/ 782022 w 2051041"/>
              <a:gd name="connsiteY1098" fmla="*/ 289499 h 2084191"/>
              <a:gd name="connsiteX1099" fmla="*/ 744474 w 2051041"/>
              <a:gd name="connsiteY1099" fmla="*/ 326503 h 2084191"/>
              <a:gd name="connsiteX1100" fmla="*/ 707470 w 2051041"/>
              <a:gd name="connsiteY1100" fmla="*/ 289499 h 2084191"/>
              <a:gd name="connsiteX1101" fmla="*/ 743930 w 2051041"/>
              <a:gd name="connsiteY1101" fmla="*/ 251951 h 2084191"/>
              <a:gd name="connsiteX1102" fmla="*/ 907183 w 2051041"/>
              <a:gd name="connsiteY1102" fmla="*/ 249775 h 2084191"/>
              <a:gd name="connsiteX1103" fmla="*/ 947452 w 2051041"/>
              <a:gd name="connsiteY1103" fmla="*/ 289500 h 2084191"/>
              <a:gd name="connsiteX1104" fmla="*/ 908271 w 2051041"/>
              <a:gd name="connsiteY1104" fmla="*/ 329225 h 2084191"/>
              <a:gd name="connsiteX1105" fmla="*/ 867458 w 2051041"/>
              <a:gd name="connsiteY1105" fmla="*/ 290044 h 2084191"/>
              <a:gd name="connsiteX1106" fmla="*/ 907183 w 2051041"/>
              <a:gd name="connsiteY1106" fmla="*/ 249775 h 2084191"/>
              <a:gd name="connsiteX1107" fmla="*/ 1070435 w 2051041"/>
              <a:gd name="connsiteY1107" fmla="*/ 245965 h 2084191"/>
              <a:gd name="connsiteX1108" fmla="*/ 1114513 w 2051041"/>
              <a:gd name="connsiteY1108" fmla="*/ 290043 h 2084191"/>
              <a:gd name="connsiteX1109" fmla="*/ 1069347 w 2051041"/>
              <a:gd name="connsiteY1109" fmla="*/ 333578 h 2084191"/>
              <a:gd name="connsiteX1110" fmla="*/ 1026357 w 2051041"/>
              <a:gd name="connsiteY1110" fmla="*/ 288955 h 2084191"/>
              <a:gd name="connsiteX1111" fmla="*/ 1070435 w 2051041"/>
              <a:gd name="connsiteY1111" fmla="*/ 245965 h 2084191"/>
              <a:gd name="connsiteX1112" fmla="*/ 1233689 w 2051041"/>
              <a:gd name="connsiteY1112" fmla="*/ 241613 h 2084191"/>
              <a:gd name="connsiteX1113" fmla="*/ 1282120 w 2051041"/>
              <a:gd name="connsiteY1113" fmla="*/ 288412 h 2084191"/>
              <a:gd name="connsiteX1114" fmla="*/ 1235321 w 2051041"/>
              <a:gd name="connsiteY1114" fmla="*/ 335755 h 2084191"/>
              <a:gd name="connsiteX1115" fmla="*/ 1187434 w 2051041"/>
              <a:gd name="connsiteY1115" fmla="*/ 289500 h 2084191"/>
              <a:gd name="connsiteX1116" fmla="*/ 1233689 w 2051041"/>
              <a:gd name="connsiteY1116" fmla="*/ 241613 h 2084191"/>
              <a:gd name="connsiteX1117" fmla="*/ 1397485 w 2051041"/>
              <a:gd name="connsiteY1117" fmla="*/ 238891 h 2084191"/>
              <a:gd name="connsiteX1118" fmla="*/ 1448094 w 2051041"/>
              <a:gd name="connsiteY1118" fmla="*/ 288955 h 2084191"/>
              <a:gd name="connsiteX1119" fmla="*/ 1398029 w 2051041"/>
              <a:gd name="connsiteY1119" fmla="*/ 338475 h 2084191"/>
              <a:gd name="connsiteX1120" fmla="*/ 1348509 w 2051041"/>
              <a:gd name="connsiteY1120" fmla="*/ 289499 h 2084191"/>
              <a:gd name="connsiteX1121" fmla="*/ 1397485 w 2051041"/>
              <a:gd name="connsiteY1121" fmla="*/ 238891 h 2084191"/>
              <a:gd name="connsiteX1122" fmla="*/ 1559650 w 2051041"/>
              <a:gd name="connsiteY1122" fmla="*/ 237258 h 2084191"/>
              <a:gd name="connsiteX1123" fmla="*/ 1613523 w 2051041"/>
              <a:gd name="connsiteY1123" fmla="*/ 288955 h 2084191"/>
              <a:gd name="connsiteX1124" fmla="*/ 1560738 w 2051041"/>
              <a:gd name="connsiteY1124" fmla="*/ 342829 h 2084191"/>
              <a:gd name="connsiteX1125" fmla="*/ 1507953 w 2051041"/>
              <a:gd name="connsiteY1125" fmla="*/ 289499 h 2084191"/>
              <a:gd name="connsiteX1126" fmla="*/ 1559650 w 2051041"/>
              <a:gd name="connsiteY1126" fmla="*/ 237258 h 2084191"/>
              <a:gd name="connsiteX1127" fmla="*/ 9837 w 2051041"/>
              <a:gd name="connsiteY1127" fmla="*/ 198078 h 2084191"/>
              <a:gd name="connsiteX1128" fmla="*/ 19632 w 2051041"/>
              <a:gd name="connsiteY1128" fmla="*/ 207873 h 2084191"/>
              <a:gd name="connsiteX1129" fmla="*/ 10381 w 2051041"/>
              <a:gd name="connsiteY1129" fmla="*/ 218213 h 2084191"/>
              <a:gd name="connsiteX1130" fmla="*/ 42 w 2051041"/>
              <a:gd name="connsiteY1130" fmla="*/ 207873 h 2084191"/>
              <a:gd name="connsiteX1131" fmla="*/ 9837 w 2051041"/>
              <a:gd name="connsiteY1131" fmla="*/ 198078 h 2084191"/>
              <a:gd name="connsiteX1132" fmla="*/ 173090 w 2051041"/>
              <a:gd name="connsiteY1132" fmla="*/ 187739 h 2084191"/>
              <a:gd name="connsiteX1133" fmla="*/ 192136 w 2051041"/>
              <a:gd name="connsiteY1133" fmla="*/ 207329 h 2084191"/>
              <a:gd name="connsiteX1134" fmla="*/ 172546 w 2051041"/>
              <a:gd name="connsiteY1134" fmla="*/ 227464 h 2084191"/>
              <a:gd name="connsiteX1135" fmla="*/ 154044 w 2051041"/>
              <a:gd name="connsiteY1135" fmla="*/ 208418 h 2084191"/>
              <a:gd name="connsiteX1136" fmla="*/ 173090 w 2051041"/>
              <a:gd name="connsiteY1136" fmla="*/ 187739 h 2084191"/>
              <a:gd name="connsiteX1137" fmla="*/ 336887 w 2051041"/>
              <a:gd name="connsiteY1137" fmla="*/ 182297 h 2084191"/>
              <a:gd name="connsiteX1138" fmla="*/ 363007 w 2051041"/>
              <a:gd name="connsiteY1138" fmla="*/ 207329 h 2084191"/>
              <a:gd name="connsiteX1139" fmla="*/ 336887 w 2051041"/>
              <a:gd name="connsiteY1139" fmla="*/ 233994 h 2084191"/>
              <a:gd name="connsiteX1140" fmla="*/ 310766 w 2051041"/>
              <a:gd name="connsiteY1140" fmla="*/ 208961 h 2084191"/>
              <a:gd name="connsiteX1141" fmla="*/ 336887 w 2051041"/>
              <a:gd name="connsiteY1141" fmla="*/ 182297 h 2084191"/>
              <a:gd name="connsiteX1142" fmla="*/ 1856225 w 2051041"/>
              <a:gd name="connsiteY1142" fmla="*/ 180487 h 2084191"/>
              <a:gd name="connsiteX1143" fmla="*/ 1855681 w 2051041"/>
              <a:gd name="connsiteY1143" fmla="*/ 185929 h 2084191"/>
              <a:gd name="connsiteX1144" fmla="*/ 1851872 w 2051041"/>
              <a:gd name="connsiteY1144" fmla="*/ 244700 h 2084191"/>
              <a:gd name="connsiteX1145" fmla="*/ 1851328 w 2051041"/>
              <a:gd name="connsiteY1145" fmla="*/ 247965 h 2084191"/>
              <a:gd name="connsiteX1146" fmla="*/ 1854593 w 2051041"/>
              <a:gd name="connsiteY1146" fmla="*/ 247421 h 2084191"/>
              <a:gd name="connsiteX1147" fmla="*/ 1899215 w 2051041"/>
              <a:gd name="connsiteY1147" fmla="*/ 238714 h 2084191"/>
              <a:gd name="connsiteX1148" fmla="*/ 1913908 w 2051041"/>
              <a:gd name="connsiteY1148" fmla="*/ 243067 h 2084191"/>
              <a:gd name="connsiteX1149" fmla="*/ 1918806 w 2051041"/>
              <a:gd name="connsiteY1149" fmla="*/ 242523 h 2084191"/>
              <a:gd name="connsiteX1150" fmla="*/ 1918261 w 2051041"/>
              <a:gd name="connsiteY1150" fmla="*/ 238170 h 2084191"/>
              <a:gd name="connsiteX1151" fmla="*/ 1917173 w 2051041"/>
              <a:gd name="connsiteY1151" fmla="*/ 185929 h 2084191"/>
              <a:gd name="connsiteX1152" fmla="*/ 1918261 w 2051041"/>
              <a:gd name="connsiteY1152" fmla="*/ 181576 h 2084191"/>
              <a:gd name="connsiteX1153" fmla="*/ 1913908 w 2051041"/>
              <a:gd name="connsiteY1153" fmla="*/ 182664 h 2084191"/>
              <a:gd name="connsiteX1154" fmla="*/ 1860579 w 2051041"/>
              <a:gd name="connsiteY1154" fmla="*/ 180487 h 2084191"/>
              <a:gd name="connsiteX1155" fmla="*/ 1856225 w 2051041"/>
              <a:gd name="connsiteY1155" fmla="*/ 180487 h 2084191"/>
              <a:gd name="connsiteX1156" fmla="*/ 499595 w 2051041"/>
              <a:gd name="connsiteY1156" fmla="*/ 175767 h 2084191"/>
              <a:gd name="connsiteX1157" fmla="*/ 531158 w 2051041"/>
              <a:gd name="connsiteY1157" fmla="*/ 207874 h 2084191"/>
              <a:gd name="connsiteX1158" fmla="*/ 498507 w 2051041"/>
              <a:gd name="connsiteY1158" fmla="*/ 238347 h 2084191"/>
              <a:gd name="connsiteX1159" fmla="*/ 468033 w 2051041"/>
              <a:gd name="connsiteY1159" fmla="*/ 207329 h 2084191"/>
              <a:gd name="connsiteX1160" fmla="*/ 499595 w 2051041"/>
              <a:gd name="connsiteY1160" fmla="*/ 175767 h 2084191"/>
              <a:gd name="connsiteX1161" fmla="*/ 662304 w 2051041"/>
              <a:gd name="connsiteY1161" fmla="*/ 173046 h 2084191"/>
              <a:gd name="connsiteX1162" fmla="*/ 697676 w 2051041"/>
              <a:gd name="connsiteY1162" fmla="*/ 207873 h 2084191"/>
              <a:gd name="connsiteX1163" fmla="*/ 662304 w 2051041"/>
              <a:gd name="connsiteY1163" fmla="*/ 242156 h 2084191"/>
              <a:gd name="connsiteX1164" fmla="*/ 628021 w 2051041"/>
              <a:gd name="connsiteY1164" fmla="*/ 207873 h 2084191"/>
              <a:gd name="connsiteX1165" fmla="*/ 662304 w 2051041"/>
              <a:gd name="connsiteY1165" fmla="*/ 173046 h 2084191"/>
              <a:gd name="connsiteX1166" fmla="*/ 826645 w 2051041"/>
              <a:gd name="connsiteY1166" fmla="*/ 168148 h 2084191"/>
              <a:gd name="connsiteX1167" fmla="*/ 864737 w 2051041"/>
              <a:gd name="connsiteY1167" fmla="*/ 207329 h 2084191"/>
              <a:gd name="connsiteX1168" fmla="*/ 826100 w 2051041"/>
              <a:gd name="connsiteY1168" fmla="*/ 247054 h 2084191"/>
              <a:gd name="connsiteX1169" fmla="*/ 787464 w 2051041"/>
              <a:gd name="connsiteY1169" fmla="*/ 207873 h 2084191"/>
              <a:gd name="connsiteX1170" fmla="*/ 826645 w 2051041"/>
              <a:gd name="connsiteY1170" fmla="*/ 168148 h 2084191"/>
              <a:gd name="connsiteX1171" fmla="*/ 987721 w 2051041"/>
              <a:gd name="connsiteY1171" fmla="*/ 164883 h 2084191"/>
              <a:gd name="connsiteX1172" fmla="*/ 1031799 w 2051041"/>
              <a:gd name="connsiteY1172" fmla="*/ 207329 h 2084191"/>
              <a:gd name="connsiteX1173" fmla="*/ 988809 w 2051041"/>
              <a:gd name="connsiteY1173" fmla="*/ 250319 h 2084191"/>
              <a:gd name="connsiteX1174" fmla="*/ 945819 w 2051041"/>
              <a:gd name="connsiteY1174" fmla="*/ 208417 h 2084191"/>
              <a:gd name="connsiteX1175" fmla="*/ 987721 w 2051041"/>
              <a:gd name="connsiteY1175" fmla="*/ 164883 h 2084191"/>
              <a:gd name="connsiteX1176" fmla="*/ 1153150 w 2051041"/>
              <a:gd name="connsiteY1176" fmla="*/ 162707 h 2084191"/>
              <a:gd name="connsiteX1177" fmla="*/ 1197772 w 2051041"/>
              <a:gd name="connsiteY1177" fmla="*/ 207874 h 2084191"/>
              <a:gd name="connsiteX1178" fmla="*/ 1151517 w 2051041"/>
              <a:gd name="connsiteY1178" fmla="*/ 253584 h 2084191"/>
              <a:gd name="connsiteX1179" fmla="*/ 1107439 w 2051041"/>
              <a:gd name="connsiteY1179" fmla="*/ 207329 h 2084191"/>
              <a:gd name="connsiteX1180" fmla="*/ 1153150 w 2051041"/>
              <a:gd name="connsiteY1180" fmla="*/ 162707 h 2084191"/>
              <a:gd name="connsiteX1181" fmla="*/ 1315315 w 2051041"/>
              <a:gd name="connsiteY1181" fmla="*/ 158353 h 2084191"/>
              <a:gd name="connsiteX1182" fmla="*/ 1365379 w 2051041"/>
              <a:gd name="connsiteY1182" fmla="*/ 206785 h 2084191"/>
              <a:gd name="connsiteX1183" fmla="*/ 1315859 w 2051041"/>
              <a:gd name="connsiteY1183" fmla="*/ 256305 h 2084191"/>
              <a:gd name="connsiteX1184" fmla="*/ 1266883 w 2051041"/>
              <a:gd name="connsiteY1184" fmla="*/ 207873 h 2084191"/>
              <a:gd name="connsiteX1185" fmla="*/ 1315315 w 2051041"/>
              <a:gd name="connsiteY1185" fmla="*/ 158353 h 2084191"/>
              <a:gd name="connsiteX1186" fmla="*/ 1478567 w 2051041"/>
              <a:gd name="connsiteY1186" fmla="*/ 156721 h 2084191"/>
              <a:gd name="connsiteX1187" fmla="*/ 1529720 w 2051041"/>
              <a:gd name="connsiteY1187" fmla="*/ 207329 h 2084191"/>
              <a:gd name="connsiteX1188" fmla="*/ 1478567 w 2051041"/>
              <a:gd name="connsiteY1188" fmla="*/ 258482 h 2084191"/>
              <a:gd name="connsiteX1189" fmla="*/ 1427959 w 2051041"/>
              <a:gd name="connsiteY1189" fmla="*/ 207874 h 2084191"/>
              <a:gd name="connsiteX1190" fmla="*/ 1478567 w 2051041"/>
              <a:gd name="connsiteY1190" fmla="*/ 156721 h 2084191"/>
              <a:gd name="connsiteX1191" fmla="*/ 1644541 w 2051041"/>
              <a:gd name="connsiteY1191" fmla="*/ 153456 h 2084191"/>
              <a:gd name="connsiteX1192" fmla="*/ 1697326 w 2051041"/>
              <a:gd name="connsiteY1192" fmla="*/ 209506 h 2084191"/>
              <a:gd name="connsiteX1193" fmla="*/ 1641276 w 2051041"/>
              <a:gd name="connsiteY1193" fmla="*/ 262835 h 2084191"/>
              <a:gd name="connsiteX1194" fmla="*/ 1587947 w 2051041"/>
              <a:gd name="connsiteY1194" fmla="*/ 206785 h 2084191"/>
              <a:gd name="connsiteX1195" fmla="*/ 1644541 w 2051041"/>
              <a:gd name="connsiteY1195" fmla="*/ 153456 h 2084191"/>
              <a:gd name="connsiteX1196" fmla="*/ 91463 w 2051041"/>
              <a:gd name="connsiteY1196" fmla="*/ 109922 h 2084191"/>
              <a:gd name="connsiteX1197" fmla="*/ 107244 w 2051041"/>
              <a:gd name="connsiteY1197" fmla="*/ 126247 h 2084191"/>
              <a:gd name="connsiteX1198" fmla="*/ 91463 w 2051041"/>
              <a:gd name="connsiteY1198" fmla="*/ 142028 h 2084191"/>
              <a:gd name="connsiteX1199" fmla="*/ 75682 w 2051041"/>
              <a:gd name="connsiteY1199" fmla="*/ 126247 h 2084191"/>
              <a:gd name="connsiteX1200" fmla="*/ 91463 w 2051041"/>
              <a:gd name="connsiteY1200" fmla="*/ 109922 h 2084191"/>
              <a:gd name="connsiteX1201" fmla="*/ 1942341 w 2051041"/>
              <a:gd name="connsiteY1201" fmla="*/ 104915 h 2084191"/>
              <a:gd name="connsiteX1202" fmla="*/ 1942205 w 2051041"/>
              <a:gd name="connsiteY1202" fmla="*/ 111377 h 2084191"/>
              <a:gd name="connsiteX1203" fmla="*/ 1946559 w 2051041"/>
              <a:gd name="connsiteY1203" fmla="*/ 131511 h 2084191"/>
              <a:gd name="connsiteX1204" fmla="*/ 1939484 w 2051041"/>
              <a:gd name="connsiteY1204" fmla="*/ 157088 h 2084191"/>
              <a:gd name="connsiteX1205" fmla="*/ 1941117 w 2051041"/>
              <a:gd name="connsiteY1205" fmla="*/ 160353 h 2084191"/>
              <a:gd name="connsiteX1206" fmla="*/ 1986828 w 2051041"/>
              <a:gd name="connsiteY1206" fmla="*/ 157088 h 2084191"/>
              <a:gd name="connsiteX1207" fmla="*/ 1987916 w 2051041"/>
              <a:gd name="connsiteY1207" fmla="*/ 157088 h 2084191"/>
              <a:gd name="connsiteX1208" fmla="*/ 1993902 w 2051041"/>
              <a:gd name="connsiteY1208" fmla="*/ 150013 h 2084191"/>
              <a:gd name="connsiteX1209" fmla="*/ 1993902 w 2051041"/>
              <a:gd name="connsiteY1209" fmla="*/ 109744 h 2084191"/>
              <a:gd name="connsiteX1210" fmla="*/ 1989004 w 2051041"/>
              <a:gd name="connsiteY1210" fmla="*/ 105391 h 2084191"/>
              <a:gd name="connsiteX1211" fmla="*/ 1948191 w 2051041"/>
              <a:gd name="connsiteY1211" fmla="*/ 105391 h 2084191"/>
              <a:gd name="connsiteX1212" fmla="*/ 1942341 w 2051041"/>
              <a:gd name="connsiteY1212" fmla="*/ 104915 h 2084191"/>
              <a:gd name="connsiteX1213" fmla="*/ 255804 w 2051041"/>
              <a:gd name="connsiteY1213" fmla="*/ 103392 h 2084191"/>
              <a:gd name="connsiteX1214" fmla="*/ 277571 w 2051041"/>
              <a:gd name="connsiteY1214" fmla="*/ 126791 h 2084191"/>
              <a:gd name="connsiteX1215" fmla="*/ 254172 w 2051041"/>
              <a:gd name="connsiteY1215" fmla="*/ 148014 h 2084191"/>
              <a:gd name="connsiteX1216" fmla="*/ 232405 w 2051041"/>
              <a:gd name="connsiteY1216" fmla="*/ 125159 h 2084191"/>
              <a:gd name="connsiteX1217" fmla="*/ 255804 w 2051041"/>
              <a:gd name="connsiteY1217" fmla="*/ 103392 h 2084191"/>
              <a:gd name="connsiteX1218" fmla="*/ 1773511 w 2051041"/>
              <a:gd name="connsiteY1218" fmla="*/ 99405 h 2084191"/>
              <a:gd name="connsiteX1219" fmla="*/ 1773511 w 2051041"/>
              <a:gd name="connsiteY1219" fmla="*/ 107023 h 2084191"/>
              <a:gd name="connsiteX1220" fmla="*/ 1780585 w 2051041"/>
              <a:gd name="connsiteY1220" fmla="*/ 130423 h 2084191"/>
              <a:gd name="connsiteX1221" fmla="*/ 1773511 w 2051041"/>
              <a:gd name="connsiteY1221" fmla="*/ 155999 h 2084191"/>
              <a:gd name="connsiteX1222" fmla="*/ 1774055 w 2051041"/>
              <a:gd name="connsiteY1222" fmla="*/ 161985 h 2084191"/>
              <a:gd name="connsiteX1223" fmla="*/ 1780041 w 2051041"/>
              <a:gd name="connsiteY1223" fmla="*/ 162529 h 2084191"/>
              <a:gd name="connsiteX1224" fmla="*/ 1811059 w 2051041"/>
              <a:gd name="connsiteY1224" fmla="*/ 157632 h 2084191"/>
              <a:gd name="connsiteX1225" fmla="*/ 1829561 w 2051041"/>
              <a:gd name="connsiteY1225" fmla="*/ 161985 h 2084191"/>
              <a:gd name="connsiteX1226" fmla="*/ 1836635 w 2051041"/>
              <a:gd name="connsiteY1226" fmla="*/ 161985 h 2084191"/>
              <a:gd name="connsiteX1227" fmla="*/ 1833914 w 2051041"/>
              <a:gd name="connsiteY1227" fmla="*/ 157088 h 2084191"/>
              <a:gd name="connsiteX1228" fmla="*/ 1834458 w 2051041"/>
              <a:gd name="connsiteY1228" fmla="*/ 104303 h 2084191"/>
              <a:gd name="connsiteX1229" fmla="*/ 1835547 w 2051041"/>
              <a:gd name="connsiteY1229" fmla="*/ 99405 h 2084191"/>
              <a:gd name="connsiteX1230" fmla="*/ 1831193 w 2051041"/>
              <a:gd name="connsiteY1230" fmla="*/ 101038 h 2084191"/>
              <a:gd name="connsiteX1231" fmla="*/ 1780041 w 2051041"/>
              <a:gd name="connsiteY1231" fmla="*/ 101582 h 2084191"/>
              <a:gd name="connsiteX1232" fmla="*/ 1773511 w 2051041"/>
              <a:gd name="connsiteY1232" fmla="*/ 99405 h 2084191"/>
              <a:gd name="connsiteX1233" fmla="*/ 417424 w 2051041"/>
              <a:gd name="connsiteY1233" fmla="*/ 97950 h 2084191"/>
              <a:gd name="connsiteX1234" fmla="*/ 445721 w 2051041"/>
              <a:gd name="connsiteY1234" fmla="*/ 126247 h 2084191"/>
              <a:gd name="connsiteX1235" fmla="*/ 417424 w 2051041"/>
              <a:gd name="connsiteY1235" fmla="*/ 153456 h 2084191"/>
              <a:gd name="connsiteX1236" fmla="*/ 390215 w 2051041"/>
              <a:gd name="connsiteY1236" fmla="*/ 125159 h 2084191"/>
              <a:gd name="connsiteX1237" fmla="*/ 417424 w 2051041"/>
              <a:gd name="connsiteY1237" fmla="*/ 97950 h 2084191"/>
              <a:gd name="connsiteX1238" fmla="*/ 580677 w 2051041"/>
              <a:gd name="connsiteY1238" fmla="*/ 92508 h 2084191"/>
              <a:gd name="connsiteX1239" fmla="*/ 614960 w 2051041"/>
              <a:gd name="connsiteY1239" fmla="*/ 125159 h 2084191"/>
              <a:gd name="connsiteX1240" fmla="*/ 581766 w 2051041"/>
              <a:gd name="connsiteY1240" fmla="*/ 158353 h 2084191"/>
              <a:gd name="connsiteX1241" fmla="*/ 548571 w 2051041"/>
              <a:gd name="connsiteY1241" fmla="*/ 125703 h 2084191"/>
              <a:gd name="connsiteX1242" fmla="*/ 580677 w 2051041"/>
              <a:gd name="connsiteY1242" fmla="*/ 92508 h 2084191"/>
              <a:gd name="connsiteX1243" fmla="*/ 745019 w 2051041"/>
              <a:gd name="connsiteY1243" fmla="*/ 88154 h 2084191"/>
              <a:gd name="connsiteX1244" fmla="*/ 782567 w 2051041"/>
              <a:gd name="connsiteY1244" fmla="*/ 126791 h 2084191"/>
              <a:gd name="connsiteX1245" fmla="*/ 743930 w 2051041"/>
              <a:gd name="connsiteY1245" fmla="*/ 164339 h 2084191"/>
              <a:gd name="connsiteX1246" fmla="*/ 706382 w 2051041"/>
              <a:gd name="connsiteY1246" fmla="*/ 125702 h 2084191"/>
              <a:gd name="connsiteX1247" fmla="*/ 745019 w 2051041"/>
              <a:gd name="connsiteY1247" fmla="*/ 88154 h 2084191"/>
              <a:gd name="connsiteX1248" fmla="*/ 1685898 w 2051041"/>
              <a:gd name="connsiteY1248" fmla="*/ 84712 h 2084191"/>
              <a:gd name="connsiteX1249" fmla="*/ 1685681 w 2051041"/>
              <a:gd name="connsiteY1249" fmla="*/ 85147 h 2084191"/>
              <a:gd name="connsiteX1250" fmla="*/ 1685354 w 2051041"/>
              <a:gd name="connsiteY1250" fmla="*/ 85256 h 2084191"/>
              <a:gd name="connsiteX1251" fmla="*/ 1685898 w 2051041"/>
              <a:gd name="connsiteY1251" fmla="*/ 84712 h 2084191"/>
              <a:gd name="connsiteX1252" fmla="*/ 907183 w 2051041"/>
              <a:gd name="connsiteY1252" fmla="*/ 84345 h 2084191"/>
              <a:gd name="connsiteX1253" fmla="*/ 934935 w 2051041"/>
              <a:gd name="connsiteY1253" fmla="*/ 95228 h 2084191"/>
              <a:gd name="connsiteX1254" fmla="*/ 949628 w 2051041"/>
              <a:gd name="connsiteY1254" fmla="*/ 125158 h 2084191"/>
              <a:gd name="connsiteX1255" fmla="*/ 908271 w 2051041"/>
              <a:gd name="connsiteY1255" fmla="*/ 167060 h 2084191"/>
              <a:gd name="connsiteX1256" fmla="*/ 866369 w 2051041"/>
              <a:gd name="connsiteY1256" fmla="*/ 125702 h 2084191"/>
              <a:gd name="connsiteX1257" fmla="*/ 907183 w 2051041"/>
              <a:gd name="connsiteY1257" fmla="*/ 84345 h 2084191"/>
              <a:gd name="connsiteX1258" fmla="*/ 1070979 w 2051041"/>
              <a:gd name="connsiteY1258" fmla="*/ 82169 h 2084191"/>
              <a:gd name="connsiteX1259" fmla="*/ 1115602 w 2051041"/>
              <a:gd name="connsiteY1259" fmla="*/ 126247 h 2084191"/>
              <a:gd name="connsiteX1260" fmla="*/ 1071524 w 2051041"/>
              <a:gd name="connsiteY1260" fmla="*/ 170325 h 2084191"/>
              <a:gd name="connsiteX1261" fmla="*/ 1026357 w 2051041"/>
              <a:gd name="connsiteY1261" fmla="*/ 125703 h 2084191"/>
              <a:gd name="connsiteX1262" fmla="*/ 1070979 w 2051041"/>
              <a:gd name="connsiteY1262" fmla="*/ 82169 h 2084191"/>
              <a:gd name="connsiteX1263" fmla="*/ 1684811 w 2051041"/>
              <a:gd name="connsiteY1263" fmla="*/ 82168 h 2084191"/>
              <a:gd name="connsiteX1264" fmla="*/ 1684266 w 2051041"/>
              <a:gd name="connsiteY1264" fmla="*/ 82713 h 2084191"/>
              <a:gd name="connsiteX1265" fmla="*/ 1684469 w 2051041"/>
              <a:gd name="connsiteY1265" fmla="*/ 82365 h 2084191"/>
              <a:gd name="connsiteX1266" fmla="*/ 1234777 w 2051041"/>
              <a:gd name="connsiteY1266" fmla="*/ 78360 h 2084191"/>
              <a:gd name="connsiteX1267" fmla="*/ 1282664 w 2051041"/>
              <a:gd name="connsiteY1267" fmla="*/ 126791 h 2084191"/>
              <a:gd name="connsiteX1268" fmla="*/ 1234232 w 2051041"/>
              <a:gd name="connsiteY1268" fmla="*/ 174135 h 2084191"/>
              <a:gd name="connsiteX1269" fmla="*/ 1186889 w 2051041"/>
              <a:gd name="connsiteY1269" fmla="*/ 126791 h 2084191"/>
              <a:gd name="connsiteX1270" fmla="*/ 1234777 w 2051041"/>
              <a:gd name="connsiteY1270" fmla="*/ 78360 h 2084191"/>
              <a:gd name="connsiteX1271" fmla="*/ 1398574 w 2051041"/>
              <a:gd name="connsiteY1271" fmla="*/ 76182 h 2084191"/>
              <a:gd name="connsiteX1272" fmla="*/ 1448094 w 2051041"/>
              <a:gd name="connsiteY1272" fmla="*/ 127335 h 2084191"/>
              <a:gd name="connsiteX1273" fmla="*/ 1396941 w 2051041"/>
              <a:gd name="connsiteY1273" fmla="*/ 175766 h 2084191"/>
              <a:gd name="connsiteX1274" fmla="*/ 1347421 w 2051041"/>
              <a:gd name="connsiteY1274" fmla="*/ 125702 h 2084191"/>
              <a:gd name="connsiteX1275" fmla="*/ 1398574 w 2051041"/>
              <a:gd name="connsiteY1275" fmla="*/ 76182 h 2084191"/>
              <a:gd name="connsiteX1276" fmla="*/ 1561282 w 2051041"/>
              <a:gd name="connsiteY1276" fmla="*/ 72373 h 2084191"/>
              <a:gd name="connsiteX1277" fmla="*/ 1614611 w 2051041"/>
              <a:gd name="connsiteY1277" fmla="*/ 126247 h 2084191"/>
              <a:gd name="connsiteX1278" fmla="*/ 1560738 w 2051041"/>
              <a:gd name="connsiteY1278" fmla="*/ 179576 h 2084191"/>
              <a:gd name="connsiteX1279" fmla="*/ 1507409 w 2051041"/>
              <a:gd name="connsiteY1279" fmla="*/ 126247 h 2084191"/>
              <a:gd name="connsiteX1280" fmla="*/ 1561282 w 2051041"/>
              <a:gd name="connsiteY1280" fmla="*/ 72373 h 2084191"/>
              <a:gd name="connsiteX1281" fmla="*/ 10381 w 2051041"/>
              <a:gd name="connsiteY1281" fmla="*/ 33737 h 2084191"/>
              <a:gd name="connsiteX1282" fmla="*/ 20720 w 2051041"/>
              <a:gd name="connsiteY1282" fmla="*/ 45165 h 2084191"/>
              <a:gd name="connsiteX1283" fmla="*/ 9292 w 2051041"/>
              <a:gd name="connsiteY1283" fmla="*/ 54960 h 2084191"/>
              <a:gd name="connsiteX1284" fmla="*/ 41 w 2051041"/>
              <a:gd name="connsiteY1284" fmla="*/ 44621 h 2084191"/>
              <a:gd name="connsiteX1285" fmla="*/ 10381 w 2051041"/>
              <a:gd name="connsiteY1285" fmla="*/ 33737 h 2084191"/>
              <a:gd name="connsiteX1286" fmla="*/ 172546 w 2051041"/>
              <a:gd name="connsiteY1286" fmla="*/ 23942 h 2084191"/>
              <a:gd name="connsiteX1287" fmla="*/ 193224 w 2051041"/>
              <a:gd name="connsiteY1287" fmla="*/ 44621 h 2084191"/>
              <a:gd name="connsiteX1288" fmla="*/ 173090 w 2051041"/>
              <a:gd name="connsiteY1288" fmla="*/ 64755 h 2084191"/>
              <a:gd name="connsiteX1289" fmla="*/ 152411 w 2051041"/>
              <a:gd name="connsiteY1289" fmla="*/ 44621 h 2084191"/>
              <a:gd name="connsiteX1290" fmla="*/ 172546 w 2051041"/>
              <a:gd name="connsiteY1290" fmla="*/ 23942 h 2084191"/>
              <a:gd name="connsiteX1291" fmla="*/ 1861123 w 2051041"/>
              <a:gd name="connsiteY1291" fmla="*/ 22132 h 2084191"/>
              <a:gd name="connsiteX1292" fmla="*/ 1861123 w 2051041"/>
              <a:gd name="connsiteY1292" fmla="*/ 35737 h 2084191"/>
              <a:gd name="connsiteX1293" fmla="*/ 1861123 w 2051041"/>
              <a:gd name="connsiteY1293" fmla="*/ 61313 h 2084191"/>
              <a:gd name="connsiteX1294" fmla="*/ 1858946 w 2051041"/>
              <a:gd name="connsiteY1294" fmla="*/ 72740 h 2084191"/>
              <a:gd name="connsiteX1295" fmla="*/ 1866021 w 2051041"/>
              <a:gd name="connsiteY1295" fmla="*/ 76550 h 2084191"/>
              <a:gd name="connsiteX1296" fmla="*/ 1873639 w 2051041"/>
              <a:gd name="connsiteY1296" fmla="*/ 74917 h 2084191"/>
              <a:gd name="connsiteX1297" fmla="*/ 1900304 w 2051041"/>
              <a:gd name="connsiteY1297" fmla="*/ 74373 h 2084191"/>
              <a:gd name="connsiteX1298" fmla="*/ 1907922 w 2051041"/>
              <a:gd name="connsiteY1298" fmla="*/ 76006 h 2084191"/>
              <a:gd name="connsiteX1299" fmla="*/ 1912820 w 2051041"/>
              <a:gd name="connsiteY1299" fmla="*/ 70020 h 2084191"/>
              <a:gd name="connsiteX1300" fmla="*/ 1912820 w 2051041"/>
              <a:gd name="connsiteY1300" fmla="*/ 27030 h 2084191"/>
              <a:gd name="connsiteX1301" fmla="*/ 1908466 w 2051041"/>
              <a:gd name="connsiteY1301" fmla="*/ 22132 h 2084191"/>
              <a:gd name="connsiteX1302" fmla="*/ 1902480 w 2051041"/>
              <a:gd name="connsiteY1302" fmla="*/ 24309 h 2084191"/>
              <a:gd name="connsiteX1303" fmla="*/ 1873095 w 2051041"/>
              <a:gd name="connsiteY1303" fmla="*/ 24309 h 2084191"/>
              <a:gd name="connsiteX1304" fmla="*/ 1861123 w 2051041"/>
              <a:gd name="connsiteY1304" fmla="*/ 22132 h 2084191"/>
              <a:gd name="connsiteX1305" fmla="*/ 336886 w 2051041"/>
              <a:gd name="connsiteY1305" fmla="*/ 17412 h 2084191"/>
              <a:gd name="connsiteX1306" fmla="*/ 363007 w 2051041"/>
              <a:gd name="connsiteY1306" fmla="*/ 44077 h 2084191"/>
              <a:gd name="connsiteX1307" fmla="*/ 337431 w 2051041"/>
              <a:gd name="connsiteY1307" fmla="*/ 71285 h 2084191"/>
              <a:gd name="connsiteX1308" fmla="*/ 310222 w 2051041"/>
              <a:gd name="connsiteY1308" fmla="*/ 45165 h 2084191"/>
              <a:gd name="connsiteX1309" fmla="*/ 336886 w 2051041"/>
              <a:gd name="connsiteY1309" fmla="*/ 17412 h 2084191"/>
              <a:gd name="connsiteX1310" fmla="*/ 498507 w 2051041"/>
              <a:gd name="connsiteY1310" fmla="*/ 13059 h 2084191"/>
              <a:gd name="connsiteX1311" fmla="*/ 531702 w 2051041"/>
              <a:gd name="connsiteY1311" fmla="*/ 44621 h 2084191"/>
              <a:gd name="connsiteX1312" fmla="*/ 499595 w 2051041"/>
              <a:gd name="connsiteY1312" fmla="*/ 76727 h 2084191"/>
              <a:gd name="connsiteX1313" fmla="*/ 467489 w 2051041"/>
              <a:gd name="connsiteY1313" fmla="*/ 45165 h 2084191"/>
              <a:gd name="connsiteX1314" fmla="*/ 498507 w 2051041"/>
              <a:gd name="connsiteY1314" fmla="*/ 13059 h 2084191"/>
              <a:gd name="connsiteX1315" fmla="*/ 662303 w 2051041"/>
              <a:gd name="connsiteY1315" fmla="*/ 7616 h 2084191"/>
              <a:gd name="connsiteX1316" fmla="*/ 698763 w 2051041"/>
              <a:gd name="connsiteY1316" fmla="*/ 44076 h 2084191"/>
              <a:gd name="connsiteX1317" fmla="*/ 662303 w 2051041"/>
              <a:gd name="connsiteY1317" fmla="*/ 81080 h 2084191"/>
              <a:gd name="connsiteX1318" fmla="*/ 626932 w 2051041"/>
              <a:gd name="connsiteY1318" fmla="*/ 44076 h 2084191"/>
              <a:gd name="connsiteX1319" fmla="*/ 662303 w 2051041"/>
              <a:gd name="connsiteY1319" fmla="*/ 7616 h 2084191"/>
              <a:gd name="connsiteX1320" fmla="*/ 825557 w 2051041"/>
              <a:gd name="connsiteY1320" fmla="*/ 5440 h 2084191"/>
              <a:gd name="connsiteX1321" fmla="*/ 865281 w 2051041"/>
              <a:gd name="connsiteY1321" fmla="*/ 44621 h 2084191"/>
              <a:gd name="connsiteX1322" fmla="*/ 826101 w 2051041"/>
              <a:gd name="connsiteY1322" fmla="*/ 83257 h 2084191"/>
              <a:gd name="connsiteX1323" fmla="*/ 786920 w 2051041"/>
              <a:gd name="connsiteY1323" fmla="*/ 44621 h 2084191"/>
              <a:gd name="connsiteX1324" fmla="*/ 825557 w 2051041"/>
              <a:gd name="connsiteY1324" fmla="*/ 5440 h 2084191"/>
              <a:gd name="connsiteX1325" fmla="*/ 989353 w 2051041"/>
              <a:gd name="connsiteY1325" fmla="*/ 1086 h 2084191"/>
              <a:gd name="connsiteX1326" fmla="*/ 1032343 w 2051041"/>
              <a:gd name="connsiteY1326" fmla="*/ 43532 h 2084191"/>
              <a:gd name="connsiteX1327" fmla="*/ 989897 w 2051041"/>
              <a:gd name="connsiteY1327" fmla="*/ 87610 h 2084191"/>
              <a:gd name="connsiteX1328" fmla="*/ 945819 w 2051041"/>
              <a:gd name="connsiteY1328" fmla="*/ 44620 h 2084191"/>
              <a:gd name="connsiteX1329" fmla="*/ 989353 w 2051041"/>
              <a:gd name="connsiteY1329" fmla="*/ 1086 h 2084191"/>
              <a:gd name="connsiteX1330" fmla="*/ 1614056 w 2051041"/>
              <a:gd name="connsiteY1330" fmla="*/ 0 h 2084191"/>
              <a:gd name="connsiteX1331" fmla="*/ 1675529 w 2051041"/>
              <a:gd name="connsiteY1331" fmla="*/ 0 h 2084191"/>
              <a:gd name="connsiteX1332" fmla="*/ 1682905 w 2051041"/>
              <a:gd name="connsiteY1332" fmla="*/ 4720 h 2084191"/>
              <a:gd name="connsiteX1333" fmla="*/ 1933639 w 2051041"/>
              <a:gd name="connsiteY1333" fmla="*/ 4720 h 2084191"/>
              <a:gd name="connsiteX1334" fmla="*/ 2016655 w 2051041"/>
              <a:gd name="connsiteY1334" fmla="*/ 39107 h 2084191"/>
              <a:gd name="connsiteX1335" fmla="*/ 2028934 w 2051041"/>
              <a:gd name="connsiteY1335" fmla="*/ 57318 h 2084191"/>
              <a:gd name="connsiteX1336" fmla="*/ 2026008 w 2051041"/>
              <a:gd name="connsiteY1336" fmla="*/ 71108 h 2084191"/>
              <a:gd name="connsiteX1337" fmla="*/ 2030906 w 2051041"/>
              <a:gd name="connsiteY1337" fmla="*/ 75461 h 2084191"/>
              <a:gd name="connsiteX1338" fmla="*/ 2039929 w 2051041"/>
              <a:gd name="connsiteY1338" fmla="*/ 73627 h 2084191"/>
              <a:gd name="connsiteX1339" fmla="*/ 2041815 w 2051041"/>
              <a:gd name="connsiteY1339" fmla="*/ 76424 h 2084191"/>
              <a:gd name="connsiteX1340" fmla="*/ 2051041 w 2051041"/>
              <a:gd name="connsiteY1340" fmla="*/ 122122 h 2084191"/>
              <a:gd name="connsiteX1341" fmla="*/ 2051041 w 2051041"/>
              <a:gd name="connsiteY1341" fmla="*/ 186473 h 2084191"/>
              <a:gd name="connsiteX1342" fmla="*/ 2029818 w 2051041"/>
              <a:gd name="connsiteY1342" fmla="*/ 186473 h 2084191"/>
              <a:gd name="connsiteX1343" fmla="*/ 2023287 w 2051041"/>
              <a:gd name="connsiteY1343" fmla="*/ 192459 h 2084191"/>
              <a:gd name="connsiteX1344" fmla="*/ 2023832 w 2051041"/>
              <a:gd name="connsiteY1344" fmla="*/ 196268 h 2084191"/>
              <a:gd name="connsiteX1345" fmla="*/ 2019478 w 2051041"/>
              <a:gd name="connsiteY1345" fmla="*/ 239258 h 2084191"/>
              <a:gd name="connsiteX1346" fmla="*/ 2020022 w 2051041"/>
              <a:gd name="connsiteY1346" fmla="*/ 242523 h 2084191"/>
              <a:gd name="connsiteX1347" fmla="*/ 2023287 w 2051041"/>
              <a:gd name="connsiteY1347" fmla="*/ 243067 h 2084191"/>
              <a:gd name="connsiteX1348" fmla="*/ 2050224 w 2051041"/>
              <a:gd name="connsiteY1348" fmla="*/ 237150 h 2084191"/>
              <a:gd name="connsiteX1349" fmla="*/ 2051041 w 2051041"/>
              <a:gd name="connsiteY1349" fmla="*/ 237329 h 2084191"/>
              <a:gd name="connsiteX1350" fmla="*/ 2051041 w 2051041"/>
              <a:gd name="connsiteY1350" fmla="*/ 348996 h 2084191"/>
              <a:gd name="connsiteX1351" fmla="*/ 2036552 w 2051041"/>
              <a:gd name="connsiteY1351" fmla="*/ 347754 h 2084191"/>
              <a:gd name="connsiteX1352" fmla="*/ 2021111 w 2051041"/>
              <a:gd name="connsiteY1352" fmla="*/ 341019 h 2084191"/>
              <a:gd name="connsiteX1353" fmla="*/ 2016757 w 2051041"/>
              <a:gd name="connsiteY1353" fmla="*/ 338842 h 2084191"/>
              <a:gd name="connsiteX1354" fmla="*/ 2017301 w 2051041"/>
              <a:gd name="connsiteY1354" fmla="*/ 344284 h 2084191"/>
              <a:gd name="connsiteX1355" fmla="*/ 2025464 w 2051041"/>
              <a:gd name="connsiteY1355" fmla="*/ 376391 h 2084191"/>
              <a:gd name="connsiteX1356" fmla="*/ 1994446 w 2051041"/>
              <a:gd name="connsiteY1356" fmla="*/ 424278 h 2084191"/>
              <a:gd name="connsiteX1357" fmla="*/ 1933498 w 2051041"/>
              <a:gd name="connsiteY1357" fmla="*/ 416115 h 2084191"/>
              <a:gd name="connsiteX1358" fmla="*/ 1920438 w 2051041"/>
              <a:gd name="connsiteY1358" fmla="*/ 352447 h 2084191"/>
              <a:gd name="connsiteX1359" fmla="*/ 1925336 w 2051041"/>
              <a:gd name="connsiteY1359" fmla="*/ 338298 h 2084191"/>
              <a:gd name="connsiteX1360" fmla="*/ 1911731 w 2051041"/>
              <a:gd name="connsiteY1360" fmla="*/ 343196 h 2084191"/>
              <a:gd name="connsiteX1361" fmla="*/ 1898671 w 2051041"/>
              <a:gd name="connsiteY1361" fmla="*/ 347005 h 2084191"/>
              <a:gd name="connsiteX1362" fmla="*/ 1854593 w 2051041"/>
              <a:gd name="connsiteY1362" fmla="*/ 336666 h 2084191"/>
              <a:gd name="connsiteX1363" fmla="*/ 1847690 w 2051041"/>
              <a:gd name="connsiteY1363" fmla="*/ 333480 h 2084191"/>
              <a:gd name="connsiteX1364" fmla="*/ 1852961 w 2051041"/>
              <a:gd name="connsiteY1364" fmla="*/ 344461 h 2084191"/>
              <a:gd name="connsiteX1365" fmla="*/ 1826840 w 2051041"/>
              <a:gd name="connsiteY1365" fmla="*/ 420646 h 2084191"/>
              <a:gd name="connsiteX1366" fmla="*/ 1765893 w 2051041"/>
              <a:gd name="connsiteY1366" fmla="*/ 408130 h 2084191"/>
              <a:gd name="connsiteX1367" fmla="*/ 1759362 w 2051041"/>
              <a:gd name="connsiteY1367" fmla="*/ 342829 h 2084191"/>
              <a:gd name="connsiteX1368" fmla="*/ 1815991 w 2051041"/>
              <a:gd name="connsiteY1368" fmla="*/ 317193 h 2084191"/>
              <a:gd name="connsiteX1369" fmla="*/ 1834459 w 2051041"/>
              <a:gd name="connsiteY1369" fmla="*/ 325415 h 2084191"/>
              <a:gd name="connsiteX1370" fmla="*/ 1845023 w 2051041"/>
              <a:gd name="connsiteY1370" fmla="*/ 330169 h 2084191"/>
              <a:gd name="connsiteX1371" fmla="*/ 1840444 w 2051041"/>
              <a:gd name="connsiteY1371" fmla="*/ 321429 h 2084191"/>
              <a:gd name="connsiteX1372" fmla="*/ 1834458 w 2051041"/>
              <a:gd name="connsiteY1372" fmla="*/ 275174 h 2084191"/>
              <a:gd name="connsiteX1373" fmla="*/ 1840988 w 2051041"/>
              <a:gd name="connsiteY1373" fmla="*/ 259937 h 2084191"/>
              <a:gd name="connsiteX1374" fmla="*/ 1842077 w 2051041"/>
              <a:gd name="connsiteY1374" fmla="*/ 255584 h 2084191"/>
              <a:gd name="connsiteX1375" fmla="*/ 1837723 w 2051041"/>
              <a:gd name="connsiteY1375" fmla="*/ 257216 h 2084191"/>
              <a:gd name="connsiteX1376" fmla="*/ 1817589 w 2051041"/>
              <a:gd name="connsiteY1376" fmla="*/ 264834 h 2084191"/>
              <a:gd name="connsiteX1377" fmla="*/ 1768069 w 2051041"/>
              <a:gd name="connsiteY1377" fmla="*/ 251774 h 2084191"/>
              <a:gd name="connsiteX1378" fmla="*/ 1764740 w 2051041"/>
              <a:gd name="connsiteY1378" fmla="*/ 250110 h 2084191"/>
              <a:gd name="connsiteX1379" fmla="*/ 1773510 w 2051041"/>
              <a:gd name="connsiteY1379" fmla="*/ 267189 h 2084191"/>
              <a:gd name="connsiteX1380" fmla="*/ 1750655 w 2051041"/>
              <a:gd name="connsiteY1380" fmla="*/ 336843 h 2084191"/>
              <a:gd name="connsiteX1381" fmla="*/ 1673926 w 2051041"/>
              <a:gd name="connsiteY1381" fmla="*/ 310723 h 2084191"/>
              <a:gd name="connsiteX1382" fmla="*/ 1681545 w 2051041"/>
              <a:gd name="connsiteY1382" fmla="*/ 254673 h 2084191"/>
              <a:gd name="connsiteX1383" fmla="*/ 1733786 w 2051041"/>
              <a:gd name="connsiteY1383" fmla="*/ 235083 h 2084191"/>
              <a:gd name="connsiteX1384" fmla="*/ 1751743 w 2051041"/>
              <a:gd name="connsiteY1384" fmla="*/ 242157 h 2084191"/>
              <a:gd name="connsiteX1385" fmla="*/ 1762506 w 2051041"/>
              <a:gd name="connsiteY1385" fmla="*/ 246769 h 2084191"/>
              <a:gd name="connsiteX1386" fmla="*/ 1757185 w 2051041"/>
              <a:gd name="connsiteY1386" fmla="*/ 236537 h 2084191"/>
              <a:gd name="connsiteX1387" fmla="*/ 1756097 w 2051041"/>
              <a:gd name="connsiteY1387" fmla="*/ 185929 h 2084191"/>
              <a:gd name="connsiteX1388" fmla="*/ 1757185 w 2051041"/>
              <a:gd name="connsiteY1388" fmla="*/ 177766 h 2084191"/>
              <a:gd name="connsiteX1389" fmla="*/ 1749023 w 2051041"/>
              <a:gd name="connsiteY1389" fmla="*/ 178311 h 2084191"/>
              <a:gd name="connsiteX1390" fmla="*/ 1676103 w 2051041"/>
              <a:gd name="connsiteY1390" fmla="*/ 154911 h 2084191"/>
              <a:gd name="connsiteX1391" fmla="*/ 1681001 w 2051041"/>
              <a:gd name="connsiteY1391" fmla="*/ 94507 h 2084191"/>
              <a:gd name="connsiteX1392" fmla="*/ 1685681 w 2051041"/>
              <a:gd name="connsiteY1392" fmla="*/ 85147 h 2084191"/>
              <a:gd name="connsiteX1393" fmla="*/ 1693517 w 2051041"/>
              <a:gd name="connsiteY1393" fmla="*/ 82536 h 2084191"/>
              <a:gd name="connsiteX1394" fmla="*/ 1747934 w 2051041"/>
              <a:gd name="connsiteY1394" fmla="*/ 77638 h 2084191"/>
              <a:gd name="connsiteX1395" fmla="*/ 1756641 w 2051041"/>
              <a:gd name="connsiteY1395" fmla="*/ 79271 h 2084191"/>
              <a:gd name="connsiteX1396" fmla="*/ 1754464 w 2051041"/>
              <a:gd name="connsiteY1396" fmla="*/ 71652 h 2084191"/>
              <a:gd name="connsiteX1397" fmla="*/ 1752832 w 2051041"/>
              <a:gd name="connsiteY1397" fmla="*/ 68387 h 2084191"/>
              <a:gd name="connsiteX1398" fmla="*/ 1756097 w 2051041"/>
              <a:gd name="connsiteY1398" fmla="*/ 20500 h 2084191"/>
              <a:gd name="connsiteX1399" fmla="*/ 1756641 w 2051041"/>
              <a:gd name="connsiteY1399" fmla="*/ 16146 h 2084191"/>
              <a:gd name="connsiteX1400" fmla="*/ 1751744 w 2051041"/>
              <a:gd name="connsiteY1400" fmla="*/ 15058 h 2084191"/>
              <a:gd name="connsiteX1401" fmla="*/ 1741404 w 2051041"/>
              <a:gd name="connsiteY1401" fmla="*/ 19955 h 2084191"/>
              <a:gd name="connsiteX1402" fmla="*/ 1691884 w 2051041"/>
              <a:gd name="connsiteY1402" fmla="*/ 11249 h 2084191"/>
              <a:gd name="connsiteX1403" fmla="*/ 1685645 w 2051041"/>
              <a:gd name="connsiteY1403" fmla="*/ 8369 h 2084191"/>
              <a:gd name="connsiteX1404" fmla="*/ 1688620 w 2051041"/>
              <a:gd name="connsiteY1404" fmla="*/ 14691 h 2084191"/>
              <a:gd name="connsiteX1405" fmla="*/ 1691885 w 2051041"/>
              <a:gd name="connsiteY1405" fmla="*/ 69652 h 2084191"/>
              <a:gd name="connsiteX1406" fmla="*/ 1684469 w 2051041"/>
              <a:gd name="connsiteY1406" fmla="*/ 82365 h 2084191"/>
              <a:gd name="connsiteX1407" fmla="*/ 1663044 w 2051041"/>
              <a:gd name="connsiteY1407" fmla="*/ 94684 h 2084191"/>
              <a:gd name="connsiteX1408" fmla="*/ 1626584 w 2051041"/>
              <a:gd name="connsiteY1408" fmla="*/ 96861 h 2084191"/>
              <a:gd name="connsiteX1409" fmla="*/ 1590124 w 2051041"/>
              <a:gd name="connsiteY1409" fmla="*/ 60401 h 2084191"/>
              <a:gd name="connsiteX1410" fmla="*/ 1591757 w 2051041"/>
              <a:gd name="connsiteY1410" fmla="*/ 25030 h 2084191"/>
              <a:gd name="connsiteX1411" fmla="*/ 1460066 w 2051041"/>
              <a:gd name="connsiteY1411" fmla="*/ 0 h 2084191"/>
              <a:gd name="connsiteX1412" fmla="*/ 1498513 w 2051041"/>
              <a:gd name="connsiteY1412" fmla="*/ 0 h 2084191"/>
              <a:gd name="connsiteX1413" fmla="*/ 1517204 w 2051041"/>
              <a:gd name="connsiteY1413" fmla="*/ 8092 h 2084191"/>
              <a:gd name="connsiteX1414" fmla="*/ 1531896 w 2051041"/>
              <a:gd name="connsiteY1414" fmla="*/ 45164 h 2084191"/>
              <a:gd name="connsiteX1415" fmla="*/ 1479111 w 2051041"/>
              <a:gd name="connsiteY1415" fmla="*/ 97949 h 2084191"/>
              <a:gd name="connsiteX1416" fmla="*/ 1426870 w 2051041"/>
              <a:gd name="connsiteY1416" fmla="*/ 45164 h 2084191"/>
              <a:gd name="connsiteX1417" fmla="*/ 1441631 w 2051041"/>
              <a:gd name="connsiteY1417" fmla="*/ 7684 h 2084191"/>
              <a:gd name="connsiteX1418" fmla="*/ 1296749 w 2051041"/>
              <a:gd name="connsiteY1418" fmla="*/ 0 h 2084191"/>
              <a:gd name="connsiteX1419" fmla="*/ 1335755 w 2051041"/>
              <a:gd name="connsiteY1419" fmla="*/ 0 h 2084191"/>
              <a:gd name="connsiteX1420" fmla="*/ 1350278 w 2051041"/>
              <a:gd name="connsiteY1420" fmla="*/ 10270 h 2084191"/>
              <a:gd name="connsiteX1421" fmla="*/ 1365923 w 2051041"/>
              <a:gd name="connsiteY1421" fmla="*/ 45165 h 2084191"/>
              <a:gd name="connsiteX1422" fmla="*/ 1315315 w 2051041"/>
              <a:gd name="connsiteY1422" fmla="*/ 93052 h 2084191"/>
              <a:gd name="connsiteX1423" fmla="*/ 1266339 w 2051041"/>
              <a:gd name="connsiteY1423" fmla="*/ 44076 h 2084191"/>
              <a:gd name="connsiteX1424" fmla="*/ 1282732 w 2051041"/>
              <a:gd name="connsiteY1424" fmla="*/ 9317 h 2084191"/>
              <a:gd name="connsiteX1425" fmla="*/ 1148085 w 2051041"/>
              <a:gd name="connsiteY1425" fmla="*/ 0 h 2084191"/>
              <a:gd name="connsiteX1426" fmla="*/ 1161802 w 2051041"/>
              <a:gd name="connsiteY1426" fmla="*/ 0 h 2084191"/>
              <a:gd name="connsiteX1427" fmla="*/ 1169637 w 2051041"/>
              <a:gd name="connsiteY1427" fmla="*/ 1315 h 2084191"/>
              <a:gd name="connsiteX1428" fmla="*/ 1199405 w 2051041"/>
              <a:gd name="connsiteY1428" fmla="*/ 45164 h 2084191"/>
              <a:gd name="connsiteX1429" fmla="*/ 1151518 w 2051041"/>
              <a:gd name="connsiteY1429" fmla="*/ 91419 h 2084191"/>
              <a:gd name="connsiteX1430" fmla="*/ 1105807 w 2051041"/>
              <a:gd name="connsiteY1430" fmla="*/ 44620 h 2084191"/>
              <a:gd name="connsiteX1431" fmla="*/ 1119139 w 2051041"/>
              <a:gd name="connsiteY1431" fmla="*/ 11902 h 20841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Lst>
            <a:rect l="l" t="t" r="r" b="b"/>
            <a:pathLst>
              <a:path w="2051041" h="2084191">
                <a:moveTo>
                  <a:pt x="2051041" y="2080382"/>
                </a:moveTo>
                <a:lnTo>
                  <a:pt x="2051041" y="2083967"/>
                </a:lnTo>
                <a:lnTo>
                  <a:pt x="2047231" y="2084191"/>
                </a:lnTo>
                <a:cubicBezTo>
                  <a:pt x="2046687" y="2084191"/>
                  <a:pt x="2046143" y="2082559"/>
                  <a:pt x="2045599" y="2081470"/>
                </a:cubicBezTo>
                <a:close/>
                <a:moveTo>
                  <a:pt x="1478568" y="1997668"/>
                </a:moveTo>
                <a:cubicBezTo>
                  <a:pt x="1484010" y="1997668"/>
                  <a:pt x="1485642" y="2000933"/>
                  <a:pt x="1484554" y="2004743"/>
                </a:cubicBezTo>
                <a:cubicBezTo>
                  <a:pt x="1484010" y="2006919"/>
                  <a:pt x="1480745" y="2008551"/>
                  <a:pt x="1478568" y="2009096"/>
                </a:cubicBezTo>
                <a:cubicBezTo>
                  <a:pt x="1474759" y="2009640"/>
                  <a:pt x="1473126" y="2007463"/>
                  <a:pt x="1473126" y="2003654"/>
                </a:cubicBezTo>
                <a:cubicBezTo>
                  <a:pt x="1473126" y="1998756"/>
                  <a:pt x="1475303" y="1997124"/>
                  <a:pt x="1478568" y="1997668"/>
                </a:cubicBezTo>
                <a:close/>
                <a:moveTo>
                  <a:pt x="1641820" y="1993859"/>
                </a:moveTo>
                <a:cubicBezTo>
                  <a:pt x="1646718" y="1993314"/>
                  <a:pt x="1652160" y="1999300"/>
                  <a:pt x="1652160" y="2003654"/>
                </a:cubicBezTo>
                <a:cubicBezTo>
                  <a:pt x="1652160" y="2008551"/>
                  <a:pt x="1646718" y="2013449"/>
                  <a:pt x="1641820" y="2013449"/>
                </a:cubicBezTo>
                <a:cubicBezTo>
                  <a:pt x="1636923" y="2013449"/>
                  <a:pt x="1632025" y="2008007"/>
                  <a:pt x="1632025" y="2003654"/>
                </a:cubicBezTo>
                <a:cubicBezTo>
                  <a:pt x="1632025" y="1999300"/>
                  <a:pt x="1638011" y="1993859"/>
                  <a:pt x="1641820" y="1993859"/>
                </a:cubicBezTo>
                <a:close/>
                <a:moveTo>
                  <a:pt x="1969414" y="1992226"/>
                </a:moveTo>
                <a:cubicBezTo>
                  <a:pt x="1976488" y="1992226"/>
                  <a:pt x="1979753" y="1996035"/>
                  <a:pt x="1979753" y="2003654"/>
                </a:cubicBezTo>
                <a:cubicBezTo>
                  <a:pt x="1979753" y="2011272"/>
                  <a:pt x="1975944" y="2014537"/>
                  <a:pt x="1968325" y="2014537"/>
                </a:cubicBezTo>
                <a:cubicBezTo>
                  <a:pt x="1960707" y="2014537"/>
                  <a:pt x="1957442" y="2010728"/>
                  <a:pt x="1957986" y="2003110"/>
                </a:cubicBezTo>
                <a:cubicBezTo>
                  <a:pt x="1957986" y="1994947"/>
                  <a:pt x="1961251" y="1992226"/>
                  <a:pt x="1969414" y="1992226"/>
                </a:cubicBezTo>
                <a:close/>
                <a:moveTo>
                  <a:pt x="1805073" y="1992226"/>
                </a:moveTo>
                <a:cubicBezTo>
                  <a:pt x="1811058" y="1992226"/>
                  <a:pt x="1815956" y="1996035"/>
                  <a:pt x="1815956" y="2002565"/>
                </a:cubicBezTo>
                <a:cubicBezTo>
                  <a:pt x="1816500" y="2009096"/>
                  <a:pt x="1812147" y="2014537"/>
                  <a:pt x="1805073" y="2014537"/>
                </a:cubicBezTo>
                <a:cubicBezTo>
                  <a:pt x="1799087" y="2014537"/>
                  <a:pt x="1794189" y="2010184"/>
                  <a:pt x="1794189" y="2004198"/>
                </a:cubicBezTo>
                <a:cubicBezTo>
                  <a:pt x="1794189" y="1997668"/>
                  <a:pt x="1799087" y="1992770"/>
                  <a:pt x="1805073" y="1992226"/>
                </a:cubicBezTo>
                <a:close/>
                <a:moveTo>
                  <a:pt x="1234233" y="1916042"/>
                </a:moveTo>
                <a:cubicBezTo>
                  <a:pt x="1238586" y="1915497"/>
                  <a:pt x="1240763" y="1917674"/>
                  <a:pt x="1240219" y="1923660"/>
                </a:cubicBezTo>
                <a:cubicBezTo>
                  <a:pt x="1239674" y="1924204"/>
                  <a:pt x="1237498" y="1926381"/>
                  <a:pt x="1236953" y="1926381"/>
                </a:cubicBezTo>
                <a:cubicBezTo>
                  <a:pt x="1234233" y="1924204"/>
                  <a:pt x="1231512" y="1921483"/>
                  <a:pt x="1229335" y="1918762"/>
                </a:cubicBezTo>
                <a:cubicBezTo>
                  <a:pt x="1230968" y="1917674"/>
                  <a:pt x="1232600" y="1916586"/>
                  <a:pt x="1234233" y="1916042"/>
                </a:cubicBezTo>
                <a:close/>
                <a:moveTo>
                  <a:pt x="1397486" y="1911144"/>
                </a:moveTo>
                <a:cubicBezTo>
                  <a:pt x="1402927" y="1911144"/>
                  <a:pt x="1408369" y="1916041"/>
                  <a:pt x="1408369" y="1921483"/>
                </a:cubicBezTo>
                <a:cubicBezTo>
                  <a:pt x="1408369" y="1926925"/>
                  <a:pt x="1404016" y="1931279"/>
                  <a:pt x="1399118" y="1931823"/>
                </a:cubicBezTo>
                <a:cubicBezTo>
                  <a:pt x="1392588" y="1932367"/>
                  <a:pt x="1387146" y="1928013"/>
                  <a:pt x="1387146" y="1922028"/>
                </a:cubicBezTo>
                <a:cubicBezTo>
                  <a:pt x="1386602" y="1916586"/>
                  <a:pt x="1391500" y="1911144"/>
                  <a:pt x="1397486" y="1911144"/>
                </a:cubicBezTo>
                <a:close/>
                <a:moveTo>
                  <a:pt x="1560194" y="1906790"/>
                </a:moveTo>
                <a:cubicBezTo>
                  <a:pt x="1566180" y="1906790"/>
                  <a:pt x="1574342" y="1914953"/>
                  <a:pt x="1574342" y="1921482"/>
                </a:cubicBezTo>
                <a:cubicBezTo>
                  <a:pt x="1574342" y="1928013"/>
                  <a:pt x="1566724" y="1936175"/>
                  <a:pt x="1560738" y="1935631"/>
                </a:cubicBezTo>
                <a:cubicBezTo>
                  <a:pt x="1554752" y="1935631"/>
                  <a:pt x="1547678" y="1928557"/>
                  <a:pt x="1547134" y="1922027"/>
                </a:cubicBezTo>
                <a:cubicBezTo>
                  <a:pt x="1546589" y="1915497"/>
                  <a:pt x="1554208" y="1907334"/>
                  <a:pt x="1560194" y="1906790"/>
                </a:cubicBezTo>
                <a:close/>
                <a:moveTo>
                  <a:pt x="2049952" y="1905702"/>
                </a:moveTo>
                <a:lnTo>
                  <a:pt x="2051041" y="1906027"/>
                </a:lnTo>
                <a:lnTo>
                  <a:pt x="2051041" y="1938133"/>
                </a:lnTo>
                <a:lnTo>
                  <a:pt x="2050496" y="1938353"/>
                </a:lnTo>
                <a:cubicBezTo>
                  <a:pt x="2039613" y="1937808"/>
                  <a:pt x="2034715" y="1933455"/>
                  <a:pt x="2034171" y="1922572"/>
                </a:cubicBezTo>
                <a:cubicBezTo>
                  <a:pt x="2034171" y="1911144"/>
                  <a:pt x="2039069" y="1905702"/>
                  <a:pt x="2049952" y="1905702"/>
                </a:cubicBezTo>
                <a:close/>
                <a:moveTo>
                  <a:pt x="1723447" y="1905702"/>
                </a:moveTo>
                <a:cubicBezTo>
                  <a:pt x="1730521" y="1905702"/>
                  <a:pt x="1739772" y="1914409"/>
                  <a:pt x="1739772" y="1920939"/>
                </a:cubicBezTo>
                <a:cubicBezTo>
                  <a:pt x="1740316" y="1929101"/>
                  <a:pt x="1732698" y="1936720"/>
                  <a:pt x="1724535" y="1937264"/>
                </a:cubicBezTo>
                <a:cubicBezTo>
                  <a:pt x="1716373" y="1937264"/>
                  <a:pt x="1708754" y="1930190"/>
                  <a:pt x="1708210" y="1922027"/>
                </a:cubicBezTo>
                <a:cubicBezTo>
                  <a:pt x="1708210" y="1914953"/>
                  <a:pt x="1716373" y="1905702"/>
                  <a:pt x="1723447" y="1905702"/>
                </a:cubicBezTo>
                <a:close/>
                <a:moveTo>
                  <a:pt x="1887787" y="1905158"/>
                </a:moveTo>
                <a:cubicBezTo>
                  <a:pt x="1898671" y="1905158"/>
                  <a:pt x="1904113" y="1911144"/>
                  <a:pt x="1904113" y="1922028"/>
                </a:cubicBezTo>
                <a:cubicBezTo>
                  <a:pt x="1904113" y="1932367"/>
                  <a:pt x="1898127" y="1937809"/>
                  <a:pt x="1886699" y="1937809"/>
                </a:cubicBezTo>
                <a:cubicBezTo>
                  <a:pt x="1876360" y="1937809"/>
                  <a:pt x="1870918" y="1931823"/>
                  <a:pt x="1870918" y="1921483"/>
                </a:cubicBezTo>
                <a:cubicBezTo>
                  <a:pt x="1870918" y="1910600"/>
                  <a:pt x="1876904" y="1904614"/>
                  <a:pt x="1887787" y="1905158"/>
                </a:cubicBezTo>
                <a:close/>
                <a:moveTo>
                  <a:pt x="1152606" y="1831693"/>
                </a:moveTo>
                <a:cubicBezTo>
                  <a:pt x="1155871" y="1832782"/>
                  <a:pt x="1160769" y="1836591"/>
                  <a:pt x="1161313" y="1839312"/>
                </a:cubicBezTo>
                <a:cubicBezTo>
                  <a:pt x="1160769" y="1843121"/>
                  <a:pt x="1156959" y="1846931"/>
                  <a:pt x="1153694" y="1852916"/>
                </a:cubicBezTo>
                <a:cubicBezTo>
                  <a:pt x="1149341" y="1847475"/>
                  <a:pt x="1146076" y="1844754"/>
                  <a:pt x="1144988" y="1841489"/>
                </a:cubicBezTo>
                <a:cubicBezTo>
                  <a:pt x="1143355" y="1837135"/>
                  <a:pt x="1148797" y="1830605"/>
                  <a:pt x="1152606" y="1831693"/>
                </a:cubicBezTo>
                <a:close/>
                <a:moveTo>
                  <a:pt x="1315315" y="1825708"/>
                </a:moveTo>
                <a:cubicBezTo>
                  <a:pt x="1321301" y="1825164"/>
                  <a:pt x="1331096" y="1834415"/>
                  <a:pt x="1330552" y="1840401"/>
                </a:cubicBezTo>
                <a:cubicBezTo>
                  <a:pt x="1330552" y="1845298"/>
                  <a:pt x="1321301" y="1854549"/>
                  <a:pt x="1316404" y="1854549"/>
                </a:cubicBezTo>
                <a:cubicBezTo>
                  <a:pt x="1310962" y="1855094"/>
                  <a:pt x="1302255" y="1846387"/>
                  <a:pt x="1301711" y="1840945"/>
                </a:cubicBezTo>
                <a:cubicBezTo>
                  <a:pt x="1301167" y="1834959"/>
                  <a:pt x="1309329" y="1826252"/>
                  <a:pt x="1315315" y="1825708"/>
                </a:cubicBezTo>
                <a:close/>
                <a:moveTo>
                  <a:pt x="1479656" y="1822987"/>
                </a:moveTo>
                <a:cubicBezTo>
                  <a:pt x="1489995" y="1823531"/>
                  <a:pt x="1495981" y="1830061"/>
                  <a:pt x="1495981" y="1840401"/>
                </a:cubicBezTo>
                <a:cubicBezTo>
                  <a:pt x="1495981" y="1851284"/>
                  <a:pt x="1490539" y="1856726"/>
                  <a:pt x="1478567" y="1856182"/>
                </a:cubicBezTo>
                <a:cubicBezTo>
                  <a:pt x="1467140" y="1856182"/>
                  <a:pt x="1462242" y="1850740"/>
                  <a:pt x="1462242" y="1839312"/>
                </a:cubicBezTo>
                <a:cubicBezTo>
                  <a:pt x="1462242" y="1828429"/>
                  <a:pt x="1468772" y="1822443"/>
                  <a:pt x="1479656" y="1822987"/>
                </a:cubicBezTo>
                <a:close/>
                <a:moveTo>
                  <a:pt x="1642365" y="1821355"/>
                </a:moveTo>
                <a:cubicBezTo>
                  <a:pt x="1653248" y="1821355"/>
                  <a:pt x="1661955" y="1829518"/>
                  <a:pt x="1660867" y="1840401"/>
                </a:cubicBezTo>
                <a:cubicBezTo>
                  <a:pt x="1659778" y="1853461"/>
                  <a:pt x="1653792" y="1857270"/>
                  <a:pt x="1642365" y="1857270"/>
                </a:cubicBezTo>
                <a:cubicBezTo>
                  <a:pt x="1630937" y="1857270"/>
                  <a:pt x="1624407" y="1850740"/>
                  <a:pt x="1624407" y="1839857"/>
                </a:cubicBezTo>
                <a:cubicBezTo>
                  <a:pt x="1624407" y="1828973"/>
                  <a:pt x="1632025" y="1821355"/>
                  <a:pt x="1642365" y="1821355"/>
                </a:cubicBezTo>
                <a:close/>
                <a:moveTo>
                  <a:pt x="1806162" y="1819723"/>
                </a:moveTo>
                <a:cubicBezTo>
                  <a:pt x="1816501" y="1819723"/>
                  <a:pt x="1827385" y="1831150"/>
                  <a:pt x="1826840" y="1840945"/>
                </a:cubicBezTo>
                <a:cubicBezTo>
                  <a:pt x="1826296" y="1850740"/>
                  <a:pt x="1813780" y="1862168"/>
                  <a:pt x="1804529" y="1861080"/>
                </a:cubicBezTo>
                <a:cubicBezTo>
                  <a:pt x="1795278" y="1860536"/>
                  <a:pt x="1783851" y="1847476"/>
                  <a:pt x="1784395" y="1839313"/>
                </a:cubicBezTo>
                <a:cubicBezTo>
                  <a:pt x="1784939" y="1828973"/>
                  <a:pt x="1796367" y="1819178"/>
                  <a:pt x="1806162" y="1819723"/>
                </a:cubicBezTo>
                <a:close/>
                <a:moveTo>
                  <a:pt x="1968870" y="1819178"/>
                </a:moveTo>
                <a:cubicBezTo>
                  <a:pt x="1980298" y="1819178"/>
                  <a:pt x="1990093" y="1828973"/>
                  <a:pt x="1990093" y="1840401"/>
                </a:cubicBezTo>
                <a:cubicBezTo>
                  <a:pt x="1990093" y="1851285"/>
                  <a:pt x="1980298" y="1861624"/>
                  <a:pt x="1968870" y="1861624"/>
                </a:cubicBezTo>
                <a:cubicBezTo>
                  <a:pt x="1957986" y="1861624"/>
                  <a:pt x="1947647" y="1851285"/>
                  <a:pt x="1947647" y="1840401"/>
                </a:cubicBezTo>
                <a:cubicBezTo>
                  <a:pt x="1947647" y="1828973"/>
                  <a:pt x="1957986" y="1819178"/>
                  <a:pt x="1968870" y="1819178"/>
                </a:cubicBezTo>
                <a:close/>
                <a:moveTo>
                  <a:pt x="1070436" y="1747347"/>
                </a:moveTo>
                <a:cubicBezTo>
                  <a:pt x="1078598" y="1747347"/>
                  <a:pt x="1081863" y="1750612"/>
                  <a:pt x="1081863" y="1758231"/>
                </a:cubicBezTo>
                <a:cubicBezTo>
                  <a:pt x="1081863" y="1766393"/>
                  <a:pt x="1078598" y="1769658"/>
                  <a:pt x="1070980" y="1769658"/>
                </a:cubicBezTo>
                <a:cubicBezTo>
                  <a:pt x="1063361" y="1769658"/>
                  <a:pt x="1060096" y="1766393"/>
                  <a:pt x="1059552" y="1758775"/>
                </a:cubicBezTo>
                <a:cubicBezTo>
                  <a:pt x="1059552" y="1751156"/>
                  <a:pt x="1062817" y="1747347"/>
                  <a:pt x="1070436" y="1747347"/>
                </a:cubicBezTo>
                <a:close/>
                <a:moveTo>
                  <a:pt x="1233688" y="1742449"/>
                </a:moveTo>
                <a:cubicBezTo>
                  <a:pt x="1242939" y="1741904"/>
                  <a:pt x="1250558" y="1750067"/>
                  <a:pt x="1250558" y="1758774"/>
                </a:cubicBezTo>
                <a:cubicBezTo>
                  <a:pt x="1250558" y="1767481"/>
                  <a:pt x="1242939" y="1775099"/>
                  <a:pt x="1233688" y="1775099"/>
                </a:cubicBezTo>
                <a:cubicBezTo>
                  <a:pt x="1224981" y="1775099"/>
                  <a:pt x="1218451" y="1768025"/>
                  <a:pt x="1217907" y="1759318"/>
                </a:cubicBezTo>
                <a:cubicBezTo>
                  <a:pt x="1217907" y="1750067"/>
                  <a:pt x="1224981" y="1742449"/>
                  <a:pt x="1233688" y="1742449"/>
                </a:cubicBezTo>
                <a:close/>
                <a:moveTo>
                  <a:pt x="1399662" y="1739728"/>
                </a:moveTo>
                <a:cubicBezTo>
                  <a:pt x="1410002" y="1740817"/>
                  <a:pt x="1418164" y="1750068"/>
                  <a:pt x="1417076" y="1760407"/>
                </a:cubicBezTo>
                <a:cubicBezTo>
                  <a:pt x="1415988" y="1769114"/>
                  <a:pt x="1404560" y="1779997"/>
                  <a:pt x="1396941" y="1779453"/>
                </a:cubicBezTo>
                <a:cubicBezTo>
                  <a:pt x="1388779" y="1778909"/>
                  <a:pt x="1376807" y="1765305"/>
                  <a:pt x="1377895" y="1757686"/>
                </a:cubicBezTo>
                <a:cubicBezTo>
                  <a:pt x="1379528" y="1746803"/>
                  <a:pt x="1389867" y="1738640"/>
                  <a:pt x="1399662" y="1739728"/>
                </a:cubicBezTo>
                <a:close/>
                <a:moveTo>
                  <a:pt x="1723991" y="1735919"/>
                </a:moveTo>
                <a:cubicBezTo>
                  <a:pt x="1738140" y="1735919"/>
                  <a:pt x="1746847" y="1744626"/>
                  <a:pt x="1746847" y="1758774"/>
                </a:cubicBezTo>
                <a:cubicBezTo>
                  <a:pt x="1746847" y="1772379"/>
                  <a:pt x="1738140" y="1781086"/>
                  <a:pt x="1723991" y="1781086"/>
                </a:cubicBezTo>
                <a:cubicBezTo>
                  <a:pt x="1709299" y="1781086"/>
                  <a:pt x="1701680" y="1773467"/>
                  <a:pt x="1701680" y="1758774"/>
                </a:cubicBezTo>
                <a:cubicBezTo>
                  <a:pt x="1701680" y="1744626"/>
                  <a:pt x="1709843" y="1735919"/>
                  <a:pt x="1723991" y="1735919"/>
                </a:cubicBezTo>
                <a:close/>
                <a:moveTo>
                  <a:pt x="1560194" y="1735919"/>
                </a:moveTo>
                <a:cubicBezTo>
                  <a:pt x="1572710" y="1736463"/>
                  <a:pt x="1582505" y="1746258"/>
                  <a:pt x="1582505" y="1758230"/>
                </a:cubicBezTo>
                <a:cubicBezTo>
                  <a:pt x="1582505" y="1770202"/>
                  <a:pt x="1572710" y="1779997"/>
                  <a:pt x="1560738" y="1779997"/>
                </a:cubicBezTo>
                <a:cubicBezTo>
                  <a:pt x="1549855" y="1779997"/>
                  <a:pt x="1538427" y="1769114"/>
                  <a:pt x="1538427" y="1758230"/>
                </a:cubicBezTo>
                <a:cubicBezTo>
                  <a:pt x="1538427" y="1746803"/>
                  <a:pt x="1548766" y="1735919"/>
                  <a:pt x="1560194" y="1735919"/>
                </a:cubicBezTo>
                <a:close/>
                <a:moveTo>
                  <a:pt x="2051041" y="1734831"/>
                </a:moveTo>
                <a:lnTo>
                  <a:pt x="2051041" y="1781438"/>
                </a:lnTo>
                <a:lnTo>
                  <a:pt x="2050496" y="1781630"/>
                </a:lnTo>
                <a:cubicBezTo>
                  <a:pt x="2033627" y="1782174"/>
                  <a:pt x="2027097" y="1772379"/>
                  <a:pt x="2027097" y="1758775"/>
                </a:cubicBezTo>
                <a:cubicBezTo>
                  <a:pt x="2027097" y="1744082"/>
                  <a:pt x="2033627" y="1734831"/>
                  <a:pt x="2051041" y="1734831"/>
                </a:cubicBezTo>
                <a:close/>
                <a:moveTo>
                  <a:pt x="1887788" y="1734831"/>
                </a:moveTo>
                <a:cubicBezTo>
                  <a:pt x="1902481" y="1735375"/>
                  <a:pt x="1910099" y="1742994"/>
                  <a:pt x="1910099" y="1758775"/>
                </a:cubicBezTo>
                <a:cubicBezTo>
                  <a:pt x="1910099" y="1771835"/>
                  <a:pt x="1903025" y="1782718"/>
                  <a:pt x="1886699" y="1781086"/>
                </a:cubicBezTo>
                <a:cubicBezTo>
                  <a:pt x="1872551" y="1782174"/>
                  <a:pt x="1863844" y="1770203"/>
                  <a:pt x="1863844" y="1757687"/>
                </a:cubicBezTo>
                <a:cubicBezTo>
                  <a:pt x="1863844" y="1742994"/>
                  <a:pt x="1874728" y="1734287"/>
                  <a:pt x="1887788" y="1734831"/>
                </a:cubicBezTo>
                <a:close/>
                <a:moveTo>
                  <a:pt x="826100" y="1671706"/>
                </a:moveTo>
                <a:cubicBezTo>
                  <a:pt x="830454" y="1670618"/>
                  <a:pt x="832086" y="1673338"/>
                  <a:pt x="832086" y="1677692"/>
                </a:cubicBezTo>
                <a:cubicBezTo>
                  <a:pt x="832086" y="1681501"/>
                  <a:pt x="829365" y="1683134"/>
                  <a:pt x="825556" y="1683134"/>
                </a:cubicBezTo>
                <a:cubicBezTo>
                  <a:pt x="821203" y="1683134"/>
                  <a:pt x="819570" y="1679869"/>
                  <a:pt x="820658" y="1676603"/>
                </a:cubicBezTo>
                <a:cubicBezTo>
                  <a:pt x="821203" y="1674427"/>
                  <a:pt x="823924" y="1672250"/>
                  <a:pt x="826100" y="1671706"/>
                </a:cubicBezTo>
                <a:close/>
                <a:moveTo>
                  <a:pt x="989354" y="1661912"/>
                </a:moveTo>
                <a:cubicBezTo>
                  <a:pt x="994251" y="1661912"/>
                  <a:pt x="1004046" y="1671707"/>
                  <a:pt x="1004046" y="1676604"/>
                </a:cubicBezTo>
                <a:cubicBezTo>
                  <a:pt x="1004046" y="1682590"/>
                  <a:pt x="996428" y="1690209"/>
                  <a:pt x="989354" y="1690209"/>
                </a:cubicBezTo>
                <a:cubicBezTo>
                  <a:pt x="982823" y="1690209"/>
                  <a:pt x="975749" y="1683679"/>
                  <a:pt x="975205" y="1677693"/>
                </a:cubicBezTo>
                <a:cubicBezTo>
                  <a:pt x="974661" y="1671707"/>
                  <a:pt x="983912" y="1661367"/>
                  <a:pt x="989354" y="1661912"/>
                </a:cubicBezTo>
                <a:close/>
                <a:moveTo>
                  <a:pt x="1153151" y="1659734"/>
                </a:moveTo>
                <a:cubicBezTo>
                  <a:pt x="1162946" y="1658646"/>
                  <a:pt x="1171108" y="1667353"/>
                  <a:pt x="1170564" y="1677692"/>
                </a:cubicBezTo>
                <a:cubicBezTo>
                  <a:pt x="1170020" y="1688575"/>
                  <a:pt x="1162946" y="1694562"/>
                  <a:pt x="1152062" y="1694562"/>
                </a:cubicBezTo>
                <a:cubicBezTo>
                  <a:pt x="1141179" y="1694017"/>
                  <a:pt x="1135737" y="1688031"/>
                  <a:pt x="1135737" y="1677148"/>
                </a:cubicBezTo>
                <a:cubicBezTo>
                  <a:pt x="1135737" y="1664632"/>
                  <a:pt x="1141179" y="1659190"/>
                  <a:pt x="1153151" y="1659734"/>
                </a:cubicBezTo>
                <a:close/>
                <a:moveTo>
                  <a:pt x="1315315" y="1655381"/>
                </a:moveTo>
                <a:cubicBezTo>
                  <a:pt x="1327287" y="1654836"/>
                  <a:pt x="1337082" y="1664088"/>
                  <a:pt x="1337082" y="1676603"/>
                </a:cubicBezTo>
                <a:cubicBezTo>
                  <a:pt x="1337082" y="1688575"/>
                  <a:pt x="1326743" y="1698915"/>
                  <a:pt x="1315315" y="1698915"/>
                </a:cubicBezTo>
                <a:cubicBezTo>
                  <a:pt x="1304976" y="1698915"/>
                  <a:pt x="1294092" y="1687487"/>
                  <a:pt x="1294092" y="1677148"/>
                </a:cubicBezTo>
                <a:cubicBezTo>
                  <a:pt x="1294092" y="1666264"/>
                  <a:pt x="1304431" y="1655925"/>
                  <a:pt x="1315315" y="1655381"/>
                </a:cubicBezTo>
                <a:close/>
                <a:moveTo>
                  <a:pt x="1479111" y="1654293"/>
                </a:moveTo>
                <a:cubicBezTo>
                  <a:pt x="1495437" y="1653204"/>
                  <a:pt x="1501967" y="1664632"/>
                  <a:pt x="1501967" y="1677692"/>
                </a:cubicBezTo>
                <a:cubicBezTo>
                  <a:pt x="1501967" y="1689664"/>
                  <a:pt x="1492716" y="1700548"/>
                  <a:pt x="1479111" y="1700548"/>
                </a:cubicBezTo>
                <a:cubicBezTo>
                  <a:pt x="1466596" y="1700548"/>
                  <a:pt x="1455712" y="1690208"/>
                  <a:pt x="1455712" y="1676604"/>
                </a:cubicBezTo>
                <a:cubicBezTo>
                  <a:pt x="1456256" y="1663544"/>
                  <a:pt x="1464963" y="1653204"/>
                  <a:pt x="1479111" y="1654293"/>
                </a:cubicBezTo>
                <a:close/>
                <a:moveTo>
                  <a:pt x="1643452" y="1650483"/>
                </a:moveTo>
                <a:cubicBezTo>
                  <a:pt x="1654880" y="1651027"/>
                  <a:pt x="1667940" y="1664087"/>
                  <a:pt x="1668484" y="1676603"/>
                </a:cubicBezTo>
                <a:cubicBezTo>
                  <a:pt x="1669029" y="1689120"/>
                  <a:pt x="1655968" y="1702724"/>
                  <a:pt x="1643452" y="1703268"/>
                </a:cubicBezTo>
                <a:cubicBezTo>
                  <a:pt x="1631480" y="1703812"/>
                  <a:pt x="1617332" y="1690208"/>
                  <a:pt x="1617332" y="1677692"/>
                </a:cubicBezTo>
                <a:cubicBezTo>
                  <a:pt x="1616788" y="1664632"/>
                  <a:pt x="1630392" y="1650483"/>
                  <a:pt x="1643452" y="1650483"/>
                </a:cubicBezTo>
                <a:close/>
                <a:moveTo>
                  <a:pt x="1968326" y="1649940"/>
                </a:moveTo>
                <a:cubicBezTo>
                  <a:pt x="1983019" y="1649395"/>
                  <a:pt x="1997167" y="1664088"/>
                  <a:pt x="1995535" y="1676604"/>
                </a:cubicBezTo>
                <a:cubicBezTo>
                  <a:pt x="1997167" y="1689664"/>
                  <a:pt x="1982474" y="1704901"/>
                  <a:pt x="1968870" y="1704357"/>
                </a:cubicBezTo>
                <a:cubicBezTo>
                  <a:pt x="1954177" y="1703813"/>
                  <a:pt x="1942205" y="1691841"/>
                  <a:pt x="1941661" y="1677148"/>
                </a:cubicBezTo>
                <a:cubicBezTo>
                  <a:pt x="1941117" y="1662456"/>
                  <a:pt x="1956354" y="1649940"/>
                  <a:pt x="1968326" y="1649940"/>
                </a:cubicBezTo>
                <a:close/>
                <a:moveTo>
                  <a:pt x="1805617" y="1649939"/>
                </a:moveTo>
                <a:cubicBezTo>
                  <a:pt x="1819222" y="1648851"/>
                  <a:pt x="1832826" y="1664088"/>
                  <a:pt x="1832826" y="1677148"/>
                </a:cubicBezTo>
                <a:cubicBezTo>
                  <a:pt x="1832282" y="1690752"/>
                  <a:pt x="1819222" y="1703812"/>
                  <a:pt x="1805073" y="1704357"/>
                </a:cubicBezTo>
                <a:cubicBezTo>
                  <a:pt x="1792557" y="1704901"/>
                  <a:pt x="1777864" y="1688031"/>
                  <a:pt x="1778409" y="1677148"/>
                </a:cubicBezTo>
                <a:cubicBezTo>
                  <a:pt x="1779497" y="1662999"/>
                  <a:pt x="1791469" y="1649939"/>
                  <a:pt x="1805617" y="1649939"/>
                </a:cubicBezTo>
                <a:close/>
                <a:moveTo>
                  <a:pt x="744474" y="1588992"/>
                </a:moveTo>
                <a:cubicBezTo>
                  <a:pt x="748827" y="1588992"/>
                  <a:pt x="751004" y="1590624"/>
                  <a:pt x="751004" y="1594978"/>
                </a:cubicBezTo>
                <a:cubicBezTo>
                  <a:pt x="751004" y="1598787"/>
                  <a:pt x="749916" y="1601508"/>
                  <a:pt x="745562" y="1602052"/>
                </a:cubicBezTo>
                <a:cubicBezTo>
                  <a:pt x="740665" y="1602052"/>
                  <a:pt x="738488" y="1600420"/>
                  <a:pt x="738488" y="1594978"/>
                </a:cubicBezTo>
                <a:cubicBezTo>
                  <a:pt x="737944" y="1590624"/>
                  <a:pt x="740121" y="1588992"/>
                  <a:pt x="744474" y="1588992"/>
                </a:cubicBezTo>
                <a:close/>
                <a:moveTo>
                  <a:pt x="907183" y="1579741"/>
                </a:moveTo>
                <a:cubicBezTo>
                  <a:pt x="913169" y="1579197"/>
                  <a:pt x="923508" y="1588992"/>
                  <a:pt x="923508" y="1594978"/>
                </a:cubicBezTo>
                <a:cubicBezTo>
                  <a:pt x="923508" y="1600964"/>
                  <a:pt x="915345" y="1610215"/>
                  <a:pt x="908815" y="1610759"/>
                </a:cubicBezTo>
                <a:cubicBezTo>
                  <a:pt x="901197" y="1611303"/>
                  <a:pt x="892490" y="1603685"/>
                  <a:pt x="892490" y="1595522"/>
                </a:cubicBezTo>
                <a:cubicBezTo>
                  <a:pt x="892490" y="1588448"/>
                  <a:pt x="900653" y="1579741"/>
                  <a:pt x="907183" y="1579741"/>
                </a:cubicBezTo>
                <a:close/>
                <a:moveTo>
                  <a:pt x="1071524" y="1574843"/>
                </a:moveTo>
                <a:cubicBezTo>
                  <a:pt x="1081319" y="1575387"/>
                  <a:pt x="1091114" y="1585726"/>
                  <a:pt x="1091114" y="1595522"/>
                </a:cubicBezTo>
                <a:cubicBezTo>
                  <a:pt x="1091114" y="1605317"/>
                  <a:pt x="1080231" y="1615656"/>
                  <a:pt x="1070980" y="1615656"/>
                </a:cubicBezTo>
                <a:cubicBezTo>
                  <a:pt x="1062273" y="1615656"/>
                  <a:pt x="1050845" y="1604228"/>
                  <a:pt x="1050301" y="1595522"/>
                </a:cubicBezTo>
                <a:cubicBezTo>
                  <a:pt x="1050301" y="1586270"/>
                  <a:pt x="1062273" y="1574299"/>
                  <a:pt x="1071524" y="1574843"/>
                </a:cubicBezTo>
                <a:close/>
                <a:moveTo>
                  <a:pt x="1233688" y="1573210"/>
                </a:moveTo>
                <a:cubicBezTo>
                  <a:pt x="1247837" y="1573210"/>
                  <a:pt x="1256544" y="1581373"/>
                  <a:pt x="1256544" y="1595522"/>
                </a:cubicBezTo>
                <a:cubicBezTo>
                  <a:pt x="1256544" y="1609670"/>
                  <a:pt x="1247837" y="1618377"/>
                  <a:pt x="1233688" y="1618377"/>
                </a:cubicBezTo>
                <a:cubicBezTo>
                  <a:pt x="1221172" y="1618377"/>
                  <a:pt x="1212465" y="1608582"/>
                  <a:pt x="1211377" y="1596610"/>
                </a:cubicBezTo>
                <a:cubicBezTo>
                  <a:pt x="1210289" y="1584638"/>
                  <a:pt x="1222261" y="1571034"/>
                  <a:pt x="1233688" y="1573210"/>
                </a:cubicBezTo>
                <a:close/>
                <a:moveTo>
                  <a:pt x="1398030" y="1569402"/>
                </a:moveTo>
                <a:cubicBezTo>
                  <a:pt x="1411634" y="1569946"/>
                  <a:pt x="1423606" y="1582462"/>
                  <a:pt x="1423062" y="1595522"/>
                </a:cubicBezTo>
                <a:cubicBezTo>
                  <a:pt x="1423062" y="1608582"/>
                  <a:pt x="1410546" y="1621099"/>
                  <a:pt x="1397485" y="1621099"/>
                </a:cubicBezTo>
                <a:cubicBezTo>
                  <a:pt x="1384969" y="1621099"/>
                  <a:pt x="1371365" y="1608038"/>
                  <a:pt x="1371365" y="1595522"/>
                </a:cubicBezTo>
                <a:cubicBezTo>
                  <a:pt x="1371365" y="1582462"/>
                  <a:pt x="1384969" y="1568857"/>
                  <a:pt x="1398030" y="1569402"/>
                </a:cubicBezTo>
                <a:close/>
                <a:moveTo>
                  <a:pt x="1560194" y="1568313"/>
                </a:moveTo>
                <a:cubicBezTo>
                  <a:pt x="1574342" y="1566680"/>
                  <a:pt x="1587403" y="1581373"/>
                  <a:pt x="1587947" y="1594433"/>
                </a:cubicBezTo>
                <a:cubicBezTo>
                  <a:pt x="1588491" y="1608582"/>
                  <a:pt x="1574887" y="1622730"/>
                  <a:pt x="1560194" y="1622730"/>
                </a:cubicBezTo>
                <a:cubicBezTo>
                  <a:pt x="1547134" y="1622730"/>
                  <a:pt x="1532985" y="1608582"/>
                  <a:pt x="1532985" y="1594977"/>
                </a:cubicBezTo>
                <a:cubicBezTo>
                  <a:pt x="1532985" y="1581917"/>
                  <a:pt x="1547134" y="1566680"/>
                  <a:pt x="1560194" y="1568313"/>
                </a:cubicBezTo>
                <a:close/>
                <a:moveTo>
                  <a:pt x="1887244" y="1567225"/>
                </a:moveTo>
                <a:cubicBezTo>
                  <a:pt x="1905202" y="1567225"/>
                  <a:pt x="1915541" y="1578109"/>
                  <a:pt x="1915541" y="1594978"/>
                </a:cubicBezTo>
                <a:cubicBezTo>
                  <a:pt x="1915541" y="1612392"/>
                  <a:pt x="1903569" y="1624363"/>
                  <a:pt x="1886699" y="1623819"/>
                </a:cubicBezTo>
                <a:cubicBezTo>
                  <a:pt x="1872551" y="1623819"/>
                  <a:pt x="1857314" y="1613480"/>
                  <a:pt x="1858947" y="1594978"/>
                </a:cubicBezTo>
                <a:cubicBezTo>
                  <a:pt x="1857858" y="1577564"/>
                  <a:pt x="1870918" y="1567225"/>
                  <a:pt x="1887244" y="1567225"/>
                </a:cubicBezTo>
                <a:close/>
                <a:moveTo>
                  <a:pt x="1724535" y="1567225"/>
                </a:moveTo>
                <a:cubicBezTo>
                  <a:pt x="1743037" y="1567225"/>
                  <a:pt x="1752288" y="1581373"/>
                  <a:pt x="1752288" y="1594978"/>
                </a:cubicBezTo>
                <a:cubicBezTo>
                  <a:pt x="1752288" y="1609127"/>
                  <a:pt x="1741949" y="1623275"/>
                  <a:pt x="1724535" y="1623275"/>
                </a:cubicBezTo>
                <a:cubicBezTo>
                  <a:pt x="1710930" y="1623819"/>
                  <a:pt x="1694605" y="1613480"/>
                  <a:pt x="1696238" y="1594978"/>
                </a:cubicBezTo>
                <a:cubicBezTo>
                  <a:pt x="1694605" y="1577564"/>
                  <a:pt x="1708754" y="1567225"/>
                  <a:pt x="1724535" y="1567225"/>
                </a:cubicBezTo>
                <a:close/>
                <a:moveTo>
                  <a:pt x="2050496" y="1566680"/>
                </a:moveTo>
                <a:lnTo>
                  <a:pt x="2051041" y="1566888"/>
                </a:lnTo>
                <a:lnTo>
                  <a:pt x="2051041" y="1623794"/>
                </a:lnTo>
                <a:lnTo>
                  <a:pt x="2049408" y="1624363"/>
                </a:lnTo>
                <a:cubicBezTo>
                  <a:pt x="2033083" y="1623818"/>
                  <a:pt x="2021111" y="1611302"/>
                  <a:pt x="2021655" y="1594977"/>
                </a:cubicBezTo>
                <a:cubicBezTo>
                  <a:pt x="2022199" y="1575931"/>
                  <a:pt x="2033627" y="1567224"/>
                  <a:pt x="2050496" y="1566680"/>
                </a:cubicBezTo>
                <a:close/>
                <a:moveTo>
                  <a:pt x="663392" y="1505188"/>
                </a:moveTo>
                <a:cubicBezTo>
                  <a:pt x="666113" y="1505188"/>
                  <a:pt x="669922" y="1510086"/>
                  <a:pt x="674819" y="1513895"/>
                </a:cubicBezTo>
                <a:cubicBezTo>
                  <a:pt x="669378" y="1517704"/>
                  <a:pt x="665569" y="1522602"/>
                  <a:pt x="662848" y="1522058"/>
                </a:cubicBezTo>
                <a:cubicBezTo>
                  <a:pt x="659583" y="1521513"/>
                  <a:pt x="654685" y="1516072"/>
                  <a:pt x="654685" y="1513351"/>
                </a:cubicBezTo>
                <a:cubicBezTo>
                  <a:pt x="654685" y="1510086"/>
                  <a:pt x="660127" y="1505188"/>
                  <a:pt x="663392" y="1505188"/>
                </a:cubicBezTo>
                <a:close/>
                <a:moveTo>
                  <a:pt x="826101" y="1497570"/>
                </a:moveTo>
                <a:cubicBezTo>
                  <a:pt x="834263" y="1497025"/>
                  <a:pt x="842426" y="1505188"/>
                  <a:pt x="842970" y="1513351"/>
                </a:cubicBezTo>
                <a:cubicBezTo>
                  <a:pt x="842970" y="1522058"/>
                  <a:pt x="835352" y="1529676"/>
                  <a:pt x="826645" y="1529676"/>
                </a:cubicBezTo>
                <a:cubicBezTo>
                  <a:pt x="818482" y="1529676"/>
                  <a:pt x="810864" y="1523146"/>
                  <a:pt x="810319" y="1514983"/>
                </a:cubicBezTo>
                <a:cubicBezTo>
                  <a:pt x="809775" y="1506276"/>
                  <a:pt x="817394" y="1498114"/>
                  <a:pt x="826101" y="1497570"/>
                </a:cubicBezTo>
                <a:close/>
                <a:moveTo>
                  <a:pt x="988265" y="1492128"/>
                </a:moveTo>
                <a:cubicBezTo>
                  <a:pt x="998605" y="1492128"/>
                  <a:pt x="1010577" y="1501379"/>
                  <a:pt x="1010577" y="1513351"/>
                </a:cubicBezTo>
                <a:cubicBezTo>
                  <a:pt x="1010577" y="1524234"/>
                  <a:pt x="1000237" y="1534574"/>
                  <a:pt x="989354" y="1534574"/>
                </a:cubicBezTo>
                <a:cubicBezTo>
                  <a:pt x="979559" y="1534574"/>
                  <a:pt x="968675" y="1523690"/>
                  <a:pt x="968131" y="1513895"/>
                </a:cubicBezTo>
                <a:cubicBezTo>
                  <a:pt x="968131" y="1503556"/>
                  <a:pt x="977926" y="1492672"/>
                  <a:pt x="988265" y="1492128"/>
                </a:cubicBezTo>
                <a:close/>
                <a:moveTo>
                  <a:pt x="1152606" y="1490496"/>
                </a:moveTo>
                <a:cubicBezTo>
                  <a:pt x="1167299" y="1489407"/>
                  <a:pt x="1176006" y="1498658"/>
                  <a:pt x="1176006" y="1513351"/>
                </a:cubicBezTo>
                <a:cubicBezTo>
                  <a:pt x="1176006" y="1530764"/>
                  <a:pt x="1166755" y="1537295"/>
                  <a:pt x="1152606" y="1537839"/>
                </a:cubicBezTo>
                <a:cubicBezTo>
                  <a:pt x="1139546" y="1537839"/>
                  <a:pt x="1129207" y="1530764"/>
                  <a:pt x="1129207" y="1514984"/>
                </a:cubicBezTo>
                <a:cubicBezTo>
                  <a:pt x="1129207" y="1498114"/>
                  <a:pt x="1138458" y="1491040"/>
                  <a:pt x="1152606" y="1490496"/>
                </a:cubicBezTo>
                <a:close/>
                <a:moveTo>
                  <a:pt x="1316403" y="1487231"/>
                </a:moveTo>
                <a:cubicBezTo>
                  <a:pt x="1331095" y="1487775"/>
                  <a:pt x="1342523" y="1499203"/>
                  <a:pt x="1342523" y="1513896"/>
                </a:cubicBezTo>
                <a:cubicBezTo>
                  <a:pt x="1342523" y="1528588"/>
                  <a:pt x="1330551" y="1540560"/>
                  <a:pt x="1315314" y="1540560"/>
                </a:cubicBezTo>
                <a:cubicBezTo>
                  <a:pt x="1303887" y="1542193"/>
                  <a:pt x="1288106" y="1527500"/>
                  <a:pt x="1288650" y="1513896"/>
                </a:cubicBezTo>
                <a:cubicBezTo>
                  <a:pt x="1289194" y="1498659"/>
                  <a:pt x="1301166" y="1486687"/>
                  <a:pt x="1316403" y="1487231"/>
                </a:cubicBezTo>
                <a:close/>
                <a:moveTo>
                  <a:pt x="1479656" y="1485054"/>
                </a:moveTo>
                <a:cubicBezTo>
                  <a:pt x="1495437" y="1485598"/>
                  <a:pt x="1508497" y="1496482"/>
                  <a:pt x="1507409" y="1513895"/>
                </a:cubicBezTo>
                <a:cubicBezTo>
                  <a:pt x="1508497" y="1527500"/>
                  <a:pt x="1498158" y="1542192"/>
                  <a:pt x="1479112" y="1541648"/>
                </a:cubicBezTo>
                <a:cubicBezTo>
                  <a:pt x="1462787" y="1541648"/>
                  <a:pt x="1451359" y="1529676"/>
                  <a:pt x="1451359" y="1513351"/>
                </a:cubicBezTo>
                <a:cubicBezTo>
                  <a:pt x="1451359" y="1493761"/>
                  <a:pt x="1466596" y="1485054"/>
                  <a:pt x="1479656" y="1485054"/>
                </a:cubicBezTo>
                <a:close/>
                <a:moveTo>
                  <a:pt x="1641820" y="1482334"/>
                </a:moveTo>
                <a:cubicBezTo>
                  <a:pt x="1657057" y="1481789"/>
                  <a:pt x="1672838" y="1496482"/>
                  <a:pt x="1673382" y="1512807"/>
                </a:cubicBezTo>
                <a:cubicBezTo>
                  <a:pt x="1673927" y="1528044"/>
                  <a:pt x="1658145" y="1544370"/>
                  <a:pt x="1642909" y="1544370"/>
                </a:cubicBezTo>
                <a:cubicBezTo>
                  <a:pt x="1626039" y="1542193"/>
                  <a:pt x="1612979" y="1532942"/>
                  <a:pt x="1612435" y="1513351"/>
                </a:cubicBezTo>
                <a:cubicBezTo>
                  <a:pt x="1611890" y="1497571"/>
                  <a:pt x="1626583" y="1483422"/>
                  <a:pt x="1641820" y="1482334"/>
                </a:cubicBezTo>
                <a:close/>
                <a:moveTo>
                  <a:pt x="1804529" y="1481788"/>
                </a:moveTo>
                <a:cubicBezTo>
                  <a:pt x="1820855" y="1481244"/>
                  <a:pt x="1836091" y="1494304"/>
                  <a:pt x="1837180" y="1513351"/>
                </a:cubicBezTo>
                <a:cubicBezTo>
                  <a:pt x="1838812" y="1528043"/>
                  <a:pt x="1825208" y="1544913"/>
                  <a:pt x="1805617" y="1545457"/>
                </a:cubicBezTo>
                <a:cubicBezTo>
                  <a:pt x="1787660" y="1544913"/>
                  <a:pt x="1774055" y="1532397"/>
                  <a:pt x="1773511" y="1514983"/>
                </a:cubicBezTo>
                <a:cubicBezTo>
                  <a:pt x="1772967" y="1494849"/>
                  <a:pt x="1788204" y="1482333"/>
                  <a:pt x="1804529" y="1481788"/>
                </a:cubicBezTo>
                <a:close/>
                <a:moveTo>
                  <a:pt x="1968870" y="1480700"/>
                </a:moveTo>
                <a:cubicBezTo>
                  <a:pt x="1984651" y="1480700"/>
                  <a:pt x="2000977" y="1495937"/>
                  <a:pt x="2000977" y="1513351"/>
                </a:cubicBezTo>
                <a:cubicBezTo>
                  <a:pt x="2001521" y="1529132"/>
                  <a:pt x="1987916" y="1546001"/>
                  <a:pt x="1968870" y="1545457"/>
                </a:cubicBezTo>
                <a:cubicBezTo>
                  <a:pt x="1949824" y="1545457"/>
                  <a:pt x="1936764" y="1530764"/>
                  <a:pt x="1936764" y="1513351"/>
                </a:cubicBezTo>
                <a:cubicBezTo>
                  <a:pt x="1936764" y="1493760"/>
                  <a:pt x="1953633" y="1480700"/>
                  <a:pt x="1968870" y="1480700"/>
                </a:cubicBezTo>
                <a:close/>
                <a:moveTo>
                  <a:pt x="581221" y="1423562"/>
                </a:moveTo>
                <a:cubicBezTo>
                  <a:pt x="586663" y="1423562"/>
                  <a:pt x="589384" y="1427371"/>
                  <a:pt x="588840" y="1431725"/>
                </a:cubicBezTo>
                <a:cubicBezTo>
                  <a:pt x="588840" y="1434990"/>
                  <a:pt x="585030" y="1438255"/>
                  <a:pt x="581765" y="1443153"/>
                </a:cubicBezTo>
                <a:cubicBezTo>
                  <a:pt x="577412" y="1438255"/>
                  <a:pt x="574147" y="1436078"/>
                  <a:pt x="573059" y="1432813"/>
                </a:cubicBezTo>
                <a:cubicBezTo>
                  <a:pt x="571426" y="1429004"/>
                  <a:pt x="576868" y="1423562"/>
                  <a:pt x="581221" y="1423562"/>
                </a:cubicBezTo>
                <a:close/>
                <a:moveTo>
                  <a:pt x="745562" y="1414855"/>
                </a:moveTo>
                <a:cubicBezTo>
                  <a:pt x="754269" y="1415399"/>
                  <a:pt x="761344" y="1423018"/>
                  <a:pt x="761344" y="1432269"/>
                </a:cubicBezTo>
                <a:cubicBezTo>
                  <a:pt x="761344" y="1442064"/>
                  <a:pt x="754813" y="1448050"/>
                  <a:pt x="745018" y="1448050"/>
                </a:cubicBezTo>
                <a:cubicBezTo>
                  <a:pt x="734679" y="1448050"/>
                  <a:pt x="728693" y="1442064"/>
                  <a:pt x="728693" y="1431725"/>
                </a:cubicBezTo>
                <a:cubicBezTo>
                  <a:pt x="728693" y="1421386"/>
                  <a:pt x="735223" y="1414311"/>
                  <a:pt x="745562" y="1414855"/>
                </a:cubicBezTo>
                <a:close/>
                <a:moveTo>
                  <a:pt x="908815" y="1409958"/>
                </a:moveTo>
                <a:cubicBezTo>
                  <a:pt x="920243" y="1410502"/>
                  <a:pt x="930038" y="1420297"/>
                  <a:pt x="930038" y="1431725"/>
                </a:cubicBezTo>
                <a:cubicBezTo>
                  <a:pt x="929494" y="1443697"/>
                  <a:pt x="919155" y="1454036"/>
                  <a:pt x="907183" y="1453492"/>
                </a:cubicBezTo>
                <a:cubicBezTo>
                  <a:pt x="896844" y="1453492"/>
                  <a:pt x="885960" y="1442064"/>
                  <a:pt x="885960" y="1431725"/>
                </a:cubicBezTo>
                <a:cubicBezTo>
                  <a:pt x="885960" y="1420297"/>
                  <a:pt x="897388" y="1409414"/>
                  <a:pt x="908815" y="1409958"/>
                </a:cubicBezTo>
                <a:close/>
                <a:moveTo>
                  <a:pt x="1070436" y="1406693"/>
                </a:moveTo>
                <a:cubicBezTo>
                  <a:pt x="1084584" y="1406693"/>
                  <a:pt x="1096012" y="1418121"/>
                  <a:pt x="1096012" y="1432269"/>
                </a:cubicBezTo>
                <a:cubicBezTo>
                  <a:pt x="1096012" y="1445329"/>
                  <a:pt x="1082952" y="1458390"/>
                  <a:pt x="1070436" y="1457846"/>
                </a:cubicBezTo>
                <a:cubicBezTo>
                  <a:pt x="1058464" y="1457301"/>
                  <a:pt x="1044860" y="1443153"/>
                  <a:pt x="1045404" y="1431181"/>
                </a:cubicBezTo>
                <a:cubicBezTo>
                  <a:pt x="1045948" y="1418665"/>
                  <a:pt x="1057920" y="1406693"/>
                  <a:pt x="1070436" y="1406693"/>
                </a:cubicBezTo>
                <a:close/>
                <a:moveTo>
                  <a:pt x="1235865" y="1404516"/>
                </a:moveTo>
                <a:cubicBezTo>
                  <a:pt x="1252191" y="1405605"/>
                  <a:pt x="1262530" y="1415944"/>
                  <a:pt x="1261986" y="1433358"/>
                </a:cubicBezTo>
                <a:cubicBezTo>
                  <a:pt x="1261442" y="1449683"/>
                  <a:pt x="1251102" y="1459478"/>
                  <a:pt x="1233689" y="1459478"/>
                </a:cubicBezTo>
                <a:cubicBezTo>
                  <a:pt x="1218452" y="1461655"/>
                  <a:pt x="1206480" y="1445329"/>
                  <a:pt x="1206480" y="1432269"/>
                </a:cubicBezTo>
                <a:cubicBezTo>
                  <a:pt x="1206480" y="1417032"/>
                  <a:pt x="1220084" y="1403428"/>
                  <a:pt x="1235865" y="1404516"/>
                </a:cubicBezTo>
                <a:close/>
                <a:moveTo>
                  <a:pt x="1397485" y="1400162"/>
                </a:moveTo>
                <a:cubicBezTo>
                  <a:pt x="1412178" y="1400162"/>
                  <a:pt x="1427959" y="1416487"/>
                  <a:pt x="1427959" y="1431724"/>
                </a:cubicBezTo>
                <a:cubicBezTo>
                  <a:pt x="1428503" y="1446961"/>
                  <a:pt x="1413810" y="1462198"/>
                  <a:pt x="1398029" y="1463287"/>
                </a:cubicBezTo>
                <a:cubicBezTo>
                  <a:pt x="1384425" y="1464375"/>
                  <a:pt x="1367555" y="1448049"/>
                  <a:pt x="1366467" y="1432813"/>
                </a:cubicBezTo>
                <a:cubicBezTo>
                  <a:pt x="1365923" y="1418120"/>
                  <a:pt x="1382792" y="1400162"/>
                  <a:pt x="1397485" y="1400162"/>
                </a:cubicBezTo>
                <a:close/>
                <a:moveTo>
                  <a:pt x="1561282" y="1399618"/>
                </a:moveTo>
                <a:cubicBezTo>
                  <a:pt x="1575975" y="1399618"/>
                  <a:pt x="1593388" y="1415943"/>
                  <a:pt x="1593388" y="1432269"/>
                </a:cubicBezTo>
                <a:cubicBezTo>
                  <a:pt x="1593388" y="1446961"/>
                  <a:pt x="1578696" y="1464919"/>
                  <a:pt x="1560738" y="1464375"/>
                </a:cubicBezTo>
                <a:cubicBezTo>
                  <a:pt x="1542236" y="1463831"/>
                  <a:pt x="1529176" y="1450226"/>
                  <a:pt x="1528631" y="1432813"/>
                </a:cubicBezTo>
                <a:cubicBezTo>
                  <a:pt x="1528087" y="1414311"/>
                  <a:pt x="1545501" y="1399618"/>
                  <a:pt x="1561282" y="1399618"/>
                </a:cubicBezTo>
                <a:close/>
                <a:moveTo>
                  <a:pt x="1723446" y="1399074"/>
                </a:moveTo>
                <a:cubicBezTo>
                  <a:pt x="1741948" y="1399074"/>
                  <a:pt x="1757185" y="1413767"/>
                  <a:pt x="1757185" y="1432269"/>
                </a:cubicBezTo>
                <a:cubicBezTo>
                  <a:pt x="1757185" y="1451315"/>
                  <a:pt x="1743037" y="1463831"/>
                  <a:pt x="1723991" y="1465464"/>
                </a:cubicBezTo>
                <a:cubicBezTo>
                  <a:pt x="1707121" y="1466552"/>
                  <a:pt x="1690252" y="1448594"/>
                  <a:pt x="1691340" y="1433357"/>
                </a:cubicBezTo>
                <a:cubicBezTo>
                  <a:pt x="1692428" y="1412678"/>
                  <a:pt x="1704400" y="1399074"/>
                  <a:pt x="1723446" y="1399074"/>
                </a:cubicBezTo>
                <a:close/>
                <a:moveTo>
                  <a:pt x="1886700" y="1398530"/>
                </a:moveTo>
                <a:cubicBezTo>
                  <a:pt x="1904113" y="1396898"/>
                  <a:pt x="1922071" y="1415944"/>
                  <a:pt x="1920439" y="1432269"/>
                </a:cubicBezTo>
                <a:cubicBezTo>
                  <a:pt x="1919350" y="1451315"/>
                  <a:pt x="1907378" y="1464920"/>
                  <a:pt x="1887788" y="1464920"/>
                </a:cubicBezTo>
                <a:cubicBezTo>
                  <a:pt x="1867109" y="1464920"/>
                  <a:pt x="1854049" y="1452948"/>
                  <a:pt x="1854049" y="1433358"/>
                </a:cubicBezTo>
                <a:cubicBezTo>
                  <a:pt x="1854049" y="1412679"/>
                  <a:pt x="1867109" y="1400163"/>
                  <a:pt x="1886700" y="1398530"/>
                </a:cubicBezTo>
                <a:close/>
                <a:moveTo>
                  <a:pt x="2051041" y="1398217"/>
                </a:moveTo>
                <a:lnTo>
                  <a:pt x="2051041" y="1464535"/>
                </a:lnTo>
                <a:lnTo>
                  <a:pt x="2049953" y="1464920"/>
                </a:lnTo>
                <a:cubicBezTo>
                  <a:pt x="2032539" y="1467096"/>
                  <a:pt x="2017302" y="1450771"/>
                  <a:pt x="2017302" y="1431725"/>
                </a:cubicBezTo>
                <a:cubicBezTo>
                  <a:pt x="2017302" y="1422746"/>
                  <a:pt x="2021383" y="1414311"/>
                  <a:pt x="2027709" y="1408121"/>
                </a:cubicBezTo>
                <a:close/>
                <a:moveTo>
                  <a:pt x="500139" y="1341936"/>
                </a:moveTo>
                <a:cubicBezTo>
                  <a:pt x="503404" y="1343568"/>
                  <a:pt x="506125" y="1346833"/>
                  <a:pt x="511023" y="1350643"/>
                </a:cubicBezTo>
                <a:cubicBezTo>
                  <a:pt x="506125" y="1354452"/>
                  <a:pt x="502860" y="1357717"/>
                  <a:pt x="499595" y="1358261"/>
                </a:cubicBezTo>
                <a:cubicBezTo>
                  <a:pt x="495241" y="1359349"/>
                  <a:pt x="490888" y="1353908"/>
                  <a:pt x="491432" y="1349010"/>
                </a:cubicBezTo>
                <a:cubicBezTo>
                  <a:pt x="491976" y="1344112"/>
                  <a:pt x="495241" y="1340848"/>
                  <a:pt x="500139" y="1341936"/>
                </a:cubicBezTo>
                <a:close/>
                <a:moveTo>
                  <a:pt x="662848" y="1333773"/>
                </a:moveTo>
                <a:cubicBezTo>
                  <a:pt x="673187" y="1333773"/>
                  <a:pt x="679173" y="1340303"/>
                  <a:pt x="679173" y="1350643"/>
                </a:cubicBezTo>
                <a:cubicBezTo>
                  <a:pt x="679173" y="1359894"/>
                  <a:pt x="672099" y="1366424"/>
                  <a:pt x="662848" y="1366424"/>
                </a:cubicBezTo>
                <a:cubicBezTo>
                  <a:pt x="653053" y="1366424"/>
                  <a:pt x="647067" y="1359894"/>
                  <a:pt x="647067" y="1350098"/>
                </a:cubicBezTo>
                <a:cubicBezTo>
                  <a:pt x="647067" y="1339759"/>
                  <a:pt x="653053" y="1333773"/>
                  <a:pt x="662848" y="1333773"/>
                </a:cubicBezTo>
                <a:close/>
                <a:moveTo>
                  <a:pt x="826645" y="1328331"/>
                </a:moveTo>
                <a:cubicBezTo>
                  <a:pt x="838617" y="1328331"/>
                  <a:pt x="848412" y="1338670"/>
                  <a:pt x="847868" y="1350642"/>
                </a:cubicBezTo>
                <a:cubicBezTo>
                  <a:pt x="847868" y="1362070"/>
                  <a:pt x="836984" y="1372409"/>
                  <a:pt x="825556" y="1372409"/>
                </a:cubicBezTo>
                <a:cubicBezTo>
                  <a:pt x="814673" y="1372409"/>
                  <a:pt x="803789" y="1360982"/>
                  <a:pt x="804334" y="1349554"/>
                </a:cubicBezTo>
                <a:cubicBezTo>
                  <a:pt x="804334" y="1337582"/>
                  <a:pt x="814673" y="1328331"/>
                  <a:pt x="826645" y="1328331"/>
                </a:cubicBezTo>
                <a:close/>
                <a:moveTo>
                  <a:pt x="989353" y="1323978"/>
                </a:moveTo>
                <a:cubicBezTo>
                  <a:pt x="1002957" y="1324522"/>
                  <a:pt x="1014385" y="1334861"/>
                  <a:pt x="1015473" y="1350098"/>
                </a:cubicBezTo>
                <a:cubicBezTo>
                  <a:pt x="1014929" y="1363702"/>
                  <a:pt x="1004046" y="1376219"/>
                  <a:pt x="989353" y="1376763"/>
                </a:cubicBezTo>
                <a:cubicBezTo>
                  <a:pt x="976293" y="1376763"/>
                  <a:pt x="963777" y="1364791"/>
                  <a:pt x="963777" y="1350642"/>
                </a:cubicBezTo>
                <a:cubicBezTo>
                  <a:pt x="963233" y="1334861"/>
                  <a:pt x="977925" y="1323434"/>
                  <a:pt x="989353" y="1323978"/>
                </a:cubicBezTo>
                <a:close/>
                <a:moveTo>
                  <a:pt x="1152606" y="1322889"/>
                </a:moveTo>
                <a:cubicBezTo>
                  <a:pt x="1170564" y="1320712"/>
                  <a:pt x="1180903" y="1335405"/>
                  <a:pt x="1181447" y="1350098"/>
                </a:cubicBezTo>
                <a:cubicBezTo>
                  <a:pt x="1181447" y="1364791"/>
                  <a:pt x="1171108" y="1379483"/>
                  <a:pt x="1152606" y="1379483"/>
                </a:cubicBezTo>
                <a:cubicBezTo>
                  <a:pt x="1137913" y="1379483"/>
                  <a:pt x="1124853" y="1367511"/>
                  <a:pt x="1124853" y="1350642"/>
                </a:cubicBezTo>
                <a:cubicBezTo>
                  <a:pt x="1124309" y="1333228"/>
                  <a:pt x="1137913" y="1320712"/>
                  <a:pt x="1152606" y="1322889"/>
                </a:cubicBezTo>
                <a:close/>
                <a:moveTo>
                  <a:pt x="1315315" y="1318536"/>
                </a:moveTo>
                <a:cubicBezTo>
                  <a:pt x="1334361" y="1318536"/>
                  <a:pt x="1345789" y="1331596"/>
                  <a:pt x="1347966" y="1350098"/>
                </a:cubicBezTo>
                <a:cubicBezTo>
                  <a:pt x="1345245" y="1369144"/>
                  <a:pt x="1334905" y="1382205"/>
                  <a:pt x="1315315" y="1381661"/>
                </a:cubicBezTo>
                <a:cubicBezTo>
                  <a:pt x="1296813" y="1381116"/>
                  <a:pt x="1284841" y="1369144"/>
                  <a:pt x="1284297" y="1350098"/>
                </a:cubicBezTo>
                <a:cubicBezTo>
                  <a:pt x="1284297" y="1331052"/>
                  <a:pt x="1297357" y="1319080"/>
                  <a:pt x="1315315" y="1318536"/>
                </a:cubicBezTo>
                <a:close/>
                <a:moveTo>
                  <a:pt x="1480744" y="1317448"/>
                </a:moveTo>
                <a:cubicBezTo>
                  <a:pt x="1499246" y="1317992"/>
                  <a:pt x="1512851" y="1332140"/>
                  <a:pt x="1512306" y="1351731"/>
                </a:cubicBezTo>
                <a:cubicBezTo>
                  <a:pt x="1511762" y="1370233"/>
                  <a:pt x="1497070" y="1383837"/>
                  <a:pt x="1477479" y="1383293"/>
                </a:cubicBezTo>
                <a:cubicBezTo>
                  <a:pt x="1458977" y="1382749"/>
                  <a:pt x="1447550" y="1368600"/>
                  <a:pt x="1446461" y="1349554"/>
                </a:cubicBezTo>
                <a:cubicBezTo>
                  <a:pt x="1445373" y="1333773"/>
                  <a:pt x="1463331" y="1314727"/>
                  <a:pt x="1480744" y="1317448"/>
                </a:cubicBezTo>
                <a:close/>
                <a:moveTo>
                  <a:pt x="1642908" y="1315815"/>
                </a:moveTo>
                <a:cubicBezTo>
                  <a:pt x="1663043" y="1315815"/>
                  <a:pt x="1677735" y="1333229"/>
                  <a:pt x="1676647" y="1351731"/>
                </a:cubicBezTo>
                <a:cubicBezTo>
                  <a:pt x="1675559" y="1371865"/>
                  <a:pt x="1661954" y="1384381"/>
                  <a:pt x="1640732" y="1383837"/>
                </a:cubicBezTo>
                <a:cubicBezTo>
                  <a:pt x="1620597" y="1384381"/>
                  <a:pt x="1608081" y="1368056"/>
                  <a:pt x="1608081" y="1349554"/>
                </a:cubicBezTo>
                <a:cubicBezTo>
                  <a:pt x="1608081" y="1329964"/>
                  <a:pt x="1623318" y="1315815"/>
                  <a:pt x="1642908" y="1315815"/>
                </a:cubicBezTo>
                <a:close/>
                <a:moveTo>
                  <a:pt x="1968870" y="1314183"/>
                </a:moveTo>
                <a:cubicBezTo>
                  <a:pt x="1989548" y="1314727"/>
                  <a:pt x="2004785" y="1329420"/>
                  <a:pt x="2005329" y="1351187"/>
                </a:cubicBezTo>
                <a:cubicBezTo>
                  <a:pt x="2004785" y="1370233"/>
                  <a:pt x="1985739" y="1388735"/>
                  <a:pt x="1967781" y="1388191"/>
                </a:cubicBezTo>
                <a:cubicBezTo>
                  <a:pt x="1949823" y="1387647"/>
                  <a:pt x="1931322" y="1367512"/>
                  <a:pt x="1931866" y="1350098"/>
                </a:cubicBezTo>
                <a:cubicBezTo>
                  <a:pt x="1932410" y="1331596"/>
                  <a:pt x="1950912" y="1313094"/>
                  <a:pt x="1968870" y="1314183"/>
                </a:cubicBezTo>
                <a:close/>
                <a:moveTo>
                  <a:pt x="1806161" y="1313639"/>
                </a:moveTo>
                <a:cubicBezTo>
                  <a:pt x="1825207" y="1314183"/>
                  <a:pt x="1843165" y="1332141"/>
                  <a:pt x="1841533" y="1351187"/>
                </a:cubicBezTo>
                <a:cubicBezTo>
                  <a:pt x="1840988" y="1360438"/>
                  <a:pt x="1838267" y="1370233"/>
                  <a:pt x="1830105" y="1376763"/>
                </a:cubicBezTo>
                <a:cubicBezTo>
                  <a:pt x="1822486" y="1383293"/>
                  <a:pt x="1813235" y="1387102"/>
                  <a:pt x="1803984" y="1387102"/>
                </a:cubicBezTo>
                <a:cubicBezTo>
                  <a:pt x="1786027" y="1387102"/>
                  <a:pt x="1768613" y="1367512"/>
                  <a:pt x="1768613" y="1350098"/>
                </a:cubicBezTo>
                <a:cubicBezTo>
                  <a:pt x="1769157" y="1331596"/>
                  <a:pt x="1788203" y="1313094"/>
                  <a:pt x="1806161" y="1313639"/>
                </a:cubicBezTo>
                <a:close/>
                <a:moveTo>
                  <a:pt x="419057" y="1262486"/>
                </a:moveTo>
                <a:cubicBezTo>
                  <a:pt x="423410" y="1262486"/>
                  <a:pt x="425587" y="1265207"/>
                  <a:pt x="424499" y="1269016"/>
                </a:cubicBezTo>
                <a:cubicBezTo>
                  <a:pt x="423410" y="1271737"/>
                  <a:pt x="421234" y="1273914"/>
                  <a:pt x="417969" y="1278811"/>
                </a:cubicBezTo>
                <a:cubicBezTo>
                  <a:pt x="414704" y="1273914"/>
                  <a:pt x="412527" y="1271737"/>
                  <a:pt x="411983" y="1269016"/>
                </a:cubicBezTo>
                <a:cubicBezTo>
                  <a:pt x="410894" y="1264118"/>
                  <a:pt x="414159" y="1262486"/>
                  <a:pt x="419057" y="1262486"/>
                </a:cubicBezTo>
                <a:close/>
                <a:moveTo>
                  <a:pt x="581221" y="1252147"/>
                </a:moveTo>
                <a:cubicBezTo>
                  <a:pt x="591016" y="1252691"/>
                  <a:pt x="598091" y="1260310"/>
                  <a:pt x="597547" y="1269017"/>
                </a:cubicBezTo>
                <a:cubicBezTo>
                  <a:pt x="597547" y="1278268"/>
                  <a:pt x="589928" y="1284798"/>
                  <a:pt x="580133" y="1284254"/>
                </a:cubicBezTo>
                <a:cubicBezTo>
                  <a:pt x="570882" y="1283709"/>
                  <a:pt x="564896" y="1277179"/>
                  <a:pt x="564896" y="1268472"/>
                </a:cubicBezTo>
                <a:cubicBezTo>
                  <a:pt x="564896" y="1259222"/>
                  <a:pt x="571970" y="1252147"/>
                  <a:pt x="581221" y="1252147"/>
                </a:cubicBezTo>
                <a:close/>
                <a:moveTo>
                  <a:pt x="745018" y="1246705"/>
                </a:moveTo>
                <a:cubicBezTo>
                  <a:pt x="757534" y="1246705"/>
                  <a:pt x="766785" y="1257044"/>
                  <a:pt x="766241" y="1269560"/>
                </a:cubicBezTo>
                <a:cubicBezTo>
                  <a:pt x="765697" y="1280988"/>
                  <a:pt x="755358" y="1290783"/>
                  <a:pt x="744474" y="1290783"/>
                </a:cubicBezTo>
                <a:cubicBezTo>
                  <a:pt x="733046" y="1290783"/>
                  <a:pt x="722707" y="1279900"/>
                  <a:pt x="722707" y="1267928"/>
                </a:cubicBezTo>
                <a:cubicBezTo>
                  <a:pt x="722707" y="1255956"/>
                  <a:pt x="733046" y="1246705"/>
                  <a:pt x="745018" y="1246705"/>
                </a:cubicBezTo>
                <a:close/>
                <a:moveTo>
                  <a:pt x="907727" y="1241807"/>
                </a:moveTo>
                <a:cubicBezTo>
                  <a:pt x="921331" y="1241807"/>
                  <a:pt x="934391" y="1257044"/>
                  <a:pt x="933847" y="1269016"/>
                </a:cubicBezTo>
                <a:cubicBezTo>
                  <a:pt x="933847" y="1282620"/>
                  <a:pt x="920787" y="1295680"/>
                  <a:pt x="907183" y="1295136"/>
                </a:cubicBezTo>
                <a:cubicBezTo>
                  <a:pt x="893578" y="1294592"/>
                  <a:pt x="880518" y="1280988"/>
                  <a:pt x="880518" y="1267927"/>
                </a:cubicBezTo>
                <a:cubicBezTo>
                  <a:pt x="881062" y="1254323"/>
                  <a:pt x="894122" y="1242351"/>
                  <a:pt x="907727" y="1241807"/>
                </a:cubicBezTo>
                <a:close/>
                <a:moveTo>
                  <a:pt x="1070979" y="1240719"/>
                </a:moveTo>
                <a:cubicBezTo>
                  <a:pt x="1091114" y="1240175"/>
                  <a:pt x="1099276" y="1252691"/>
                  <a:pt x="1099821" y="1268472"/>
                </a:cubicBezTo>
                <a:cubicBezTo>
                  <a:pt x="1099821" y="1285886"/>
                  <a:pt x="1088393" y="1297858"/>
                  <a:pt x="1070435" y="1297858"/>
                </a:cubicBezTo>
                <a:cubicBezTo>
                  <a:pt x="1053566" y="1297858"/>
                  <a:pt x="1042138" y="1286430"/>
                  <a:pt x="1042138" y="1269560"/>
                </a:cubicBezTo>
                <a:cubicBezTo>
                  <a:pt x="1042138" y="1250514"/>
                  <a:pt x="1053566" y="1240719"/>
                  <a:pt x="1070979" y="1240719"/>
                </a:cubicBezTo>
                <a:close/>
                <a:moveTo>
                  <a:pt x="1234233" y="1235821"/>
                </a:moveTo>
                <a:cubicBezTo>
                  <a:pt x="1250558" y="1235821"/>
                  <a:pt x="1267972" y="1252691"/>
                  <a:pt x="1266883" y="1269016"/>
                </a:cubicBezTo>
                <a:cubicBezTo>
                  <a:pt x="1266339" y="1285885"/>
                  <a:pt x="1251646" y="1301122"/>
                  <a:pt x="1234233" y="1300578"/>
                </a:cubicBezTo>
                <a:cubicBezTo>
                  <a:pt x="1216275" y="1300578"/>
                  <a:pt x="1201582" y="1286430"/>
                  <a:pt x="1201582" y="1267383"/>
                </a:cubicBezTo>
                <a:cubicBezTo>
                  <a:pt x="1201582" y="1249425"/>
                  <a:pt x="1217907" y="1235821"/>
                  <a:pt x="1234233" y="1235821"/>
                </a:cubicBezTo>
                <a:close/>
                <a:moveTo>
                  <a:pt x="1396397" y="1234733"/>
                </a:moveTo>
                <a:cubicBezTo>
                  <a:pt x="1413810" y="1233645"/>
                  <a:pt x="1433945" y="1250514"/>
                  <a:pt x="1431224" y="1268472"/>
                </a:cubicBezTo>
                <a:cubicBezTo>
                  <a:pt x="1433401" y="1286430"/>
                  <a:pt x="1415443" y="1303299"/>
                  <a:pt x="1396941" y="1302755"/>
                </a:cubicBezTo>
                <a:cubicBezTo>
                  <a:pt x="1381160" y="1302211"/>
                  <a:pt x="1363202" y="1290783"/>
                  <a:pt x="1363746" y="1269016"/>
                </a:cubicBezTo>
                <a:cubicBezTo>
                  <a:pt x="1364290" y="1248881"/>
                  <a:pt x="1376806" y="1235821"/>
                  <a:pt x="1396397" y="1234733"/>
                </a:cubicBezTo>
                <a:close/>
                <a:moveTo>
                  <a:pt x="1559649" y="1232557"/>
                </a:moveTo>
                <a:cubicBezTo>
                  <a:pt x="1580328" y="1232013"/>
                  <a:pt x="1595021" y="1246705"/>
                  <a:pt x="1597742" y="1268472"/>
                </a:cubicBezTo>
                <a:cubicBezTo>
                  <a:pt x="1598286" y="1286974"/>
                  <a:pt x="1580872" y="1304932"/>
                  <a:pt x="1561826" y="1305476"/>
                </a:cubicBezTo>
                <a:cubicBezTo>
                  <a:pt x="1543868" y="1306564"/>
                  <a:pt x="1524822" y="1288063"/>
                  <a:pt x="1523734" y="1269561"/>
                </a:cubicBezTo>
                <a:cubicBezTo>
                  <a:pt x="1522645" y="1252147"/>
                  <a:pt x="1541147" y="1232557"/>
                  <a:pt x="1559649" y="1232557"/>
                </a:cubicBezTo>
                <a:close/>
                <a:moveTo>
                  <a:pt x="1723990" y="1231468"/>
                </a:moveTo>
                <a:cubicBezTo>
                  <a:pt x="1743037" y="1231468"/>
                  <a:pt x="1761539" y="1249426"/>
                  <a:pt x="1762083" y="1268472"/>
                </a:cubicBezTo>
                <a:cubicBezTo>
                  <a:pt x="1762627" y="1290239"/>
                  <a:pt x="1741404" y="1306020"/>
                  <a:pt x="1724535" y="1307109"/>
                </a:cubicBezTo>
                <a:cubicBezTo>
                  <a:pt x="1706033" y="1306564"/>
                  <a:pt x="1687531" y="1290239"/>
                  <a:pt x="1686442" y="1270105"/>
                </a:cubicBezTo>
                <a:cubicBezTo>
                  <a:pt x="1685354" y="1254323"/>
                  <a:pt x="1701679" y="1231468"/>
                  <a:pt x="1723990" y="1231468"/>
                </a:cubicBezTo>
                <a:close/>
                <a:moveTo>
                  <a:pt x="1888332" y="1230924"/>
                </a:moveTo>
                <a:cubicBezTo>
                  <a:pt x="1905745" y="1229836"/>
                  <a:pt x="1928056" y="1250514"/>
                  <a:pt x="1925336" y="1269561"/>
                </a:cubicBezTo>
                <a:cubicBezTo>
                  <a:pt x="1925336" y="1289695"/>
                  <a:pt x="1907378" y="1306564"/>
                  <a:pt x="1887243" y="1307653"/>
                </a:cubicBezTo>
                <a:cubicBezTo>
                  <a:pt x="1870918" y="1308197"/>
                  <a:pt x="1847519" y="1288063"/>
                  <a:pt x="1849151" y="1267928"/>
                </a:cubicBezTo>
                <a:cubicBezTo>
                  <a:pt x="1850239" y="1247794"/>
                  <a:pt x="1867653" y="1231468"/>
                  <a:pt x="1888332" y="1230924"/>
                </a:cubicBezTo>
                <a:close/>
                <a:moveTo>
                  <a:pt x="2049952" y="1230380"/>
                </a:moveTo>
                <a:lnTo>
                  <a:pt x="2051041" y="1230805"/>
                </a:lnTo>
                <a:lnTo>
                  <a:pt x="2051041" y="1307109"/>
                </a:lnTo>
                <a:cubicBezTo>
                  <a:pt x="2033627" y="1309830"/>
                  <a:pt x="2011316" y="1286974"/>
                  <a:pt x="2012404" y="1268472"/>
                </a:cubicBezTo>
                <a:cubicBezTo>
                  <a:pt x="2013493" y="1247794"/>
                  <a:pt x="2029274" y="1230380"/>
                  <a:pt x="2049952" y="1230380"/>
                </a:cubicBezTo>
                <a:close/>
                <a:moveTo>
                  <a:pt x="337431" y="1181404"/>
                </a:moveTo>
                <a:cubicBezTo>
                  <a:pt x="339608" y="1182493"/>
                  <a:pt x="341240" y="1184669"/>
                  <a:pt x="345050" y="1187934"/>
                </a:cubicBezTo>
                <a:cubicBezTo>
                  <a:pt x="340696" y="1190111"/>
                  <a:pt x="338519" y="1192288"/>
                  <a:pt x="336343" y="1192288"/>
                </a:cubicBezTo>
                <a:cubicBezTo>
                  <a:pt x="331445" y="1192832"/>
                  <a:pt x="330901" y="1189567"/>
                  <a:pt x="330901" y="1185758"/>
                </a:cubicBezTo>
                <a:cubicBezTo>
                  <a:pt x="330901" y="1181404"/>
                  <a:pt x="334166" y="1180860"/>
                  <a:pt x="337431" y="1181404"/>
                </a:cubicBezTo>
                <a:close/>
                <a:moveTo>
                  <a:pt x="499051" y="1171065"/>
                </a:moveTo>
                <a:cubicBezTo>
                  <a:pt x="506125" y="1170521"/>
                  <a:pt x="516465" y="1179772"/>
                  <a:pt x="516465" y="1187390"/>
                </a:cubicBezTo>
                <a:cubicBezTo>
                  <a:pt x="515921" y="1193920"/>
                  <a:pt x="507214" y="1202627"/>
                  <a:pt x="500140" y="1202627"/>
                </a:cubicBezTo>
                <a:cubicBezTo>
                  <a:pt x="493065" y="1202627"/>
                  <a:pt x="484358" y="1195008"/>
                  <a:pt x="483814" y="1187390"/>
                </a:cubicBezTo>
                <a:cubicBezTo>
                  <a:pt x="483270" y="1180316"/>
                  <a:pt x="491977" y="1171065"/>
                  <a:pt x="499051" y="1171065"/>
                </a:cubicBezTo>
                <a:close/>
                <a:moveTo>
                  <a:pt x="662848" y="1165623"/>
                </a:moveTo>
                <a:cubicBezTo>
                  <a:pt x="675364" y="1165623"/>
                  <a:pt x="684615" y="1174874"/>
                  <a:pt x="684615" y="1187390"/>
                </a:cubicBezTo>
                <a:cubicBezTo>
                  <a:pt x="684615" y="1199362"/>
                  <a:pt x="674820" y="1209157"/>
                  <a:pt x="662848" y="1209157"/>
                </a:cubicBezTo>
                <a:cubicBezTo>
                  <a:pt x="651420" y="1209157"/>
                  <a:pt x="641081" y="1198274"/>
                  <a:pt x="641081" y="1186846"/>
                </a:cubicBezTo>
                <a:cubicBezTo>
                  <a:pt x="641081" y="1175418"/>
                  <a:pt x="651420" y="1165623"/>
                  <a:pt x="662848" y="1165623"/>
                </a:cubicBezTo>
                <a:close/>
                <a:moveTo>
                  <a:pt x="825556" y="1160725"/>
                </a:moveTo>
                <a:cubicBezTo>
                  <a:pt x="840249" y="1161270"/>
                  <a:pt x="851677" y="1171609"/>
                  <a:pt x="852765" y="1186846"/>
                </a:cubicBezTo>
                <a:cubicBezTo>
                  <a:pt x="853309" y="1199906"/>
                  <a:pt x="840249" y="1213511"/>
                  <a:pt x="826645" y="1213511"/>
                </a:cubicBezTo>
                <a:cubicBezTo>
                  <a:pt x="813585" y="1214055"/>
                  <a:pt x="799980" y="1200995"/>
                  <a:pt x="798892" y="1188479"/>
                </a:cubicBezTo>
                <a:cubicBezTo>
                  <a:pt x="797803" y="1173241"/>
                  <a:pt x="814129" y="1160181"/>
                  <a:pt x="825556" y="1160725"/>
                </a:cubicBezTo>
                <a:close/>
                <a:moveTo>
                  <a:pt x="989353" y="1158004"/>
                </a:moveTo>
                <a:cubicBezTo>
                  <a:pt x="1007855" y="1159092"/>
                  <a:pt x="1018739" y="1168888"/>
                  <a:pt x="1018195" y="1187934"/>
                </a:cubicBezTo>
                <a:cubicBezTo>
                  <a:pt x="1017651" y="1206436"/>
                  <a:pt x="1007311" y="1216231"/>
                  <a:pt x="988809" y="1216775"/>
                </a:cubicBezTo>
                <a:cubicBezTo>
                  <a:pt x="972484" y="1217319"/>
                  <a:pt x="960512" y="1203715"/>
                  <a:pt x="959968" y="1187934"/>
                </a:cubicBezTo>
                <a:cubicBezTo>
                  <a:pt x="959968" y="1170520"/>
                  <a:pt x="972484" y="1158004"/>
                  <a:pt x="989353" y="1158004"/>
                </a:cubicBezTo>
                <a:close/>
                <a:moveTo>
                  <a:pt x="1152062" y="1153651"/>
                </a:moveTo>
                <a:cubicBezTo>
                  <a:pt x="1166755" y="1152562"/>
                  <a:pt x="1186345" y="1171065"/>
                  <a:pt x="1185801" y="1186301"/>
                </a:cubicBezTo>
                <a:cubicBezTo>
                  <a:pt x="1184713" y="1205348"/>
                  <a:pt x="1171652" y="1218952"/>
                  <a:pt x="1153150" y="1219496"/>
                </a:cubicBezTo>
                <a:cubicBezTo>
                  <a:pt x="1135193" y="1221129"/>
                  <a:pt x="1119412" y="1204259"/>
                  <a:pt x="1119956" y="1187390"/>
                </a:cubicBezTo>
                <a:cubicBezTo>
                  <a:pt x="1120500" y="1168888"/>
                  <a:pt x="1134648" y="1154739"/>
                  <a:pt x="1152062" y="1153651"/>
                </a:cubicBezTo>
                <a:close/>
                <a:moveTo>
                  <a:pt x="1315315" y="1152018"/>
                </a:moveTo>
                <a:cubicBezTo>
                  <a:pt x="1336537" y="1151474"/>
                  <a:pt x="1351230" y="1169432"/>
                  <a:pt x="1351230" y="1186845"/>
                </a:cubicBezTo>
                <a:cubicBezTo>
                  <a:pt x="1350686" y="1205891"/>
                  <a:pt x="1338714" y="1222217"/>
                  <a:pt x="1315859" y="1221673"/>
                </a:cubicBezTo>
                <a:cubicBezTo>
                  <a:pt x="1294092" y="1221128"/>
                  <a:pt x="1282120" y="1209157"/>
                  <a:pt x="1281576" y="1187390"/>
                </a:cubicBezTo>
                <a:cubicBezTo>
                  <a:pt x="1281031" y="1167255"/>
                  <a:pt x="1295724" y="1152562"/>
                  <a:pt x="1315315" y="1152018"/>
                </a:cubicBezTo>
                <a:close/>
                <a:moveTo>
                  <a:pt x="1479656" y="1149298"/>
                </a:moveTo>
                <a:cubicBezTo>
                  <a:pt x="1500878" y="1149842"/>
                  <a:pt x="1517204" y="1168888"/>
                  <a:pt x="1516660" y="1188479"/>
                </a:cubicBezTo>
                <a:cubicBezTo>
                  <a:pt x="1515027" y="1210246"/>
                  <a:pt x="1495981" y="1224938"/>
                  <a:pt x="1478023" y="1224394"/>
                </a:cubicBezTo>
                <a:cubicBezTo>
                  <a:pt x="1457889" y="1223850"/>
                  <a:pt x="1439931" y="1205892"/>
                  <a:pt x="1441563" y="1185758"/>
                </a:cubicBezTo>
                <a:cubicBezTo>
                  <a:pt x="1442652" y="1166167"/>
                  <a:pt x="1458977" y="1149298"/>
                  <a:pt x="1479656" y="1149298"/>
                </a:cubicBezTo>
                <a:close/>
                <a:moveTo>
                  <a:pt x="1642365" y="1148209"/>
                </a:moveTo>
                <a:cubicBezTo>
                  <a:pt x="1659779" y="1147121"/>
                  <a:pt x="1681001" y="1166711"/>
                  <a:pt x="1681001" y="1187390"/>
                </a:cubicBezTo>
                <a:cubicBezTo>
                  <a:pt x="1681001" y="1208613"/>
                  <a:pt x="1658690" y="1226026"/>
                  <a:pt x="1641821" y="1226026"/>
                </a:cubicBezTo>
                <a:cubicBezTo>
                  <a:pt x="1624407" y="1226026"/>
                  <a:pt x="1601007" y="1205348"/>
                  <a:pt x="1603728" y="1186846"/>
                </a:cubicBezTo>
                <a:cubicBezTo>
                  <a:pt x="1603728" y="1165623"/>
                  <a:pt x="1621686" y="1149298"/>
                  <a:pt x="1642365" y="1148209"/>
                </a:cubicBezTo>
                <a:close/>
                <a:moveTo>
                  <a:pt x="1969414" y="1147665"/>
                </a:moveTo>
                <a:cubicBezTo>
                  <a:pt x="1991725" y="1146032"/>
                  <a:pt x="2009139" y="1165623"/>
                  <a:pt x="2009139" y="1187934"/>
                </a:cubicBezTo>
                <a:cubicBezTo>
                  <a:pt x="2008595" y="1209157"/>
                  <a:pt x="1990093" y="1227114"/>
                  <a:pt x="1968870" y="1227114"/>
                </a:cubicBezTo>
                <a:cubicBezTo>
                  <a:pt x="1949824" y="1227114"/>
                  <a:pt x="1928601" y="1209701"/>
                  <a:pt x="1929145" y="1186301"/>
                </a:cubicBezTo>
                <a:cubicBezTo>
                  <a:pt x="1929145" y="1165623"/>
                  <a:pt x="1948191" y="1145488"/>
                  <a:pt x="1969414" y="1147665"/>
                </a:cubicBezTo>
                <a:close/>
                <a:moveTo>
                  <a:pt x="1805617" y="1147665"/>
                </a:moveTo>
                <a:cubicBezTo>
                  <a:pt x="1825752" y="1147665"/>
                  <a:pt x="1845342" y="1165078"/>
                  <a:pt x="1844798" y="1187934"/>
                </a:cubicBezTo>
                <a:cubicBezTo>
                  <a:pt x="1844254" y="1208612"/>
                  <a:pt x="1824664" y="1227115"/>
                  <a:pt x="1805073" y="1226571"/>
                </a:cubicBezTo>
                <a:cubicBezTo>
                  <a:pt x="1787115" y="1226571"/>
                  <a:pt x="1764260" y="1209701"/>
                  <a:pt x="1766981" y="1186845"/>
                </a:cubicBezTo>
                <a:cubicBezTo>
                  <a:pt x="1764804" y="1165623"/>
                  <a:pt x="1786027" y="1147665"/>
                  <a:pt x="1805617" y="1147665"/>
                </a:cubicBezTo>
                <a:close/>
                <a:moveTo>
                  <a:pt x="417425" y="1090527"/>
                </a:moveTo>
                <a:cubicBezTo>
                  <a:pt x="423955" y="1090527"/>
                  <a:pt x="433206" y="1099234"/>
                  <a:pt x="432662" y="1105764"/>
                </a:cubicBezTo>
                <a:cubicBezTo>
                  <a:pt x="432662" y="1111206"/>
                  <a:pt x="423955" y="1119912"/>
                  <a:pt x="417969" y="1120457"/>
                </a:cubicBezTo>
                <a:cubicBezTo>
                  <a:pt x="411439" y="1121001"/>
                  <a:pt x="402188" y="1111750"/>
                  <a:pt x="402732" y="1105219"/>
                </a:cubicBezTo>
                <a:cubicBezTo>
                  <a:pt x="402732" y="1099234"/>
                  <a:pt x="411439" y="1090527"/>
                  <a:pt x="417425" y="1090527"/>
                </a:cubicBezTo>
                <a:close/>
                <a:moveTo>
                  <a:pt x="580677" y="1083996"/>
                </a:moveTo>
                <a:cubicBezTo>
                  <a:pt x="592105" y="1083996"/>
                  <a:pt x="601900" y="1093791"/>
                  <a:pt x="602444" y="1105219"/>
                </a:cubicBezTo>
                <a:cubicBezTo>
                  <a:pt x="602988" y="1116647"/>
                  <a:pt x="593193" y="1126986"/>
                  <a:pt x="581221" y="1127530"/>
                </a:cubicBezTo>
                <a:cubicBezTo>
                  <a:pt x="570338" y="1127530"/>
                  <a:pt x="558910" y="1116102"/>
                  <a:pt x="558910" y="1105219"/>
                </a:cubicBezTo>
                <a:cubicBezTo>
                  <a:pt x="558910" y="1094880"/>
                  <a:pt x="570338" y="1083996"/>
                  <a:pt x="580677" y="1083996"/>
                </a:cubicBezTo>
                <a:close/>
                <a:moveTo>
                  <a:pt x="743386" y="1079099"/>
                </a:moveTo>
                <a:cubicBezTo>
                  <a:pt x="756991" y="1079099"/>
                  <a:pt x="769507" y="1088894"/>
                  <a:pt x="770595" y="1105219"/>
                </a:cubicBezTo>
                <a:cubicBezTo>
                  <a:pt x="771683" y="1116103"/>
                  <a:pt x="760800" y="1131340"/>
                  <a:pt x="745019" y="1132428"/>
                </a:cubicBezTo>
                <a:cubicBezTo>
                  <a:pt x="734135" y="1134061"/>
                  <a:pt x="717810" y="1118280"/>
                  <a:pt x="717810" y="1106308"/>
                </a:cubicBezTo>
                <a:cubicBezTo>
                  <a:pt x="717810" y="1091071"/>
                  <a:pt x="731414" y="1079099"/>
                  <a:pt x="743386" y="1079099"/>
                </a:cubicBezTo>
                <a:close/>
                <a:moveTo>
                  <a:pt x="907727" y="1076378"/>
                </a:moveTo>
                <a:cubicBezTo>
                  <a:pt x="926773" y="1076378"/>
                  <a:pt x="937112" y="1087262"/>
                  <a:pt x="937112" y="1105219"/>
                </a:cubicBezTo>
                <a:cubicBezTo>
                  <a:pt x="937112" y="1121545"/>
                  <a:pt x="928950" y="1134061"/>
                  <a:pt x="908271" y="1134061"/>
                </a:cubicBezTo>
                <a:cubicBezTo>
                  <a:pt x="888681" y="1134605"/>
                  <a:pt x="878341" y="1122633"/>
                  <a:pt x="878885" y="1105764"/>
                </a:cubicBezTo>
                <a:cubicBezTo>
                  <a:pt x="878341" y="1086173"/>
                  <a:pt x="892490" y="1076378"/>
                  <a:pt x="907727" y="1076378"/>
                </a:cubicBezTo>
                <a:close/>
                <a:moveTo>
                  <a:pt x="1071524" y="1072569"/>
                </a:moveTo>
                <a:cubicBezTo>
                  <a:pt x="1089482" y="1072569"/>
                  <a:pt x="1104174" y="1087806"/>
                  <a:pt x="1104174" y="1105220"/>
                </a:cubicBezTo>
                <a:cubicBezTo>
                  <a:pt x="1104174" y="1123722"/>
                  <a:pt x="1090026" y="1137870"/>
                  <a:pt x="1070435" y="1137870"/>
                </a:cubicBezTo>
                <a:cubicBezTo>
                  <a:pt x="1054110" y="1140047"/>
                  <a:pt x="1037241" y="1121545"/>
                  <a:pt x="1038329" y="1105764"/>
                </a:cubicBezTo>
                <a:cubicBezTo>
                  <a:pt x="1039417" y="1086173"/>
                  <a:pt x="1052478" y="1072569"/>
                  <a:pt x="1071524" y="1072569"/>
                </a:cubicBezTo>
                <a:close/>
                <a:moveTo>
                  <a:pt x="1235865" y="1068760"/>
                </a:moveTo>
                <a:cubicBezTo>
                  <a:pt x="1254912" y="1070392"/>
                  <a:pt x="1272325" y="1088894"/>
                  <a:pt x="1271237" y="1106852"/>
                </a:cubicBezTo>
                <a:cubicBezTo>
                  <a:pt x="1270149" y="1124810"/>
                  <a:pt x="1252735" y="1142223"/>
                  <a:pt x="1234777" y="1142223"/>
                </a:cubicBezTo>
                <a:cubicBezTo>
                  <a:pt x="1215187" y="1142223"/>
                  <a:pt x="1197773" y="1124265"/>
                  <a:pt x="1198861" y="1105219"/>
                </a:cubicBezTo>
                <a:cubicBezTo>
                  <a:pt x="1199406" y="1085629"/>
                  <a:pt x="1217908" y="1067127"/>
                  <a:pt x="1235865" y="1068760"/>
                </a:cubicBezTo>
                <a:close/>
                <a:moveTo>
                  <a:pt x="1396397" y="1067127"/>
                </a:moveTo>
                <a:cubicBezTo>
                  <a:pt x="1416532" y="1065494"/>
                  <a:pt x="1437755" y="1087806"/>
                  <a:pt x="1435578" y="1105219"/>
                </a:cubicBezTo>
                <a:cubicBezTo>
                  <a:pt x="1437210" y="1125898"/>
                  <a:pt x="1413267" y="1144400"/>
                  <a:pt x="1396941" y="1143856"/>
                </a:cubicBezTo>
                <a:cubicBezTo>
                  <a:pt x="1377895" y="1143856"/>
                  <a:pt x="1358305" y="1122633"/>
                  <a:pt x="1358849" y="1105763"/>
                </a:cubicBezTo>
                <a:cubicBezTo>
                  <a:pt x="1359393" y="1085629"/>
                  <a:pt x="1376807" y="1068759"/>
                  <a:pt x="1396397" y="1067127"/>
                </a:cubicBezTo>
                <a:close/>
                <a:moveTo>
                  <a:pt x="1560738" y="1066582"/>
                </a:moveTo>
                <a:cubicBezTo>
                  <a:pt x="1581961" y="1063862"/>
                  <a:pt x="1599919" y="1083452"/>
                  <a:pt x="1599919" y="1105763"/>
                </a:cubicBezTo>
                <a:cubicBezTo>
                  <a:pt x="1599919" y="1127530"/>
                  <a:pt x="1581417" y="1144400"/>
                  <a:pt x="1560738" y="1144400"/>
                </a:cubicBezTo>
                <a:cubicBezTo>
                  <a:pt x="1538971" y="1144400"/>
                  <a:pt x="1521557" y="1125898"/>
                  <a:pt x="1521013" y="1105763"/>
                </a:cubicBezTo>
                <a:cubicBezTo>
                  <a:pt x="1521013" y="1085629"/>
                  <a:pt x="1538971" y="1063862"/>
                  <a:pt x="1560738" y="1066582"/>
                </a:cubicBezTo>
                <a:close/>
                <a:moveTo>
                  <a:pt x="1723447" y="1064406"/>
                </a:moveTo>
                <a:cubicBezTo>
                  <a:pt x="1744126" y="1063862"/>
                  <a:pt x="1763716" y="1076378"/>
                  <a:pt x="1764260" y="1104675"/>
                </a:cubicBezTo>
                <a:cubicBezTo>
                  <a:pt x="1764804" y="1130796"/>
                  <a:pt x="1745758" y="1145488"/>
                  <a:pt x="1724535" y="1146032"/>
                </a:cubicBezTo>
                <a:cubicBezTo>
                  <a:pt x="1703313" y="1147121"/>
                  <a:pt x="1683722" y="1130796"/>
                  <a:pt x="1683178" y="1105764"/>
                </a:cubicBezTo>
                <a:cubicBezTo>
                  <a:pt x="1684266" y="1082364"/>
                  <a:pt x="1698415" y="1064950"/>
                  <a:pt x="1723447" y="1064406"/>
                </a:cubicBezTo>
                <a:close/>
                <a:moveTo>
                  <a:pt x="2051041" y="1063318"/>
                </a:moveTo>
                <a:lnTo>
                  <a:pt x="2051041" y="1147740"/>
                </a:lnTo>
                <a:lnTo>
                  <a:pt x="2049952" y="1148210"/>
                </a:lnTo>
                <a:cubicBezTo>
                  <a:pt x="2028730" y="1147121"/>
                  <a:pt x="2008051" y="1128619"/>
                  <a:pt x="2008051" y="1105764"/>
                </a:cubicBezTo>
                <a:cubicBezTo>
                  <a:pt x="2008595" y="1081276"/>
                  <a:pt x="2027641" y="1063862"/>
                  <a:pt x="2051041" y="1063318"/>
                </a:cubicBezTo>
                <a:close/>
                <a:moveTo>
                  <a:pt x="1887787" y="1062773"/>
                </a:moveTo>
                <a:cubicBezTo>
                  <a:pt x="1909554" y="1063862"/>
                  <a:pt x="1930233" y="1084540"/>
                  <a:pt x="1929145" y="1105763"/>
                </a:cubicBezTo>
                <a:cubicBezTo>
                  <a:pt x="1928056" y="1130251"/>
                  <a:pt x="1908466" y="1147121"/>
                  <a:pt x="1886699" y="1147665"/>
                </a:cubicBezTo>
                <a:cubicBezTo>
                  <a:pt x="1862755" y="1145488"/>
                  <a:pt x="1845886" y="1127530"/>
                  <a:pt x="1844798" y="1105219"/>
                </a:cubicBezTo>
                <a:cubicBezTo>
                  <a:pt x="1844253" y="1083996"/>
                  <a:pt x="1867109" y="1061685"/>
                  <a:pt x="1887787" y="1062773"/>
                </a:cubicBezTo>
                <a:close/>
                <a:moveTo>
                  <a:pt x="335798" y="1011621"/>
                </a:moveTo>
                <a:cubicBezTo>
                  <a:pt x="343960" y="1011621"/>
                  <a:pt x="347770" y="1014886"/>
                  <a:pt x="348314" y="1023049"/>
                </a:cubicBezTo>
                <a:cubicBezTo>
                  <a:pt x="348314" y="1031755"/>
                  <a:pt x="344505" y="1036109"/>
                  <a:pt x="336886" y="1036109"/>
                </a:cubicBezTo>
                <a:cubicBezTo>
                  <a:pt x="329268" y="1036109"/>
                  <a:pt x="324914" y="1032300"/>
                  <a:pt x="324370" y="1024681"/>
                </a:cubicBezTo>
                <a:cubicBezTo>
                  <a:pt x="323826" y="1015974"/>
                  <a:pt x="327635" y="1011621"/>
                  <a:pt x="335798" y="1011621"/>
                </a:cubicBezTo>
                <a:close/>
                <a:moveTo>
                  <a:pt x="499051" y="1002914"/>
                </a:moveTo>
                <a:cubicBezTo>
                  <a:pt x="508846" y="1002370"/>
                  <a:pt x="520818" y="1014342"/>
                  <a:pt x="520818" y="1024137"/>
                </a:cubicBezTo>
                <a:cubicBezTo>
                  <a:pt x="520818" y="1032844"/>
                  <a:pt x="508846" y="1045360"/>
                  <a:pt x="499595" y="1045360"/>
                </a:cubicBezTo>
                <a:cubicBezTo>
                  <a:pt x="490888" y="1045360"/>
                  <a:pt x="478372" y="1032844"/>
                  <a:pt x="478372" y="1024137"/>
                </a:cubicBezTo>
                <a:cubicBezTo>
                  <a:pt x="478372" y="1014886"/>
                  <a:pt x="489800" y="1002914"/>
                  <a:pt x="499051" y="1002914"/>
                </a:cubicBezTo>
                <a:close/>
                <a:moveTo>
                  <a:pt x="663392" y="997473"/>
                </a:moveTo>
                <a:cubicBezTo>
                  <a:pt x="675908" y="998561"/>
                  <a:pt x="688968" y="1011622"/>
                  <a:pt x="688424" y="1024138"/>
                </a:cubicBezTo>
                <a:cubicBezTo>
                  <a:pt x="687880" y="1039374"/>
                  <a:pt x="676452" y="1050802"/>
                  <a:pt x="661759" y="1050258"/>
                </a:cubicBezTo>
                <a:cubicBezTo>
                  <a:pt x="647066" y="1049170"/>
                  <a:pt x="637271" y="1036109"/>
                  <a:pt x="636727" y="1023593"/>
                </a:cubicBezTo>
                <a:cubicBezTo>
                  <a:pt x="637271" y="1010533"/>
                  <a:pt x="651420" y="996929"/>
                  <a:pt x="663392" y="997473"/>
                </a:cubicBezTo>
                <a:close/>
                <a:moveTo>
                  <a:pt x="826645" y="995840"/>
                </a:moveTo>
                <a:cubicBezTo>
                  <a:pt x="845147" y="995296"/>
                  <a:pt x="855486" y="1007267"/>
                  <a:pt x="854942" y="1024137"/>
                </a:cubicBezTo>
                <a:cubicBezTo>
                  <a:pt x="855486" y="1039374"/>
                  <a:pt x="845147" y="1052978"/>
                  <a:pt x="825557" y="1052978"/>
                </a:cubicBezTo>
                <a:cubicBezTo>
                  <a:pt x="808143" y="1052434"/>
                  <a:pt x="796715" y="1041006"/>
                  <a:pt x="797260" y="1023593"/>
                </a:cubicBezTo>
                <a:cubicBezTo>
                  <a:pt x="797260" y="1005635"/>
                  <a:pt x="808687" y="995840"/>
                  <a:pt x="826645" y="995840"/>
                </a:cubicBezTo>
                <a:close/>
                <a:moveTo>
                  <a:pt x="990441" y="990942"/>
                </a:moveTo>
                <a:cubicBezTo>
                  <a:pt x="1008943" y="990942"/>
                  <a:pt x="1023092" y="1006179"/>
                  <a:pt x="1022548" y="1025225"/>
                </a:cubicBezTo>
                <a:cubicBezTo>
                  <a:pt x="1022004" y="1043183"/>
                  <a:pt x="1007311" y="1056243"/>
                  <a:pt x="988809" y="1056787"/>
                </a:cubicBezTo>
                <a:cubicBezTo>
                  <a:pt x="973028" y="1057332"/>
                  <a:pt x="956702" y="1041551"/>
                  <a:pt x="956702" y="1023593"/>
                </a:cubicBezTo>
                <a:cubicBezTo>
                  <a:pt x="956158" y="1006723"/>
                  <a:pt x="973572" y="988221"/>
                  <a:pt x="990441" y="990942"/>
                </a:cubicBezTo>
                <a:close/>
                <a:moveTo>
                  <a:pt x="1150974" y="987678"/>
                </a:moveTo>
                <a:cubicBezTo>
                  <a:pt x="1170020" y="986045"/>
                  <a:pt x="1189066" y="1004547"/>
                  <a:pt x="1189610" y="1023593"/>
                </a:cubicBezTo>
                <a:cubicBezTo>
                  <a:pt x="1190154" y="1042095"/>
                  <a:pt x="1170564" y="1061685"/>
                  <a:pt x="1152062" y="1061685"/>
                </a:cubicBezTo>
                <a:cubicBezTo>
                  <a:pt x="1134104" y="1061685"/>
                  <a:pt x="1115602" y="1042639"/>
                  <a:pt x="1115058" y="1024682"/>
                </a:cubicBezTo>
                <a:cubicBezTo>
                  <a:pt x="1115058" y="1006724"/>
                  <a:pt x="1133016" y="988222"/>
                  <a:pt x="1150974" y="987678"/>
                </a:cubicBezTo>
                <a:close/>
                <a:moveTo>
                  <a:pt x="1315314" y="985501"/>
                </a:moveTo>
                <a:cubicBezTo>
                  <a:pt x="1335993" y="983868"/>
                  <a:pt x="1354495" y="1005635"/>
                  <a:pt x="1354495" y="1023593"/>
                </a:cubicBezTo>
                <a:cubicBezTo>
                  <a:pt x="1355039" y="1042639"/>
                  <a:pt x="1333816" y="1065495"/>
                  <a:pt x="1315858" y="1062230"/>
                </a:cubicBezTo>
                <a:cubicBezTo>
                  <a:pt x="1294636" y="1062230"/>
                  <a:pt x="1277222" y="1045360"/>
                  <a:pt x="1277222" y="1024137"/>
                </a:cubicBezTo>
                <a:cubicBezTo>
                  <a:pt x="1277222" y="1002914"/>
                  <a:pt x="1294091" y="986589"/>
                  <a:pt x="1315314" y="985501"/>
                </a:cubicBezTo>
                <a:close/>
                <a:moveTo>
                  <a:pt x="1479656" y="984412"/>
                </a:moveTo>
                <a:cubicBezTo>
                  <a:pt x="1503055" y="984412"/>
                  <a:pt x="1519925" y="1000737"/>
                  <a:pt x="1519380" y="1025225"/>
                </a:cubicBezTo>
                <a:cubicBezTo>
                  <a:pt x="1518836" y="1045904"/>
                  <a:pt x="1502511" y="1065494"/>
                  <a:pt x="1478567" y="1063318"/>
                </a:cubicBezTo>
                <a:cubicBezTo>
                  <a:pt x="1454624" y="1064950"/>
                  <a:pt x="1438842" y="1044816"/>
                  <a:pt x="1439387" y="1023593"/>
                </a:cubicBezTo>
                <a:cubicBezTo>
                  <a:pt x="1439931" y="1000193"/>
                  <a:pt x="1455712" y="983868"/>
                  <a:pt x="1479656" y="984412"/>
                </a:cubicBezTo>
                <a:close/>
                <a:moveTo>
                  <a:pt x="1641820" y="981691"/>
                </a:moveTo>
                <a:cubicBezTo>
                  <a:pt x="1665220" y="981691"/>
                  <a:pt x="1683178" y="999649"/>
                  <a:pt x="1684810" y="1023592"/>
                </a:cubicBezTo>
                <a:cubicBezTo>
                  <a:pt x="1683722" y="1048625"/>
                  <a:pt x="1665220" y="1066038"/>
                  <a:pt x="1642909" y="1066038"/>
                </a:cubicBezTo>
                <a:cubicBezTo>
                  <a:pt x="1618421" y="1066038"/>
                  <a:pt x="1599919" y="1047536"/>
                  <a:pt x="1599919" y="1023592"/>
                </a:cubicBezTo>
                <a:cubicBezTo>
                  <a:pt x="1599919" y="1001281"/>
                  <a:pt x="1616788" y="982235"/>
                  <a:pt x="1641820" y="981691"/>
                </a:cubicBezTo>
                <a:close/>
                <a:moveTo>
                  <a:pt x="1806161" y="980603"/>
                </a:moveTo>
                <a:cubicBezTo>
                  <a:pt x="1829561" y="980603"/>
                  <a:pt x="1848607" y="1000737"/>
                  <a:pt x="1849151" y="1023592"/>
                </a:cubicBezTo>
                <a:cubicBezTo>
                  <a:pt x="1849151" y="1046992"/>
                  <a:pt x="1827928" y="1068215"/>
                  <a:pt x="1805617" y="1067127"/>
                </a:cubicBezTo>
                <a:cubicBezTo>
                  <a:pt x="1781673" y="1068215"/>
                  <a:pt x="1762083" y="1044815"/>
                  <a:pt x="1762083" y="1023592"/>
                </a:cubicBezTo>
                <a:cubicBezTo>
                  <a:pt x="1762083" y="1002370"/>
                  <a:pt x="1781673" y="980058"/>
                  <a:pt x="1806161" y="980603"/>
                </a:cubicBezTo>
                <a:close/>
                <a:moveTo>
                  <a:pt x="1969414" y="980059"/>
                </a:moveTo>
                <a:cubicBezTo>
                  <a:pt x="1993358" y="980603"/>
                  <a:pt x="2012404" y="1001282"/>
                  <a:pt x="2012404" y="1024137"/>
                </a:cubicBezTo>
                <a:cubicBezTo>
                  <a:pt x="2012404" y="1046449"/>
                  <a:pt x="1991726" y="1069304"/>
                  <a:pt x="1968870" y="1067127"/>
                </a:cubicBezTo>
                <a:cubicBezTo>
                  <a:pt x="1946015" y="1068760"/>
                  <a:pt x="1925336" y="1044272"/>
                  <a:pt x="1924792" y="1024137"/>
                </a:cubicBezTo>
                <a:cubicBezTo>
                  <a:pt x="1924792" y="1002914"/>
                  <a:pt x="1944382" y="980059"/>
                  <a:pt x="1969414" y="980059"/>
                </a:cubicBezTo>
                <a:close/>
                <a:moveTo>
                  <a:pt x="254171" y="931083"/>
                </a:moveTo>
                <a:cubicBezTo>
                  <a:pt x="260701" y="931083"/>
                  <a:pt x="265599" y="935437"/>
                  <a:pt x="265599" y="941967"/>
                </a:cubicBezTo>
                <a:cubicBezTo>
                  <a:pt x="265599" y="948497"/>
                  <a:pt x="260701" y="952850"/>
                  <a:pt x="254171" y="952850"/>
                </a:cubicBezTo>
                <a:cubicBezTo>
                  <a:pt x="247641" y="952850"/>
                  <a:pt x="243832" y="948497"/>
                  <a:pt x="243832" y="941967"/>
                </a:cubicBezTo>
                <a:cubicBezTo>
                  <a:pt x="243832" y="935437"/>
                  <a:pt x="247641" y="931627"/>
                  <a:pt x="254171" y="931083"/>
                </a:cubicBezTo>
                <a:close/>
                <a:moveTo>
                  <a:pt x="417968" y="922377"/>
                </a:moveTo>
                <a:cubicBezTo>
                  <a:pt x="427219" y="921833"/>
                  <a:pt x="437559" y="932716"/>
                  <a:pt x="437559" y="942511"/>
                </a:cubicBezTo>
                <a:cubicBezTo>
                  <a:pt x="437559" y="951762"/>
                  <a:pt x="427219" y="961557"/>
                  <a:pt x="417968" y="961557"/>
                </a:cubicBezTo>
                <a:cubicBezTo>
                  <a:pt x="409262" y="961557"/>
                  <a:pt x="397290" y="949585"/>
                  <a:pt x="397834" y="941423"/>
                </a:cubicBezTo>
                <a:cubicBezTo>
                  <a:pt x="398378" y="933260"/>
                  <a:pt x="409806" y="922377"/>
                  <a:pt x="417968" y="922377"/>
                </a:cubicBezTo>
                <a:close/>
                <a:moveTo>
                  <a:pt x="581222" y="916934"/>
                </a:moveTo>
                <a:cubicBezTo>
                  <a:pt x="593738" y="916934"/>
                  <a:pt x="607342" y="931082"/>
                  <a:pt x="606798" y="943054"/>
                </a:cubicBezTo>
                <a:cubicBezTo>
                  <a:pt x="606254" y="955570"/>
                  <a:pt x="593738" y="967542"/>
                  <a:pt x="581222" y="967542"/>
                </a:cubicBezTo>
                <a:cubicBezTo>
                  <a:pt x="567617" y="966454"/>
                  <a:pt x="557278" y="958291"/>
                  <a:pt x="556190" y="943054"/>
                </a:cubicBezTo>
                <a:cubicBezTo>
                  <a:pt x="555101" y="929994"/>
                  <a:pt x="568161" y="916934"/>
                  <a:pt x="581222" y="916934"/>
                </a:cubicBezTo>
                <a:close/>
                <a:moveTo>
                  <a:pt x="744474" y="913669"/>
                </a:moveTo>
                <a:cubicBezTo>
                  <a:pt x="765153" y="913669"/>
                  <a:pt x="773860" y="927273"/>
                  <a:pt x="773315" y="942510"/>
                </a:cubicBezTo>
                <a:cubicBezTo>
                  <a:pt x="772771" y="959924"/>
                  <a:pt x="761344" y="971352"/>
                  <a:pt x="743930" y="970807"/>
                </a:cubicBezTo>
                <a:cubicBezTo>
                  <a:pt x="727061" y="970807"/>
                  <a:pt x="716177" y="959380"/>
                  <a:pt x="716177" y="941966"/>
                </a:cubicBezTo>
                <a:cubicBezTo>
                  <a:pt x="716177" y="923464"/>
                  <a:pt x="727605" y="914213"/>
                  <a:pt x="744474" y="913669"/>
                </a:cubicBezTo>
                <a:close/>
                <a:moveTo>
                  <a:pt x="908271" y="908772"/>
                </a:moveTo>
                <a:cubicBezTo>
                  <a:pt x="927317" y="910405"/>
                  <a:pt x="940922" y="924553"/>
                  <a:pt x="940377" y="944144"/>
                </a:cubicBezTo>
                <a:cubicBezTo>
                  <a:pt x="939833" y="962101"/>
                  <a:pt x="925141" y="975162"/>
                  <a:pt x="906094" y="975162"/>
                </a:cubicBezTo>
                <a:cubicBezTo>
                  <a:pt x="890313" y="975162"/>
                  <a:pt x="873988" y="959925"/>
                  <a:pt x="874532" y="940879"/>
                </a:cubicBezTo>
                <a:cubicBezTo>
                  <a:pt x="874532" y="925641"/>
                  <a:pt x="891402" y="907684"/>
                  <a:pt x="908271" y="908772"/>
                </a:cubicBezTo>
                <a:close/>
                <a:moveTo>
                  <a:pt x="1072068" y="906051"/>
                </a:moveTo>
                <a:cubicBezTo>
                  <a:pt x="1093291" y="907683"/>
                  <a:pt x="1105807" y="921832"/>
                  <a:pt x="1107984" y="942511"/>
                </a:cubicBezTo>
                <a:cubicBezTo>
                  <a:pt x="1107984" y="961013"/>
                  <a:pt x="1088938" y="979515"/>
                  <a:pt x="1070980" y="979515"/>
                </a:cubicBezTo>
                <a:cubicBezTo>
                  <a:pt x="1053022" y="979515"/>
                  <a:pt x="1034520" y="960469"/>
                  <a:pt x="1034520" y="942511"/>
                </a:cubicBezTo>
                <a:cubicBezTo>
                  <a:pt x="1034520" y="923465"/>
                  <a:pt x="1053566" y="904419"/>
                  <a:pt x="1072068" y="906051"/>
                </a:cubicBezTo>
                <a:close/>
                <a:moveTo>
                  <a:pt x="1235321" y="903874"/>
                </a:moveTo>
                <a:cubicBezTo>
                  <a:pt x="1257088" y="903874"/>
                  <a:pt x="1272325" y="920199"/>
                  <a:pt x="1272325" y="943054"/>
                </a:cubicBezTo>
                <a:cubicBezTo>
                  <a:pt x="1275045" y="962645"/>
                  <a:pt x="1251646" y="982779"/>
                  <a:pt x="1233688" y="981147"/>
                </a:cubicBezTo>
                <a:cubicBezTo>
                  <a:pt x="1211921" y="979514"/>
                  <a:pt x="1195052" y="963189"/>
                  <a:pt x="1195596" y="940878"/>
                </a:cubicBezTo>
                <a:cubicBezTo>
                  <a:pt x="1196140" y="919111"/>
                  <a:pt x="1212465" y="903330"/>
                  <a:pt x="1235321" y="903874"/>
                </a:cubicBezTo>
                <a:close/>
                <a:moveTo>
                  <a:pt x="1397486" y="901153"/>
                </a:moveTo>
                <a:cubicBezTo>
                  <a:pt x="1420885" y="901698"/>
                  <a:pt x="1437755" y="917479"/>
                  <a:pt x="1438299" y="942511"/>
                </a:cubicBezTo>
                <a:cubicBezTo>
                  <a:pt x="1437210" y="966999"/>
                  <a:pt x="1420341" y="983324"/>
                  <a:pt x="1396941" y="983324"/>
                </a:cubicBezTo>
                <a:cubicBezTo>
                  <a:pt x="1371909" y="983324"/>
                  <a:pt x="1355584" y="963190"/>
                  <a:pt x="1356128" y="941967"/>
                </a:cubicBezTo>
                <a:cubicBezTo>
                  <a:pt x="1356128" y="919655"/>
                  <a:pt x="1373542" y="900609"/>
                  <a:pt x="1397486" y="901153"/>
                </a:cubicBezTo>
                <a:close/>
                <a:moveTo>
                  <a:pt x="1560738" y="898977"/>
                </a:moveTo>
                <a:cubicBezTo>
                  <a:pt x="1584138" y="899521"/>
                  <a:pt x="1603728" y="917479"/>
                  <a:pt x="1603728" y="942511"/>
                </a:cubicBezTo>
                <a:cubicBezTo>
                  <a:pt x="1603728" y="966999"/>
                  <a:pt x="1581961" y="985501"/>
                  <a:pt x="1560738" y="985501"/>
                </a:cubicBezTo>
                <a:cubicBezTo>
                  <a:pt x="1537883" y="985501"/>
                  <a:pt x="1516660" y="963734"/>
                  <a:pt x="1517204" y="941423"/>
                </a:cubicBezTo>
                <a:cubicBezTo>
                  <a:pt x="1517748" y="919656"/>
                  <a:pt x="1535706" y="898977"/>
                  <a:pt x="1560738" y="898977"/>
                </a:cubicBezTo>
                <a:close/>
                <a:moveTo>
                  <a:pt x="1723990" y="897888"/>
                </a:moveTo>
                <a:cubicBezTo>
                  <a:pt x="1747934" y="897888"/>
                  <a:pt x="1769701" y="919111"/>
                  <a:pt x="1768069" y="942510"/>
                </a:cubicBezTo>
                <a:cubicBezTo>
                  <a:pt x="1770245" y="965366"/>
                  <a:pt x="1746302" y="987133"/>
                  <a:pt x="1723990" y="986589"/>
                </a:cubicBezTo>
                <a:cubicBezTo>
                  <a:pt x="1701679" y="986589"/>
                  <a:pt x="1679912" y="964278"/>
                  <a:pt x="1679912" y="941422"/>
                </a:cubicBezTo>
                <a:cubicBezTo>
                  <a:pt x="1680456" y="919655"/>
                  <a:pt x="1700047" y="897888"/>
                  <a:pt x="1723990" y="897888"/>
                </a:cubicBezTo>
                <a:close/>
                <a:moveTo>
                  <a:pt x="2050497" y="897344"/>
                </a:moveTo>
                <a:lnTo>
                  <a:pt x="2051041" y="897453"/>
                </a:lnTo>
                <a:lnTo>
                  <a:pt x="2051041" y="986917"/>
                </a:lnTo>
                <a:lnTo>
                  <a:pt x="2049952" y="987133"/>
                </a:lnTo>
                <a:cubicBezTo>
                  <a:pt x="2026553" y="987133"/>
                  <a:pt x="2004786" y="965366"/>
                  <a:pt x="2005330" y="941422"/>
                </a:cubicBezTo>
                <a:cubicBezTo>
                  <a:pt x="2005874" y="918023"/>
                  <a:pt x="2026009" y="897344"/>
                  <a:pt x="2050497" y="897344"/>
                </a:cubicBezTo>
                <a:close/>
                <a:moveTo>
                  <a:pt x="1887243" y="897344"/>
                </a:moveTo>
                <a:cubicBezTo>
                  <a:pt x="1910099" y="897344"/>
                  <a:pt x="1931866" y="916390"/>
                  <a:pt x="1931866" y="942511"/>
                </a:cubicBezTo>
                <a:cubicBezTo>
                  <a:pt x="1931866" y="965910"/>
                  <a:pt x="1910099" y="986589"/>
                  <a:pt x="1887243" y="986589"/>
                </a:cubicBezTo>
                <a:cubicBezTo>
                  <a:pt x="1864932" y="987133"/>
                  <a:pt x="1839900" y="965910"/>
                  <a:pt x="1843165" y="941422"/>
                </a:cubicBezTo>
                <a:cubicBezTo>
                  <a:pt x="1840444" y="918567"/>
                  <a:pt x="1863299" y="897344"/>
                  <a:pt x="1887243" y="897344"/>
                </a:cubicBezTo>
                <a:close/>
                <a:moveTo>
                  <a:pt x="172545" y="854354"/>
                </a:moveTo>
                <a:cubicBezTo>
                  <a:pt x="176899" y="854354"/>
                  <a:pt x="179619" y="855442"/>
                  <a:pt x="179619" y="860884"/>
                </a:cubicBezTo>
                <a:cubicBezTo>
                  <a:pt x="180164" y="864693"/>
                  <a:pt x="177987" y="866870"/>
                  <a:pt x="173634" y="866870"/>
                </a:cubicBezTo>
                <a:cubicBezTo>
                  <a:pt x="169824" y="866870"/>
                  <a:pt x="166559" y="866870"/>
                  <a:pt x="166015" y="861973"/>
                </a:cubicBezTo>
                <a:cubicBezTo>
                  <a:pt x="165471" y="857075"/>
                  <a:pt x="167103" y="854354"/>
                  <a:pt x="172545" y="854354"/>
                </a:cubicBezTo>
                <a:close/>
                <a:moveTo>
                  <a:pt x="336342" y="843471"/>
                </a:moveTo>
                <a:cubicBezTo>
                  <a:pt x="346681" y="844015"/>
                  <a:pt x="353211" y="849457"/>
                  <a:pt x="353211" y="860340"/>
                </a:cubicBezTo>
                <a:cubicBezTo>
                  <a:pt x="353211" y="872312"/>
                  <a:pt x="348858" y="876665"/>
                  <a:pt x="336886" y="877210"/>
                </a:cubicBezTo>
                <a:cubicBezTo>
                  <a:pt x="324370" y="877210"/>
                  <a:pt x="320561" y="872856"/>
                  <a:pt x="320017" y="860884"/>
                </a:cubicBezTo>
                <a:cubicBezTo>
                  <a:pt x="319473" y="851089"/>
                  <a:pt x="327635" y="842927"/>
                  <a:pt x="336342" y="843471"/>
                </a:cubicBezTo>
                <a:close/>
                <a:moveTo>
                  <a:pt x="500139" y="837485"/>
                </a:moveTo>
                <a:cubicBezTo>
                  <a:pt x="514832" y="837485"/>
                  <a:pt x="522994" y="846735"/>
                  <a:pt x="522994" y="861428"/>
                </a:cubicBezTo>
                <a:cubicBezTo>
                  <a:pt x="522994" y="876121"/>
                  <a:pt x="513743" y="884284"/>
                  <a:pt x="499595" y="884284"/>
                </a:cubicBezTo>
                <a:cubicBezTo>
                  <a:pt x="485446" y="883740"/>
                  <a:pt x="475651" y="875033"/>
                  <a:pt x="476739" y="860340"/>
                </a:cubicBezTo>
                <a:cubicBezTo>
                  <a:pt x="476195" y="842926"/>
                  <a:pt x="489256" y="836940"/>
                  <a:pt x="500139" y="837485"/>
                </a:cubicBezTo>
                <a:close/>
                <a:moveTo>
                  <a:pt x="662848" y="832587"/>
                </a:moveTo>
                <a:cubicBezTo>
                  <a:pt x="677541" y="832587"/>
                  <a:pt x="691689" y="842926"/>
                  <a:pt x="690057" y="860340"/>
                </a:cubicBezTo>
                <a:cubicBezTo>
                  <a:pt x="691689" y="876121"/>
                  <a:pt x="679718" y="888637"/>
                  <a:pt x="662848" y="888637"/>
                </a:cubicBezTo>
                <a:cubicBezTo>
                  <a:pt x="644890" y="888637"/>
                  <a:pt x="634551" y="874489"/>
                  <a:pt x="634551" y="861428"/>
                </a:cubicBezTo>
                <a:cubicBezTo>
                  <a:pt x="634551" y="842926"/>
                  <a:pt x="647611" y="832587"/>
                  <a:pt x="662848" y="832587"/>
                </a:cubicBezTo>
                <a:close/>
                <a:moveTo>
                  <a:pt x="826101" y="827146"/>
                </a:moveTo>
                <a:cubicBezTo>
                  <a:pt x="840249" y="826602"/>
                  <a:pt x="859840" y="843471"/>
                  <a:pt x="859295" y="860885"/>
                </a:cubicBezTo>
                <a:cubicBezTo>
                  <a:pt x="858751" y="875033"/>
                  <a:pt x="844603" y="894624"/>
                  <a:pt x="825556" y="892991"/>
                </a:cubicBezTo>
                <a:cubicBezTo>
                  <a:pt x="808687" y="894079"/>
                  <a:pt x="793450" y="877754"/>
                  <a:pt x="793450" y="860885"/>
                </a:cubicBezTo>
                <a:cubicBezTo>
                  <a:pt x="793994" y="842927"/>
                  <a:pt x="808143" y="828234"/>
                  <a:pt x="826101" y="827146"/>
                </a:cubicBezTo>
                <a:close/>
                <a:moveTo>
                  <a:pt x="988809" y="824424"/>
                </a:moveTo>
                <a:cubicBezTo>
                  <a:pt x="1010576" y="825512"/>
                  <a:pt x="1024180" y="839661"/>
                  <a:pt x="1025813" y="860339"/>
                </a:cubicBezTo>
                <a:cubicBezTo>
                  <a:pt x="1026901" y="878842"/>
                  <a:pt x="1008399" y="896799"/>
                  <a:pt x="989897" y="897344"/>
                </a:cubicBezTo>
                <a:cubicBezTo>
                  <a:pt x="971939" y="897344"/>
                  <a:pt x="953982" y="880474"/>
                  <a:pt x="953437" y="861972"/>
                </a:cubicBezTo>
                <a:cubicBezTo>
                  <a:pt x="951805" y="842926"/>
                  <a:pt x="969763" y="824968"/>
                  <a:pt x="988809" y="824424"/>
                </a:cubicBezTo>
                <a:close/>
                <a:moveTo>
                  <a:pt x="1153695" y="821704"/>
                </a:moveTo>
                <a:cubicBezTo>
                  <a:pt x="1175462" y="822248"/>
                  <a:pt x="1191243" y="839118"/>
                  <a:pt x="1191243" y="861429"/>
                </a:cubicBezTo>
                <a:cubicBezTo>
                  <a:pt x="1193964" y="882107"/>
                  <a:pt x="1169476" y="900610"/>
                  <a:pt x="1152606" y="899521"/>
                </a:cubicBezTo>
                <a:cubicBezTo>
                  <a:pt x="1130839" y="898433"/>
                  <a:pt x="1114514" y="882107"/>
                  <a:pt x="1114514" y="859252"/>
                </a:cubicBezTo>
                <a:cubicBezTo>
                  <a:pt x="1115058" y="837485"/>
                  <a:pt x="1131928" y="821704"/>
                  <a:pt x="1153695" y="821704"/>
                </a:cubicBezTo>
                <a:close/>
                <a:moveTo>
                  <a:pt x="1316403" y="818982"/>
                </a:moveTo>
                <a:cubicBezTo>
                  <a:pt x="1341979" y="820071"/>
                  <a:pt x="1356128" y="838573"/>
                  <a:pt x="1357216" y="860884"/>
                </a:cubicBezTo>
                <a:cubicBezTo>
                  <a:pt x="1356128" y="884828"/>
                  <a:pt x="1337626" y="901697"/>
                  <a:pt x="1315315" y="901697"/>
                </a:cubicBezTo>
                <a:cubicBezTo>
                  <a:pt x="1293003" y="901697"/>
                  <a:pt x="1273957" y="884284"/>
                  <a:pt x="1274501" y="860340"/>
                </a:cubicBezTo>
                <a:cubicBezTo>
                  <a:pt x="1275046" y="835852"/>
                  <a:pt x="1291915" y="818438"/>
                  <a:pt x="1316403" y="818982"/>
                </a:cubicBezTo>
                <a:close/>
                <a:moveTo>
                  <a:pt x="1479112" y="816806"/>
                </a:moveTo>
                <a:cubicBezTo>
                  <a:pt x="1501423" y="816806"/>
                  <a:pt x="1523190" y="835852"/>
                  <a:pt x="1522646" y="860340"/>
                </a:cubicBezTo>
                <a:cubicBezTo>
                  <a:pt x="1523735" y="885372"/>
                  <a:pt x="1499791" y="904419"/>
                  <a:pt x="1479656" y="904419"/>
                </a:cubicBezTo>
                <a:cubicBezTo>
                  <a:pt x="1457889" y="904419"/>
                  <a:pt x="1436122" y="883740"/>
                  <a:pt x="1435578" y="860884"/>
                </a:cubicBezTo>
                <a:cubicBezTo>
                  <a:pt x="1435578" y="838573"/>
                  <a:pt x="1455713" y="816806"/>
                  <a:pt x="1479112" y="816806"/>
                </a:cubicBezTo>
                <a:close/>
                <a:moveTo>
                  <a:pt x="1642909" y="815718"/>
                </a:moveTo>
                <a:cubicBezTo>
                  <a:pt x="1665764" y="816262"/>
                  <a:pt x="1686987" y="835852"/>
                  <a:pt x="1686987" y="860885"/>
                </a:cubicBezTo>
                <a:cubicBezTo>
                  <a:pt x="1686987" y="884284"/>
                  <a:pt x="1666308" y="906051"/>
                  <a:pt x="1641276" y="905507"/>
                </a:cubicBezTo>
                <a:cubicBezTo>
                  <a:pt x="1619509" y="905507"/>
                  <a:pt x="1595021" y="884284"/>
                  <a:pt x="1597742" y="860340"/>
                </a:cubicBezTo>
                <a:cubicBezTo>
                  <a:pt x="1595021" y="836941"/>
                  <a:pt x="1619509" y="815174"/>
                  <a:pt x="1642909" y="815718"/>
                </a:cubicBezTo>
                <a:close/>
                <a:moveTo>
                  <a:pt x="1806161" y="815173"/>
                </a:moveTo>
                <a:cubicBezTo>
                  <a:pt x="1832282" y="815717"/>
                  <a:pt x="1854593" y="836396"/>
                  <a:pt x="1852416" y="860884"/>
                </a:cubicBezTo>
                <a:cubicBezTo>
                  <a:pt x="1850240" y="885372"/>
                  <a:pt x="1837179" y="906050"/>
                  <a:pt x="1805617" y="906594"/>
                </a:cubicBezTo>
                <a:cubicBezTo>
                  <a:pt x="1776776" y="906594"/>
                  <a:pt x="1759362" y="885916"/>
                  <a:pt x="1759906" y="860884"/>
                </a:cubicBezTo>
                <a:cubicBezTo>
                  <a:pt x="1759906" y="834219"/>
                  <a:pt x="1776776" y="815717"/>
                  <a:pt x="1806161" y="815173"/>
                </a:cubicBezTo>
                <a:close/>
                <a:moveTo>
                  <a:pt x="1968326" y="812453"/>
                </a:moveTo>
                <a:cubicBezTo>
                  <a:pt x="1979754" y="812453"/>
                  <a:pt x="1991726" y="817351"/>
                  <a:pt x="2000977" y="826057"/>
                </a:cubicBezTo>
                <a:cubicBezTo>
                  <a:pt x="2010772" y="835308"/>
                  <a:pt x="2016214" y="847280"/>
                  <a:pt x="2015670" y="859796"/>
                </a:cubicBezTo>
                <a:cubicBezTo>
                  <a:pt x="2014581" y="884828"/>
                  <a:pt x="2000977" y="904963"/>
                  <a:pt x="1969415" y="907684"/>
                </a:cubicBezTo>
                <a:cubicBezTo>
                  <a:pt x="1942206" y="906051"/>
                  <a:pt x="1923704" y="890270"/>
                  <a:pt x="1922071" y="860885"/>
                </a:cubicBezTo>
                <a:cubicBezTo>
                  <a:pt x="1920983" y="836397"/>
                  <a:pt x="1943294" y="812453"/>
                  <a:pt x="1968326" y="812453"/>
                </a:cubicBezTo>
                <a:close/>
                <a:moveTo>
                  <a:pt x="255260" y="762932"/>
                </a:moveTo>
                <a:cubicBezTo>
                  <a:pt x="261790" y="763476"/>
                  <a:pt x="271041" y="773271"/>
                  <a:pt x="270497" y="779802"/>
                </a:cubicBezTo>
                <a:cubicBezTo>
                  <a:pt x="270497" y="786332"/>
                  <a:pt x="261246" y="795038"/>
                  <a:pt x="254172" y="795038"/>
                </a:cubicBezTo>
                <a:cubicBezTo>
                  <a:pt x="246553" y="795038"/>
                  <a:pt x="238391" y="786332"/>
                  <a:pt x="238935" y="778713"/>
                </a:cubicBezTo>
                <a:cubicBezTo>
                  <a:pt x="239479" y="771095"/>
                  <a:pt x="248186" y="762388"/>
                  <a:pt x="255260" y="762932"/>
                </a:cubicBezTo>
                <a:close/>
                <a:moveTo>
                  <a:pt x="416881" y="756402"/>
                </a:moveTo>
                <a:cubicBezTo>
                  <a:pt x="430485" y="756402"/>
                  <a:pt x="439736" y="765109"/>
                  <a:pt x="440280" y="778713"/>
                </a:cubicBezTo>
                <a:cubicBezTo>
                  <a:pt x="440280" y="791229"/>
                  <a:pt x="431573" y="801024"/>
                  <a:pt x="419057" y="801024"/>
                </a:cubicBezTo>
                <a:cubicBezTo>
                  <a:pt x="405997" y="801569"/>
                  <a:pt x="396202" y="792317"/>
                  <a:pt x="396202" y="779257"/>
                </a:cubicBezTo>
                <a:cubicBezTo>
                  <a:pt x="396202" y="766741"/>
                  <a:pt x="404909" y="756946"/>
                  <a:pt x="416881" y="756402"/>
                </a:cubicBezTo>
                <a:close/>
                <a:moveTo>
                  <a:pt x="581766" y="751505"/>
                </a:moveTo>
                <a:cubicBezTo>
                  <a:pt x="598091" y="752594"/>
                  <a:pt x="607887" y="762933"/>
                  <a:pt x="608975" y="779802"/>
                </a:cubicBezTo>
                <a:cubicBezTo>
                  <a:pt x="608975" y="792318"/>
                  <a:pt x="596459" y="808644"/>
                  <a:pt x="580678" y="806467"/>
                </a:cubicBezTo>
                <a:cubicBezTo>
                  <a:pt x="565985" y="808100"/>
                  <a:pt x="553469" y="792318"/>
                  <a:pt x="553469" y="778714"/>
                </a:cubicBezTo>
                <a:cubicBezTo>
                  <a:pt x="553469" y="764021"/>
                  <a:pt x="567618" y="750417"/>
                  <a:pt x="581766" y="751505"/>
                </a:cubicBezTo>
                <a:close/>
                <a:moveTo>
                  <a:pt x="746107" y="746607"/>
                </a:moveTo>
                <a:cubicBezTo>
                  <a:pt x="762432" y="747695"/>
                  <a:pt x="778213" y="765653"/>
                  <a:pt x="777125" y="780346"/>
                </a:cubicBezTo>
                <a:cubicBezTo>
                  <a:pt x="776581" y="795038"/>
                  <a:pt x="762432" y="811908"/>
                  <a:pt x="742842" y="811364"/>
                </a:cubicBezTo>
                <a:cubicBezTo>
                  <a:pt x="725428" y="810276"/>
                  <a:pt x="712368" y="795583"/>
                  <a:pt x="712368" y="778713"/>
                </a:cubicBezTo>
                <a:cubicBezTo>
                  <a:pt x="712368" y="760755"/>
                  <a:pt x="730870" y="745519"/>
                  <a:pt x="746107" y="746607"/>
                </a:cubicBezTo>
                <a:close/>
                <a:moveTo>
                  <a:pt x="907727" y="741710"/>
                </a:moveTo>
                <a:cubicBezTo>
                  <a:pt x="925684" y="741710"/>
                  <a:pt x="944187" y="760756"/>
                  <a:pt x="944187" y="778714"/>
                </a:cubicBezTo>
                <a:cubicBezTo>
                  <a:pt x="944187" y="796672"/>
                  <a:pt x="926229" y="815174"/>
                  <a:pt x="907727" y="815174"/>
                </a:cubicBezTo>
                <a:cubicBezTo>
                  <a:pt x="889225" y="815174"/>
                  <a:pt x="872899" y="798848"/>
                  <a:pt x="872355" y="779258"/>
                </a:cubicBezTo>
                <a:cubicBezTo>
                  <a:pt x="871811" y="759668"/>
                  <a:pt x="888136" y="742254"/>
                  <a:pt x="907727" y="741710"/>
                </a:cubicBezTo>
                <a:close/>
                <a:moveTo>
                  <a:pt x="1070979" y="740621"/>
                </a:moveTo>
                <a:cubicBezTo>
                  <a:pt x="1091114" y="737357"/>
                  <a:pt x="1110704" y="761300"/>
                  <a:pt x="1110160" y="779258"/>
                </a:cubicBezTo>
                <a:cubicBezTo>
                  <a:pt x="1110160" y="798304"/>
                  <a:pt x="1089481" y="817894"/>
                  <a:pt x="1070979" y="817894"/>
                </a:cubicBezTo>
                <a:cubicBezTo>
                  <a:pt x="1049757" y="817894"/>
                  <a:pt x="1031255" y="797216"/>
                  <a:pt x="1031799" y="778714"/>
                </a:cubicBezTo>
                <a:cubicBezTo>
                  <a:pt x="1033431" y="756947"/>
                  <a:pt x="1049212" y="740621"/>
                  <a:pt x="1070979" y="740621"/>
                </a:cubicBezTo>
                <a:close/>
                <a:moveTo>
                  <a:pt x="1233688" y="736268"/>
                </a:moveTo>
                <a:cubicBezTo>
                  <a:pt x="1254367" y="735723"/>
                  <a:pt x="1276134" y="756402"/>
                  <a:pt x="1276134" y="777625"/>
                </a:cubicBezTo>
                <a:cubicBezTo>
                  <a:pt x="1276134" y="801025"/>
                  <a:pt x="1258720" y="819526"/>
                  <a:pt x="1235320" y="820615"/>
                </a:cubicBezTo>
                <a:cubicBezTo>
                  <a:pt x="1211377" y="821159"/>
                  <a:pt x="1193419" y="802657"/>
                  <a:pt x="1192331" y="779258"/>
                </a:cubicBezTo>
                <a:cubicBezTo>
                  <a:pt x="1190698" y="758579"/>
                  <a:pt x="1213009" y="736812"/>
                  <a:pt x="1233688" y="736268"/>
                </a:cubicBezTo>
                <a:close/>
                <a:moveTo>
                  <a:pt x="1397485" y="735724"/>
                </a:moveTo>
                <a:cubicBezTo>
                  <a:pt x="1421973" y="734091"/>
                  <a:pt x="1441564" y="757491"/>
                  <a:pt x="1441019" y="779802"/>
                </a:cubicBezTo>
                <a:cubicBezTo>
                  <a:pt x="1441019" y="803746"/>
                  <a:pt x="1418708" y="823336"/>
                  <a:pt x="1396397" y="823336"/>
                </a:cubicBezTo>
                <a:cubicBezTo>
                  <a:pt x="1374630" y="823336"/>
                  <a:pt x="1352863" y="802113"/>
                  <a:pt x="1352863" y="779258"/>
                </a:cubicBezTo>
                <a:cubicBezTo>
                  <a:pt x="1353407" y="758579"/>
                  <a:pt x="1372453" y="733547"/>
                  <a:pt x="1397485" y="735724"/>
                </a:cubicBezTo>
                <a:close/>
                <a:moveTo>
                  <a:pt x="1562371" y="734636"/>
                </a:moveTo>
                <a:cubicBezTo>
                  <a:pt x="1586314" y="732459"/>
                  <a:pt x="1605905" y="754226"/>
                  <a:pt x="1605905" y="779802"/>
                </a:cubicBezTo>
                <a:cubicBezTo>
                  <a:pt x="1605361" y="805923"/>
                  <a:pt x="1585226" y="823881"/>
                  <a:pt x="1560194" y="823881"/>
                </a:cubicBezTo>
                <a:cubicBezTo>
                  <a:pt x="1535706" y="823881"/>
                  <a:pt x="1515027" y="803202"/>
                  <a:pt x="1515572" y="777626"/>
                </a:cubicBezTo>
                <a:cubicBezTo>
                  <a:pt x="1516116" y="755859"/>
                  <a:pt x="1535162" y="731371"/>
                  <a:pt x="1562371" y="734636"/>
                </a:cubicBezTo>
                <a:close/>
                <a:moveTo>
                  <a:pt x="1724535" y="730827"/>
                </a:moveTo>
                <a:cubicBezTo>
                  <a:pt x="1748478" y="731371"/>
                  <a:pt x="1772422" y="755314"/>
                  <a:pt x="1772422" y="779258"/>
                </a:cubicBezTo>
                <a:cubicBezTo>
                  <a:pt x="1771878" y="804290"/>
                  <a:pt x="1748478" y="826602"/>
                  <a:pt x="1723446" y="826602"/>
                </a:cubicBezTo>
                <a:cubicBezTo>
                  <a:pt x="1696238" y="823881"/>
                  <a:pt x="1677736" y="807011"/>
                  <a:pt x="1676647" y="778714"/>
                </a:cubicBezTo>
                <a:cubicBezTo>
                  <a:pt x="1676103" y="753138"/>
                  <a:pt x="1699503" y="730282"/>
                  <a:pt x="1724535" y="730827"/>
                </a:cubicBezTo>
                <a:close/>
                <a:moveTo>
                  <a:pt x="1886699" y="730826"/>
                </a:moveTo>
                <a:cubicBezTo>
                  <a:pt x="1914452" y="730826"/>
                  <a:pt x="1934587" y="749872"/>
                  <a:pt x="1935131" y="778713"/>
                </a:cubicBezTo>
                <a:cubicBezTo>
                  <a:pt x="1936219" y="804834"/>
                  <a:pt x="1916085" y="826601"/>
                  <a:pt x="1887244" y="827145"/>
                </a:cubicBezTo>
                <a:cubicBezTo>
                  <a:pt x="1860579" y="826601"/>
                  <a:pt x="1838812" y="805922"/>
                  <a:pt x="1838812" y="778713"/>
                </a:cubicBezTo>
                <a:cubicBezTo>
                  <a:pt x="1839356" y="750416"/>
                  <a:pt x="1860035" y="730282"/>
                  <a:pt x="1886699" y="730826"/>
                </a:cubicBezTo>
                <a:close/>
                <a:moveTo>
                  <a:pt x="2050496" y="730282"/>
                </a:moveTo>
                <a:lnTo>
                  <a:pt x="2051041" y="730396"/>
                </a:lnTo>
                <a:lnTo>
                  <a:pt x="2051041" y="826942"/>
                </a:lnTo>
                <a:lnTo>
                  <a:pt x="2049952" y="827145"/>
                </a:lnTo>
                <a:cubicBezTo>
                  <a:pt x="2023832" y="827145"/>
                  <a:pt x="2001521" y="804290"/>
                  <a:pt x="2002065" y="778169"/>
                </a:cubicBezTo>
                <a:cubicBezTo>
                  <a:pt x="2002609" y="751505"/>
                  <a:pt x="2024376" y="730282"/>
                  <a:pt x="2050496" y="730282"/>
                </a:cubicBezTo>
                <a:close/>
                <a:moveTo>
                  <a:pt x="173634" y="685660"/>
                </a:moveTo>
                <a:cubicBezTo>
                  <a:pt x="181253" y="685660"/>
                  <a:pt x="185062" y="690013"/>
                  <a:pt x="184518" y="698176"/>
                </a:cubicBezTo>
                <a:cubicBezTo>
                  <a:pt x="183973" y="705250"/>
                  <a:pt x="180164" y="709059"/>
                  <a:pt x="172546" y="709059"/>
                </a:cubicBezTo>
                <a:cubicBezTo>
                  <a:pt x="164383" y="709059"/>
                  <a:pt x="160574" y="705250"/>
                  <a:pt x="161118" y="697088"/>
                </a:cubicBezTo>
                <a:cubicBezTo>
                  <a:pt x="161662" y="688925"/>
                  <a:pt x="164927" y="685660"/>
                  <a:pt x="173634" y="685660"/>
                </a:cubicBezTo>
                <a:close/>
                <a:moveTo>
                  <a:pt x="335798" y="675320"/>
                </a:moveTo>
                <a:cubicBezTo>
                  <a:pt x="345593" y="675320"/>
                  <a:pt x="357565" y="685115"/>
                  <a:pt x="357565" y="696543"/>
                </a:cubicBezTo>
                <a:cubicBezTo>
                  <a:pt x="357565" y="707426"/>
                  <a:pt x="346682" y="718854"/>
                  <a:pt x="336342" y="718854"/>
                </a:cubicBezTo>
                <a:cubicBezTo>
                  <a:pt x="327091" y="718854"/>
                  <a:pt x="315664" y="707426"/>
                  <a:pt x="315120" y="697631"/>
                </a:cubicBezTo>
                <a:cubicBezTo>
                  <a:pt x="314575" y="687292"/>
                  <a:pt x="325459" y="675864"/>
                  <a:pt x="335798" y="675320"/>
                </a:cubicBezTo>
                <a:close/>
                <a:moveTo>
                  <a:pt x="499051" y="670423"/>
                </a:moveTo>
                <a:cubicBezTo>
                  <a:pt x="512111" y="669335"/>
                  <a:pt x="526804" y="684027"/>
                  <a:pt x="526804" y="697088"/>
                </a:cubicBezTo>
                <a:cubicBezTo>
                  <a:pt x="526804" y="711236"/>
                  <a:pt x="513744" y="724296"/>
                  <a:pt x="499595" y="724296"/>
                </a:cubicBezTo>
                <a:cubicBezTo>
                  <a:pt x="486535" y="724296"/>
                  <a:pt x="472930" y="711236"/>
                  <a:pt x="472930" y="697632"/>
                </a:cubicBezTo>
                <a:cubicBezTo>
                  <a:pt x="472386" y="684027"/>
                  <a:pt x="485446" y="670423"/>
                  <a:pt x="499051" y="670423"/>
                </a:cubicBezTo>
                <a:close/>
                <a:moveTo>
                  <a:pt x="662848" y="665525"/>
                </a:moveTo>
                <a:cubicBezTo>
                  <a:pt x="678629" y="665525"/>
                  <a:pt x="694410" y="681306"/>
                  <a:pt x="694954" y="697087"/>
                </a:cubicBezTo>
                <a:cubicBezTo>
                  <a:pt x="695499" y="712868"/>
                  <a:pt x="679173" y="729194"/>
                  <a:pt x="663392" y="729194"/>
                </a:cubicBezTo>
                <a:cubicBezTo>
                  <a:pt x="647611" y="729194"/>
                  <a:pt x="632374" y="713957"/>
                  <a:pt x="632374" y="698176"/>
                </a:cubicBezTo>
                <a:cubicBezTo>
                  <a:pt x="631286" y="681850"/>
                  <a:pt x="647067" y="665525"/>
                  <a:pt x="662848" y="665525"/>
                </a:cubicBezTo>
                <a:close/>
                <a:moveTo>
                  <a:pt x="825013" y="663349"/>
                </a:moveTo>
                <a:cubicBezTo>
                  <a:pt x="844603" y="662260"/>
                  <a:pt x="861472" y="676953"/>
                  <a:pt x="860384" y="697632"/>
                </a:cubicBezTo>
                <a:cubicBezTo>
                  <a:pt x="861472" y="716134"/>
                  <a:pt x="846780" y="731915"/>
                  <a:pt x="826101" y="731915"/>
                </a:cubicBezTo>
                <a:cubicBezTo>
                  <a:pt x="806511" y="731915"/>
                  <a:pt x="791818" y="719399"/>
                  <a:pt x="791818" y="698176"/>
                </a:cubicBezTo>
                <a:cubicBezTo>
                  <a:pt x="791818" y="676409"/>
                  <a:pt x="805967" y="663893"/>
                  <a:pt x="825013" y="663349"/>
                </a:cubicBezTo>
                <a:close/>
                <a:moveTo>
                  <a:pt x="988809" y="658995"/>
                </a:moveTo>
                <a:cubicBezTo>
                  <a:pt x="1008400" y="657362"/>
                  <a:pt x="1028534" y="679129"/>
                  <a:pt x="1027446" y="697087"/>
                </a:cubicBezTo>
                <a:cubicBezTo>
                  <a:pt x="1026902" y="718310"/>
                  <a:pt x="1010576" y="735723"/>
                  <a:pt x="989353" y="735723"/>
                </a:cubicBezTo>
                <a:cubicBezTo>
                  <a:pt x="968675" y="735723"/>
                  <a:pt x="950717" y="718310"/>
                  <a:pt x="950717" y="697631"/>
                </a:cubicBezTo>
                <a:cubicBezTo>
                  <a:pt x="950717" y="676408"/>
                  <a:pt x="968131" y="660627"/>
                  <a:pt x="988809" y="658995"/>
                </a:cubicBezTo>
                <a:close/>
                <a:moveTo>
                  <a:pt x="1152607" y="655729"/>
                </a:moveTo>
                <a:cubicBezTo>
                  <a:pt x="1173829" y="654097"/>
                  <a:pt x="1194508" y="675864"/>
                  <a:pt x="1195052" y="697087"/>
                </a:cubicBezTo>
                <a:cubicBezTo>
                  <a:pt x="1195596" y="717766"/>
                  <a:pt x="1173829" y="739533"/>
                  <a:pt x="1153151" y="739533"/>
                </a:cubicBezTo>
                <a:cubicBezTo>
                  <a:pt x="1132472" y="740077"/>
                  <a:pt x="1110705" y="718310"/>
                  <a:pt x="1110705" y="697631"/>
                </a:cubicBezTo>
                <a:cubicBezTo>
                  <a:pt x="1112882" y="674231"/>
                  <a:pt x="1127574" y="657362"/>
                  <a:pt x="1152607" y="655729"/>
                </a:cubicBezTo>
                <a:close/>
                <a:moveTo>
                  <a:pt x="1316948" y="653554"/>
                </a:moveTo>
                <a:cubicBezTo>
                  <a:pt x="1340347" y="654098"/>
                  <a:pt x="1359937" y="674777"/>
                  <a:pt x="1359937" y="697632"/>
                </a:cubicBezTo>
                <a:cubicBezTo>
                  <a:pt x="1359937" y="718855"/>
                  <a:pt x="1339803" y="743343"/>
                  <a:pt x="1315315" y="740622"/>
                </a:cubicBezTo>
                <a:cubicBezTo>
                  <a:pt x="1293004" y="742799"/>
                  <a:pt x="1271237" y="718311"/>
                  <a:pt x="1271781" y="696544"/>
                </a:cubicBezTo>
                <a:cubicBezTo>
                  <a:pt x="1271781" y="675321"/>
                  <a:pt x="1292460" y="653010"/>
                  <a:pt x="1316948" y="653554"/>
                </a:cubicBezTo>
                <a:close/>
                <a:moveTo>
                  <a:pt x="1479112" y="651921"/>
                </a:moveTo>
                <a:cubicBezTo>
                  <a:pt x="1506321" y="651377"/>
                  <a:pt x="1524823" y="669335"/>
                  <a:pt x="1524823" y="697088"/>
                </a:cubicBezTo>
                <a:cubicBezTo>
                  <a:pt x="1524823" y="722664"/>
                  <a:pt x="1506865" y="743343"/>
                  <a:pt x="1479112" y="742254"/>
                </a:cubicBezTo>
                <a:cubicBezTo>
                  <a:pt x="1450815" y="743343"/>
                  <a:pt x="1433401" y="721031"/>
                  <a:pt x="1433945" y="697088"/>
                </a:cubicBezTo>
                <a:cubicBezTo>
                  <a:pt x="1434490" y="670423"/>
                  <a:pt x="1451903" y="652465"/>
                  <a:pt x="1479112" y="651921"/>
                </a:cubicBezTo>
                <a:close/>
                <a:moveTo>
                  <a:pt x="1642909" y="649744"/>
                </a:moveTo>
                <a:cubicBezTo>
                  <a:pt x="1671750" y="650288"/>
                  <a:pt x="1690252" y="668790"/>
                  <a:pt x="1690796" y="697087"/>
                </a:cubicBezTo>
                <a:cubicBezTo>
                  <a:pt x="1691340" y="723752"/>
                  <a:pt x="1672294" y="743342"/>
                  <a:pt x="1642909" y="745519"/>
                </a:cubicBezTo>
                <a:cubicBezTo>
                  <a:pt x="1614067" y="743887"/>
                  <a:pt x="1594477" y="725384"/>
                  <a:pt x="1594477" y="697632"/>
                </a:cubicBezTo>
                <a:cubicBezTo>
                  <a:pt x="1594477" y="668790"/>
                  <a:pt x="1614611" y="649200"/>
                  <a:pt x="1642909" y="649744"/>
                </a:cubicBezTo>
                <a:close/>
                <a:moveTo>
                  <a:pt x="1805617" y="648112"/>
                </a:moveTo>
                <a:cubicBezTo>
                  <a:pt x="1829561" y="648112"/>
                  <a:pt x="1857314" y="672055"/>
                  <a:pt x="1854593" y="698176"/>
                </a:cubicBezTo>
                <a:cubicBezTo>
                  <a:pt x="1856770" y="719399"/>
                  <a:pt x="1832826" y="747151"/>
                  <a:pt x="1805073" y="746607"/>
                </a:cubicBezTo>
                <a:cubicBezTo>
                  <a:pt x="1779497" y="746063"/>
                  <a:pt x="1756097" y="721575"/>
                  <a:pt x="1756097" y="697087"/>
                </a:cubicBezTo>
                <a:cubicBezTo>
                  <a:pt x="1756097" y="670423"/>
                  <a:pt x="1782218" y="647567"/>
                  <a:pt x="1805617" y="648112"/>
                </a:cubicBezTo>
                <a:close/>
                <a:moveTo>
                  <a:pt x="1969414" y="647023"/>
                </a:moveTo>
                <a:cubicBezTo>
                  <a:pt x="1992814" y="647023"/>
                  <a:pt x="2020567" y="672055"/>
                  <a:pt x="2018934" y="698176"/>
                </a:cubicBezTo>
                <a:cubicBezTo>
                  <a:pt x="2017302" y="725384"/>
                  <a:pt x="1996623" y="746063"/>
                  <a:pt x="1968326" y="746063"/>
                </a:cubicBezTo>
                <a:cubicBezTo>
                  <a:pt x="1941661" y="748784"/>
                  <a:pt x="1919350" y="721031"/>
                  <a:pt x="1918806" y="697087"/>
                </a:cubicBezTo>
                <a:cubicBezTo>
                  <a:pt x="1918806" y="669878"/>
                  <a:pt x="1945471" y="647023"/>
                  <a:pt x="1969414" y="647023"/>
                </a:cubicBezTo>
                <a:close/>
                <a:moveTo>
                  <a:pt x="90919" y="606754"/>
                </a:moveTo>
                <a:cubicBezTo>
                  <a:pt x="94728" y="608386"/>
                  <a:pt x="99626" y="612195"/>
                  <a:pt x="99626" y="615460"/>
                </a:cubicBezTo>
                <a:cubicBezTo>
                  <a:pt x="100170" y="618181"/>
                  <a:pt x="95816" y="621990"/>
                  <a:pt x="92007" y="627976"/>
                </a:cubicBezTo>
                <a:cubicBezTo>
                  <a:pt x="87654" y="623079"/>
                  <a:pt x="84389" y="619814"/>
                  <a:pt x="82756" y="616005"/>
                </a:cubicBezTo>
                <a:cubicBezTo>
                  <a:pt x="81668" y="613284"/>
                  <a:pt x="88198" y="605665"/>
                  <a:pt x="90919" y="606754"/>
                </a:cubicBezTo>
                <a:close/>
                <a:moveTo>
                  <a:pt x="254172" y="598047"/>
                </a:moveTo>
                <a:cubicBezTo>
                  <a:pt x="265599" y="597503"/>
                  <a:pt x="273218" y="606210"/>
                  <a:pt x="272674" y="614917"/>
                </a:cubicBezTo>
                <a:cubicBezTo>
                  <a:pt x="272674" y="625800"/>
                  <a:pt x="266688" y="632874"/>
                  <a:pt x="255260" y="633419"/>
                </a:cubicBezTo>
                <a:cubicBezTo>
                  <a:pt x="244376" y="633963"/>
                  <a:pt x="237302" y="626889"/>
                  <a:pt x="236758" y="616005"/>
                </a:cubicBezTo>
                <a:cubicBezTo>
                  <a:pt x="236758" y="605122"/>
                  <a:pt x="243832" y="598047"/>
                  <a:pt x="254172" y="598047"/>
                </a:cubicBezTo>
                <a:close/>
                <a:moveTo>
                  <a:pt x="418513" y="590429"/>
                </a:moveTo>
                <a:cubicBezTo>
                  <a:pt x="431029" y="590429"/>
                  <a:pt x="442457" y="601857"/>
                  <a:pt x="443001" y="614917"/>
                </a:cubicBezTo>
                <a:cubicBezTo>
                  <a:pt x="443545" y="627977"/>
                  <a:pt x="432118" y="640493"/>
                  <a:pt x="419058" y="640493"/>
                </a:cubicBezTo>
                <a:cubicBezTo>
                  <a:pt x="404365" y="640493"/>
                  <a:pt x="394570" y="630698"/>
                  <a:pt x="392937" y="616005"/>
                </a:cubicBezTo>
                <a:cubicBezTo>
                  <a:pt x="391849" y="604033"/>
                  <a:pt x="405997" y="590429"/>
                  <a:pt x="418513" y="590429"/>
                </a:cubicBezTo>
                <a:close/>
                <a:moveTo>
                  <a:pt x="581222" y="587163"/>
                </a:moveTo>
                <a:cubicBezTo>
                  <a:pt x="600812" y="588252"/>
                  <a:pt x="610063" y="598047"/>
                  <a:pt x="610063" y="616549"/>
                </a:cubicBezTo>
                <a:cubicBezTo>
                  <a:pt x="610063" y="634507"/>
                  <a:pt x="599179" y="644846"/>
                  <a:pt x="580677" y="645390"/>
                </a:cubicBezTo>
                <a:cubicBezTo>
                  <a:pt x="565440" y="644846"/>
                  <a:pt x="551836" y="634507"/>
                  <a:pt x="551836" y="615461"/>
                </a:cubicBezTo>
                <a:cubicBezTo>
                  <a:pt x="551836" y="594782"/>
                  <a:pt x="567073" y="586075"/>
                  <a:pt x="581222" y="587163"/>
                </a:cubicBezTo>
                <a:close/>
                <a:moveTo>
                  <a:pt x="743930" y="582266"/>
                </a:moveTo>
                <a:cubicBezTo>
                  <a:pt x="761344" y="581178"/>
                  <a:pt x="779301" y="599136"/>
                  <a:pt x="779301" y="616005"/>
                </a:cubicBezTo>
                <a:cubicBezTo>
                  <a:pt x="779301" y="632874"/>
                  <a:pt x="762976" y="649744"/>
                  <a:pt x="745563" y="649744"/>
                </a:cubicBezTo>
                <a:cubicBezTo>
                  <a:pt x="728149" y="649200"/>
                  <a:pt x="710191" y="635595"/>
                  <a:pt x="711824" y="616549"/>
                </a:cubicBezTo>
                <a:cubicBezTo>
                  <a:pt x="711824" y="596415"/>
                  <a:pt x="724340" y="583355"/>
                  <a:pt x="743930" y="582266"/>
                </a:cubicBezTo>
                <a:close/>
                <a:moveTo>
                  <a:pt x="907183" y="577913"/>
                </a:moveTo>
                <a:cubicBezTo>
                  <a:pt x="927318" y="576825"/>
                  <a:pt x="947452" y="598592"/>
                  <a:pt x="945276" y="615461"/>
                </a:cubicBezTo>
                <a:cubicBezTo>
                  <a:pt x="945276" y="635596"/>
                  <a:pt x="927318" y="653554"/>
                  <a:pt x="907727" y="654098"/>
                </a:cubicBezTo>
                <a:cubicBezTo>
                  <a:pt x="890314" y="654642"/>
                  <a:pt x="869091" y="635052"/>
                  <a:pt x="869091" y="616006"/>
                </a:cubicBezTo>
                <a:cubicBezTo>
                  <a:pt x="869635" y="595871"/>
                  <a:pt x="887049" y="578457"/>
                  <a:pt x="907183" y="577913"/>
                </a:cubicBezTo>
                <a:close/>
                <a:moveTo>
                  <a:pt x="1069891" y="574648"/>
                </a:moveTo>
                <a:cubicBezTo>
                  <a:pt x="1092202" y="574648"/>
                  <a:pt x="1111793" y="589885"/>
                  <a:pt x="1111248" y="615461"/>
                </a:cubicBezTo>
                <a:cubicBezTo>
                  <a:pt x="1111793" y="639405"/>
                  <a:pt x="1093835" y="656274"/>
                  <a:pt x="1070435" y="656274"/>
                </a:cubicBezTo>
                <a:cubicBezTo>
                  <a:pt x="1045403" y="656274"/>
                  <a:pt x="1029622" y="635052"/>
                  <a:pt x="1029622" y="614917"/>
                </a:cubicBezTo>
                <a:cubicBezTo>
                  <a:pt x="1030166" y="593150"/>
                  <a:pt x="1046491" y="574648"/>
                  <a:pt x="1069891" y="574648"/>
                </a:cubicBezTo>
                <a:close/>
                <a:moveTo>
                  <a:pt x="1235321" y="572472"/>
                </a:moveTo>
                <a:cubicBezTo>
                  <a:pt x="1256543" y="572472"/>
                  <a:pt x="1279399" y="590973"/>
                  <a:pt x="1277222" y="616550"/>
                </a:cubicBezTo>
                <a:cubicBezTo>
                  <a:pt x="1278855" y="639949"/>
                  <a:pt x="1255455" y="660084"/>
                  <a:pt x="1233688" y="660084"/>
                </a:cubicBezTo>
                <a:cubicBezTo>
                  <a:pt x="1211377" y="660084"/>
                  <a:pt x="1189610" y="637773"/>
                  <a:pt x="1190154" y="614917"/>
                </a:cubicBezTo>
                <a:cubicBezTo>
                  <a:pt x="1190698" y="594783"/>
                  <a:pt x="1209200" y="571927"/>
                  <a:pt x="1235321" y="572472"/>
                </a:cubicBezTo>
                <a:close/>
                <a:moveTo>
                  <a:pt x="1397485" y="569206"/>
                </a:moveTo>
                <a:cubicBezTo>
                  <a:pt x="1423606" y="569750"/>
                  <a:pt x="1443196" y="587708"/>
                  <a:pt x="1443196" y="616005"/>
                </a:cubicBezTo>
                <a:cubicBezTo>
                  <a:pt x="1443196" y="642670"/>
                  <a:pt x="1424150" y="661716"/>
                  <a:pt x="1396941" y="661172"/>
                </a:cubicBezTo>
                <a:cubicBezTo>
                  <a:pt x="1369188" y="661172"/>
                  <a:pt x="1350686" y="638860"/>
                  <a:pt x="1351775" y="614373"/>
                </a:cubicBezTo>
                <a:cubicBezTo>
                  <a:pt x="1352319" y="587164"/>
                  <a:pt x="1371365" y="569206"/>
                  <a:pt x="1397485" y="569206"/>
                </a:cubicBezTo>
                <a:close/>
                <a:moveTo>
                  <a:pt x="1560738" y="567029"/>
                </a:moveTo>
                <a:cubicBezTo>
                  <a:pt x="1586859" y="567029"/>
                  <a:pt x="1608082" y="587708"/>
                  <a:pt x="1609714" y="615461"/>
                </a:cubicBezTo>
                <a:cubicBezTo>
                  <a:pt x="1608082" y="641581"/>
                  <a:pt x="1589580" y="663892"/>
                  <a:pt x="1561283" y="663892"/>
                </a:cubicBezTo>
                <a:cubicBezTo>
                  <a:pt x="1534074" y="663892"/>
                  <a:pt x="1512851" y="642669"/>
                  <a:pt x="1512851" y="616005"/>
                </a:cubicBezTo>
                <a:cubicBezTo>
                  <a:pt x="1512851" y="587163"/>
                  <a:pt x="1535706" y="567029"/>
                  <a:pt x="1560738" y="567029"/>
                </a:cubicBezTo>
                <a:close/>
                <a:moveTo>
                  <a:pt x="1725624" y="565397"/>
                </a:moveTo>
                <a:cubicBezTo>
                  <a:pt x="1747935" y="565941"/>
                  <a:pt x="1775144" y="590429"/>
                  <a:pt x="1774599" y="616005"/>
                </a:cubicBezTo>
                <a:cubicBezTo>
                  <a:pt x="1774055" y="638317"/>
                  <a:pt x="1751744" y="668246"/>
                  <a:pt x="1723447" y="664981"/>
                </a:cubicBezTo>
                <a:cubicBezTo>
                  <a:pt x="1700592" y="667158"/>
                  <a:pt x="1674471" y="643758"/>
                  <a:pt x="1674471" y="615461"/>
                </a:cubicBezTo>
                <a:cubicBezTo>
                  <a:pt x="1674471" y="588797"/>
                  <a:pt x="1700592" y="565397"/>
                  <a:pt x="1725624" y="565397"/>
                </a:cubicBezTo>
                <a:close/>
                <a:moveTo>
                  <a:pt x="1886699" y="564853"/>
                </a:moveTo>
                <a:cubicBezTo>
                  <a:pt x="1914996" y="564309"/>
                  <a:pt x="1938396" y="589341"/>
                  <a:pt x="1938396" y="614917"/>
                </a:cubicBezTo>
                <a:cubicBezTo>
                  <a:pt x="1938396" y="640493"/>
                  <a:pt x="1917717" y="667702"/>
                  <a:pt x="1887787" y="665525"/>
                </a:cubicBezTo>
                <a:cubicBezTo>
                  <a:pt x="1860034" y="667702"/>
                  <a:pt x="1837723" y="644302"/>
                  <a:pt x="1837179" y="615461"/>
                </a:cubicBezTo>
                <a:cubicBezTo>
                  <a:pt x="1837179" y="586620"/>
                  <a:pt x="1861667" y="565397"/>
                  <a:pt x="1886699" y="564853"/>
                </a:cubicBezTo>
                <a:close/>
                <a:moveTo>
                  <a:pt x="2050496" y="564852"/>
                </a:moveTo>
                <a:lnTo>
                  <a:pt x="2051041" y="564962"/>
                </a:lnTo>
                <a:lnTo>
                  <a:pt x="2051041" y="665899"/>
                </a:lnTo>
                <a:lnTo>
                  <a:pt x="2049952" y="666069"/>
                </a:lnTo>
                <a:cubicBezTo>
                  <a:pt x="2018934" y="667157"/>
                  <a:pt x="1999344" y="642669"/>
                  <a:pt x="1999344" y="615460"/>
                </a:cubicBezTo>
                <a:cubicBezTo>
                  <a:pt x="1999344" y="587163"/>
                  <a:pt x="2021655" y="564852"/>
                  <a:pt x="2050496" y="564852"/>
                </a:cubicBezTo>
                <a:close/>
                <a:moveTo>
                  <a:pt x="173090" y="517509"/>
                </a:moveTo>
                <a:cubicBezTo>
                  <a:pt x="181252" y="517509"/>
                  <a:pt x="189415" y="525672"/>
                  <a:pt x="189959" y="533834"/>
                </a:cubicBezTo>
                <a:cubicBezTo>
                  <a:pt x="189959" y="542541"/>
                  <a:pt x="182341" y="550160"/>
                  <a:pt x="173634" y="550160"/>
                </a:cubicBezTo>
                <a:cubicBezTo>
                  <a:pt x="165471" y="550160"/>
                  <a:pt x="157853" y="543085"/>
                  <a:pt x="157308" y="534923"/>
                </a:cubicBezTo>
                <a:cubicBezTo>
                  <a:pt x="156764" y="526216"/>
                  <a:pt x="164383" y="518053"/>
                  <a:pt x="173090" y="517509"/>
                </a:cubicBezTo>
                <a:close/>
                <a:moveTo>
                  <a:pt x="335798" y="511523"/>
                </a:moveTo>
                <a:cubicBezTo>
                  <a:pt x="349947" y="512067"/>
                  <a:pt x="357565" y="519686"/>
                  <a:pt x="358654" y="533834"/>
                </a:cubicBezTo>
                <a:cubicBezTo>
                  <a:pt x="359742" y="547439"/>
                  <a:pt x="348314" y="557778"/>
                  <a:pt x="336343" y="556689"/>
                </a:cubicBezTo>
                <a:cubicBezTo>
                  <a:pt x="324371" y="558322"/>
                  <a:pt x="312943" y="545806"/>
                  <a:pt x="312943" y="534378"/>
                </a:cubicBezTo>
                <a:cubicBezTo>
                  <a:pt x="312943" y="522951"/>
                  <a:pt x="322738" y="510979"/>
                  <a:pt x="335798" y="511523"/>
                </a:cubicBezTo>
                <a:close/>
                <a:moveTo>
                  <a:pt x="500139" y="506626"/>
                </a:moveTo>
                <a:cubicBezTo>
                  <a:pt x="517553" y="507170"/>
                  <a:pt x="527892" y="517509"/>
                  <a:pt x="527348" y="535467"/>
                </a:cubicBezTo>
                <a:cubicBezTo>
                  <a:pt x="526804" y="552880"/>
                  <a:pt x="515920" y="562131"/>
                  <a:pt x="497963" y="561587"/>
                </a:cubicBezTo>
                <a:cubicBezTo>
                  <a:pt x="481093" y="561043"/>
                  <a:pt x="472386" y="550704"/>
                  <a:pt x="471842" y="533290"/>
                </a:cubicBezTo>
                <a:cubicBezTo>
                  <a:pt x="471298" y="516965"/>
                  <a:pt x="485447" y="506081"/>
                  <a:pt x="500139" y="506626"/>
                </a:cubicBezTo>
                <a:close/>
                <a:moveTo>
                  <a:pt x="662304" y="500639"/>
                </a:moveTo>
                <a:cubicBezTo>
                  <a:pt x="677540" y="497919"/>
                  <a:pt x="696587" y="518597"/>
                  <a:pt x="696042" y="533290"/>
                </a:cubicBezTo>
                <a:cubicBezTo>
                  <a:pt x="694954" y="551792"/>
                  <a:pt x="681894" y="565396"/>
                  <a:pt x="663392" y="566485"/>
                </a:cubicBezTo>
                <a:cubicBezTo>
                  <a:pt x="643802" y="567573"/>
                  <a:pt x="629653" y="549615"/>
                  <a:pt x="630197" y="534378"/>
                </a:cubicBezTo>
                <a:cubicBezTo>
                  <a:pt x="630741" y="515876"/>
                  <a:pt x="644346" y="501184"/>
                  <a:pt x="662304" y="500639"/>
                </a:cubicBezTo>
                <a:close/>
                <a:moveTo>
                  <a:pt x="825557" y="496830"/>
                </a:moveTo>
                <a:cubicBezTo>
                  <a:pt x="846780" y="496286"/>
                  <a:pt x="862561" y="513700"/>
                  <a:pt x="863649" y="534923"/>
                </a:cubicBezTo>
                <a:cubicBezTo>
                  <a:pt x="862017" y="556690"/>
                  <a:pt x="845147" y="571927"/>
                  <a:pt x="825557" y="571383"/>
                </a:cubicBezTo>
                <a:cubicBezTo>
                  <a:pt x="805422" y="570838"/>
                  <a:pt x="788553" y="555057"/>
                  <a:pt x="788553" y="534379"/>
                </a:cubicBezTo>
                <a:cubicBezTo>
                  <a:pt x="788553" y="514244"/>
                  <a:pt x="804334" y="497375"/>
                  <a:pt x="825557" y="496830"/>
                </a:cubicBezTo>
                <a:close/>
                <a:moveTo>
                  <a:pt x="989898" y="494110"/>
                </a:moveTo>
                <a:cubicBezTo>
                  <a:pt x="1012209" y="494654"/>
                  <a:pt x="1029622" y="513156"/>
                  <a:pt x="1029078" y="534923"/>
                </a:cubicBezTo>
                <a:cubicBezTo>
                  <a:pt x="1028534" y="556146"/>
                  <a:pt x="1010576" y="574104"/>
                  <a:pt x="989353" y="574104"/>
                </a:cubicBezTo>
                <a:cubicBezTo>
                  <a:pt x="969763" y="574648"/>
                  <a:pt x="947452" y="556690"/>
                  <a:pt x="949629" y="533835"/>
                </a:cubicBezTo>
                <a:cubicBezTo>
                  <a:pt x="947996" y="512068"/>
                  <a:pt x="968675" y="494110"/>
                  <a:pt x="989898" y="494110"/>
                </a:cubicBezTo>
                <a:close/>
                <a:moveTo>
                  <a:pt x="1152062" y="490301"/>
                </a:moveTo>
                <a:cubicBezTo>
                  <a:pt x="1174917" y="490301"/>
                  <a:pt x="1196140" y="509347"/>
                  <a:pt x="1196140" y="533835"/>
                </a:cubicBezTo>
                <a:cubicBezTo>
                  <a:pt x="1197228" y="558867"/>
                  <a:pt x="1173829" y="577913"/>
                  <a:pt x="1152606" y="577369"/>
                </a:cubicBezTo>
                <a:cubicBezTo>
                  <a:pt x="1130839" y="577369"/>
                  <a:pt x="1109616" y="556690"/>
                  <a:pt x="1109072" y="534379"/>
                </a:cubicBezTo>
                <a:cubicBezTo>
                  <a:pt x="1108528" y="510980"/>
                  <a:pt x="1128662" y="490301"/>
                  <a:pt x="1152062" y="490301"/>
                </a:cubicBezTo>
                <a:close/>
                <a:moveTo>
                  <a:pt x="1316947" y="489212"/>
                </a:moveTo>
                <a:cubicBezTo>
                  <a:pt x="1343612" y="489756"/>
                  <a:pt x="1361570" y="510435"/>
                  <a:pt x="1361570" y="534923"/>
                </a:cubicBezTo>
                <a:cubicBezTo>
                  <a:pt x="1361570" y="560499"/>
                  <a:pt x="1341980" y="580090"/>
                  <a:pt x="1315859" y="580090"/>
                </a:cubicBezTo>
                <a:cubicBezTo>
                  <a:pt x="1291915" y="580090"/>
                  <a:pt x="1269060" y="560499"/>
                  <a:pt x="1270693" y="533835"/>
                </a:cubicBezTo>
                <a:cubicBezTo>
                  <a:pt x="1269604" y="508258"/>
                  <a:pt x="1291371" y="488124"/>
                  <a:pt x="1316947" y="489212"/>
                </a:cubicBezTo>
                <a:close/>
                <a:moveTo>
                  <a:pt x="1479112" y="484315"/>
                </a:moveTo>
                <a:cubicBezTo>
                  <a:pt x="1503599" y="484315"/>
                  <a:pt x="1528087" y="508259"/>
                  <a:pt x="1528087" y="533835"/>
                </a:cubicBezTo>
                <a:cubicBezTo>
                  <a:pt x="1528087" y="558867"/>
                  <a:pt x="1506865" y="582267"/>
                  <a:pt x="1479656" y="582267"/>
                </a:cubicBezTo>
                <a:cubicBezTo>
                  <a:pt x="1453535" y="582267"/>
                  <a:pt x="1431224" y="560500"/>
                  <a:pt x="1431224" y="533835"/>
                </a:cubicBezTo>
                <a:cubicBezTo>
                  <a:pt x="1430680" y="506626"/>
                  <a:pt x="1454624" y="485403"/>
                  <a:pt x="1479112" y="484315"/>
                </a:cubicBezTo>
                <a:close/>
                <a:moveTo>
                  <a:pt x="1643452" y="484314"/>
                </a:moveTo>
                <a:cubicBezTo>
                  <a:pt x="1667396" y="481049"/>
                  <a:pt x="1693517" y="509891"/>
                  <a:pt x="1692973" y="534923"/>
                </a:cubicBezTo>
                <a:cubicBezTo>
                  <a:pt x="1692428" y="558867"/>
                  <a:pt x="1669573" y="584987"/>
                  <a:pt x="1641276" y="583898"/>
                </a:cubicBezTo>
                <a:cubicBezTo>
                  <a:pt x="1616788" y="583354"/>
                  <a:pt x="1592300" y="562676"/>
                  <a:pt x="1592300" y="532202"/>
                </a:cubicBezTo>
                <a:cubicBezTo>
                  <a:pt x="1592300" y="509891"/>
                  <a:pt x="1615155" y="481049"/>
                  <a:pt x="1643452" y="484314"/>
                </a:cubicBezTo>
                <a:close/>
                <a:moveTo>
                  <a:pt x="1806162" y="481594"/>
                </a:moveTo>
                <a:cubicBezTo>
                  <a:pt x="1839901" y="484859"/>
                  <a:pt x="1858947" y="504993"/>
                  <a:pt x="1857858" y="536011"/>
                </a:cubicBezTo>
                <a:cubicBezTo>
                  <a:pt x="1855682" y="568662"/>
                  <a:pt x="1834459" y="584987"/>
                  <a:pt x="1803441" y="586075"/>
                </a:cubicBezTo>
                <a:cubicBezTo>
                  <a:pt x="1775144" y="584443"/>
                  <a:pt x="1751744" y="559955"/>
                  <a:pt x="1753377" y="533290"/>
                </a:cubicBezTo>
                <a:cubicBezTo>
                  <a:pt x="1755009" y="504993"/>
                  <a:pt x="1780041" y="479417"/>
                  <a:pt x="1806162" y="481594"/>
                </a:cubicBezTo>
                <a:close/>
                <a:moveTo>
                  <a:pt x="1968326" y="480505"/>
                </a:moveTo>
                <a:cubicBezTo>
                  <a:pt x="1998256" y="483226"/>
                  <a:pt x="2020023" y="501728"/>
                  <a:pt x="2022200" y="534379"/>
                </a:cubicBezTo>
                <a:cubicBezTo>
                  <a:pt x="2023832" y="560499"/>
                  <a:pt x="1996079" y="588252"/>
                  <a:pt x="1969415" y="588252"/>
                </a:cubicBezTo>
                <a:cubicBezTo>
                  <a:pt x="1943294" y="588796"/>
                  <a:pt x="1916085" y="561587"/>
                  <a:pt x="1915541" y="534923"/>
                </a:cubicBezTo>
                <a:cubicBezTo>
                  <a:pt x="1914453" y="508258"/>
                  <a:pt x="1941117" y="480505"/>
                  <a:pt x="1968326" y="480505"/>
                </a:cubicBezTo>
                <a:close/>
                <a:moveTo>
                  <a:pt x="91464" y="440780"/>
                </a:moveTo>
                <a:cubicBezTo>
                  <a:pt x="99082" y="440780"/>
                  <a:pt x="102347" y="443501"/>
                  <a:pt x="102891" y="451664"/>
                </a:cubicBezTo>
                <a:cubicBezTo>
                  <a:pt x="102891" y="460915"/>
                  <a:pt x="100171" y="464179"/>
                  <a:pt x="92008" y="464179"/>
                </a:cubicBezTo>
                <a:cubicBezTo>
                  <a:pt x="83301" y="464179"/>
                  <a:pt x="80036" y="461459"/>
                  <a:pt x="80036" y="452752"/>
                </a:cubicBezTo>
                <a:cubicBezTo>
                  <a:pt x="80036" y="444045"/>
                  <a:pt x="83301" y="440780"/>
                  <a:pt x="91464" y="440780"/>
                </a:cubicBezTo>
                <a:close/>
                <a:moveTo>
                  <a:pt x="254172" y="430441"/>
                </a:moveTo>
                <a:cubicBezTo>
                  <a:pt x="263967" y="430441"/>
                  <a:pt x="276483" y="440236"/>
                  <a:pt x="275939" y="452208"/>
                </a:cubicBezTo>
                <a:cubicBezTo>
                  <a:pt x="275939" y="463092"/>
                  <a:pt x="265600" y="473975"/>
                  <a:pt x="254716" y="473975"/>
                </a:cubicBezTo>
                <a:cubicBezTo>
                  <a:pt x="244377" y="473975"/>
                  <a:pt x="232949" y="463092"/>
                  <a:pt x="232405" y="452752"/>
                </a:cubicBezTo>
                <a:cubicBezTo>
                  <a:pt x="232405" y="442413"/>
                  <a:pt x="243833" y="430985"/>
                  <a:pt x="254172" y="430441"/>
                </a:cubicBezTo>
                <a:close/>
                <a:moveTo>
                  <a:pt x="417969" y="424999"/>
                </a:moveTo>
                <a:cubicBezTo>
                  <a:pt x="432118" y="424999"/>
                  <a:pt x="444634" y="438059"/>
                  <a:pt x="444634" y="452752"/>
                </a:cubicBezTo>
                <a:cubicBezTo>
                  <a:pt x="445178" y="464180"/>
                  <a:pt x="432662" y="481049"/>
                  <a:pt x="417425" y="479417"/>
                </a:cubicBezTo>
                <a:cubicBezTo>
                  <a:pt x="405453" y="481049"/>
                  <a:pt x="389672" y="465268"/>
                  <a:pt x="390760" y="452208"/>
                </a:cubicBezTo>
                <a:cubicBezTo>
                  <a:pt x="391849" y="437515"/>
                  <a:pt x="403276" y="424999"/>
                  <a:pt x="417969" y="424999"/>
                </a:cubicBezTo>
                <a:close/>
                <a:moveTo>
                  <a:pt x="580677" y="419558"/>
                </a:moveTo>
                <a:cubicBezTo>
                  <a:pt x="596458" y="419013"/>
                  <a:pt x="612783" y="434795"/>
                  <a:pt x="612783" y="452208"/>
                </a:cubicBezTo>
                <a:cubicBezTo>
                  <a:pt x="612783" y="469622"/>
                  <a:pt x="599723" y="483226"/>
                  <a:pt x="581221" y="484315"/>
                </a:cubicBezTo>
                <a:cubicBezTo>
                  <a:pt x="561087" y="482138"/>
                  <a:pt x="549659" y="470710"/>
                  <a:pt x="549115" y="452208"/>
                </a:cubicBezTo>
                <a:cubicBezTo>
                  <a:pt x="548571" y="433162"/>
                  <a:pt x="564352" y="420102"/>
                  <a:pt x="580677" y="419558"/>
                </a:cubicBezTo>
                <a:close/>
                <a:moveTo>
                  <a:pt x="743931" y="415748"/>
                </a:moveTo>
                <a:cubicBezTo>
                  <a:pt x="761888" y="414660"/>
                  <a:pt x="779846" y="432618"/>
                  <a:pt x="780390" y="452208"/>
                </a:cubicBezTo>
                <a:cubicBezTo>
                  <a:pt x="780934" y="471254"/>
                  <a:pt x="764065" y="488668"/>
                  <a:pt x="744475" y="489212"/>
                </a:cubicBezTo>
                <a:cubicBezTo>
                  <a:pt x="727061" y="489212"/>
                  <a:pt x="709103" y="472342"/>
                  <a:pt x="708559" y="453840"/>
                </a:cubicBezTo>
                <a:cubicBezTo>
                  <a:pt x="707471" y="435883"/>
                  <a:pt x="725428" y="416836"/>
                  <a:pt x="743931" y="415748"/>
                </a:cubicBezTo>
                <a:close/>
                <a:moveTo>
                  <a:pt x="908271" y="414116"/>
                </a:moveTo>
                <a:cubicBezTo>
                  <a:pt x="927861" y="411395"/>
                  <a:pt x="946907" y="431529"/>
                  <a:pt x="946363" y="453296"/>
                </a:cubicBezTo>
                <a:cubicBezTo>
                  <a:pt x="946363" y="473975"/>
                  <a:pt x="927317" y="491933"/>
                  <a:pt x="906638" y="491933"/>
                </a:cubicBezTo>
                <a:cubicBezTo>
                  <a:pt x="887048" y="491933"/>
                  <a:pt x="866913" y="473431"/>
                  <a:pt x="868546" y="452208"/>
                </a:cubicBezTo>
                <a:cubicBezTo>
                  <a:pt x="870179" y="428808"/>
                  <a:pt x="884871" y="413571"/>
                  <a:pt x="908271" y="414116"/>
                </a:cubicBezTo>
                <a:close/>
                <a:moveTo>
                  <a:pt x="1072068" y="409218"/>
                </a:moveTo>
                <a:cubicBezTo>
                  <a:pt x="1097100" y="410307"/>
                  <a:pt x="1113970" y="427720"/>
                  <a:pt x="1113970" y="452752"/>
                </a:cubicBezTo>
                <a:cubicBezTo>
                  <a:pt x="1113970" y="478329"/>
                  <a:pt x="1092203" y="495198"/>
                  <a:pt x="1070436" y="495198"/>
                </a:cubicBezTo>
                <a:cubicBezTo>
                  <a:pt x="1048124" y="494654"/>
                  <a:pt x="1027446" y="475063"/>
                  <a:pt x="1028534" y="451120"/>
                </a:cubicBezTo>
                <a:cubicBezTo>
                  <a:pt x="1029622" y="427720"/>
                  <a:pt x="1048669" y="408130"/>
                  <a:pt x="1072068" y="409218"/>
                </a:cubicBezTo>
                <a:close/>
                <a:moveTo>
                  <a:pt x="1235865" y="408130"/>
                </a:moveTo>
                <a:cubicBezTo>
                  <a:pt x="1258721" y="405953"/>
                  <a:pt x="1279400" y="427176"/>
                  <a:pt x="1279400" y="453296"/>
                </a:cubicBezTo>
                <a:cubicBezTo>
                  <a:pt x="1278855" y="478328"/>
                  <a:pt x="1258177" y="497374"/>
                  <a:pt x="1233689" y="497374"/>
                </a:cubicBezTo>
                <a:cubicBezTo>
                  <a:pt x="1209745" y="496830"/>
                  <a:pt x="1189066" y="476151"/>
                  <a:pt x="1189611" y="451664"/>
                </a:cubicBezTo>
                <a:cubicBezTo>
                  <a:pt x="1189611" y="429352"/>
                  <a:pt x="1209201" y="404864"/>
                  <a:pt x="1235865" y="408130"/>
                </a:cubicBezTo>
                <a:close/>
                <a:moveTo>
                  <a:pt x="1396941" y="403776"/>
                </a:moveTo>
                <a:cubicBezTo>
                  <a:pt x="1425238" y="403232"/>
                  <a:pt x="1445373" y="423911"/>
                  <a:pt x="1446461" y="450575"/>
                </a:cubicBezTo>
                <a:cubicBezTo>
                  <a:pt x="1447005" y="476696"/>
                  <a:pt x="1426327" y="500096"/>
                  <a:pt x="1399118" y="500640"/>
                </a:cubicBezTo>
                <a:cubicBezTo>
                  <a:pt x="1372453" y="501184"/>
                  <a:pt x="1349598" y="479961"/>
                  <a:pt x="1349598" y="453296"/>
                </a:cubicBezTo>
                <a:cubicBezTo>
                  <a:pt x="1349598" y="424999"/>
                  <a:pt x="1370277" y="404865"/>
                  <a:pt x="1396941" y="403776"/>
                </a:cubicBezTo>
                <a:close/>
                <a:moveTo>
                  <a:pt x="1560738" y="402144"/>
                </a:moveTo>
                <a:cubicBezTo>
                  <a:pt x="1588491" y="402144"/>
                  <a:pt x="1611347" y="427176"/>
                  <a:pt x="1611347" y="453297"/>
                </a:cubicBezTo>
                <a:cubicBezTo>
                  <a:pt x="1610803" y="476152"/>
                  <a:pt x="1590668" y="502817"/>
                  <a:pt x="1560194" y="502272"/>
                </a:cubicBezTo>
                <a:cubicBezTo>
                  <a:pt x="1534074" y="501728"/>
                  <a:pt x="1508498" y="479961"/>
                  <a:pt x="1511218" y="451664"/>
                </a:cubicBezTo>
                <a:cubicBezTo>
                  <a:pt x="1508498" y="425544"/>
                  <a:pt x="1534618" y="402144"/>
                  <a:pt x="1560738" y="402144"/>
                </a:cubicBezTo>
                <a:close/>
                <a:moveTo>
                  <a:pt x="1723991" y="399423"/>
                </a:moveTo>
                <a:cubicBezTo>
                  <a:pt x="1756097" y="402688"/>
                  <a:pt x="1777320" y="422278"/>
                  <a:pt x="1776776" y="452752"/>
                </a:cubicBezTo>
                <a:cubicBezTo>
                  <a:pt x="1776232" y="483226"/>
                  <a:pt x="1757730" y="501728"/>
                  <a:pt x="1725079" y="504993"/>
                </a:cubicBezTo>
                <a:cubicBezTo>
                  <a:pt x="1697870" y="507714"/>
                  <a:pt x="1670117" y="479961"/>
                  <a:pt x="1671750" y="452752"/>
                </a:cubicBezTo>
                <a:cubicBezTo>
                  <a:pt x="1673382" y="420102"/>
                  <a:pt x="1692428" y="403232"/>
                  <a:pt x="1723991" y="399423"/>
                </a:cubicBezTo>
                <a:close/>
                <a:moveTo>
                  <a:pt x="2051040" y="398335"/>
                </a:moveTo>
                <a:lnTo>
                  <a:pt x="2051041" y="398335"/>
                </a:lnTo>
                <a:lnTo>
                  <a:pt x="2051041" y="506936"/>
                </a:lnTo>
                <a:lnTo>
                  <a:pt x="2049952" y="507170"/>
                </a:lnTo>
                <a:cubicBezTo>
                  <a:pt x="2020566" y="506626"/>
                  <a:pt x="1995534" y="481593"/>
                  <a:pt x="1995534" y="452208"/>
                </a:cubicBezTo>
                <a:cubicBezTo>
                  <a:pt x="1996078" y="424455"/>
                  <a:pt x="2021655" y="397246"/>
                  <a:pt x="2051040" y="398335"/>
                </a:cubicBezTo>
                <a:close/>
                <a:moveTo>
                  <a:pt x="1888332" y="398335"/>
                </a:moveTo>
                <a:cubicBezTo>
                  <a:pt x="1915541" y="398879"/>
                  <a:pt x="1941661" y="423911"/>
                  <a:pt x="1941661" y="452208"/>
                </a:cubicBezTo>
                <a:cubicBezTo>
                  <a:pt x="1941661" y="481594"/>
                  <a:pt x="1916085" y="507170"/>
                  <a:pt x="1886699" y="506082"/>
                </a:cubicBezTo>
                <a:cubicBezTo>
                  <a:pt x="1857314" y="505538"/>
                  <a:pt x="1833914" y="481594"/>
                  <a:pt x="1833370" y="452208"/>
                </a:cubicBezTo>
                <a:cubicBezTo>
                  <a:pt x="1833370" y="423911"/>
                  <a:pt x="1860035" y="398335"/>
                  <a:pt x="1888332" y="398335"/>
                </a:cubicBezTo>
                <a:close/>
                <a:moveTo>
                  <a:pt x="12014" y="364052"/>
                </a:moveTo>
                <a:cubicBezTo>
                  <a:pt x="13102" y="365140"/>
                  <a:pt x="15279" y="367317"/>
                  <a:pt x="15823" y="370038"/>
                </a:cubicBezTo>
                <a:cubicBezTo>
                  <a:pt x="16911" y="374391"/>
                  <a:pt x="14191" y="377656"/>
                  <a:pt x="9293" y="377656"/>
                </a:cubicBezTo>
                <a:cubicBezTo>
                  <a:pt x="4940" y="377656"/>
                  <a:pt x="3307" y="374936"/>
                  <a:pt x="3307" y="371126"/>
                </a:cubicBezTo>
                <a:cubicBezTo>
                  <a:pt x="3307" y="367317"/>
                  <a:pt x="4940" y="364052"/>
                  <a:pt x="12014" y="364052"/>
                </a:cubicBezTo>
                <a:close/>
                <a:moveTo>
                  <a:pt x="172545" y="353713"/>
                </a:moveTo>
                <a:cubicBezTo>
                  <a:pt x="184517" y="353713"/>
                  <a:pt x="190503" y="359154"/>
                  <a:pt x="190503" y="370582"/>
                </a:cubicBezTo>
                <a:cubicBezTo>
                  <a:pt x="190503" y="381466"/>
                  <a:pt x="184517" y="387996"/>
                  <a:pt x="173090" y="387996"/>
                </a:cubicBezTo>
                <a:cubicBezTo>
                  <a:pt x="163839" y="388540"/>
                  <a:pt x="155676" y="381466"/>
                  <a:pt x="155676" y="371126"/>
                </a:cubicBezTo>
                <a:cubicBezTo>
                  <a:pt x="155676" y="362419"/>
                  <a:pt x="161662" y="352080"/>
                  <a:pt x="172545" y="353713"/>
                </a:cubicBezTo>
                <a:close/>
                <a:moveTo>
                  <a:pt x="336886" y="345550"/>
                </a:moveTo>
                <a:cubicBezTo>
                  <a:pt x="350490" y="346094"/>
                  <a:pt x="362462" y="358610"/>
                  <a:pt x="361374" y="371670"/>
                </a:cubicBezTo>
                <a:cubicBezTo>
                  <a:pt x="360286" y="385275"/>
                  <a:pt x="348858" y="395614"/>
                  <a:pt x="335798" y="395070"/>
                </a:cubicBezTo>
                <a:cubicBezTo>
                  <a:pt x="319472" y="394526"/>
                  <a:pt x="311854" y="381466"/>
                  <a:pt x="311854" y="370038"/>
                </a:cubicBezTo>
                <a:cubicBezTo>
                  <a:pt x="311854" y="356978"/>
                  <a:pt x="324370" y="345550"/>
                  <a:pt x="336886" y="345550"/>
                </a:cubicBezTo>
                <a:close/>
                <a:moveTo>
                  <a:pt x="499596" y="342284"/>
                </a:moveTo>
                <a:cubicBezTo>
                  <a:pt x="518642" y="341196"/>
                  <a:pt x="528437" y="354256"/>
                  <a:pt x="528437" y="370582"/>
                </a:cubicBezTo>
                <a:cubicBezTo>
                  <a:pt x="528437" y="386363"/>
                  <a:pt x="518642" y="399967"/>
                  <a:pt x="499051" y="399423"/>
                </a:cubicBezTo>
                <a:cubicBezTo>
                  <a:pt x="481094" y="399423"/>
                  <a:pt x="470210" y="387995"/>
                  <a:pt x="470210" y="370037"/>
                </a:cubicBezTo>
                <a:cubicBezTo>
                  <a:pt x="470754" y="352624"/>
                  <a:pt x="481638" y="341740"/>
                  <a:pt x="499596" y="342284"/>
                </a:cubicBezTo>
                <a:close/>
                <a:moveTo>
                  <a:pt x="663392" y="337387"/>
                </a:moveTo>
                <a:cubicBezTo>
                  <a:pt x="680262" y="337387"/>
                  <a:pt x="697675" y="354801"/>
                  <a:pt x="697131" y="371126"/>
                </a:cubicBezTo>
                <a:cubicBezTo>
                  <a:pt x="696043" y="390172"/>
                  <a:pt x="682982" y="404321"/>
                  <a:pt x="662304" y="404321"/>
                </a:cubicBezTo>
                <a:cubicBezTo>
                  <a:pt x="643258" y="405953"/>
                  <a:pt x="629109" y="389084"/>
                  <a:pt x="629109" y="371126"/>
                </a:cubicBezTo>
                <a:cubicBezTo>
                  <a:pt x="629109" y="352624"/>
                  <a:pt x="645434" y="337387"/>
                  <a:pt x="663392" y="337387"/>
                </a:cubicBezTo>
                <a:close/>
                <a:moveTo>
                  <a:pt x="825556" y="332489"/>
                </a:moveTo>
                <a:cubicBezTo>
                  <a:pt x="847323" y="333577"/>
                  <a:pt x="864193" y="349358"/>
                  <a:pt x="864737" y="370037"/>
                </a:cubicBezTo>
                <a:cubicBezTo>
                  <a:pt x="864193" y="391260"/>
                  <a:pt x="847323" y="409218"/>
                  <a:pt x="826645" y="409218"/>
                </a:cubicBezTo>
                <a:cubicBezTo>
                  <a:pt x="808687" y="412483"/>
                  <a:pt x="788008" y="387995"/>
                  <a:pt x="787464" y="371126"/>
                </a:cubicBezTo>
                <a:cubicBezTo>
                  <a:pt x="787464" y="353712"/>
                  <a:pt x="808687" y="331945"/>
                  <a:pt x="825556" y="332489"/>
                </a:cubicBezTo>
                <a:close/>
                <a:moveTo>
                  <a:pt x="989898" y="328680"/>
                </a:moveTo>
                <a:cubicBezTo>
                  <a:pt x="1013297" y="329224"/>
                  <a:pt x="1030167" y="347182"/>
                  <a:pt x="1031255" y="371126"/>
                </a:cubicBezTo>
                <a:cubicBezTo>
                  <a:pt x="1029623" y="396702"/>
                  <a:pt x="1010576" y="413027"/>
                  <a:pt x="989354" y="413027"/>
                </a:cubicBezTo>
                <a:cubicBezTo>
                  <a:pt x="964866" y="412483"/>
                  <a:pt x="946908" y="393981"/>
                  <a:pt x="947452" y="370037"/>
                </a:cubicBezTo>
                <a:cubicBezTo>
                  <a:pt x="947996" y="346094"/>
                  <a:pt x="964866" y="328680"/>
                  <a:pt x="989898" y="328680"/>
                </a:cubicBezTo>
                <a:close/>
                <a:moveTo>
                  <a:pt x="1153150" y="326504"/>
                </a:moveTo>
                <a:cubicBezTo>
                  <a:pt x="1177094" y="326504"/>
                  <a:pt x="1197228" y="347727"/>
                  <a:pt x="1197228" y="370582"/>
                </a:cubicBezTo>
                <a:cubicBezTo>
                  <a:pt x="1197228" y="392894"/>
                  <a:pt x="1176550" y="417925"/>
                  <a:pt x="1152606" y="414661"/>
                </a:cubicBezTo>
                <a:cubicBezTo>
                  <a:pt x="1130295" y="417925"/>
                  <a:pt x="1107984" y="393982"/>
                  <a:pt x="1108528" y="370038"/>
                </a:cubicBezTo>
                <a:cubicBezTo>
                  <a:pt x="1109072" y="347727"/>
                  <a:pt x="1129751" y="326504"/>
                  <a:pt x="1153150" y="326504"/>
                </a:cubicBezTo>
                <a:close/>
                <a:moveTo>
                  <a:pt x="1317492" y="323239"/>
                </a:moveTo>
                <a:cubicBezTo>
                  <a:pt x="1341979" y="322151"/>
                  <a:pt x="1367012" y="348271"/>
                  <a:pt x="1364835" y="372215"/>
                </a:cubicBezTo>
                <a:cubicBezTo>
                  <a:pt x="1361026" y="399968"/>
                  <a:pt x="1344700" y="416837"/>
                  <a:pt x="1314771" y="419014"/>
                </a:cubicBezTo>
                <a:cubicBezTo>
                  <a:pt x="1286474" y="415205"/>
                  <a:pt x="1267972" y="398879"/>
                  <a:pt x="1268516" y="370582"/>
                </a:cubicBezTo>
                <a:cubicBezTo>
                  <a:pt x="1268516" y="341197"/>
                  <a:pt x="1288650" y="324327"/>
                  <a:pt x="1317492" y="323239"/>
                </a:cubicBezTo>
                <a:close/>
                <a:moveTo>
                  <a:pt x="1479112" y="320517"/>
                </a:moveTo>
                <a:cubicBezTo>
                  <a:pt x="1503600" y="319973"/>
                  <a:pt x="1530265" y="343917"/>
                  <a:pt x="1529720" y="371670"/>
                </a:cubicBezTo>
                <a:cubicBezTo>
                  <a:pt x="1528632" y="395069"/>
                  <a:pt x="1506321" y="423366"/>
                  <a:pt x="1478568" y="420101"/>
                </a:cubicBezTo>
                <a:cubicBezTo>
                  <a:pt x="1452447" y="422822"/>
                  <a:pt x="1429592" y="397246"/>
                  <a:pt x="1429592" y="370037"/>
                </a:cubicBezTo>
                <a:cubicBezTo>
                  <a:pt x="1429592" y="342284"/>
                  <a:pt x="1455713" y="320517"/>
                  <a:pt x="1479112" y="320517"/>
                </a:cubicBezTo>
                <a:close/>
                <a:moveTo>
                  <a:pt x="1642364" y="318341"/>
                </a:moveTo>
                <a:cubicBezTo>
                  <a:pt x="1670661" y="318341"/>
                  <a:pt x="1692973" y="339020"/>
                  <a:pt x="1695694" y="370582"/>
                </a:cubicBezTo>
                <a:cubicBezTo>
                  <a:pt x="1696238" y="397791"/>
                  <a:pt x="1671206" y="423367"/>
                  <a:pt x="1643453" y="424455"/>
                </a:cubicBezTo>
                <a:cubicBezTo>
                  <a:pt x="1616788" y="425544"/>
                  <a:pt x="1589035" y="398335"/>
                  <a:pt x="1589035" y="371670"/>
                </a:cubicBezTo>
                <a:cubicBezTo>
                  <a:pt x="1589035" y="345006"/>
                  <a:pt x="1615155" y="317797"/>
                  <a:pt x="1642364" y="318341"/>
                </a:cubicBezTo>
                <a:close/>
                <a:moveTo>
                  <a:pt x="90919" y="273718"/>
                </a:moveTo>
                <a:cubicBezTo>
                  <a:pt x="96361" y="273174"/>
                  <a:pt x="106156" y="282425"/>
                  <a:pt x="106700" y="288411"/>
                </a:cubicBezTo>
                <a:cubicBezTo>
                  <a:pt x="106700" y="294941"/>
                  <a:pt x="97993" y="303648"/>
                  <a:pt x="91463" y="303648"/>
                </a:cubicBezTo>
                <a:cubicBezTo>
                  <a:pt x="84933" y="303648"/>
                  <a:pt x="76226" y="294941"/>
                  <a:pt x="76770" y="288411"/>
                </a:cubicBezTo>
                <a:cubicBezTo>
                  <a:pt x="76770" y="283513"/>
                  <a:pt x="86021" y="274262"/>
                  <a:pt x="90919" y="273718"/>
                </a:cubicBezTo>
                <a:close/>
                <a:moveTo>
                  <a:pt x="254716" y="267733"/>
                </a:moveTo>
                <a:cubicBezTo>
                  <a:pt x="267776" y="267733"/>
                  <a:pt x="276483" y="276440"/>
                  <a:pt x="276483" y="288956"/>
                </a:cubicBezTo>
                <a:cubicBezTo>
                  <a:pt x="276483" y="301472"/>
                  <a:pt x="266688" y="311811"/>
                  <a:pt x="254172" y="311811"/>
                </a:cubicBezTo>
                <a:cubicBezTo>
                  <a:pt x="243289" y="311811"/>
                  <a:pt x="232405" y="300384"/>
                  <a:pt x="232405" y="289500"/>
                </a:cubicBezTo>
                <a:cubicBezTo>
                  <a:pt x="232405" y="276984"/>
                  <a:pt x="242744" y="267733"/>
                  <a:pt x="254716" y="267733"/>
                </a:cubicBezTo>
                <a:close/>
                <a:moveTo>
                  <a:pt x="1941117" y="263202"/>
                </a:moveTo>
                <a:cubicBezTo>
                  <a:pt x="1937852" y="261570"/>
                  <a:pt x="1936219" y="263202"/>
                  <a:pt x="1936219" y="266467"/>
                </a:cubicBezTo>
                <a:cubicBezTo>
                  <a:pt x="1936763" y="268644"/>
                  <a:pt x="1937852" y="270276"/>
                  <a:pt x="1938396" y="272453"/>
                </a:cubicBezTo>
                <a:cubicBezTo>
                  <a:pt x="1944382" y="290955"/>
                  <a:pt x="1943838" y="308913"/>
                  <a:pt x="1932954" y="325782"/>
                </a:cubicBezTo>
                <a:cubicBezTo>
                  <a:pt x="1931866" y="327415"/>
                  <a:pt x="1931866" y="329047"/>
                  <a:pt x="1930777" y="331224"/>
                </a:cubicBezTo>
                <a:cubicBezTo>
                  <a:pt x="1932410" y="331224"/>
                  <a:pt x="1935131" y="331224"/>
                  <a:pt x="1936219" y="330136"/>
                </a:cubicBezTo>
                <a:cubicBezTo>
                  <a:pt x="1945470" y="323061"/>
                  <a:pt x="1955265" y="320885"/>
                  <a:pt x="1966693" y="320340"/>
                </a:cubicBezTo>
                <a:cubicBezTo>
                  <a:pt x="1978121" y="319796"/>
                  <a:pt x="1989004" y="323061"/>
                  <a:pt x="1998799" y="328503"/>
                </a:cubicBezTo>
                <a:cubicBezTo>
                  <a:pt x="2000432" y="329047"/>
                  <a:pt x="2001520" y="329592"/>
                  <a:pt x="2003153" y="330136"/>
                </a:cubicBezTo>
                <a:cubicBezTo>
                  <a:pt x="2002609" y="328503"/>
                  <a:pt x="2002609" y="326326"/>
                  <a:pt x="2001520" y="324694"/>
                </a:cubicBezTo>
                <a:cubicBezTo>
                  <a:pt x="1999344" y="319796"/>
                  <a:pt x="1995534" y="314899"/>
                  <a:pt x="1994446" y="309457"/>
                </a:cubicBezTo>
                <a:cubicBezTo>
                  <a:pt x="1992269" y="295308"/>
                  <a:pt x="1990093" y="281160"/>
                  <a:pt x="1998255" y="267555"/>
                </a:cubicBezTo>
                <a:cubicBezTo>
                  <a:pt x="2000432" y="267555"/>
                  <a:pt x="2000432" y="265923"/>
                  <a:pt x="2000976" y="263746"/>
                </a:cubicBezTo>
                <a:cubicBezTo>
                  <a:pt x="1998799" y="263746"/>
                  <a:pt x="1996623" y="262658"/>
                  <a:pt x="1995534" y="263746"/>
                </a:cubicBezTo>
                <a:cubicBezTo>
                  <a:pt x="1977577" y="272997"/>
                  <a:pt x="1959075" y="272997"/>
                  <a:pt x="1941117" y="263202"/>
                </a:cubicBezTo>
                <a:close/>
                <a:moveTo>
                  <a:pt x="417425" y="262291"/>
                </a:moveTo>
                <a:cubicBezTo>
                  <a:pt x="434839" y="262291"/>
                  <a:pt x="445178" y="272086"/>
                  <a:pt x="445178" y="288956"/>
                </a:cubicBezTo>
                <a:cubicBezTo>
                  <a:pt x="445178" y="305825"/>
                  <a:pt x="434839" y="316164"/>
                  <a:pt x="417969" y="317253"/>
                </a:cubicBezTo>
                <a:cubicBezTo>
                  <a:pt x="404909" y="317797"/>
                  <a:pt x="389672" y="306369"/>
                  <a:pt x="390216" y="290044"/>
                </a:cubicBezTo>
                <a:cubicBezTo>
                  <a:pt x="391305" y="272086"/>
                  <a:pt x="400011" y="262291"/>
                  <a:pt x="417425" y="262291"/>
                </a:cubicBezTo>
                <a:close/>
                <a:moveTo>
                  <a:pt x="580678" y="256304"/>
                </a:moveTo>
                <a:cubicBezTo>
                  <a:pt x="596459" y="255760"/>
                  <a:pt x="616049" y="273174"/>
                  <a:pt x="613872" y="288955"/>
                </a:cubicBezTo>
                <a:cubicBezTo>
                  <a:pt x="615505" y="304736"/>
                  <a:pt x="598635" y="322150"/>
                  <a:pt x="581222" y="322150"/>
                </a:cubicBezTo>
                <a:cubicBezTo>
                  <a:pt x="564352" y="322150"/>
                  <a:pt x="548571" y="308001"/>
                  <a:pt x="548027" y="289499"/>
                </a:cubicBezTo>
                <a:cubicBezTo>
                  <a:pt x="547483" y="272086"/>
                  <a:pt x="565441" y="256849"/>
                  <a:pt x="580678" y="256304"/>
                </a:cubicBezTo>
                <a:close/>
                <a:moveTo>
                  <a:pt x="743930" y="251951"/>
                </a:moveTo>
                <a:cubicBezTo>
                  <a:pt x="764609" y="251951"/>
                  <a:pt x="782566" y="268820"/>
                  <a:pt x="782022" y="289499"/>
                </a:cubicBezTo>
                <a:cubicBezTo>
                  <a:pt x="781478" y="311266"/>
                  <a:pt x="765153" y="326503"/>
                  <a:pt x="744474" y="326503"/>
                </a:cubicBezTo>
                <a:cubicBezTo>
                  <a:pt x="723795" y="326503"/>
                  <a:pt x="708014" y="311266"/>
                  <a:pt x="707470" y="289499"/>
                </a:cubicBezTo>
                <a:cubicBezTo>
                  <a:pt x="706926" y="271541"/>
                  <a:pt x="722163" y="252495"/>
                  <a:pt x="743930" y="251951"/>
                </a:cubicBezTo>
                <a:close/>
                <a:moveTo>
                  <a:pt x="907183" y="249775"/>
                </a:moveTo>
                <a:cubicBezTo>
                  <a:pt x="929494" y="249775"/>
                  <a:pt x="946908" y="263924"/>
                  <a:pt x="947452" y="289500"/>
                </a:cubicBezTo>
                <a:cubicBezTo>
                  <a:pt x="947996" y="311811"/>
                  <a:pt x="931127" y="330313"/>
                  <a:pt x="908271" y="329225"/>
                </a:cubicBezTo>
                <a:cubicBezTo>
                  <a:pt x="885960" y="330857"/>
                  <a:pt x="868002" y="312355"/>
                  <a:pt x="867458" y="290044"/>
                </a:cubicBezTo>
                <a:cubicBezTo>
                  <a:pt x="867458" y="266100"/>
                  <a:pt x="884872" y="249775"/>
                  <a:pt x="907183" y="249775"/>
                </a:cubicBezTo>
                <a:close/>
                <a:moveTo>
                  <a:pt x="1070435" y="245965"/>
                </a:moveTo>
                <a:cubicBezTo>
                  <a:pt x="1093291" y="245421"/>
                  <a:pt x="1116146" y="264467"/>
                  <a:pt x="1114513" y="290043"/>
                </a:cubicBezTo>
                <a:cubicBezTo>
                  <a:pt x="1115602" y="312899"/>
                  <a:pt x="1092202" y="334122"/>
                  <a:pt x="1069347" y="333578"/>
                </a:cubicBezTo>
                <a:cubicBezTo>
                  <a:pt x="1047036" y="333034"/>
                  <a:pt x="1026357" y="311266"/>
                  <a:pt x="1026357" y="288955"/>
                </a:cubicBezTo>
                <a:cubicBezTo>
                  <a:pt x="1026901" y="268276"/>
                  <a:pt x="1045403" y="245965"/>
                  <a:pt x="1070435" y="245965"/>
                </a:cubicBezTo>
                <a:close/>
                <a:moveTo>
                  <a:pt x="1233689" y="241613"/>
                </a:moveTo>
                <a:cubicBezTo>
                  <a:pt x="1257632" y="241068"/>
                  <a:pt x="1281032" y="263924"/>
                  <a:pt x="1282120" y="288412"/>
                </a:cubicBezTo>
                <a:cubicBezTo>
                  <a:pt x="1282665" y="312900"/>
                  <a:pt x="1260898" y="336299"/>
                  <a:pt x="1235321" y="335755"/>
                </a:cubicBezTo>
                <a:cubicBezTo>
                  <a:pt x="1206480" y="335211"/>
                  <a:pt x="1190155" y="318886"/>
                  <a:pt x="1187434" y="289500"/>
                </a:cubicBezTo>
                <a:cubicBezTo>
                  <a:pt x="1184713" y="266100"/>
                  <a:pt x="1208657" y="242701"/>
                  <a:pt x="1233689" y="241613"/>
                </a:cubicBezTo>
                <a:close/>
                <a:moveTo>
                  <a:pt x="1397485" y="238891"/>
                </a:moveTo>
                <a:cubicBezTo>
                  <a:pt x="1421973" y="237259"/>
                  <a:pt x="1448638" y="264467"/>
                  <a:pt x="1448094" y="288955"/>
                </a:cubicBezTo>
                <a:cubicBezTo>
                  <a:pt x="1447005" y="312355"/>
                  <a:pt x="1424150" y="341196"/>
                  <a:pt x="1398029" y="338475"/>
                </a:cubicBezTo>
                <a:cubicBezTo>
                  <a:pt x="1372453" y="340652"/>
                  <a:pt x="1347421" y="315620"/>
                  <a:pt x="1348509" y="289499"/>
                </a:cubicBezTo>
                <a:cubicBezTo>
                  <a:pt x="1349598" y="261202"/>
                  <a:pt x="1369732" y="240524"/>
                  <a:pt x="1397485" y="238891"/>
                </a:cubicBezTo>
                <a:close/>
                <a:moveTo>
                  <a:pt x="1559650" y="237258"/>
                </a:moveTo>
                <a:cubicBezTo>
                  <a:pt x="1590668" y="236170"/>
                  <a:pt x="1611891" y="259570"/>
                  <a:pt x="1613523" y="288955"/>
                </a:cubicBezTo>
                <a:cubicBezTo>
                  <a:pt x="1613523" y="316164"/>
                  <a:pt x="1587403" y="342829"/>
                  <a:pt x="1560738" y="342829"/>
                </a:cubicBezTo>
                <a:cubicBezTo>
                  <a:pt x="1534618" y="342829"/>
                  <a:pt x="1505776" y="315620"/>
                  <a:pt x="1507953" y="289499"/>
                </a:cubicBezTo>
                <a:cubicBezTo>
                  <a:pt x="1510130" y="261202"/>
                  <a:pt x="1526455" y="238347"/>
                  <a:pt x="1559650" y="237258"/>
                </a:cubicBezTo>
                <a:close/>
                <a:moveTo>
                  <a:pt x="9837" y="198078"/>
                </a:moveTo>
                <a:cubicBezTo>
                  <a:pt x="14190" y="198078"/>
                  <a:pt x="19632" y="202976"/>
                  <a:pt x="19632" y="207873"/>
                </a:cubicBezTo>
                <a:cubicBezTo>
                  <a:pt x="19632" y="212227"/>
                  <a:pt x="14190" y="217668"/>
                  <a:pt x="10381" y="218213"/>
                </a:cubicBezTo>
                <a:cubicBezTo>
                  <a:pt x="5483" y="218757"/>
                  <a:pt x="-503" y="212771"/>
                  <a:pt x="42" y="207873"/>
                </a:cubicBezTo>
                <a:cubicBezTo>
                  <a:pt x="42" y="202976"/>
                  <a:pt x="5483" y="198078"/>
                  <a:pt x="9837" y="198078"/>
                </a:cubicBezTo>
                <a:close/>
                <a:moveTo>
                  <a:pt x="173090" y="187739"/>
                </a:moveTo>
                <a:cubicBezTo>
                  <a:pt x="183429" y="188283"/>
                  <a:pt x="192136" y="196990"/>
                  <a:pt x="192136" y="207329"/>
                </a:cubicBezTo>
                <a:cubicBezTo>
                  <a:pt x="192136" y="217669"/>
                  <a:pt x="182341" y="228008"/>
                  <a:pt x="172546" y="227464"/>
                </a:cubicBezTo>
                <a:cubicBezTo>
                  <a:pt x="163839" y="226920"/>
                  <a:pt x="154588" y="217669"/>
                  <a:pt x="154044" y="208418"/>
                </a:cubicBezTo>
                <a:cubicBezTo>
                  <a:pt x="153500" y="198078"/>
                  <a:pt x="162751" y="187739"/>
                  <a:pt x="173090" y="187739"/>
                </a:cubicBezTo>
                <a:close/>
                <a:moveTo>
                  <a:pt x="336887" y="182297"/>
                </a:moveTo>
                <a:cubicBezTo>
                  <a:pt x="350491" y="182841"/>
                  <a:pt x="361919" y="191548"/>
                  <a:pt x="363007" y="207329"/>
                </a:cubicBezTo>
                <a:cubicBezTo>
                  <a:pt x="363551" y="219845"/>
                  <a:pt x="349947" y="233449"/>
                  <a:pt x="336887" y="233994"/>
                </a:cubicBezTo>
                <a:cubicBezTo>
                  <a:pt x="324371" y="233994"/>
                  <a:pt x="311311" y="221478"/>
                  <a:pt x="310766" y="208961"/>
                </a:cubicBezTo>
                <a:cubicBezTo>
                  <a:pt x="310222" y="195357"/>
                  <a:pt x="323282" y="181753"/>
                  <a:pt x="336887" y="182297"/>
                </a:cubicBezTo>
                <a:close/>
                <a:moveTo>
                  <a:pt x="1856225" y="180487"/>
                </a:moveTo>
                <a:cubicBezTo>
                  <a:pt x="1856225" y="182664"/>
                  <a:pt x="1855137" y="184841"/>
                  <a:pt x="1855681" y="185929"/>
                </a:cubicBezTo>
                <a:cubicBezTo>
                  <a:pt x="1863844" y="206064"/>
                  <a:pt x="1863844" y="226198"/>
                  <a:pt x="1851872" y="244700"/>
                </a:cubicBezTo>
                <a:cubicBezTo>
                  <a:pt x="1851328" y="245788"/>
                  <a:pt x="1851328" y="246877"/>
                  <a:pt x="1851328" y="247965"/>
                </a:cubicBezTo>
                <a:cubicBezTo>
                  <a:pt x="1852416" y="247965"/>
                  <a:pt x="1854049" y="247965"/>
                  <a:pt x="1854593" y="247421"/>
                </a:cubicBezTo>
                <a:cubicBezTo>
                  <a:pt x="1868197" y="237082"/>
                  <a:pt x="1883434" y="237082"/>
                  <a:pt x="1899215" y="238714"/>
                </a:cubicBezTo>
                <a:cubicBezTo>
                  <a:pt x="1904113" y="239258"/>
                  <a:pt x="1909010" y="241979"/>
                  <a:pt x="1913908" y="243067"/>
                </a:cubicBezTo>
                <a:cubicBezTo>
                  <a:pt x="1915541" y="243612"/>
                  <a:pt x="1917173" y="242523"/>
                  <a:pt x="1918806" y="242523"/>
                </a:cubicBezTo>
                <a:cubicBezTo>
                  <a:pt x="1918806" y="240891"/>
                  <a:pt x="1918806" y="239258"/>
                  <a:pt x="1918261" y="238170"/>
                </a:cubicBezTo>
                <a:cubicBezTo>
                  <a:pt x="1908466" y="220756"/>
                  <a:pt x="1910099" y="203887"/>
                  <a:pt x="1917173" y="185929"/>
                </a:cubicBezTo>
                <a:cubicBezTo>
                  <a:pt x="1917717" y="184297"/>
                  <a:pt x="1917717" y="183208"/>
                  <a:pt x="1918261" y="181576"/>
                </a:cubicBezTo>
                <a:cubicBezTo>
                  <a:pt x="1916629" y="182120"/>
                  <a:pt x="1914996" y="182120"/>
                  <a:pt x="1913908" y="182664"/>
                </a:cubicBezTo>
                <a:cubicBezTo>
                  <a:pt x="1895950" y="189738"/>
                  <a:pt x="1877992" y="190827"/>
                  <a:pt x="1860579" y="180487"/>
                </a:cubicBezTo>
                <a:cubicBezTo>
                  <a:pt x="1858946" y="181031"/>
                  <a:pt x="1857858" y="181031"/>
                  <a:pt x="1856225" y="180487"/>
                </a:cubicBezTo>
                <a:close/>
                <a:moveTo>
                  <a:pt x="499595" y="175767"/>
                </a:moveTo>
                <a:cubicBezTo>
                  <a:pt x="514832" y="175767"/>
                  <a:pt x="531702" y="193181"/>
                  <a:pt x="531158" y="207874"/>
                </a:cubicBezTo>
                <a:cubicBezTo>
                  <a:pt x="530613" y="223110"/>
                  <a:pt x="513744" y="239980"/>
                  <a:pt x="498507" y="238347"/>
                </a:cubicBezTo>
                <a:cubicBezTo>
                  <a:pt x="479461" y="236715"/>
                  <a:pt x="469666" y="224743"/>
                  <a:pt x="468033" y="207329"/>
                </a:cubicBezTo>
                <a:cubicBezTo>
                  <a:pt x="466945" y="192636"/>
                  <a:pt x="484903" y="175767"/>
                  <a:pt x="499595" y="175767"/>
                </a:cubicBezTo>
                <a:close/>
                <a:moveTo>
                  <a:pt x="662304" y="173046"/>
                </a:moveTo>
                <a:cubicBezTo>
                  <a:pt x="683527" y="171958"/>
                  <a:pt x="698220" y="189916"/>
                  <a:pt x="697676" y="207873"/>
                </a:cubicBezTo>
                <a:cubicBezTo>
                  <a:pt x="697131" y="227464"/>
                  <a:pt x="684615" y="243245"/>
                  <a:pt x="662304" y="242156"/>
                </a:cubicBezTo>
                <a:cubicBezTo>
                  <a:pt x="639993" y="241612"/>
                  <a:pt x="628565" y="229096"/>
                  <a:pt x="628021" y="207873"/>
                </a:cubicBezTo>
                <a:cubicBezTo>
                  <a:pt x="628021" y="187739"/>
                  <a:pt x="642714" y="172502"/>
                  <a:pt x="662304" y="173046"/>
                </a:cubicBezTo>
                <a:close/>
                <a:moveTo>
                  <a:pt x="826645" y="168148"/>
                </a:moveTo>
                <a:cubicBezTo>
                  <a:pt x="844602" y="168148"/>
                  <a:pt x="867458" y="187194"/>
                  <a:pt x="864737" y="207329"/>
                </a:cubicBezTo>
                <a:cubicBezTo>
                  <a:pt x="867458" y="229096"/>
                  <a:pt x="844058" y="247054"/>
                  <a:pt x="826100" y="247054"/>
                </a:cubicBezTo>
                <a:cubicBezTo>
                  <a:pt x="808687" y="247054"/>
                  <a:pt x="787464" y="228552"/>
                  <a:pt x="787464" y="207873"/>
                </a:cubicBezTo>
                <a:cubicBezTo>
                  <a:pt x="787464" y="187194"/>
                  <a:pt x="807054" y="168148"/>
                  <a:pt x="826645" y="168148"/>
                </a:cubicBezTo>
                <a:close/>
                <a:moveTo>
                  <a:pt x="987721" y="164883"/>
                </a:moveTo>
                <a:cubicBezTo>
                  <a:pt x="1012209" y="164339"/>
                  <a:pt x="1030711" y="181753"/>
                  <a:pt x="1031799" y="207329"/>
                </a:cubicBezTo>
                <a:cubicBezTo>
                  <a:pt x="1031255" y="232361"/>
                  <a:pt x="1011665" y="250319"/>
                  <a:pt x="988809" y="250319"/>
                </a:cubicBezTo>
                <a:cubicBezTo>
                  <a:pt x="965954" y="250319"/>
                  <a:pt x="946364" y="231273"/>
                  <a:pt x="945819" y="208417"/>
                </a:cubicBezTo>
                <a:cubicBezTo>
                  <a:pt x="945275" y="185018"/>
                  <a:pt x="962689" y="165428"/>
                  <a:pt x="987721" y="164883"/>
                </a:cubicBezTo>
                <a:close/>
                <a:moveTo>
                  <a:pt x="1153150" y="162707"/>
                </a:moveTo>
                <a:cubicBezTo>
                  <a:pt x="1177638" y="161619"/>
                  <a:pt x="1197772" y="180665"/>
                  <a:pt x="1197772" y="207874"/>
                </a:cubicBezTo>
                <a:cubicBezTo>
                  <a:pt x="1197772" y="235083"/>
                  <a:pt x="1176005" y="253584"/>
                  <a:pt x="1151517" y="253584"/>
                </a:cubicBezTo>
                <a:cubicBezTo>
                  <a:pt x="1128118" y="253040"/>
                  <a:pt x="1106895" y="234538"/>
                  <a:pt x="1107439" y="207329"/>
                </a:cubicBezTo>
                <a:cubicBezTo>
                  <a:pt x="1107983" y="179576"/>
                  <a:pt x="1129206" y="161075"/>
                  <a:pt x="1153150" y="162707"/>
                </a:cubicBezTo>
                <a:close/>
                <a:moveTo>
                  <a:pt x="1315315" y="158353"/>
                </a:moveTo>
                <a:cubicBezTo>
                  <a:pt x="1341435" y="156177"/>
                  <a:pt x="1365923" y="184474"/>
                  <a:pt x="1365379" y="206785"/>
                </a:cubicBezTo>
                <a:cubicBezTo>
                  <a:pt x="1365379" y="229640"/>
                  <a:pt x="1344156" y="256849"/>
                  <a:pt x="1315859" y="256305"/>
                </a:cubicBezTo>
                <a:cubicBezTo>
                  <a:pt x="1290283" y="256305"/>
                  <a:pt x="1267427" y="233994"/>
                  <a:pt x="1266883" y="207873"/>
                </a:cubicBezTo>
                <a:cubicBezTo>
                  <a:pt x="1265795" y="181209"/>
                  <a:pt x="1292460" y="157265"/>
                  <a:pt x="1315315" y="158353"/>
                </a:cubicBezTo>
                <a:close/>
                <a:moveTo>
                  <a:pt x="1478567" y="156721"/>
                </a:moveTo>
                <a:cubicBezTo>
                  <a:pt x="1510129" y="156721"/>
                  <a:pt x="1530264" y="180665"/>
                  <a:pt x="1529720" y="207329"/>
                </a:cubicBezTo>
                <a:cubicBezTo>
                  <a:pt x="1530264" y="236715"/>
                  <a:pt x="1510129" y="258482"/>
                  <a:pt x="1478567" y="258482"/>
                </a:cubicBezTo>
                <a:cubicBezTo>
                  <a:pt x="1449182" y="257938"/>
                  <a:pt x="1428503" y="238892"/>
                  <a:pt x="1427959" y="207874"/>
                </a:cubicBezTo>
                <a:cubicBezTo>
                  <a:pt x="1427415" y="179576"/>
                  <a:pt x="1447549" y="156721"/>
                  <a:pt x="1478567" y="156721"/>
                </a:cubicBezTo>
                <a:close/>
                <a:moveTo>
                  <a:pt x="1644541" y="153456"/>
                </a:moveTo>
                <a:cubicBezTo>
                  <a:pt x="1672294" y="154544"/>
                  <a:pt x="1697870" y="180665"/>
                  <a:pt x="1697326" y="209506"/>
                </a:cubicBezTo>
                <a:cubicBezTo>
                  <a:pt x="1696782" y="238347"/>
                  <a:pt x="1669573" y="263924"/>
                  <a:pt x="1641276" y="262835"/>
                </a:cubicBezTo>
                <a:cubicBezTo>
                  <a:pt x="1612979" y="261203"/>
                  <a:pt x="1587402" y="236715"/>
                  <a:pt x="1587947" y="206785"/>
                </a:cubicBezTo>
                <a:cubicBezTo>
                  <a:pt x="1587947" y="180121"/>
                  <a:pt x="1613523" y="152368"/>
                  <a:pt x="1644541" y="153456"/>
                </a:cubicBezTo>
                <a:close/>
                <a:moveTo>
                  <a:pt x="91463" y="109922"/>
                </a:moveTo>
                <a:cubicBezTo>
                  <a:pt x="97993" y="109922"/>
                  <a:pt x="107244" y="119173"/>
                  <a:pt x="107244" y="126247"/>
                </a:cubicBezTo>
                <a:cubicBezTo>
                  <a:pt x="107788" y="132777"/>
                  <a:pt x="98537" y="142028"/>
                  <a:pt x="91463" y="142028"/>
                </a:cubicBezTo>
                <a:cubicBezTo>
                  <a:pt x="83845" y="142028"/>
                  <a:pt x="75682" y="133866"/>
                  <a:pt x="75682" y="126247"/>
                </a:cubicBezTo>
                <a:cubicBezTo>
                  <a:pt x="75682" y="118629"/>
                  <a:pt x="84389" y="109922"/>
                  <a:pt x="91463" y="109922"/>
                </a:cubicBezTo>
                <a:close/>
                <a:moveTo>
                  <a:pt x="1942341" y="104915"/>
                </a:moveTo>
                <a:cubicBezTo>
                  <a:pt x="1941389" y="105799"/>
                  <a:pt x="1941389" y="107840"/>
                  <a:pt x="1942205" y="111377"/>
                </a:cubicBezTo>
                <a:cubicBezTo>
                  <a:pt x="1943294" y="118451"/>
                  <a:pt x="1944926" y="124437"/>
                  <a:pt x="1946559" y="131511"/>
                </a:cubicBezTo>
                <a:cubicBezTo>
                  <a:pt x="1944382" y="139674"/>
                  <a:pt x="1941661" y="148381"/>
                  <a:pt x="1939484" y="157088"/>
                </a:cubicBezTo>
                <a:cubicBezTo>
                  <a:pt x="1939484" y="158176"/>
                  <a:pt x="1941117" y="160353"/>
                  <a:pt x="1941117" y="160353"/>
                </a:cubicBezTo>
                <a:cubicBezTo>
                  <a:pt x="1955810" y="154367"/>
                  <a:pt x="1971046" y="150558"/>
                  <a:pt x="1986828" y="157088"/>
                </a:cubicBezTo>
                <a:cubicBezTo>
                  <a:pt x="1987372" y="157088"/>
                  <a:pt x="1987916" y="157088"/>
                  <a:pt x="1987916" y="157088"/>
                </a:cubicBezTo>
                <a:cubicBezTo>
                  <a:pt x="1994990" y="157632"/>
                  <a:pt x="1996623" y="155999"/>
                  <a:pt x="1993902" y="150013"/>
                </a:cubicBezTo>
                <a:cubicBezTo>
                  <a:pt x="1988460" y="136409"/>
                  <a:pt x="1988460" y="123349"/>
                  <a:pt x="1993902" y="109744"/>
                </a:cubicBezTo>
                <a:cubicBezTo>
                  <a:pt x="1995534" y="105935"/>
                  <a:pt x="1994446" y="103214"/>
                  <a:pt x="1989004" y="105391"/>
                </a:cubicBezTo>
                <a:cubicBezTo>
                  <a:pt x="1975400" y="109744"/>
                  <a:pt x="1961796" y="109744"/>
                  <a:pt x="1948191" y="105391"/>
                </a:cubicBezTo>
                <a:cubicBezTo>
                  <a:pt x="1945198" y="104303"/>
                  <a:pt x="1943294" y="104031"/>
                  <a:pt x="1942341" y="104915"/>
                </a:cubicBezTo>
                <a:close/>
                <a:moveTo>
                  <a:pt x="255804" y="103392"/>
                </a:moveTo>
                <a:cubicBezTo>
                  <a:pt x="269409" y="103392"/>
                  <a:pt x="277571" y="112643"/>
                  <a:pt x="277571" y="126791"/>
                </a:cubicBezTo>
                <a:cubicBezTo>
                  <a:pt x="277027" y="139852"/>
                  <a:pt x="267776" y="148558"/>
                  <a:pt x="254172" y="148014"/>
                </a:cubicBezTo>
                <a:cubicBezTo>
                  <a:pt x="241112" y="148014"/>
                  <a:pt x="231861" y="138763"/>
                  <a:pt x="232405" y="125159"/>
                </a:cubicBezTo>
                <a:cubicBezTo>
                  <a:pt x="232405" y="112099"/>
                  <a:pt x="242200" y="102848"/>
                  <a:pt x="255804" y="103392"/>
                </a:cubicBezTo>
                <a:close/>
                <a:moveTo>
                  <a:pt x="1773511" y="99405"/>
                </a:moveTo>
                <a:cubicBezTo>
                  <a:pt x="1773511" y="102126"/>
                  <a:pt x="1772966" y="104303"/>
                  <a:pt x="1773511" y="107023"/>
                </a:cubicBezTo>
                <a:cubicBezTo>
                  <a:pt x="1776232" y="114098"/>
                  <a:pt x="1778408" y="121716"/>
                  <a:pt x="1780585" y="130423"/>
                </a:cubicBezTo>
                <a:cubicBezTo>
                  <a:pt x="1778408" y="139130"/>
                  <a:pt x="1775687" y="147293"/>
                  <a:pt x="1773511" y="155999"/>
                </a:cubicBezTo>
                <a:cubicBezTo>
                  <a:pt x="1772966" y="157632"/>
                  <a:pt x="1772966" y="160897"/>
                  <a:pt x="1774055" y="161985"/>
                </a:cubicBezTo>
                <a:cubicBezTo>
                  <a:pt x="1775143" y="163074"/>
                  <a:pt x="1778408" y="163074"/>
                  <a:pt x="1780041" y="162529"/>
                </a:cubicBezTo>
                <a:cubicBezTo>
                  <a:pt x="1789836" y="155455"/>
                  <a:pt x="1800719" y="157632"/>
                  <a:pt x="1811059" y="157632"/>
                </a:cubicBezTo>
                <a:cubicBezTo>
                  <a:pt x="1817589" y="157632"/>
                  <a:pt x="1824119" y="156543"/>
                  <a:pt x="1829561" y="161985"/>
                </a:cubicBezTo>
                <a:cubicBezTo>
                  <a:pt x="1830649" y="163074"/>
                  <a:pt x="1834458" y="161985"/>
                  <a:pt x="1836635" y="161985"/>
                </a:cubicBezTo>
                <a:cubicBezTo>
                  <a:pt x="1835547" y="160353"/>
                  <a:pt x="1835002" y="158720"/>
                  <a:pt x="1833914" y="157088"/>
                </a:cubicBezTo>
                <a:cubicBezTo>
                  <a:pt x="1826840" y="139674"/>
                  <a:pt x="1826296" y="121716"/>
                  <a:pt x="1834458" y="104303"/>
                </a:cubicBezTo>
                <a:cubicBezTo>
                  <a:pt x="1835002" y="102670"/>
                  <a:pt x="1835547" y="101038"/>
                  <a:pt x="1835547" y="99405"/>
                </a:cubicBezTo>
                <a:cubicBezTo>
                  <a:pt x="1833914" y="99949"/>
                  <a:pt x="1832282" y="99949"/>
                  <a:pt x="1831193" y="101038"/>
                </a:cubicBezTo>
                <a:cubicBezTo>
                  <a:pt x="1814324" y="109200"/>
                  <a:pt x="1797454" y="109200"/>
                  <a:pt x="1780041" y="101582"/>
                </a:cubicBezTo>
                <a:cubicBezTo>
                  <a:pt x="1777864" y="100493"/>
                  <a:pt x="1775687" y="100493"/>
                  <a:pt x="1773511" y="99405"/>
                </a:cubicBezTo>
                <a:close/>
                <a:moveTo>
                  <a:pt x="417424" y="97950"/>
                </a:moveTo>
                <a:cubicBezTo>
                  <a:pt x="435382" y="97950"/>
                  <a:pt x="445721" y="108289"/>
                  <a:pt x="445721" y="126247"/>
                </a:cubicBezTo>
                <a:cubicBezTo>
                  <a:pt x="445721" y="143661"/>
                  <a:pt x="435382" y="153456"/>
                  <a:pt x="417424" y="153456"/>
                </a:cubicBezTo>
                <a:cubicBezTo>
                  <a:pt x="402187" y="155088"/>
                  <a:pt x="389127" y="141484"/>
                  <a:pt x="390215" y="125159"/>
                </a:cubicBezTo>
                <a:cubicBezTo>
                  <a:pt x="391304" y="107745"/>
                  <a:pt x="400555" y="97950"/>
                  <a:pt x="417424" y="97950"/>
                </a:cubicBezTo>
                <a:close/>
                <a:moveTo>
                  <a:pt x="580677" y="92508"/>
                </a:moveTo>
                <a:cubicBezTo>
                  <a:pt x="599724" y="92508"/>
                  <a:pt x="613328" y="106112"/>
                  <a:pt x="614960" y="125159"/>
                </a:cubicBezTo>
                <a:cubicBezTo>
                  <a:pt x="616049" y="141484"/>
                  <a:pt x="598091" y="161618"/>
                  <a:pt x="581766" y="158353"/>
                </a:cubicBezTo>
                <a:cubicBezTo>
                  <a:pt x="561631" y="158353"/>
                  <a:pt x="548571" y="145293"/>
                  <a:pt x="548571" y="125703"/>
                </a:cubicBezTo>
                <a:cubicBezTo>
                  <a:pt x="548571" y="106657"/>
                  <a:pt x="562175" y="92508"/>
                  <a:pt x="580677" y="92508"/>
                </a:cubicBezTo>
                <a:close/>
                <a:moveTo>
                  <a:pt x="745019" y="88154"/>
                </a:moveTo>
                <a:cubicBezTo>
                  <a:pt x="763521" y="87610"/>
                  <a:pt x="783111" y="107745"/>
                  <a:pt x="782567" y="126791"/>
                </a:cubicBezTo>
                <a:cubicBezTo>
                  <a:pt x="782023" y="147469"/>
                  <a:pt x="761344" y="164339"/>
                  <a:pt x="743930" y="164339"/>
                </a:cubicBezTo>
                <a:cubicBezTo>
                  <a:pt x="723796" y="163795"/>
                  <a:pt x="705838" y="144204"/>
                  <a:pt x="706382" y="125702"/>
                </a:cubicBezTo>
                <a:cubicBezTo>
                  <a:pt x="706926" y="109377"/>
                  <a:pt x="723252" y="87066"/>
                  <a:pt x="745019" y="88154"/>
                </a:cubicBezTo>
                <a:close/>
                <a:moveTo>
                  <a:pt x="1685898" y="84712"/>
                </a:moveTo>
                <a:lnTo>
                  <a:pt x="1685681" y="85147"/>
                </a:lnTo>
                <a:lnTo>
                  <a:pt x="1685354" y="85256"/>
                </a:lnTo>
                <a:cubicBezTo>
                  <a:pt x="1685354" y="85256"/>
                  <a:pt x="1685898" y="84712"/>
                  <a:pt x="1685898" y="84712"/>
                </a:cubicBezTo>
                <a:close/>
                <a:moveTo>
                  <a:pt x="907183" y="84345"/>
                </a:moveTo>
                <a:cubicBezTo>
                  <a:pt x="916978" y="84345"/>
                  <a:pt x="926773" y="87610"/>
                  <a:pt x="934935" y="95228"/>
                </a:cubicBezTo>
                <a:cubicBezTo>
                  <a:pt x="944187" y="103935"/>
                  <a:pt x="946907" y="114819"/>
                  <a:pt x="949628" y="125158"/>
                </a:cubicBezTo>
                <a:cubicBezTo>
                  <a:pt x="946907" y="150190"/>
                  <a:pt x="932759" y="166515"/>
                  <a:pt x="908271" y="167060"/>
                </a:cubicBezTo>
                <a:cubicBezTo>
                  <a:pt x="884871" y="167604"/>
                  <a:pt x="867458" y="150734"/>
                  <a:pt x="866369" y="125702"/>
                </a:cubicBezTo>
                <a:cubicBezTo>
                  <a:pt x="865825" y="103935"/>
                  <a:pt x="884871" y="83801"/>
                  <a:pt x="907183" y="84345"/>
                </a:cubicBezTo>
                <a:close/>
                <a:moveTo>
                  <a:pt x="1070979" y="82169"/>
                </a:moveTo>
                <a:cubicBezTo>
                  <a:pt x="1095467" y="79448"/>
                  <a:pt x="1115602" y="103936"/>
                  <a:pt x="1115602" y="126247"/>
                </a:cubicBezTo>
                <a:cubicBezTo>
                  <a:pt x="1115602" y="148014"/>
                  <a:pt x="1094923" y="170325"/>
                  <a:pt x="1071524" y="170325"/>
                </a:cubicBezTo>
                <a:cubicBezTo>
                  <a:pt x="1047580" y="170325"/>
                  <a:pt x="1026357" y="148558"/>
                  <a:pt x="1026357" y="125703"/>
                </a:cubicBezTo>
                <a:cubicBezTo>
                  <a:pt x="1026357" y="103936"/>
                  <a:pt x="1047036" y="79448"/>
                  <a:pt x="1070979" y="82169"/>
                </a:cubicBezTo>
                <a:close/>
                <a:moveTo>
                  <a:pt x="1684811" y="82168"/>
                </a:moveTo>
                <a:cubicBezTo>
                  <a:pt x="1684811" y="82168"/>
                  <a:pt x="1684266" y="82713"/>
                  <a:pt x="1684266" y="82713"/>
                </a:cubicBezTo>
                <a:lnTo>
                  <a:pt x="1684469" y="82365"/>
                </a:lnTo>
                <a:close/>
                <a:moveTo>
                  <a:pt x="1234777" y="78360"/>
                </a:moveTo>
                <a:cubicBezTo>
                  <a:pt x="1259809" y="76727"/>
                  <a:pt x="1284297" y="101759"/>
                  <a:pt x="1282664" y="126791"/>
                </a:cubicBezTo>
                <a:cubicBezTo>
                  <a:pt x="1280487" y="152912"/>
                  <a:pt x="1264162" y="171958"/>
                  <a:pt x="1234232" y="174135"/>
                </a:cubicBezTo>
                <a:cubicBezTo>
                  <a:pt x="1205935" y="172502"/>
                  <a:pt x="1186345" y="153456"/>
                  <a:pt x="1186889" y="126791"/>
                </a:cubicBezTo>
                <a:cubicBezTo>
                  <a:pt x="1187433" y="96318"/>
                  <a:pt x="1207024" y="79992"/>
                  <a:pt x="1234777" y="78360"/>
                </a:cubicBezTo>
                <a:close/>
                <a:moveTo>
                  <a:pt x="1398574" y="76182"/>
                </a:moveTo>
                <a:cubicBezTo>
                  <a:pt x="1424150" y="74006"/>
                  <a:pt x="1448638" y="99582"/>
                  <a:pt x="1448094" y="127335"/>
                </a:cubicBezTo>
                <a:cubicBezTo>
                  <a:pt x="1447549" y="151823"/>
                  <a:pt x="1426327" y="176311"/>
                  <a:pt x="1396941" y="175766"/>
                </a:cubicBezTo>
                <a:cubicBezTo>
                  <a:pt x="1367011" y="175222"/>
                  <a:pt x="1347421" y="151278"/>
                  <a:pt x="1347421" y="125702"/>
                </a:cubicBezTo>
                <a:cubicBezTo>
                  <a:pt x="1347421" y="99038"/>
                  <a:pt x="1369732" y="74006"/>
                  <a:pt x="1398574" y="76182"/>
                </a:cubicBezTo>
                <a:close/>
                <a:moveTo>
                  <a:pt x="1561282" y="72373"/>
                </a:moveTo>
                <a:cubicBezTo>
                  <a:pt x="1588491" y="72373"/>
                  <a:pt x="1614611" y="96861"/>
                  <a:pt x="1614611" y="126247"/>
                </a:cubicBezTo>
                <a:cubicBezTo>
                  <a:pt x="1614067" y="155632"/>
                  <a:pt x="1590667" y="180120"/>
                  <a:pt x="1560738" y="179576"/>
                </a:cubicBezTo>
                <a:cubicBezTo>
                  <a:pt x="1530808" y="179576"/>
                  <a:pt x="1507953" y="156176"/>
                  <a:pt x="1507409" y="126247"/>
                </a:cubicBezTo>
                <a:cubicBezTo>
                  <a:pt x="1506864" y="96861"/>
                  <a:pt x="1532441" y="72373"/>
                  <a:pt x="1561282" y="72373"/>
                </a:cubicBezTo>
                <a:close/>
                <a:moveTo>
                  <a:pt x="10381" y="33737"/>
                </a:moveTo>
                <a:cubicBezTo>
                  <a:pt x="15822" y="33737"/>
                  <a:pt x="20720" y="39179"/>
                  <a:pt x="20720" y="45165"/>
                </a:cubicBezTo>
                <a:cubicBezTo>
                  <a:pt x="20176" y="50606"/>
                  <a:pt x="14734" y="55504"/>
                  <a:pt x="9292" y="54960"/>
                </a:cubicBezTo>
                <a:cubicBezTo>
                  <a:pt x="4395" y="54416"/>
                  <a:pt x="41" y="49518"/>
                  <a:pt x="41" y="44621"/>
                </a:cubicBezTo>
                <a:cubicBezTo>
                  <a:pt x="-503" y="38635"/>
                  <a:pt x="4395" y="33737"/>
                  <a:pt x="10381" y="33737"/>
                </a:cubicBezTo>
                <a:close/>
                <a:moveTo>
                  <a:pt x="172546" y="23942"/>
                </a:moveTo>
                <a:cubicBezTo>
                  <a:pt x="181796" y="22854"/>
                  <a:pt x="193224" y="34826"/>
                  <a:pt x="193224" y="44621"/>
                </a:cubicBezTo>
                <a:cubicBezTo>
                  <a:pt x="193224" y="53872"/>
                  <a:pt x="182341" y="64755"/>
                  <a:pt x="173090" y="64755"/>
                </a:cubicBezTo>
                <a:cubicBezTo>
                  <a:pt x="164383" y="64755"/>
                  <a:pt x="152411" y="52784"/>
                  <a:pt x="152411" y="44621"/>
                </a:cubicBezTo>
                <a:cubicBezTo>
                  <a:pt x="152411" y="36458"/>
                  <a:pt x="164927" y="24486"/>
                  <a:pt x="172546" y="23942"/>
                </a:cubicBezTo>
                <a:close/>
                <a:moveTo>
                  <a:pt x="1861123" y="22132"/>
                </a:moveTo>
                <a:cubicBezTo>
                  <a:pt x="1861123" y="26485"/>
                  <a:pt x="1860035" y="31383"/>
                  <a:pt x="1861123" y="35737"/>
                </a:cubicBezTo>
                <a:cubicBezTo>
                  <a:pt x="1863844" y="44443"/>
                  <a:pt x="1864932" y="52606"/>
                  <a:pt x="1861123" y="61313"/>
                </a:cubicBezTo>
                <a:cubicBezTo>
                  <a:pt x="1860035" y="64034"/>
                  <a:pt x="1860035" y="67299"/>
                  <a:pt x="1858946" y="72740"/>
                </a:cubicBezTo>
                <a:cubicBezTo>
                  <a:pt x="1858402" y="76550"/>
                  <a:pt x="1861123" y="77638"/>
                  <a:pt x="1866021" y="76550"/>
                </a:cubicBezTo>
                <a:cubicBezTo>
                  <a:pt x="1868741" y="76006"/>
                  <a:pt x="1871462" y="76006"/>
                  <a:pt x="1873639" y="74917"/>
                </a:cubicBezTo>
                <a:cubicBezTo>
                  <a:pt x="1882346" y="71108"/>
                  <a:pt x="1891053" y="71108"/>
                  <a:pt x="1900304" y="74373"/>
                </a:cubicBezTo>
                <a:cubicBezTo>
                  <a:pt x="1902480" y="75461"/>
                  <a:pt x="1905201" y="76006"/>
                  <a:pt x="1907922" y="76006"/>
                </a:cubicBezTo>
                <a:cubicBezTo>
                  <a:pt x="1912276" y="76550"/>
                  <a:pt x="1914996" y="75461"/>
                  <a:pt x="1912820" y="70020"/>
                </a:cubicBezTo>
                <a:cubicBezTo>
                  <a:pt x="1907378" y="55871"/>
                  <a:pt x="1906834" y="41178"/>
                  <a:pt x="1912820" y="27030"/>
                </a:cubicBezTo>
                <a:cubicBezTo>
                  <a:pt x="1914996" y="22132"/>
                  <a:pt x="1911731" y="21588"/>
                  <a:pt x="1908466" y="22132"/>
                </a:cubicBezTo>
                <a:cubicBezTo>
                  <a:pt x="1906290" y="22676"/>
                  <a:pt x="1904657" y="24309"/>
                  <a:pt x="1902480" y="24309"/>
                </a:cubicBezTo>
                <a:cubicBezTo>
                  <a:pt x="1892685" y="24309"/>
                  <a:pt x="1882890" y="24853"/>
                  <a:pt x="1873095" y="24309"/>
                </a:cubicBezTo>
                <a:cubicBezTo>
                  <a:pt x="1868741" y="24309"/>
                  <a:pt x="1864932" y="22676"/>
                  <a:pt x="1861123" y="22132"/>
                </a:cubicBezTo>
                <a:close/>
                <a:moveTo>
                  <a:pt x="336886" y="17412"/>
                </a:moveTo>
                <a:cubicBezTo>
                  <a:pt x="347770" y="17412"/>
                  <a:pt x="363551" y="31016"/>
                  <a:pt x="363007" y="44077"/>
                </a:cubicBezTo>
                <a:cubicBezTo>
                  <a:pt x="363007" y="57681"/>
                  <a:pt x="350491" y="70741"/>
                  <a:pt x="337431" y="71285"/>
                </a:cubicBezTo>
                <a:cubicBezTo>
                  <a:pt x="324370" y="71830"/>
                  <a:pt x="310766" y="58769"/>
                  <a:pt x="310222" y="45165"/>
                </a:cubicBezTo>
                <a:cubicBezTo>
                  <a:pt x="309678" y="31016"/>
                  <a:pt x="323282" y="17956"/>
                  <a:pt x="336886" y="17412"/>
                </a:cubicBezTo>
                <a:close/>
                <a:moveTo>
                  <a:pt x="498507" y="13059"/>
                </a:moveTo>
                <a:cubicBezTo>
                  <a:pt x="514832" y="11970"/>
                  <a:pt x="531702" y="28296"/>
                  <a:pt x="531702" y="44621"/>
                </a:cubicBezTo>
                <a:cubicBezTo>
                  <a:pt x="531702" y="60402"/>
                  <a:pt x="515376" y="76183"/>
                  <a:pt x="499595" y="76727"/>
                </a:cubicBezTo>
                <a:cubicBezTo>
                  <a:pt x="483270" y="76727"/>
                  <a:pt x="467489" y="61490"/>
                  <a:pt x="467489" y="45165"/>
                </a:cubicBezTo>
                <a:cubicBezTo>
                  <a:pt x="467489" y="28840"/>
                  <a:pt x="482182" y="13059"/>
                  <a:pt x="498507" y="13059"/>
                </a:cubicBezTo>
                <a:close/>
                <a:moveTo>
                  <a:pt x="662303" y="7616"/>
                </a:moveTo>
                <a:cubicBezTo>
                  <a:pt x="680805" y="7072"/>
                  <a:pt x="698763" y="25030"/>
                  <a:pt x="698763" y="44076"/>
                </a:cubicBezTo>
                <a:cubicBezTo>
                  <a:pt x="698763" y="62578"/>
                  <a:pt x="680261" y="81624"/>
                  <a:pt x="662303" y="81080"/>
                </a:cubicBezTo>
                <a:cubicBezTo>
                  <a:pt x="644346" y="80536"/>
                  <a:pt x="626932" y="62578"/>
                  <a:pt x="626932" y="44076"/>
                </a:cubicBezTo>
                <a:cubicBezTo>
                  <a:pt x="626932" y="25574"/>
                  <a:pt x="643257" y="8160"/>
                  <a:pt x="662303" y="7616"/>
                </a:cubicBezTo>
                <a:close/>
                <a:moveTo>
                  <a:pt x="825557" y="5440"/>
                </a:moveTo>
                <a:cubicBezTo>
                  <a:pt x="847868" y="5440"/>
                  <a:pt x="865281" y="23942"/>
                  <a:pt x="865281" y="44621"/>
                </a:cubicBezTo>
                <a:cubicBezTo>
                  <a:pt x="865281" y="63667"/>
                  <a:pt x="847324" y="85978"/>
                  <a:pt x="826101" y="83257"/>
                </a:cubicBezTo>
                <a:cubicBezTo>
                  <a:pt x="805422" y="85978"/>
                  <a:pt x="786920" y="64211"/>
                  <a:pt x="786920" y="44621"/>
                </a:cubicBezTo>
                <a:cubicBezTo>
                  <a:pt x="786920" y="22854"/>
                  <a:pt x="805422" y="5440"/>
                  <a:pt x="825557" y="5440"/>
                </a:cubicBezTo>
                <a:close/>
                <a:moveTo>
                  <a:pt x="989353" y="1086"/>
                </a:moveTo>
                <a:cubicBezTo>
                  <a:pt x="1013297" y="1086"/>
                  <a:pt x="1032343" y="21220"/>
                  <a:pt x="1032343" y="43532"/>
                </a:cubicBezTo>
                <a:cubicBezTo>
                  <a:pt x="1032887" y="66931"/>
                  <a:pt x="1012753" y="88698"/>
                  <a:pt x="989897" y="87610"/>
                </a:cubicBezTo>
                <a:cubicBezTo>
                  <a:pt x="967042" y="88698"/>
                  <a:pt x="945819" y="65843"/>
                  <a:pt x="945819" y="44620"/>
                </a:cubicBezTo>
                <a:cubicBezTo>
                  <a:pt x="945819" y="23941"/>
                  <a:pt x="964321" y="1086"/>
                  <a:pt x="989353" y="1086"/>
                </a:cubicBezTo>
                <a:close/>
                <a:moveTo>
                  <a:pt x="1614056" y="0"/>
                </a:moveTo>
                <a:lnTo>
                  <a:pt x="1675529" y="0"/>
                </a:lnTo>
                <a:lnTo>
                  <a:pt x="1682905" y="4720"/>
                </a:lnTo>
                <a:lnTo>
                  <a:pt x="1933639" y="4720"/>
                </a:lnTo>
                <a:cubicBezTo>
                  <a:pt x="1966059" y="4720"/>
                  <a:pt x="1995409" y="17861"/>
                  <a:pt x="2016655" y="39107"/>
                </a:cubicBezTo>
                <a:lnTo>
                  <a:pt x="2028934" y="57318"/>
                </a:lnTo>
                <a:lnTo>
                  <a:pt x="2026008" y="71108"/>
                </a:lnTo>
                <a:cubicBezTo>
                  <a:pt x="2023832" y="74917"/>
                  <a:pt x="2026552" y="77094"/>
                  <a:pt x="2030906" y="75461"/>
                </a:cubicBezTo>
                <a:lnTo>
                  <a:pt x="2039929" y="73627"/>
                </a:lnTo>
                <a:lnTo>
                  <a:pt x="2041815" y="76424"/>
                </a:lnTo>
                <a:cubicBezTo>
                  <a:pt x="2047756" y="90470"/>
                  <a:pt x="2051041" y="105912"/>
                  <a:pt x="2051041" y="122122"/>
                </a:cubicBezTo>
                <a:lnTo>
                  <a:pt x="2051041" y="186473"/>
                </a:lnTo>
                <a:lnTo>
                  <a:pt x="2029818" y="186473"/>
                </a:lnTo>
                <a:cubicBezTo>
                  <a:pt x="2023832" y="184297"/>
                  <a:pt x="2022743" y="185929"/>
                  <a:pt x="2023287" y="192459"/>
                </a:cubicBezTo>
                <a:cubicBezTo>
                  <a:pt x="2023287" y="193548"/>
                  <a:pt x="2023287" y="195180"/>
                  <a:pt x="2023832" y="196268"/>
                </a:cubicBezTo>
                <a:cubicBezTo>
                  <a:pt x="2028185" y="210961"/>
                  <a:pt x="2026008" y="225110"/>
                  <a:pt x="2019478" y="239258"/>
                </a:cubicBezTo>
                <a:cubicBezTo>
                  <a:pt x="2018934" y="240347"/>
                  <a:pt x="2019478" y="241979"/>
                  <a:pt x="2020022" y="242523"/>
                </a:cubicBezTo>
                <a:cubicBezTo>
                  <a:pt x="2020566" y="243067"/>
                  <a:pt x="2022743" y="243612"/>
                  <a:pt x="2023287" y="243067"/>
                </a:cubicBezTo>
                <a:cubicBezTo>
                  <a:pt x="2032266" y="238986"/>
                  <a:pt x="2041245" y="237082"/>
                  <a:pt x="2050224" y="237150"/>
                </a:cubicBezTo>
                <a:lnTo>
                  <a:pt x="2051041" y="237329"/>
                </a:lnTo>
                <a:lnTo>
                  <a:pt x="2051041" y="348996"/>
                </a:lnTo>
                <a:lnTo>
                  <a:pt x="2036552" y="347754"/>
                </a:lnTo>
                <a:cubicBezTo>
                  <a:pt x="2031178" y="346733"/>
                  <a:pt x="2026009" y="344829"/>
                  <a:pt x="2021111" y="341019"/>
                </a:cubicBezTo>
                <a:cubicBezTo>
                  <a:pt x="2020022" y="339931"/>
                  <a:pt x="2018390" y="339387"/>
                  <a:pt x="2016757" y="338842"/>
                </a:cubicBezTo>
                <a:cubicBezTo>
                  <a:pt x="2016757" y="340475"/>
                  <a:pt x="2016757" y="343196"/>
                  <a:pt x="2017301" y="344284"/>
                </a:cubicBezTo>
                <a:cubicBezTo>
                  <a:pt x="2022743" y="354079"/>
                  <a:pt x="2026008" y="364419"/>
                  <a:pt x="2025464" y="376391"/>
                </a:cubicBezTo>
                <a:cubicBezTo>
                  <a:pt x="2024376" y="398702"/>
                  <a:pt x="2014580" y="413939"/>
                  <a:pt x="1994446" y="424278"/>
                </a:cubicBezTo>
                <a:cubicBezTo>
                  <a:pt x="1972135" y="435706"/>
                  <a:pt x="1950912" y="431352"/>
                  <a:pt x="1933498" y="416115"/>
                </a:cubicBezTo>
                <a:cubicBezTo>
                  <a:pt x="1917173" y="401967"/>
                  <a:pt x="1908466" y="378567"/>
                  <a:pt x="1920438" y="352447"/>
                </a:cubicBezTo>
                <a:cubicBezTo>
                  <a:pt x="1922615" y="348093"/>
                  <a:pt x="1923703" y="343196"/>
                  <a:pt x="1925336" y="338298"/>
                </a:cubicBezTo>
                <a:cubicBezTo>
                  <a:pt x="1920982" y="339931"/>
                  <a:pt x="1916085" y="341563"/>
                  <a:pt x="1911731" y="343196"/>
                </a:cubicBezTo>
                <a:cubicBezTo>
                  <a:pt x="1907378" y="344828"/>
                  <a:pt x="1903024" y="347005"/>
                  <a:pt x="1898671" y="347005"/>
                </a:cubicBezTo>
                <a:cubicBezTo>
                  <a:pt x="1882890" y="348638"/>
                  <a:pt x="1867653" y="348638"/>
                  <a:pt x="1854593" y="336666"/>
                </a:cubicBezTo>
                <a:lnTo>
                  <a:pt x="1847690" y="333480"/>
                </a:lnTo>
                <a:lnTo>
                  <a:pt x="1852961" y="344461"/>
                </a:lnTo>
                <a:cubicBezTo>
                  <a:pt x="1868742" y="372214"/>
                  <a:pt x="1855137" y="408674"/>
                  <a:pt x="1826840" y="420646"/>
                </a:cubicBezTo>
                <a:cubicBezTo>
                  <a:pt x="1803441" y="430985"/>
                  <a:pt x="1777864" y="422278"/>
                  <a:pt x="1765893" y="408130"/>
                </a:cubicBezTo>
                <a:cubicBezTo>
                  <a:pt x="1749567" y="388539"/>
                  <a:pt x="1744126" y="368405"/>
                  <a:pt x="1759362" y="342829"/>
                </a:cubicBezTo>
                <a:cubicBezTo>
                  <a:pt x="1771199" y="322422"/>
                  <a:pt x="1795584" y="313341"/>
                  <a:pt x="1815991" y="317193"/>
                </a:cubicBezTo>
                <a:cubicBezTo>
                  <a:pt x="1822793" y="318477"/>
                  <a:pt x="1829153" y="321198"/>
                  <a:pt x="1834459" y="325415"/>
                </a:cubicBezTo>
                <a:lnTo>
                  <a:pt x="1845023" y="330169"/>
                </a:lnTo>
                <a:lnTo>
                  <a:pt x="1840444" y="321429"/>
                </a:lnTo>
                <a:cubicBezTo>
                  <a:pt x="1831193" y="306736"/>
                  <a:pt x="1832282" y="290955"/>
                  <a:pt x="1834458" y="275174"/>
                </a:cubicBezTo>
                <a:cubicBezTo>
                  <a:pt x="1835002" y="269732"/>
                  <a:pt x="1838812" y="265379"/>
                  <a:pt x="1840988" y="259937"/>
                </a:cubicBezTo>
                <a:cubicBezTo>
                  <a:pt x="1841533" y="258849"/>
                  <a:pt x="1842077" y="257216"/>
                  <a:pt x="1842077" y="255584"/>
                </a:cubicBezTo>
                <a:cubicBezTo>
                  <a:pt x="1840444" y="256128"/>
                  <a:pt x="1838812" y="256672"/>
                  <a:pt x="1837723" y="257216"/>
                </a:cubicBezTo>
                <a:cubicBezTo>
                  <a:pt x="1831193" y="259937"/>
                  <a:pt x="1824663" y="263746"/>
                  <a:pt x="1817589" y="264834"/>
                </a:cubicBezTo>
                <a:cubicBezTo>
                  <a:pt x="1799631" y="268100"/>
                  <a:pt x="1782762" y="264290"/>
                  <a:pt x="1768069" y="251774"/>
                </a:cubicBezTo>
                <a:lnTo>
                  <a:pt x="1764740" y="250110"/>
                </a:lnTo>
                <a:lnTo>
                  <a:pt x="1773510" y="267189"/>
                </a:lnTo>
                <a:cubicBezTo>
                  <a:pt x="1786571" y="292765"/>
                  <a:pt x="1773510" y="323239"/>
                  <a:pt x="1750655" y="336843"/>
                </a:cubicBezTo>
                <a:cubicBezTo>
                  <a:pt x="1721270" y="354257"/>
                  <a:pt x="1685354" y="337388"/>
                  <a:pt x="1673926" y="310723"/>
                </a:cubicBezTo>
                <a:cubicBezTo>
                  <a:pt x="1664675" y="289500"/>
                  <a:pt x="1669029" y="271542"/>
                  <a:pt x="1681545" y="254673"/>
                </a:cubicBezTo>
                <a:cubicBezTo>
                  <a:pt x="1694605" y="237803"/>
                  <a:pt x="1712563" y="231817"/>
                  <a:pt x="1733786" y="235083"/>
                </a:cubicBezTo>
                <a:cubicBezTo>
                  <a:pt x="1739771" y="236171"/>
                  <a:pt x="1745757" y="239980"/>
                  <a:pt x="1751743" y="242157"/>
                </a:cubicBezTo>
                <a:lnTo>
                  <a:pt x="1762506" y="246769"/>
                </a:lnTo>
                <a:lnTo>
                  <a:pt x="1757185" y="236537"/>
                </a:lnTo>
                <a:cubicBezTo>
                  <a:pt x="1747934" y="219668"/>
                  <a:pt x="1747390" y="203343"/>
                  <a:pt x="1756097" y="185929"/>
                </a:cubicBezTo>
                <a:cubicBezTo>
                  <a:pt x="1757185" y="183752"/>
                  <a:pt x="1756641" y="180487"/>
                  <a:pt x="1757185" y="177766"/>
                </a:cubicBezTo>
                <a:cubicBezTo>
                  <a:pt x="1754464" y="177766"/>
                  <a:pt x="1751199" y="177222"/>
                  <a:pt x="1749023" y="178311"/>
                </a:cubicBezTo>
                <a:cubicBezTo>
                  <a:pt x="1722358" y="193003"/>
                  <a:pt x="1688075" y="178855"/>
                  <a:pt x="1676103" y="154911"/>
                </a:cubicBezTo>
                <a:cubicBezTo>
                  <a:pt x="1665220" y="133688"/>
                  <a:pt x="1667396" y="113554"/>
                  <a:pt x="1681001" y="94507"/>
                </a:cubicBezTo>
                <a:lnTo>
                  <a:pt x="1685681" y="85147"/>
                </a:lnTo>
                <a:lnTo>
                  <a:pt x="1693517" y="82536"/>
                </a:lnTo>
                <a:cubicBezTo>
                  <a:pt x="1710930" y="71108"/>
                  <a:pt x="1728888" y="71108"/>
                  <a:pt x="1747934" y="77638"/>
                </a:cubicBezTo>
                <a:cubicBezTo>
                  <a:pt x="1750655" y="78726"/>
                  <a:pt x="1753920" y="78726"/>
                  <a:pt x="1756641" y="79271"/>
                </a:cubicBezTo>
                <a:cubicBezTo>
                  <a:pt x="1756097" y="76550"/>
                  <a:pt x="1755553" y="74373"/>
                  <a:pt x="1754464" y="71652"/>
                </a:cubicBezTo>
                <a:cubicBezTo>
                  <a:pt x="1753920" y="70564"/>
                  <a:pt x="1753376" y="69475"/>
                  <a:pt x="1752832" y="68387"/>
                </a:cubicBezTo>
                <a:cubicBezTo>
                  <a:pt x="1747934" y="52062"/>
                  <a:pt x="1747390" y="35737"/>
                  <a:pt x="1756097" y="20500"/>
                </a:cubicBezTo>
                <a:cubicBezTo>
                  <a:pt x="1756641" y="19411"/>
                  <a:pt x="1757185" y="16690"/>
                  <a:pt x="1756641" y="16146"/>
                </a:cubicBezTo>
                <a:cubicBezTo>
                  <a:pt x="1755553" y="15058"/>
                  <a:pt x="1753376" y="14514"/>
                  <a:pt x="1751744" y="15058"/>
                </a:cubicBezTo>
                <a:cubicBezTo>
                  <a:pt x="1747934" y="16146"/>
                  <a:pt x="1744669" y="19411"/>
                  <a:pt x="1741404" y="19955"/>
                </a:cubicBezTo>
                <a:cubicBezTo>
                  <a:pt x="1724535" y="21588"/>
                  <a:pt x="1707121" y="23765"/>
                  <a:pt x="1691884" y="11249"/>
                </a:cubicBezTo>
                <a:lnTo>
                  <a:pt x="1685645" y="8369"/>
                </a:lnTo>
                <a:lnTo>
                  <a:pt x="1688620" y="14691"/>
                </a:lnTo>
                <a:cubicBezTo>
                  <a:pt x="1700048" y="32648"/>
                  <a:pt x="1700048" y="50606"/>
                  <a:pt x="1691885" y="69652"/>
                </a:cubicBezTo>
                <a:lnTo>
                  <a:pt x="1684469" y="82365"/>
                </a:lnTo>
                <a:lnTo>
                  <a:pt x="1663044" y="94684"/>
                </a:lnTo>
                <a:cubicBezTo>
                  <a:pt x="1651072" y="101759"/>
                  <a:pt x="1638556" y="100126"/>
                  <a:pt x="1626584" y="96861"/>
                </a:cubicBezTo>
                <a:cubicBezTo>
                  <a:pt x="1608082" y="91419"/>
                  <a:pt x="1595566" y="78359"/>
                  <a:pt x="1590124" y="60401"/>
                </a:cubicBezTo>
                <a:cubicBezTo>
                  <a:pt x="1586315" y="48974"/>
                  <a:pt x="1586315" y="37002"/>
                  <a:pt x="1591757" y="25030"/>
                </a:cubicBezTo>
                <a:close/>
                <a:moveTo>
                  <a:pt x="1460066" y="0"/>
                </a:moveTo>
                <a:lnTo>
                  <a:pt x="1498513" y="0"/>
                </a:lnTo>
                <a:lnTo>
                  <a:pt x="1517204" y="8092"/>
                </a:lnTo>
                <a:cubicBezTo>
                  <a:pt x="1526183" y="17411"/>
                  <a:pt x="1531352" y="30199"/>
                  <a:pt x="1531896" y="45164"/>
                </a:cubicBezTo>
                <a:cubicBezTo>
                  <a:pt x="1532985" y="71829"/>
                  <a:pt x="1505776" y="97949"/>
                  <a:pt x="1479111" y="97949"/>
                </a:cubicBezTo>
                <a:cubicBezTo>
                  <a:pt x="1451902" y="97949"/>
                  <a:pt x="1425238" y="71829"/>
                  <a:pt x="1426870" y="45164"/>
                </a:cubicBezTo>
                <a:cubicBezTo>
                  <a:pt x="1427687" y="29655"/>
                  <a:pt x="1432720" y="16867"/>
                  <a:pt x="1441631" y="7684"/>
                </a:cubicBezTo>
                <a:close/>
                <a:moveTo>
                  <a:pt x="1296749" y="0"/>
                </a:moveTo>
                <a:lnTo>
                  <a:pt x="1335755" y="0"/>
                </a:lnTo>
                <a:lnTo>
                  <a:pt x="1350278" y="10270"/>
                </a:lnTo>
                <a:cubicBezTo>
                  <a:pt x="1359937" y="19861"/>
                  <a:pt x="1366467" y="32649"/>
                  <a:pt x="1365923" y="45165"/>
                </a:cubicBezTo>
                <a:cubicBezTo>
                  <a:pt x="1364291" y="71829"/>
                  <a:pt x="1343068" y="93052"/>
                  <a:pt x="1315315" y="93052"/>
                </a:cubicBezTo>
                <a:cubicBezTo>
                  <a:pt x="1290283" y="95229"/>
                  <a:pt x="1266339" y="69109"/>
                  <a:pt x="1266339" y="44076"/>
                </a:cubicBezTo>
                <a:cubicBezTo>
                  <a:pt x="1266339" y="30472"/>
                  <a:pt x="1273141" y="18228"/>
                  <a:pt x="1282732" y="9317"/>
                </a:cubicBezTo>
                <a:close/>
                <a:moveTo>
                  <a:pt x="1148085" y="0"/>
                </a:moveTo>
                <a:lnTo>
                  <a:pt x="1161802" y="0"/>
                </a:lnTo>
                <a:lnTo>
                  <a:pt x="1169637" y="1315"/>
                </a:lnTo>
                <a:cubicBezTo>
                  <a:pt x="1186447" y="8432"/>
                  <a:pt x="1199813" y="26798"/>
                  <a:pt x="1199405" y="45164"/>
                </a:cubicBezTo>
                <a:cubicBezTo>
                  <a:pt x="1198861" y="69652"/>
                  <a:pt x="1175462" y="93596"/>
                  <a:pt x="1151518" y="91419"/>
                </a:cubicBezTo>
                <a:cubicBezTo>
                  <a:pt x="1123765" y="88154"/>
                  <a:pt x="1109072" y="72373"/>
                  <a:pt x="1105807" y="44620"/>
                </a:cubicBezTo>
                <a:cubicBezTo>
                  <a:pt x="1107440" y="30472"/>
                  <a:pt x="1111657" y="19588"/>
                  <a:pt x="1119139" y="11902"/>
                </a:cubicBezTo>
                <a:close/>
              </a:path>
            </a:pathLst>
          </a:custGeom>
          <a:solidFill>
            <a:srgbClr val="9AA8C5">
              <a:alpha val="17000"/>
            </a:srgbClr>
          </a:solidFill>
          <a:ln w="5432" cap="flat">
            <a:noFill/>
            <a:prstDash val="solid"/>
            <a:miter/>
          </a:ln>
        </p:spPr>
        <p:txBody>
          <a:bodyPr rtlCol="0" anchor="ctr"/>
          <a:lstStyle/>
          <a:p>
            <a:endParaRPr lang="en-IN"/>
          </a:p>
        </p:txBody>
      </p:sp>
    </p:spTree>
    <p:extLst>
      <p:ext uri="{BB962C8B-B14F-4D97-AF65-F5344CB8AC3E}">
        <p14:creationId xmlns:p14="http://schemas.microsoft.com/office/powerpoint/2010/main" val="312594408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le and Char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8B91886-2244-4386-8185-E6E1DC1AE65E}"/>
              </a:ext>
            </a:extLst>
          </p:cNvPr>
          <p:cNvGraphicFramePr>
            <a:graphicFrameLocks noChangeAspect="1"/>
          </p:cNvGraphicFramePr>
          <p:nvPr>
            <p:custDataLst>
              <p:tags r:id="rId1"/>
            </p:custDataLst>
            <p:extLst>
              <p:ext uri="{D42A27DB-BD31-4B8C-83A1-F6EECF244321}">
                <p14:modId xmlns:p14="http://schemas.microsoft.com/office/powerpoint/2010/main" val="38657881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0" imgH="393" progId="TCLayout.ActiveDocument.1">
                  <p:embed/>
                </p:oleObj>
              </mc:Choice>
              <mc:Fallback>
                <p:oleObj name="think-cell Slide" r:id="rId3" imgW="400" imgH="393" progId="TCLayout.ActiveDocument.1">
                  <p:embed/>
                  <p:pic>
                    <p:nvPicPr>
                      <p:cNvPr id="3" name="Object 2" hidden="1">
                        <a:extLst>
                          <a:ext uri="{FF2B5EF4-FFF2-40B4-BE49-F238E27FC236}">
                            <a16:creationId xmlns:a16="http://schemas.microsoft.com/office/drawing/2014/main" id="{48B91886-2244-4386-8185-E6E1DC1AE65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Title 11">
            <a:extLst>
              <a:ext uri="{FF2B5EF4-FFF2-40B4-BE49-F238E27FC236}">
                <a16:creationId xmlns:a16="http://schemas.microsoft.com/office/drawing/2014/main" id="{6FC780B6-C0E4-8E40-A1A2-1720BE0E65A5}"/>
              </a:ext>
            </a:extLst>
          </p:cNvPr>
          <p:cNvSpPr>
            <a:spLocks noGrp="1"/>
          </p:cNvSpPr>
          <p:nvPr>
            <p:ph type="title" hasCustomPrompt="1"/>
          </p:nvPr>
        </p:nvSpPr>
        <p:spPr>
          <a:xfrm>
            <a:off x="464908" y="185817"/>
            <a:ext cx="10515600" cy="608663"/>
          </a:xfrm>
          <a:prstGeom prst="rect">
            <a:avLst/>
          </a:prstGeom>
        </p:spPr>
        <p:txBody>
          <a:bodyPr vert="horz" lIns="0" tIns="0" rIns="0" bIns="0" rtlCol="0" anchor="ctr">
            <a:normAutofit/>
          </a:bodyPr>
          <a:lstStyle>
            <a:lvl1pPr>
              <a:defRPr lang="en-US" sz="2600" dirty="0">
                <a:solidFill>
                  <a:srgbClr val="334D8B"/>
                </a:solidFill>
              </a:defRPr>
            </a:lvl1pPr>
          </a:lstStyle>
          <a:p>
            <a:pPr lvl="0"/>
            <a:r>
              <a:rPr lang="en-US"/>
              <a:t>Write your Heading here</a:t>
            </a:r>
          </a:p>
        </p:txBody>
      </p:sp>
      <p:sp>
        <p:nvSpPr>
          <p:cNvPr id="13" name="Chart Placeholder 12">
            <a:extLst>
              <a:ext uri="{FF2B5EF4-FFF2-40B4-BE49-F238E27FC236}">
                <a16:creationId xmlns:a16="http://schemas.microsoft.com/office/drawing/2014/main" id="{06CDE94D-758F-ED49-B473-C1EB67784FD8}"/>
              </a:ext>
            </a:extLst>
          </p:cNvPr>
          <p:cNvSpPr>
            <a:spLocks noGrp="1"/>
          </p:cNvSpPr>
          <p:nvPr>
            <p:ph type="chart" sz="quarter" idx="13"/>
          </p:nvPr>
        </p:nvSpPr>
        <p:spPr>
          <a:xfrm>
            <a:off x="6122349" y="1328531"/>
            <a:ext cx="4767262" cy="4452596"/>
          </a:xfrm>
          <a:prstGeom prst="rect">
            <a:avLst/>
          </a:prstGeom>
          <a:ln>
            <a:solidFill>
              <a:schemeClr val="bg1">
                <a:lumMod val="85000"/>
                <a:alpha val="39059"/>
              </a:schemeClr>
            </a:solidFill>
          </a:ln>
        </p:spPr>
        <p:txBody>
          <a:bodyPr/>
          <a:lstStyle/>
          <a:p>
            <a:r>
              <a:rPr lang="en-US"/>
              <a:t>Click icon to add chart</a:t>
            </a:r>
            <a:endParaRPr lang="en-GB"/>
          </a:p>
        </p:txBody>
      </p:sp>
      <p:sp>
        <p:nvSpPr>
          <p:cNvPr id="14" name="Text Placeholder 3">
            <a:extLst>
              <a:ext uri="{FF2B5EF4-FFF2-40B4-BE49-F238E27FC236}">
                <a16:creationId xmlns:a16="http://schemas.microsoft.com/office/drawing/2014/main" id="{12ABF4BD-ED98-634B-98A9-AB97EFA168DA}"/>
              </a:ext>
            </a:extLst>
          </p:cNvPr>
          <p:cNvSpPr>
            <a:spLocks noGrp="1"/>
          </p:cNvSpPr>
          <p:nvPr>
            <p:ph type="body" sz="half" idx="2"/>
          </p:nvPr>
        </p:nvSpPr>
        <p:spPr>
          <a:xfrm>
            <a:off x="464908" y="1328531"/>
            <a:ext cx="5561165" cy="4452596"/>
          </a:xfrm>
          <a:prstGeom prst="rect">
            <a:avLst/>
          </a:prstGeom>
        </p:spPr>
        <p:txBody>
          <a:bodyPr vert="horz" lIns="0" tIns="0" rIns="0" bIns="0" rtlCol="0">
            <a:normAutofit/>
          </a:bodyPr>
          <a:lstStyle>
            <a:lvl1pPr>
              <a:buClr>
                <a:schemeClr val="accent3"/>
              </a:buClr>
              <a:defRPr lang="en-GB" dirty="0"/>
            </a:lvl1pPr>
          </a:lstStyle>
          <a:p>
            <a:pPr lvl="0"/>
            <a:r>
              <a:rPr lang="en-US"/>
              <a:t>Click to edit Master text styles</a:t>
            </a:r>
          </a:p>
        </p:txBody>
      </p:sp>
      <p:sp>
        <p:nvSpPr>
          <p:cNvPr id="15" name="Slide Number Placeholder 5">
            <a:extLst>
              <a:ext uri="{FF2B5EF4-FFF2-40B4-BE49-F238E27FC236}">
                <a16:creationId xmlns:a16="http://schemas.microsoft.com/office/drawing/2014/main" id="{6000956B-E6E8-4343-9763-900FDA8C3B74}"/>
              </a:ext>
            </a:extLst>
          </p:cNvPr>
          <p:cNvSpPr txBox="1">
            <a:spLocks/>
          </p:cNvSpPr>
          <p:nvPr userDrawn="1"/>
        </p:nvSpPr>
        <p:spPr>
          <a:xfrm>
            <a:off x="11373135" y="6506785"/>
            <a:ext cx="609600" cy="261610"/>
          </a:xfrm>
          <a:prstGeom prst="rect">
            <a:avLst/>
          </a:prstGeom>
          <a:noFill/>
        </p:spPr>
        <p:txBody>
          <a:bodyPr>
            <a:spAutoFit/>
          </a:bodyPr>
          <a:lstStyle>
            <a:defPPr>
              <a:defRPr lang="en-US"/>
            </a:defPPr>
            <a:lvl1pPr marL="0" algn="ctr" defTabSz="914400" rtl="0" eaLnBrk="1" latinLnBrk="0" hangingPunct="1">
              <a:defRPr lang="en-US" sz="1800" kern="1200" smtClean="0">
                <a:solidFill>
                  <a:schemeClr val="bg1"/>
                </a:solidFill>
                <a:latin typeface="Tahoma" pitchFamily="34" charset="0"/>
                <a:ea typeface="Tahoma" pitchFamily="34" charset="0"/>
                <a:cs typeface="Tahoma"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fld id="{3413C1ED-5599-4BB6-878F-244F2E6B8E4A}" type="slidenum">
              <a:rPr lang="en-IN" sz="1100">
                <a:solidFill>
                  <a:prstClr val="black">
                    <a:lumMod val="50000"/>
                    <a:lumOff val="50000"/>
                  </a:prstClr>
                </a:solidFill>
              </a:rPr>
              <a:pPr fontAlgn="auto">
                <a:spcBef>
                  <a:spcPts val="0"/>
                </a:spcBef>
                <a:spcAft>
                  <a:spcPts val="0"/>
                </a:spcAft>
                <a:defRPr/>
              </a:pPr>
              <a:t>‹#›</a:t>
            </a:fld>
            <a:endParaRPr lang="en-IN" sz="1100">
              <a:solidFill>
                <a:prstClr val="black">
                  <a:lumMod val="50000"/>
                  <a:lumOff val="50000"/>
                </a:prstClr>
              </a:solidFill>
            </a:endParaRPr>
          </a:p>
        </p:txBody>
      </p:sp>
      <p:pic>
        <p:nvPicPr>
          <p:cNvPr id="16" name="Picture 15">
            <a:extLst>
              <a:ext uri="{FF2B5EF4-FFF2-40B4-BE49-F238E27FC236}">
                <a16:creationId xmlns:a16="http://schemas.microsoft.com/office/drawing/2014/main" id="{A8A274E8-0848-4D28-A0F4-83103D4317AF}"/>
              </a:ext>
            </a:extLst>
          </p:cNvPr>
          <p:cNvPicPr>
            <a:picLocks noChangeAspect="1"/>
          </p:cNvPicPr>
          <p:nvPr userDrawn="1"/>
        </p:nvPicPr>
        <p:blipFill>
          <a:blip r:embed="rId5"/>
          <a:stretch>
            <a:fillRect/>
          </a:stretch>
        </p:blipFill>
        <p:spPr>
          <a:xfrm>
            <a:off x="464908" y="6506785"/>
            <a:ext cx="1148260" cy="138938"/>
          </a:xfrm>
          <a:prstGeom prst="rect">
            <a:avLst/>
          </a:prstGeom>
        </p:spPr>
      </p:pic>
      <p:sp>
        <p:nvSpPr>
          <p:cNvPr id="17" name="Freeform: Shape 14">
            <a:extLst>
              <a:ext uri="{FF2B5EF4-FFF2-40B4-BE49-F238E27FC236}">
                <a16:creationId xmlns:a16="http://schemas.microsoft.com/office/drawing/2014/main" id="{40C9CA9A-1D79-4B90-BFAC-69B1BEDBA4E3}"/>
              </a:ext>
            </a:extLst>
          </p:cNvPr>
          <p:cNvSpPr/>
          <p:nvPr userDrawn="1"/>
        </p:nvSpPr>
        <p:spPr>
          <a:xfrm rot="5400000" flipH="1">
            <a:off x="10650813" y="-6388"/>
            <a:ext cx="1528833" cy="1553542"/>
          </a:xfrm>
          <a:custGeom>
            <a:avLst/>
            <a:gdLst>
              <a:gd name="connsiteX0" fmla="*/ 2051041 w 2051041"/>
              <a:gd name="connsiteY0" fmla="*/ 2080382 h 2084191"/>
              <a:gd name="connsiteX1" fmla="*/ 2051041 w 2051041"/>
              <a:gd name="connsiteY1" fmla="*/ 2083967 h 2084191"/>
              <a:gd name="connsiteX2" fmla="*/ 2047231 w 2051041"/>
              <a:gd name="connsiteY2" fmla="*/ 2084191 h 2084191"/>
              <a:gd name="connsiteX3" fmla="*/ 2045599 w 2051041"/>
              <a:gd name="connsiteY3" fmla="*/ 2081470 h 2084191"/>
              <a:gd name="connsiteX4" fmla="*/ 1478568 w 2051041"/>
              <a:gd name="connsiteY4" fmla="*/ 1997668 h 2084191"/>
              <a:gd name="connsiteX5" fmla="*/ 1484554 w 2051041"/>
              <a:gd name="connsiteY5" fmla="*/ 2004743 h 2084191"/>
              <a:gd name="connsiteX6" fmla="*/ 1478568 w 2051041"/>
              <a:gd name="connsiteY6" fmla="*/ 2009096 h 2084191"/>
              <a:gd name="connsiteX7" fmla="*/ 1473126 w 2051041"/>
              <a:gd name="connsiteY7" fmla="*/ 2003654 h 2084191"/>
              <a:gd name="connsiteX8" fmla="*/ 1478568 w 2051041"/>
              <a:gd name="connsiteY8" fmla="*/ 1997668 h 2084191"/>
              <a:gd name="connsiteX9" fmla="*/ 1641820 w 2051041"/>
              <a:gd name="connsiteY9" fmla="*/ 1993859 h 2084191"/>
              <a:gd name="connsiteX10" fmla="*/ 1652160 w 2051041"/>
              <a:gd name="connsiteY10" fmla="*/ 2003654 h 2084191"/>
              <a:gd name="connsiteX11" fmla="*/ 1641820 w 2051041"/>
              <a:gd name="connsiteY11" fmla="*/ 2013449 h 2084191"/>
              <a:gd name="connsiteX12" fmla="*/ 1632025 w 2051041"/>
              <a:gd name="connsiteY12" fmla="*/ 2003654 h 2084191"/>
              <a:gd name="connsiteX13" fmla="*/ 1641820 w 2051041"/>
              <a:gd name="connsiteY13" fmla="*/ 1993859 h 2084191"/>
              <a:gd name="connsiteX14" fmla="*/ 1969414 w 2051041"/>
              <a:gd name="connsiteY14" fmla="*/ 1992226 h 2084191"/>
              <a:gd name="connsiteX15" fmla="*/ 1979753 w 2051041"/>
              <a:gd name="connsiteY15" fmla="*/ 2003654 h 2084191"/>
              <a:gd name="connsiteX16" fmla="*/ 1968325 w 2051041"/>
              <a:gd name="connsiteY16" fmla="*/ 2014537 h 2084191"/>
              <a:gd name="connsiteX17" fmla="*/ 1957986 w 2051041"/>
              <a:gd name="connsiteY17" fmla="*/ 2003110 h 2084191"/>
              <a:gd name="connsiteX18" fmla="*/ 1969414 w 2051041"/>
              <a:gd name="connsiteY18" fmla="*/ 1992226 h 2084191"/>
              <a:gd name="connsiteX19" fmla="*/ 1805073 w 2051041"/>
              <a:gd name="connsiteY19" fmla="*/ 1992226 h 2084191"/>
              <a:gd name="connsiteX20" fmla="*/ 1815956 w 2051041"/>
              <a:gd name="connsiteY20" fmla="*/ 2002565 h 2084191"/>
              <a:gd name="connsiteX21" fmla="*/ 1805073 w 2051041"/>
              <a:gd name="connsiteY21" fmla="*/ 2014537 h 2084191"/>
              <a:gd name="connsiteX22" fmla="*/ 1794189 w 2051041"/>
              <a:gd name="connsiteY22" fmla="*/ 2004198 h 2084191"/>
              <a:gd name="connsiteX23" fmla="*/ 1805073 w 2051041"/>
              <a:gd name="connsiteY23" fmla="*/ 1992226 h 2084191"/>
              <a:gd name="connsiteX24" fmla="*/ 1234233 w 2051041"/>
              <a:gd name="connsiteY24" fmla="*/ 1916042 h 2084191"/>
              <a:gd name="connsiteX25" fmla="*/ 1240219 w 2051041"/>
              <a:gd name="connsiteY25" fmla="*/ 1923660 h 2084191"/>
              <a:gd name="connsiteX26" fmla="*/ 1236953 w 2051041"/>
              <a:gd name="connsiteY26" fmla="*/ 1926381 h 2084191"/>
              <a:gd name="connsiteX27" fmla="*/ 1229335 w 2051041"/>
              <a:gd name="connsiteY27" fmla="*/ 1918762 h 2084191"/>
              <a:gd name="connsiteX28" fmla="*/ 1234233 w 2051041"/>
              <a:gd name="connsiteY28" fmla="*/ 1916042 h 2084191"/>
              <a:gd name="connsiteX29" fmla="*/ 1397486 w 2051041"/>
              <a:gd name="connsiteY29" fmla="*/ 1911144 h 2084191"/>
              <a:gd name="connsiteX30" fmla="*/ 1408369 w 2051041"/>
              <a:gd name="connsiteY30" fmla="*/ 1921483 h 2084191"/>
              <a:gd name="connsiteX31" fmla="*/ 1399118 w 2051041"/>
              <a:gd name="connsiteY31" fmla="*/ 1931823 h 2084191"/>
              <a:gd name="connsiteX32" fmla="*/ 1387146 w 2051041"/>
              <a:gd name="connsiteY32" fmla="*/ 1922028 h 2084191"/>
              <a:gd name="connsiteX33" fmla="*/ 1397486 w 2051041"/>
              <a:gd name="connsiteY33" fmla="*/ 1911144 h 2084191"/>
              <a:gd name="connsiteX34" fmla="*/ 1560194 w 2051041"/>
              <a:gd name="connsiteY34" fmla="*/ 1906790 h 2084191"/>
              <a:gd name="connsiteX35" fmla="*/ 1574342 w 2051041"/>
              <a:gd name="connsiteY35" fmla="*/ 1921482 h 2084191"/>
              <a:gd name="connsiteX36" fmla="*/ 1560738 w 2051041"/>
              <a:gd name="connsiteY36" fmla="*/ 1935631 h 2084191"/>
              <a:gd name="connsiteX37" fmla="*/ 1547134 w 2051041"/>
              <a:gd name="connsiteY37" fmla="*/ 1922027 h 2084191"/>
              <a:gd name="connsiteX38" fmla="*/ 1560194 w 2051041"/>
              <a:gd name="connsiteY38" fmla="*/ 1906790 h 2084191"/>
              <a:gd name="connsiteX39" fmla="*/ 2049952 w 2051041"/>
              <a:gd name="connsiteY39" fmla="*/ 1905702 h 2084191"/>
              <a:gd name="connsiteX40" fmla="*/ 2051041 w 2051041"/>
              <a:gd name="connsiteY40" fmla="*/ 1906027 h 2084191"/>
              <a:gd name="connsiteX41" fmla="*/ 2051041 w 2051041"/>
              <a:gd name="connsiteY41" fmla="*/ 1938133 h 2084191"/>
              <a:gd name="connsiteX42" fmla="*/ 2050496 w 2051041"/>
              <a:gd name="connsiteY42" fmla="*/ 1938353 h 2084191"/>
              <a:gd name="connsiteX43" fmla="*/ 2034171 w 2051041"/>
              <a:gd name="connsiteY43" fmla="*/ 1922572 h 2084191"/>
              <a:gd name="connsiteX44" fmla="*/ 2049952 w 2051041"/>
              <a:gd name="connsiteY44" fmla="*/ 1905702 h 2084191"/>
              <a:gd name="connsiteX45" fmla="*/ 1723447 w 2051041"/>
              <a:gd name="connsiteY45" fmla="*/ 1905702 h 2084191"/>
              <a:gd name="connsiteX46" fmla="*/ 1739772 w 2051041"/>
              <a:gd name="connsiteY46" fmla="*/ 1920939 h 2084191"/>
              <a:gd name="connsiteX47" fmla="*/ 1724535 w 2051041"/>
              <a:gd name="connsiteY47" fmla="*/ 1937264 h 2084191"/>
              <a:gd name="connsiteX48" fmla="*/ 1708210 w 2051041"/>
              <a:gd name="connsiteY48" fmla="*/ 1922027 h 2084191"/>
              <a:gd name="connsiteX49" fmla="*/ 1723447 w 2051041"/>
              <a:gd name="connsiteY49" fmla="*/ 1905702 h 2084191"/>
              <a:gd name="connsiteX50" fmla="*/ 1887787 w 2051041"/>
              <a:gd name="connsiteY50" fmla="*/ 1905158 h 2084191"/>
              <a:gd name="connsiteX51" fmla="*/ 1904113 w 2051041"/>
              <a:gd name="connsiteY51" fmla="*/ 1922028 h 2084191"/>
              <a:gd name="connsiteX52" fmla="*/ 1886699 w 2051041"/>
              <a:gd name="connsiteY52" fmla="*/ 1937809 h 2084191"/>
              <a:gd name="connsiteX53" fmla="*/ 1870918 w 2051041"/>
              <a:gd name="connsiteY53" fmla="*/ 1921483 h 2084191"/>
              <a:gd name="connsiteX54" fmla="*/ 1887787 w 2051041"/>
              <a:gd name="connsiteY54" fmla="*/ 1905158 h 2084191"/>
              <a:gd name="connsiteX55" fmla="*/ 1152606 w 2051041"/>
              <a:gd name="connsiteY55" fmla="*/ 1831693 h 2084191"/>
              <a:gd name="connsiteX56" fmla="*/ 1161313 w 2051041"/>
              <a:gd name="connsiteY56" fmla="*/ 1839312 h 2084191"/>
              <a:gd name="connsiteX57" fmla="*/ 1153694 w 2051041"/>
              <a:gd name="connsiteY57" fmla="*/ 1852916 h 2084191"/>
              <a:gd name="connsiteX58" fmla="*/ 1144988 w 2051041"/>
              <a:gd name="connsiteY58" fmla="*/ 1841489 h 2084191"/>
              <a:gd name="connsiteX59" fmla="*/ 1152606 w 2051041"/>
              <a:gd name="connsiteY59" fmla="*/ 1831693 h 2084191"/>
              <a:gd name="connsiteX60" fmla="*/ 1315315 w 2051041"/>
              <a:gd name="connsiteY60" fmla="*/ 1825708 h 2084191"/>
              <a:gd name="connsiteX61" fmla="*/ 1330552 w 2051041"/>
              <a:gd name="connsiteY61" fmla="*/ 1840401 h 2084191"/>
              <a:gd name="connsiteX62" fmla="*/ 1316404 w 2051041"/>
              <a:gd name="connsiteY62" fmla="*/ 1854549 h 2084191"/>
              <a:gd name="connsiteX63" fmla="*/ 1301711 w 2051041"/>
              <a:gd name="connsiteY63" fmla="*/ 1840945 h 2084191"/>
              <a:gd name="connsiteX64" fmla="*/ 1315315 w 2051041"/>
              <a:gd name="connsiteY64" fmla="*/ 1825708 h 2084191"/>
              <a:gd name="connsiteX65" fmla="*/ 1479656 w 2051041"/>
              <a:gd name="connsiteY65" fmla="*/ 1822987 h 2084191"/>
              <a:gd name="connsiteX66" fmla="*/ 1495981 w 2051041"/>
              <a:gd name="connsiteY66" fmla="*/ 1840401 h 2084191"/>
              <a:gd name="connsiteX67" fmla="*/ 1478567 w 2051041"/>
              <a:gd name="connsiteY67" fmla="*/ 1856182 h 2084191"/>
              <a:gd name="connsiteX68" fmla="*/ 1462242 w 2051041"/>
              <a:gd name="connsiteY68" fmla="*/ 1839312 h 2084191"/>
              <a:gd name="connsiteX69" fmla="*/ 1479656 w 2051041"/>
              <a:gd name="connsiteY69" fmla="*/ 1822987 h 2084191"/>
              <a:gd name="connsiteX70" fmla="*/ 1642365 w 2051041"/>
              <a:gd name="connsiteY70" fmla="*/ 1821355 h 2084191"/>
              <a:gd name="connsiteX71" fmla="*/ 1660867 w 2051041"/>
              <a:gd name="connsiteY71" fmla="*/ 1840401 h 2084191"/>
              <a:gd name="connsiteX72" fmla="*/ 1642365 w 2051041"/>
              <a:gd name="connsiteY72" fmla="*/ 1857270 h 2084191"/>
              <a:gd name="connsiteX73" fmla="*/ 1624407 w 2051041"/>
              <a:gd name="connsiteY73" fmla="*/ 1839857 h 2084191"/>
              <a:gd name="connsiteX74" fmla="*/ 1642365 w 2051041"/>
              <a:gd name="connsiteY74" fmla="*/ 1821355 h 2084191"/>
              <a:gd name="connsiteX75" fmla="*/ 1806162 w 2051041"/>
              <a:gd name="connsiteY75" fmla="*/ 1819723 h 2084191"/>
              <a:gd name="connsiteX76" fmla="*/ 1826840 w 2051041"/>
              <a:gd name="connsiteY76" fmla="*/ 1840945 h 2084191"/>
              <a:gd name="connsiteX77" fmla="*/ 1804529 w 2051041"/>
              <a:gd name="connsiteY77" fmla="*/ 1861080 h 2084191"/>
              <a:gd name="connsiteX78" fmla="*/ 1784395 w 2051041"/>
              <a:gd name="connsiteY78" fmla="*/ 1839313 h 2084191"/>
              <a:gd name="connsiteX79" fmla="*/ 1806162 w 2051041"/>
              <a:gd name="connsiteY79" fmla="*/ 1819723 h 2084191"/>
              <a:gd name="connsiteX80" fmla="*/ 1968870 w 2051041"/>
              <a:gd name="connsiteY80" fmla="*/ 1819178 h 2084191"/>
              <a:gd name="connsiteX81" fmla="*/ 1990093 w 2051041"/>
              <a:gd name="connsiteY81" fmla="*/ 1840401 h 2084191"/>
              <a:gd name="connsiteX82" fmla="*/ 1968870 w 2051041"/>
              <a:gd name="connsiteY82" fmla="*/ 1861624 h 2084191"/>
              <a:gd name="connsiteX83" fmla="*/ 1947647 w 2051041"/>
              <a:gd name="connsiteY83" fmla="*/ 1840401 h 2084191"/>
              <a:gd name="connsiteX84" fmla="*/ 1968870 w 2051041"/>
              <a:gd name="connsiteY84" fmla="*/ 1819178 h 2084191"/>
              <a:gd name="connsiteX85" fmla="*/ 1070436 w 2051041"/>
              <a:gd name="connsiteY85" fmla="*/ 1747347 h 2084191"/>
              <a:gd name="connsiteX86" fmla="*/ 1081863 w 2051041"/>
              <a:gd name="connsiteY86" fmla="*/ 1758231 h 2084191"/>
              <a:gd name="connsiteX87" fmla="*/ 1070980 w 2051041"/>
              <a:gd name="connsiteY87" fmla="*/ 1769658 h 2084191"/>
              <a:gd name="connsiteX88" fmla="*/ 1059552 w 2051041"/>
              <a:gd name="connsiteY88" fmla="*/ 1758775 h 2084191"/>
              <a:gd name="connsiteX89" fmla="*/ 1070436 w 2051041"/>
              <a:gd name="connsiteY89" fmla="*/ 1747347 h 2084191"/>
              <a:gd name="connsiteX90" fmla="*/ 1233688 w 2051041"/>
              <a:gd name="connsiteY90" fmla="*/ 1742449 h 2084191"/>
              <a:gd name="connsiteX91" fmla="*/ 1250558 w 2051041"/>
              <a:gd name="connsiteY91" fmla="*/ 1758774 h 2084191"/>
              <a:gd name="connsiteX92" fmla="*/ 1233688 w 2051041"/>
              <a:gd name="connsiteY92" fmla="*/ 1775099 h 2084191"/>
              <a:gd name="connsiteX93" fmla="*/ 1217907 w 2051041"/>
              <a:gd name="connsiteY93" fmla="*/ 1759318 h 2084191"/>
              <a:gd name="connsiteX94" fmla="*/ 1233688 w 2051041"/>
              <a:gd name="connsiteY94" fmla="*/ 1742449 h 2084191"/>
              <a:gd name="connsiteX95" fmla="*/ 1399662 w 2051041"/>
              <a:gd name="connsiteY95" fmla="*/ 1739728 h 2084191"/>
              <a:gd name="connsiteX96" fmla="*/ 1417076 w 2051041"/>
              <a:gd name="connsiteY96" fmla="*/ 1760407 h 2084191"/>
              <a:gd name="connsiteX97" fmla="*/ 1396941 w 2051041"/>
              <a:gd name="connsiteY97" fmla="*/ 1779453 h 2084191"/>
              <a:gd name="connsiteX98" fmla="*/ 1377895 w 2051041"/>
              <a:gd name="connsiteY98" fmla="*/ 1757686 h 2084191"/>
              <a:gd name="connsiteX99" fmla="*/ 1399662 w 2051041"/>
              <a:gd name="connsiteY99" fmla="*/ 1739728 h 2084191"/>
              <a:gd name="connsiteX100" fmla="*/ 1723991 w 2051041"/>
              <a:gd name="connsiteY100" fmla="*/ 1735919 h 2084191"/>
              <a:gd name="connsiteX101" fmla="*/ 1746847 w 2051041"/>
              <a:gd name="connsiteY101" fmla="*/ 1758774 h 2084191"/>
              <a:gd name="connsiteX102" fmla="*/ 1723991 w 2051041"/>
              <a:gd name="connsiteY102" fmla="*/ 1781086 h 2084191"/>
              <a:gd name="connsiteX103" fmla="*/ 1701680 w 2051041"/>
              <a:gd name="connsiteY103" fmla="*/ 1758774 h 2084191"/>
              <a:gd name="connsiteX104" fmla="*/ 1723991 w 2051041"/>
              <a:gd name="connsiteY104" fmla="*/ 1735919 h 2084191"/>
              <a:gd name="connsiteX105" fmla="*/ 1560194 w 2051041"/>
              <a:gd name="connsiteY105" fmla="*/ 1735919 h 2084191"/>
              <a:gd name="connsiteX106" fmla="*/ 1582505 w 2051041"/>
              <a:gd name="connsiteY106" fmla="*/ 1758230 h 2084191"/>
              <a:gd name="connsiteX107" fmla="*/ 1560738 w 2051041"/>
              <a:gd name="connsiteY107" fmla="*/ 1779997 h 2084191"/>
              <a:gd name="connsiteX108" fmla="*/ 1538427 w 2051041"/>
              <a:gd name="connsiteY108" fmla="*/ 1758230 h 2084191"/>
              <a:gd name="connsiteX109" fmla="*/ 1560194 w 2051041"/>
              <a:gd name="connsiteY109" fmla="*/ 1735919 h 2084191"/>
              <a:gd name="connsiteX110" fmla="*/ 2051041 w 2051041"/>
              <a:gd name="connsiteY110" fmla="*/ 1734831 h 2084191"/>
              <a:gd name="connsiteX111" fmla="*/ 2051041 w 2051041"/>
              <a:gd name="connsiteY111" fmla="*/ 1781438 h 2084191"/>
              <a:gd name="connsiteX112" fmla="*/ 2050496 w 2051041"/>
              <a:gd name="connsiteY112" fmla="*/ 1781630 h 2084191"/>
              <a:gd name="connsiteX113" fmla="*/ 2027097 w 2051041"/>
              <a:gd name="connsiteY113" fmla="*/ 1758775 h 2084191"/>
              <a:gd name="connsiteX114" fmla="*/ 2051041 w 2051041"/>
              <a:gd name="connsiteY114" fmla="*/ 1734831 h 2084191"/>
              <a:gd name="connsiteX115" fmla="*/ 1887788 w 2051041"/>
              <a:gd name="connsiteY115" fmla="*/ 1734831 h 2084191"/>
              <a:gd name="connsiteX116" fmla="*/ 1910099 w 2051041"/>
              <a:gd name="connsiteY116" fmla="*/ 1758775 h 2084191"/>
              <a:gd name="connsiteX117" fmla="*/ 1886699 w 2051041"/>
              <a:gd name="connsiteY117" fmla="*/ 1781086 h 2084191"/>
              <a:gd name="connsiteX118" fmla="*/ 1863844 w 2051041"/>
              <a:gd name="connsiteY118" fmla="*/ 1757687 h 2084191"/>
              <a:gd name="connsiteX119" fmla="*/ 1887788 w 2051041"/>
              <a:gd name="connsiteY119" fmla="*/ 1734831 h 2084191"/>
              <a:gd name="connsiteX120" fmla="*/ 826100 w 2051041"/>
              <a:gd name="connsiteY120" fmla="*/ 1671706 h 2084191"/>
              <a:gd name="connsiteX121" fmla="*/ 832086 w 2051041"/>
              <a:gd name="connsiteY121" fmla="*/ 1677692 h 2084191"/>
              <a:gd name="connsiteX122" fmla="*/ 825556 w 2051041"/>
              <a:gd name="connsiteY122" fmla="*/ 1683134 h 2084191"/>
              <a:gd name="connsiteX123" fmla="*/ 820658 w 2051041"/>
              <a:gd name="connsiteY123" fmla="*/ 1676603 h 2084191"/>
              <a:gd name="connsiteX124" fmla="*/ 826100 w 2051041"/>
              <a:gd name="connsiteY124" fmla="*/ 1671706 h 2084191"/>
              <a:gd name="connsiteX125" fmla="*/ 989354 w 2051041"/>
              <a:gd name="connsiteY125" fmla="*/ 1661912 h 2084191"/>
              <a:gd name="connsiteX126" fmla="*/ 1004046 w 2051041"/>
              <a:gd name="connsiteY126" fmla="*/ 1676604 h 2084191"/>
              <a:gd name="connsiteX127" fmla="*/ 989354 w 2051041"/>
              <a:gd name="connsiteY127" fmla="*/ 1690209 h 2084191"/>
              <a:gd name="connsiteX128" fmla="*/ 975205 w 2051041"/>
              <a:gd name="connsiteY128" fmla="*/ 1677693 h 2084191"/>
              <a:gd name="connsiteX129" fmla="*/ 989354 w 2051041"/>
              <a:gd name="connsiteY129" fmla="*/ 1661912 h 2084191"/>
              <a:gd name="connsiteX130" fmla="*/ 1153151 w 2051041"/>
              <a:gd name="connsiteY130" fmla="*/ 1659734 h 2084191"/>
              <a:gd name="connsiteX131" fmla="*/ 1170564 w 2051041"/>
              <a:gd name="connsiteY131" fmla="*/ 1677692 h 2084191"/>
              <a:gd name="connsiteX132" fmla="*/ 1152062 w 2051041"/>
              <a:gd name="connsiteY132" fmla="*/ 1694562 h 2084191"/>
              <a:gd name="connsiteX133" fmla="*/ 1135737 w 2051041"/>
              <a:gd name="connsiteY133" fmla="*/ 1677148 h 2084191"/>
              <a:gd name="connsiteX134" fmla="*/ 1153151 w 2051041"/>
              <a:gd name="connsiteY134" fmla="*/ 1659734 h 2084191"/>
              <a:gd name="connsiteX135" fmla="*/ 1315315 w 2051041"/>
              <a:gd name="connsiteY135" fmla="*/ 1655381 h 2084191"/>
              <a:gd name="connsiteX136" fmla="*/ 1337082 w 2051041"/>
              <a:gd name="connsiteY136" fmla="*/ 1676603 h 2084191"/>
              <a:gd name="connsiteX137" fmla="*/ 1315315 w 2051041"/>
              <a:gd name="connsiteY137" fmla="*/ 1698915 h 2084191"/>
              <a:gd name="connsiteX138" fmla="*/ 1294092 w 2051041"/>
              <a:gd name="connsiteY138" fmla="*/ 1677148 h 2084191"/>
              <a:gd name="connsiteX139" fmla="*/ 1315315 w 2051041"/>
              <a:gd name="connsiteY139" fmla="*/ 1655381 h 2084191"/>
              <a:gd name="connsiteX140" fmla="*/ 1479111 w 2051041"/>
              <a:gd name="connsiteY140" fmla="*/ 1654293 h 2084191"/>
              <a:gd name="connsiteX141" fmla="*/ 1501967 w 2051041"/>
              <a:gd name="connsiteY141" fmla="*/ 1677692 h 2084191"/>
              <a:gd name="connsiteX142" fmla="*/ 1479111 w 2051041"/>
              <a:gd name="connsiteY142" fmla="*/ 1700548 h 2084191"/>
              <a:gd name="connsiteX143" fmla="*/ 1455712 w 2051041"/>
              <a:gd name="connsiteY143" fmla="*/ 1676604 h 2084191"/>
              <a:gd name="connsiteX144" fmla="*/ 1479111 w 2051041"/>
              <a:gd name="connsiteY144" fmla="*/ 1654293 h 2084191"/>
              <a:gd name="connsiteX145" fmla="*/ 1643452 w 2051041"/>
              <a:gd name="connsiteY145" fmla="*/ 1650483 h 2084191"/>
              <a:gd name="connsiteX146" fmla="*/ 1668484 w 2051041"/>
              <a:gd name="connsiteY146" fmla="*/ 1676603 h 2084191"/>
              <a:gd name="connsiteX147" fmla="*/ 1643452 w 2051041"/>
              <a:gd name="connsiteY147" fmla="*/ 1703268 h 2084191"/>
              <a:gd name="connsiteX148" fmla="*/ 1617332 w 2051041"/>
              <a:gd name="connsiteY148" fmla="*/ 1677692 h 2084191"/>
              <a:gd name="connsiteX149" fmla="*/ 1643452 w 2051041"/>
              <a:gd name="connsiteY149" fmla="*/ 1650483 h 2084191"/>
              <a:gd name="connsiteX150" fmla="*/ 1968326 w 2051041"/>
              <a:gd name="connsiteY150" fmla="*/ 1649940 h 2084191"/>
              <a:gd name="connsiteX151" fmla="*/ 1995535 w 2051041"/>
              <a:gd name="connsiteY151" fmla="*/ 1676604 h 2084191"/>
              <a:gd name="connsiteX152" fmla="*/ 1968870 w 2051041"/>
              <a:gd name="connsiteY152" fmla="*/ 1704357 h 2084191"/>
              <a:gd name="connsiteX153" fmla="*/ 1941661 w 2051041"/>
              <a:gd name="connsiteY153" fmla="*/ 1677148 h 2084191"/>
              <a:gd name="connsiteX154" fmla="*/ 1968326 w 2051041"/>
              <a:gd name="connsiteY154" fmla="*/ 1649940 h 2084191"/>
              <a:gd name="connsiteX155" fmla="*/ 1805617 w 2051041"/>
              <a:gd name="connsiteY155" fmla="*/ 1649939 h 2084191"/>
              <a:gd name="connsiteX156" fmla="*/ 1832826 w 2051041"/>
              <a:gd name="connsiteY156" fmla="*/ 1677148 h 2084191"/>
              <a:gd name="connsiteX157" fmla="*/ 1805073 w 2051041"/>
              <a:gd name="connsiteY157" fmla="*/ 1704357 h 2084191"/>
              <a:gd name="connsiteX158" fmla="*/ 1778409 w 2051041"/>
              <a:gd name="connsiteY158" fmla="*/ 1677148 h 2084191"/>
              <a:gd name="connsiteX159" fmla="*/ 1805617 w 2051041"/>
              <a:gd name="connsiteY159" fmla="*/ 1649939 h 2084191"/>
              <a:gd name="connsiteX160" fmla="*/ 744474 w 2051041"/>
              <a:gd name="connsiteY160" fmla="*/ 1588992 h 2084191"/>
              <a:gd name="connsiteX161" fmla="*/ 751004 w 2051041"/>
              <a:gd name="connsiteY161" fmla="*/ 1594978 h 2084191"/>
              <a:gd name="connsiteX162" fmla="*/ 745562 w 2051041"/>
              <a:gd name="connsiteY162" fmla="*/ 1602052 h 2084191"/>
              <a:gd name="connsiteX163" fmla="*/ 738488 w 2051041"/>
              <a:gd name="connsiteY163" fmla="*/ 1594978 h 2084191"/>
              <a:gd name="connsiteX164" fmla="*/ 744474 w 2051041"/>
              <a:gd name="connsiteY164" fmla="*/ 1588992 h 2084191"/>
              <a:gd name="connsiteX165" fmla="*/ 907183 w 2051041"/>
              <a:gd name="connsiteY165" fmla="*/ 1579741 h 2084191"/>
              <a:gd name="connsiteX166" fmla="*/ 923508 w 2051041"/>
              <a:gd name="connsiteY166" fmla="*/ 1594978 h 2084191"/>
              <a:gd name="connsiteX167" fmla="*/ 908815 w 2051041"/>
              <a:gd name="connsiteY167" fmla="*/ 1610759 h 2084191"/>
              <a:gd name="connsiteX168" fmla="*/ 892490 w 2051041"/>
              <a:gd name="connsiteY168" fmla="*/ 1595522 h 2084191"/>
              <a:gd name="connsiteX169" fmla="*/ 907183 w 2051041"/>
              <a:gd name="connsiteY169" fmla="*/ 1579741 h 2084191"/>
              <a:gd name="connsiteX170" fmla="*/ 1071524 w 2051041"/>
              <a:gd name="connsiteY170" fmla="*/ 1574843 h 2084191"/>
              <a:gd name="connsiteX171" fmla="*/ 1091114 w 2051041"/>
              <a:gd name="connsiteY171" fmla="*/ 1595522 h 2084191"/>
              <a:gd name="connsiteX172" fmla="*/ 1070980 w 2051041"/>
              <a:gd name="connsiteY172" fmla="*/ 1615656 h 2084191"/>
              <a:gd name="connsiteX173" fmla="*/ 1050301 w 2051041"/>
              <a:gd name="connsiteY173" fmla="*/ 1595522 h 2084191"/>
              <a:gd name="connsiteX174" fmla="*/ 1071524 w 2051041"/>
              <a:gd name="connsiteY174" fmla="*/ 1574843 h 2084191"/>
              <a:gd name="connsiteX175" fmla="*/ 1233688 w 2051041"/>
              <a:gd name="connsiteY175" fmla="*/ 1573210 h 2084191"/>
              <a:gd name="connsiteX176" fmla="*/ 1256544 w 2051041"/>
              <a:gd name="connsiteY176" fmla="*/ 1595522 h 2084191"/>
              <a:gd name="connsiteX177" fmla="*/ 1233688 w 2051041"/>
              <a:gd name="connsiteY177" fmla="*/ 1618377 h 2084191"/>
              <a:gd name="connsiteX178" fmla="*/ 1211377 w 2051041"/>
              <a:gd name="connsiteY178" fmla="*/ 1596610 h 2084191"/>
              <a:gd name="connsiteX179" fmla="*/ 1233688 w 2051041"/>
              <a:gd name="connsiteY179" fmla="*/ 1573210 h 2084191"/>
              <a:gd name="connsiteX180" fmla="*/ 1398030 w 2051041"/>
              <a:gd name="connsiteY180" fmla="*/ 1569402 h 2084191"/>
              <a:gd name="connsiteX181" fmla="*/ 1423062 w 2051041"/>
              <a:gd name="connsiteY181" fmla="*/ 1595522 h 2084191"/>
              <a:gd name="connsiteX182" fmla="*/ 1397485 w 2051041"/>
              <a:gd name="connsiteY182" fmla="*/ 1621099 h 2084191"/>
              <a:gd name="connsiteX183" fmla="*/ 1371365 w 2051041"/>
              <a:gd name="connsiteY183" fmla="*/ 1595522 h 2084191"/>
              <a:gd name="connsiteX184" fmla="*/ 1398030 w 2051041"/>
              <a:gd name="connsiteY184" fmla="*/ 1569402 h 2084191"/>
              <a:gd name="connsiteX185" fmla="*/ 1560194 w 2051041"/>
              <a:gd name="connsiteY185" fmla="*/ 1568313 h 2084191"/>
              <a:gd name="connsiteX186" fmla="*/ 1587947 w 2051041"/>
              <a:gd name="connsiteY186" fmla="*/ 1594433 h 2084191"/>
              <a:gd name="connsiteX187" fmla="*/ 1560194 w 2051041"/>
              <a:gd name="connsiteY187" fmla="*/ 1622730 h 2084191"/>
              <a:gd name="connsiteX188" fmla="*/ 1532985 w 2051041"/>
              <a:gd name="connsiteY188" fmla="*/ 1594977 h 2084191"/>
              <a:gd name="connsiteX189" fmla="*/ 1560194 w 2051041"/>
              <a:gd name="connsiteY189" fmla="*/ 1568313 h 2084191"/>
              <a:gd name="connsiteX190" fmla="*/ 1887244 w 2051041"/>
              <a:gd name="connsiteY190" fmla="*/ 1567225 h 2084191"/>
              <a:gd name="connsiteX191" fmla="*/ 1915541 w 2051041"/>
              <a:gd name="connsiteY191" fmla="*/ 1594978 h 2084191"/>
              <a:gd name="connsiteX192" fmla="*/ 1886699 w 2051041"/>
              <a:gd name="connsiteY192" fmla="*/ 1623819 h 2084191"/>
              <a:gd name="connsiteX193" fmla="*/ 1858947 w 2051041"/>
              <a:gd name="connsiteY193" fmla="*/ 1594978 h 2084191"/>
              <a:gd name="connsiteX194" fmla="*/ 1887244 w 2051041"/>
              <a:gd name="connsiteY194" fmla="*/ 1567225 h 2084191"/>
              <a:gd name="connsiteX195" fmla="*/ 1724535 w 2051041"/>
              <a:gd name="connsiteY195" fmla="*/ 1567225 h 2084191"/>
              <a:gd name="connsiteX196" fmla="*/ 1752288 w 2051041"/>
              <a:gd name="connsiteY196" fmla="*/ 1594978 h 2084191"/>
              <a:gd name="connsiteX197" fmla="*/ 1724535 w 2051041"/>
              <a:gd name="connsiteY197" fmla="*/ 1623275 h 2084191"/>
              <a:gd name="connsiteX198" fmla="*/ 1696238 w 2051041"/>
              <a:gd name="connsiteY198" fmla="*/ 1594978 h 2084191"/>
              <a:gd name="connsiteX199" fmla="*/ 1724535 w 2051041"/>
              <a:gd name="connsiteY199" fmla="*/ 1567225 h 2084191"/>
              <a:gd name="connsiteX200" fmla="*/ 2050496 w 2051041"/>
              <a:gd name="connsiteY200" fmla="*/ 1566680 h 2084191"/>
              <a:gd name="connsiteX201" fmla="*/ 2051041 w 2051041"/>
              <a:gd name="connsiteY201" fmla="*/ 1566888 h 2084191"/>
              <a:gd name="connsiteX202" fmla="*/ 2051041 w 2051041"/>
              <a:gd name="connsiteY202" fmla="*/ 1623794 h 2084191"/>
              <a:gd name="connsiteX203" fmla="*/ 2049408 w 2051041"/>
              <a:gd name="connsiteY203" fmla="*/ 1624363 h 2084191"/>
              <a:gd name="connsiteX204" fmla="*/ 2021655 w 2051041"/>
              <a:gd name="connsiteY204" fmla="*/ 1594977 h 2084191"/>
              <a:gd name="connsiteX205" fmla="*/ 2050496 w 2051041"/>
              <a:gd name="connsiteY205" fmla="*/ 1566680 h 2084191"/>
              <a:gd name="connsiteX206" fmla="*/ 663392 w 2051041"/>
              <a:gd name="connsiteY206" fmla="*/ 1505188 h 2084191"/>
              <a:gd name="connsiteX207" fmla="*/ 674819 w 2051041"/>
              <a:gd name="connsiteY207" fmla="*/ 1513895 h 2084191"/>
              <a:gd name="connsiteX208" fmla="*/ 662848 w 2051041"/>
              <a:gd name="connsiteY208" fmla="*/ 1522058 h 2084191"/>
              <a:gd name="connsiteX209" fmla="*/ 654685 w 2051041"/>
              <a:gd name="connsiteY209" fmla="*/ 1513351 h 2084191"/>
              <a:gd name="connsiteX210" fmla="*/ 663392 w 2051041"/>
              <a:gd name="connsiteY210" fmla="*/ 1505188 h 2084191"/>
              <a:gd name="connsiteX211" fmla="*/ 826101 w 2051041"/>
              <a:gd name="connsiteY211" fmla="*/ 1497570 h 2084191"/>
              <a:gd name="connsiteX212" fmla="*/ 842970 w 2051041"/>
              <a:gd name="connsiteY212" fmla="*/ 1513351 h 2084191"/>
              <a:gd name="connsiteX213" fmla="*/ 826645 w 2051041"/>
              <a:gd name="connsiteY213" fmla="*/ 1529676 h 2084191"/>
              <a:gd name="connsiteX214" fmla="*/ 810319 w 2051041"/>
              <a:gd name="connsiteY214" fmla="*/ 1514983 h 2084191"/>
              <a:gd name="connsiteX215" fmla="*/ 826101 w 2051041"/>
              <a:gd name="connsiteY215" fmla="*/ 1497570 h 2084191"/>
              <a:gd name="connsiteX216" fmla="*/ 988265 w 2051041"/>
              <a:gd name="connsiteY216" fmla="*/ 1492128 h 2084191"/>
              <a:gd name="connsiteX217" fmla="*/ 1010577 w 2051041"/>
              <a:gd name="connsiteY217" fmla="*/ 1513351 h 2084191"/>
              <a:gd name="connsiteX218" fmla="*/ 989354 w 2051041"/>
              <a:gd name="connsiteY218" fmla="*/ 1534574 h 2084191"/>
              <a:gd name="connsiteX219" fmla="*/ 968131 w 2051041"/>
              <a:gd name="connsiteY219" fmla="*/ 1513895 h 2084191"/>
              <a:gd name="connsiteX220" fmla="*/ 988265 w 2051041"/>
              <a:gd name="connsiteY220" fmla="*/ 1492128 h 2084191"/>
              <a:gd name="connsiteX221" fmla="*/ 1152606 w 2051041"/>
              <a:gd name="connsiteY221" fmla="*/ 1490496 h 2084191"/>
              <a:gd name="connsiteX222" fmla="*/ 1176006 w 2051041"/>
              <a:gd name="connsiteY222" fmla="*/ 1513351 h 2084191"/>
              <a:gd name="connsiteX223" fmla="*/ 1152606 w 2051041"/>
              <a:gd name="connsiteY223" fmla="*/ 1537839 h 2084191"/>
              <a:gd name="connsiteX224" fmla="*/ 1129207 w 2051041"/>
              <a:gd name="connsiteY224" fmla="*/ 1514984 h 2084191"/>
              <a:gd name="connsiteX225" fmla="*/ 1152606 w 2051041"/>
              <a:gd name="connsiteY225" fmla="*/ 1490496 h 2084191"/>
              <a:gd name="connsiteX226" fmla="*/ 1316403 w 2051041"/>
              <a:gd name="connsiteY226" fmla="*/ 1487231 h 2084191"/>
              <a:gd name="connsiteX227" fmla="*/ 1342523 w 2051041"/>
              <a:gd name="connsiteY227" fmla="*/ 1513896 h 2084191"/>
              <a:gd name="connsiteX228" fmla="*/ 1315314 w 2051041"/>
              <a:gd name="connsiteY228" fmla="*/ 1540560 h 2084191"/>
              <a:gd name="connsiteX229" fmla="*/ 1288650 w 2051041"/>
              <a:gd name="connsiteY229" fmla="*/ 1513896 h 2084191"/>
              <a:gd name="connsiteX230" fmla="*/ 1316403 w 2051041"/>
              <a:gd name="connsiteY230" fmla="*/ 1487231 h 2084191"/>
              <a:gd name="connsiteX231" fmla="*/ 1479656 w 2051041"/>
              <a:gd name="connsiteY231" fmla="*/ 1485054 h 2084191"/>
              <a:gd name="connsiteX232" fmla="*/ 1507409 w 2051041"/>
              <a:gd name="connsiteY232" fmla="*/ 1513895 h 2084191"/>
              <a:gd name="connsiteX233" fmla="*/ 1479112 w 2051041"/>
              <a:gd name="connsiteY233" fmla="*/ 1541648 h 2084191"/>
              <a:gd name="connsiteX234" fmla="*/ 1451359 w 2051041"/>
              <a:gd name="connsiteY234" fmla="*/ 1513351 h 2084191"/>
              <a:gd name="connsiteX235" fmla="*/ 1479656 w 2051041"/>
              <a:gd name="connsiteY235" fmla="*/ 1485054 h 2084191"/>
              <a:gd name="connsiteX236" fmla="*/ 1641820 w 2051041"/>
              <a:gd name="connsiteY236" fmla="*/ 1482334 h 2084191"/>
              <a:gd name="connsiteX237" fmla="*/ 1673382 w 2051041"/>
              <a:gd name="connsiteY237" fmla="*/ 1512807 h 2084191"/>
              <a:gd name="connsiteX238" fmla="*/ 1642909 w 2051041"/>
              <a:gd name="connsiteY238" fmla="*/ 1544370 h 2084191"/>
              <a:gd name="connsiteX239" fmla="*/ 1612435 w 2051041"/>
              <a:gd name="connsiteY239" fmla="*/ 1513351 h 2084191"/>
              <a:gd name="connsiteX240" fmla="*/ 1641820 w 2051041"/>
              <a:gd name="connsiteY240" fmla="*/ 1482334 h 2084191"/>
              <a:gd name="connsiteX241" fmla="*/ 1804529 w 2051041"/>
              <a:gd name="connsiteY241" fmla="*/ 1481788 h 2084191"/>
              <a:gd name="connsiteX242" fmla="*/ 1837180 w 2051041"/>
              <a:gd name="connsiteY242" fmla="*/ 1513351 h 2084191"/>
              <a:gd name="connsiteX243" fmla="*/ 1805617 w 2051041"/>
              <a:gd name="connsiteY243" fmla="*/ 1545457 h 2084191"/>
              <a:gd name="connsiteX244" fmla="*/ 1773511 w 2051041"/>
              <a:gd name="connsiteY244" fmla="*/ 1514983 h 2084191"/>
              <a:gd name="connsiteX245" fmla="*/ 1804529 w 2051041"/>
              <a:gd name="connsiteY245" fmla="*/ 1481788 h 2084191"/>
              <a:gd name="connsiteX246" fmla="*/ 1968870 w 2051041"/>
              <a:gd name="connsiteY246" fmla="*/ 1480700 h 2084191"/>
              <a:gd name="connsiteX247" fmla="*/ 2000977 w 2051041"/>
              <a:gd name="connsiteY247" fmla="*/ 1513351 h 2084191"/>
              <a:gd name="connsiteX248" fmla="*/ 1968870 w 2051041"/>
              <a:gd name="connsiteY248" fmla="*/ 1545457 h 2084191"/>
              <a:gd name="connsiteX249" fmla="*/ 1936764 w 2051041"/>
              <a:gd name="connsiteY249" fmla="*/ 1513351 h 2084191"/>
              <a:gd name="connsiteX250" fmla="*/ 1968870 w 2051041"/>
              <a:gd name="connsiteY250" fmla="*/ 1480700 h 2084191"/>
              <a:gd name="connsiteX251" fmla="*/ 581221 w 2051041"/>
              <a:gd name="connsiteY251" fmla="*/ 1423562 h 2084191"/>
              <a:gd name="connsiteX252" fmla="*/ 588840 w 2051041"/>
              <a:gd name="connsiteY252" fmla="*/ 1431725 h 2084191"/>
              <a:gd name="connsiteX253" fmla="*/ 581765 w 2051041"/>
              <a:gd name="connsiteY253" fmla="*/ 1443153 h 2084191"/>
              <a:gd name="connsiteX254" fmla="*/ 573059 w 2051041"/>
              <a:gd name="connsiteY254" fmla="*/ 1432813 h 2084191"/>
              <a:gd name="connsiteX255" fmla="*/ 581221 w 2051041"/>
              <a:gd name="connsiteY255" fmla="*/ 1423562 h 2084191"/>
              <a:gd name="connsiteX256" fmla="*/ 745562 w 2051041"/>
              <a:gd name="connsiteY256" fmla="*/ 1414855 h 2084191"/>
              <a:gd name="connsiteX257" fmla="*/ 761344 w 2051041"/>
              <a:gd name="connsiteY257" fmla="*/ 1432269 h 2084191"/>
              <a:gd name="connsiteX258" fmla="*/ 745018 w 2051041"/>
              <a:gd name="connsiteY258" fmla="*/ 1448050 h 2084191"/>
              <a:gd name="connsiteX259" fmla="*/ 728693 w 2051041"/>
              <a:gd name="connsiteY259" fmla="*/ 1431725 h 2084191"/>
              <a:gd name="connsiteX260" fmla="*/ 745562 w 2051041"/>
              <a:gd name="connsiteY260" fmla="*/ 1414855 h 2084191"/>
              <a:gd name="connsiteX261" fmla="*/ 908815 w 2051041"/>
              <a:gd name="connsiteY261" fmla="*/ 1409958 h 2084191"/>
              <a:gd name="connsiteX262" fmla="*/ 930038 w 2051041"/>
              <a:gd name="connsiteY262" fmla="*/ 1431725 h 2084191"/>
              <a:gd name="connsiteX263" fmla="*/ 907183 w 2051041"/>
              <a:gd name="connsiteY263" fmla="*/ 1453492 h 2084191"/>
              <a:gd name="connsiteX264" fmla="*/ 885960 w 2051041"/>
              <a:gd name="connsiteY264" fmla="*/ 1431725 h 2084191"/>
              <a:gd name="connsiteX265" fmla="*/ 908815 w 2051041"/>
              <a:gd name="connsiteY265" fmla="*/ 1409958 h 2084191"/>
              <a:gd name="connsiteX266" fmla="*/ 1070436 w 2051041"/>
              <a:gd name="connsiteY266" fmla="*/ 1406693 h 2084191"/>
              <a:gd name="connsiteX267" fmla="*/ 1096012 w 2051041"/>
              <a:gd name="connsiteY267" fmla="*/ 1432269 h 2084191"/>
              <a:gd name="connsiteX268" fmla="*/ 1070436 w 2051041"/>
              <a:gd name="connsiteY268" fmla="*/ 1457846 h 2084191"/>
              <a:gd name="connsiteX269" fmla="*/ 1045404 w 2051041"/>
              <a:gd name="connsiteY269" fmla="*/ 1431181 h 2084191"/>
              <a:gd name="connsiteX270" fmla="*/ 1070436 w 2051041"/>
              <a:gd name="connsiteY270" fmla="*/ 1406693 h 2084191"/>
              <a:gd name="connsiteX271" fmla="*/ 1235865 w 2051041"/>
              <a:gd name="connsiteY271" fmla="*/ 1404516 h 2084191"/>
              <a:gd name="connsiteX272" fmla="*/ 1261986 w 2051041"/>
              <a:gd name="connsiteY272" fmla="*/ 1433358 h 2084191"/>
              <a:gd name="connsiteX273" fmla="*/ 1233689 w 2051041"/>
              <a:gd name="connsiteY273" fmla="*/ 1459478 h 2084191"/>
              <a:gd name="connsiteX274" fmla="*/ 1206480 w 2051041"/>
              <a:gd name="connsiteY274" fmla="*/ 1432269 h 2084191"/>
              <a:gd name="connsiteX275" fmla="*/ 1235865 w 2051041"/>
              <a:gd name="connsiteY275" fmla="*/ 1404516 h 2084191"/>
              <a:gd name="connsiteX276" fmla="*/ 1397485 w 2051041"/>
              <a:gd name="connsiteY276" fmla="*/ 1400162 h 2084191"/>
              <a:gd name="connsiteX277" fmla="*/ 1427959 w 2051041"/>
              <a:gd name="connsiteY277" fmla="*/ 1431724 h 2084191"/>
              <a:gd name="connsiteX278" fmla="*/ 1398029 w 2051041"/>
              <a:gd name="connsiteY278" fmla="*/ 1463287 h 2084191"/>
              <a:gd name="connsiteX279" fmla="*/ 1366467 w 2051041"/>
              <a:gd name="connsiteY279" fmla="*/ 1432813 h 2084191"/>
              <a:gd name="connsiteX280" fmla="*/ 1397485 w 2051041"/>
              <a:gd name="connsiteY280" fmla="*/ 1400162 h 2084191"/>
              <a:gd name="connsiteX281" fmla="*/ 1561282 w 2051041"/>
              <a:gd name="connsiteY281" fmla="*/ 1399618 h 2084191"/>
              <a:gd name="connsiteX282" fmla="*/ 1593388 w 2051041"/>
              <a:gd name="connsiteY282" fmla="*/ 1432269 h 2084191"/>
              <a:gd name="connsiteX283" fmla="*/ 1560738 w 2051041"/>
              <a:gd name="connsiteY283" fmla="*/ 1464375 h 2084191"/>
              <a:gd name="connsiteX284" fmla="*/ 1528631 w 2051041"/>
              <a:gd name="connsiteY284" fmla="*/ 1432813 h 2084191"/>
              <a:gd name="connsiteX285" fmla="*/ 1561282 w 2051041"/>
              <a:gd name="connsiteY285" fmla="*/ 1399618 h 2084191"/>
              <a:gd name="connsiteX286" fmla="*/ 1723446 w 2051041"/>
              <a:gd name="connsiteY286" fmla="*/ 1399074 h 2084191"/>
              <a:gd name="connsiteX287" fmla="*/ 1757185 w 2051041"/>
              <a:gd name="connsiteY287" fmla="*/ 1432269 h 2084191"/>
              <a:gd name="connsiteX288" fmla="*/ 1723991 w 2051041"/>
              <a:gd name="connsiteY288" fmla="*/ 1465464 h 2084191"/>
              <a:gd name="connsiteX289" fmla="*/ 1691340 w 2051041"/>
              <a:gd name="connsiteY289" fmla="*/ 1433357 h 2084191"/>
              <a:gd name="connsiteX290" fmla="*/ 1723446 w 2051041"/>
              <a:gd name="connsiteY290" fmla="*/ 1399074 h 2084191"/>
              <a:gd name="connsiteX291" fmla="*/ 1886700 w 2051041"/>
              <a:gd name="connsiteY291" fmla="*/ 1398530 h 2084191"/>
              <a:gd name="connsiteX292" fmla="*/ 1920439 w 2051041"/>
              <a:gd name="connsiteY292" fmla="*/ 1432269 h 2084191"/>
              <a:gd name="connsiteX293" fmla="*/ 1887788 w 2051041"/>
              <a:gd name="connsiteY293" fmla="*/ 1464920 h 2084191"/>
              <a:gd name="connsiteX294" fmla="*/ 1854049 w 2051041"/>
              <a:gd name="connsiteY294" fmla="*/ 1433358 h 2084191"/>
              <a:gd name="connsiteX295" fmla="*/ 1886700 w 2051041"/>
              <a:gd name="connsiteY295" fmla="*/ 1398530 h 2084191"/>
              <a:gd name="connsiteX296" fmla="*/ 2051041 w 2051041"/>
              <a:gd name="connsiteY296" fmla="*/ 1398217 h 2084191"/>
              <a:gd name="connsiteX297" fmla="*/ 2051041 w 2051041"/>
              <a:gd name="connsiteY297" fmla="*/ 1464535 h 2084191"/>
              <a:gd name="connsiteX298" fmla="*/ 2049953 w 2051041"/>
              <a:gd name="connsiteY298" fmla="*/ 1464920 h 2084191"/>
              <a:gd name="connsiteX299" fmla="*/ 2017302 w 2051041"/>
              <a:gd name="connsiteY299" fmla="*/ 1431725 h 2084191"/>
              <a:gd name="connsiteX300" fmla="*/ 2027709 w 2051041"/>
              <a:gd name="connsiteY300" fmla="*/ 1408121 h 2084191"/>
              <a:gd name="connsiteX301" fmla="*/ 500139 w 2051041"/>
              <a:gd name="connsiteY301" fmla="*/ 1341936 h 2084191"/>
              <a:gd name="connsiteX302" fmla="*/ 511023 w 2051041"/>
              <a:gd name="connsiteY302" fmla="*/ 1350643 h 2084191"/>
              <a:gd name="connsiteX303" fmla="*/ 499595 w 2051041"/>
              <a:gd name="connsiteY303" fmla="*/ 1358261 h 2084191"/>
              <a:gd name="connsiteX304" fmla="*/ 491432 w 2051041"/>
              <a:gd name="connsiteY304" fmla="*/ 1349010 h 2084191"/>
              <a:gd name="connsiteX305" fmla="*/ 500139 w 2051041"/>
              <a:gd name="connsiteY305" fmla="*/ 1341936 h 2084191"/>
              <a:gd name="connsiteX306" fmla="*/ 662848 w 2051041"/>
              <a:gd name="connsiteY306" fmla="*/ 1333773 h 2084191"/>
              <a:gd name="connsiteX307" fmla="*/ 679173 w 2051041"/>
              <a:gd name="connsiteY307" fmla="*/ 1350643 h 2084191"/>
              <a:gd name="connsiteX308" fmla="*/ 662848 w 2051041"/>
              <a:gd name="connsiteY308" fmla="*/ 1366424 h 2084191"/>
              <a:gd name="connsiteX309" fmla="*/ 647067 w 2051041"/>
              <a:gd name="connsiteY309" fmla="*/ 1350098 h 2084191"/>
              <a:gd name="connsiteX310" fmla="*/ 662848 w 2051041"/>
              <a:gd name="connsiteY310" fmla="*/ 1333773 h 2084191"/>
              <a:gd name="connsiteX311" fmla="*/ 826645 w 2051041"/>
              <a:gd name="connsiteY311" fmla="*/ 1328331 h 2084191"/>
              <a:gd name="connsiteX312" fmla="*/ 847868 w 2051041"/>
              <a:gd name="connsiteY312" fmla="*/ 1350642 h 2084191"/>
              <a:gd name="connsiteX313" fmla="*/ 825556 w 2051041"/>
              <a:gd name="connsiteY313" fmla="*/ 1372409 h 2084191"/>
              <a:gd name="connsiteX314" fmla="*/ 804334 w 2051041"/>
              <a:gd name="connsiteY314" fmla="*/ 1349554 h 2084191"/>
              <a:gd name="connsiteX315" fmla="*/ 826645 w 2051041"/>
              <a:gd name="connsiteY315" fmla="*/ 1328331 h 2084191"/>
              <a:gd name="connsiteX316" fmla="*/ 989353 w 2051041"/>
              <a:gd name="connsiteY316" fmla="*/ 1323978 h 2084191"/>
              <a:gd name="connsiteX317" fmla="*/ 1015473 w 2051041"/>
              <a:gd name="connsiteY317" fmla="*/ 1350098 h 2084191"/>
              <a:gd name="connsiteX318" fmla="*/ 989353 w 2051041"/>
              <a:gd name="connsiteY318" fmla="*/ 1376763 h 2084191"/>
              <a:gd name="connsiteX319" fmla="*/ 963777 w 2051041"/>
              <a:gd name="connsiteY319" fmla="*/ 1350642 h 2084191"/>
              <a:gd name="connsiteX320" fmla="*/ 989353 w 2051041"/>
              <a:gd name="connsiteY320" fmla="*/ 1323978 h 2084191"/>
              <a:gd name="connsiteX321" fmla="*/ 1152606 w 2051041"/>
              <a:gd name="connsiteY321" fmla="*/ 1322889 h 2084191"/>
              <a:gd name="connsiteX322" fmla="*/ 1181447 w 2051041"/>
              <a:gd name="connsiteY322" fmla="*/ 1350098 h 2084191"/>
              <a:gd name="connsiteX323" fmla="*/ 1152606 w 2051041"/>
              <a:gd name="connsiteY323" fmla="*/ 1379483 h 2084191"/>
              <a:gd name="connsiteX324" fmla="*/ 1124853 w 2051041"/>
              <a:gd name="connsiteY324" fmla="*/ 1350642 h 2084191"/>
              <a:gd name="connsiteX325" fmla="*/ 1152606 w 2051041"/>
              <a:gd name="connsiteY325" fmla="*/ 1322889 h 2084191"/>
              <a:gd name="connsiteX326" fmla="*/ 1315315 w 2051041"/>
              <a:gd name="connsiteY326" fmla="*/ 1318536 h 2084191"/>
              <a:gd name="connsiteX327" fmla="*/ 1347966 w 2051041"/>
              <a:gd name="connsiteY327" fmla="*/ 1350098 h 2084191"/>
              <a:gd name="connsiteX328" fmla="*/ 1315315 w 2051041"/>
              <a:gd name="connsiteY328" fmla="*/ 1381661 h 2084191"/>
              <a:gd name="connsiteX329" fmla="*/ 1284297 w 2051041"/>
              <a:gd name="connsiteY329" fmla="*/ 1350098 h 2084191"/>
              <a:gd name="connsiteX330" fmla="*/ 1315315 w 2051041"/>
              <a:gd name="connsiteY330" fmla="*/ 1318536 h 2084191"/>
              <a:gd name="connsiteX331" fmla="*/ 1480744 w 2051041"/>
              <a:gd name="connsiteY331" fmla="*/ 1317448 h 2084191"/>
              <a:gd name="connsiteX332" fmla="*/ 1512306 w 2051041"/>
              <a:gd name="connsiteY332" fmla="*/ 1351731 h 2084191"/>
              <a:gd name="connsiteX333" fmla="*/ 1477479 w 2051041"/>
              <a:gd name="connsiteY333" fmla="*/ 1383293 h 2084191"/>
              <a:gd name="connsiteX334" fmla="*/ 1446461 w 2051041"/>
              <a:gd name="connsiteY334" fmla="*/ 1349554 h 2084191"/>
              <a:gd name="connsiteX335" fmla="*/ 1480744 w 2051041"/>
              <a:gd name="connsiteY335" fmla="*/ 1317448 h 2084191"/>
              <a:gd name="connsiteX336" fmla="*/ 1642908 w 2051041"/>
              <a:gd name="connsiteY336" fmla="*/ 1315815 h 2084191"/>
              <a:gd name="connsiteX337" fmla="*/ 1676647 w 2051041"/>
              <a:gd name="connsiteY337" fmla="*/ 1351731 h 2084191"/>
              <a:gd name="connsiteX338" fmla="*/ 1640732 w 2051041"/>
              <a:gd name="connsiteY338" fmla="*/ 1383837 h 2084191"/>
              <a:gd name="connsiteX339" fmla="*/ 1608081 w 2051041"/>
              <a:gd name="connsiteY339" fmla="*/ 1349554 h 2084191"/>
              <a:gd name="connsiteX340" fmla="*/ 1642908 w 2051041"/>
              <a:gd name="connsiteY340" fmla="*/ 1315815 h 2084191"/>
              <a:gd name="connsiteX341" fmla="*/ 1968870 w 2051041"/>
              <a:gd name="connsiteY341" fmla="*/ 1314183 h 2084191"/>
              <a:gd name="connsiteX342" fmla="*/ 2005329 w 2051041"/>
              <a:gd name="connsiteY342" fmla="*/ 1351187 h 2084191"/>
              <a:gd name="connsiteX343" fmla="*/ 1967781 w 2051041"/>
              <a:gd name="connsiteY343" fmla="*/ 1388191 h 2084191"/>
              <a:gd name="connsiteX344" fmla="*/ 1931866 w 2051041"/>
              <a:gd name="connsiteY344" fmla="*/ 1350098 h 2084191"/>
              <a:gd name="connsiteX345" fmla="*/ 1968870 w 2051041"/>
              <a:gd name="connsiteY345" fmla="*/ 1314183 h 2084191"/>
              <a:gd name="connsiteX346" fmla="*/ 1806161 w 2051041"/>
              <a:gd name="connsiteY346" fmla="*/ 1313639 h 2084191"/>
              <a:gd name="connsiteX347" fmla="*/ 1841533 w 2051041"/>
              <a:gd name="connsiteY347" fmla="*/ 1351187 h 2084191"/>
              <a:gd name="connsiteX348" fmla="*/ 1830105 w 2051041"/>
              <a:gd name="connsiteY348" fmla="*/ 1376763 h 2084191"/>
              <a:gd name="connsiteX349" fmla="*/ 1803984 w 2051041"/>
              <a:gd name="connsiteY349" fmla="*/ 1387102 h 2084191"/>
              <a:gd name="connsiteX350" fmla="*/ 1768613 w 2051041"/>
              <a:gd name="connsiteY350" fmla="*/ 1350098 h 2084191"/>
              <a:gd name="connsiteX351" fmla="*/ 1806161 w 2051041"/>
              <a:gd name="connsiteY351" fmla="*/ 1313639 h 2084191"/>
              <a:gd name="connsiteX352" fmla="*/ 419057 w 2051041"/>
              <a:gd name="connsiteY352" fmla="*/ 1262486 h 2084191"/>
              <a:gd name="connsiteX353" fmla="*/ 424499 w 2051041"/>
              <a:gd name="connsiteY353" fmla="*/ 1269016 h 2084191"/>
              <a:gd name="connsiteX354" fmla="*/ 417969 w 2051041"/>
              <a:gd name="connsiteY354" fmla="*/ 1278811 h 2084191"/>
              <a:gd name="connsiteX355" fmla="*/ 411983 w 2051041"/>
              <a:gd name="connsiteY355" fmla="*/ 1269016 h 2084191"/>
              <a:gd name="connsiteX356" fmla="*/ 419057 w 2051041"/>
              <a:gd name="connsiteY356" fmla="*/ 1262486 h 2084191"/>
              <a:gd name="connsiteX357" fmla="*/ 581221 w 2051041"/>
              <a:gd name="connsiteY357" fmla="*/ 1252147 h 2084191"/>
              <a:gd name="connsiteX358" fmla="*/ 597547 w 2051041"/>
              <a:gd name="connsiteY358" fmla="*/ 1269017 h 2084191"/>
              <a:gd name="connsiteX359" fmla="*/ 580133 w 2051041"/>
              <a:gd name="connsiteY359" fmla="*/ 1284254 h 2084191"/>
              <a:gd name="connsiteX360" fmla="*/ 564896 w 2051041"/>
              <a:gd name="connsiteY360" fmla="*/ 1268472 h 2084191"/>
              <a:gd name="connsiteX361" fmla="*/ 581221 w 2051041"/>
              <a:gd name="connsiteY361" fmla="*/ 1252147 h 2084191"/>
              <a:gd name="connsiteX362" fmla="*/ 745018 w 2051041"/>
              <a:gd name="connsiteY362" fmla="*/ 1246705 h 2084191"/>
              <a:gd name="connsiteX363" fmla="*/ 766241 w 2051041"/>
              <a:gd name="connsiteY363" fmla="*/ 1269560 h 2084191"/>
              <a:gd name="connsiteX364" fmla="*/ 744474 w 2051041"/>
              <a:gd name="connsiteY364" fmla="*/ 1290783 h 2084191"/>
              <a:gd name="connsiteX365" fmla="*/ 722707 w 2051041"/>
              <a:gd name="connsiteY365" fmla="*/ 1267928 h 2084191"/>
              <a:gd name="connsiteX366" fmla="*/ 745018 w 2051041"/>
              <a:gd name="connsiteY366" fmla="*/ 1246705 h 2084191"/>
              <a:gd name="connsiteX367" fmla="*/ 907727 w 2051041"/>
              <a:gd name="connsiteY367" fmla="*/ 1241807 h 2084191"/>
              <a:gd name="connsiteX368" fmla="*/ 933847 w 2051041"/>
              <a:gd name="connsiteY368" fmla="*/ 1269016 h 2084191"/>
              <a:gd name="connsiteX369" fmla="*/ 907183 w 2051041"/>
              <a:gd name="connsiteY369" fmla="*/ 1295136 h 2084191"/>
              <a:gd name="connsiteX370" fmla="*/ 880518 w 2051041"/>
              <a:gd name="connsiteY370" fmla="*/ 1267927 h 2084191"/>
              <a:gd name="connsiteX371" fmla="*/ 907727 w 2051041"/>
              <a:gd name="connsiteY371" fmla="*/ 1241807 h 2084191"/>
              <a:gd name="connsiteX372" fmla="*/ 1070979 w 2051041"/>
              <a:gd name="connsiteY372" fmla="*/ 1240719 h 2084191"/>
              <a:gd name="connsiteX373" fmla="*/ 1099821 w 2051041"/>
              <a:gd name="connsiteY373" fmla="*/ 1268472 h 2084191"/>
              <a:gd name="connsiteX374" fmla="*/ 1070435 w 2051041"/>
              <a:gd name="connsiteY374" fmla="*/ 1297858 h 2084191"/>
              <a:gd name="connsiteX375" fmla="*/ 1042138 w 2051041"/>
              <a:gd name="connsiteY375" fmla="*/ 1269560 h 2084191"/>
              <a:gd name="connsiteX376" fmla="*/ 1070979 w 2051041"/>
              <a:gd name="connsiteY376" fmla="*/ 1240719 h 2084191"/>
              <a:gd name="connsiteX377" fmla="*/ 1234233 w 2051041"/>
              <a:gd name="connsiteY377" fmla="*/ 1235821 h 2084191"/>
              <a:gd name="connsiteX378" fmla="*/ 1266883 w 2051041"/>
              <a:gd name="connsiteY378" fmla="*/ 1269016 h 2084191"/>
              <a:gd name="connsiteX379" fmla="*/ 1234233 w 2051041"/>
              <a:gd name="connsiteY379" fmla="*/ 1300578 h 2084191"/>
              <a:gd name="connsiteX380" fmla="*/ 1201582 w 2051041"/>
              <a:gd name="connsiteY380" fmla="*/ 1267383 h 2084191"/>
              <a:gd name="connsiteX381" fmla="*/ 1234233 w 2051041"/>
              <a:gd name="connsiteY381" fmla="*/ 1235821 h 2084191"/>
              <a:gd name="connsiteX382" fmla="*/ 1396397 w 2051041"/>
              <a:gd name="connsiteY382" fmla="*/ 1234733 h 2084191"/>
              <a:gd name="connsiteX383" fmla="*/ 1431224 w 2051041"/>
              <a:gd name="connsiteY383" fmla="*/ 1268472 h 2084191"/>
              <a:gd name="connsiteX384" fmla="*/ 1396941 w 2051041"/>
              <a:gd name="connsiteY384" fmla="*/ 1302755 h 2084191"/>
              <a:gd name="connsiteX385" fmla="*/ 1363746 w 2051041"/>
              <a:gd name="connsiteY385" fmla="*/ 1269016 h 2084191"/>
              <a:gd name="connsiteX386" fmla="*/ 1396397 w 2051041"/>
              <a:gd name="connsiteY386" fmla="*/ 1234733 h 2084191"/>
              <a:gd name="connsiteX387" fmla="*/ 1559649 w 2051041"/>
              <a:gd name="connsiteY387" fmla="*/ 1232557 h 2084191"/>
              <a:gd name="connsiteX388" fmla="*/ 1597742 w 2051041"/>
              <a:gd name="connsiteY388" fmla="*/ 1268472 h 2084191"/>
              <a:gd name="connsiteX389" fmla="*/ 1561826 w 2051041"/>
              <a:gd name="connsiteY389" fmla="*/ 1305476 h 2084191"/>
              <a:gd name="connsiteX390" fmla="*/ 1523734 w 2051041"/>
              <a:gd name="connsiteY390" fmla="*/ 1269561 h 2084191"/>
              <a:gd name="connsiteX391" fmla="*/ 1559649 w 2051041"/>
              <a:gd name="connsiteY391" fmla="*/ 1232557 h 2084191"/>
              <a:gd name="connsiteX392" fmla="*/ 1723990 w 2051041"/>
              <a:gd name="connsiteY392" fmla="*/ 1231468 h 2084191"/>
              <a:gd name="connsiteX393" fmla="*/ 1762083 w 2051041"/>
              <a:gd name="connsiteY393" fmla="*/ 1268472 h 2084191"/>
              <a:gd name="connsiteX394" fmla="*/ 1724535 w 2051041"/>
              <a:gd name="connsiteY394" fmla="*/ 1307109 h 2084191"/>
              <a:gd name="connsiteX395" fmla="*/ 1686442 w 2051041"/>
              <a:gd name="connsiteY395" fmla="*/ 1270105 h 2084191"/>
              <a:gd name="connsiteX396" fmla="*/ 1723990 w 2051041"/>
              <a:gd name="connsiteY396" fmla="*/ 1231468 h 2084191"/>
              <a:gd name="connsiteX397" fmla="*/ 1888332 w 2051041"/>
              <a:gd name="connsiteY397" fmla="*/ 1230924 h 2084191"/>
              <a:gd name="connsiteX398" fmla="*/ 1925336 w 2051041"/>
              <a:gd name="connsiteY398" fmla="*/ 1269561 h 2084191"/>
              <a:gd name="connsiteX399" fmla="*/ 1887243 w 2051041"/>
              <a:gd name="connsiteY399" fmla="*/ 1307653 h 2084191"/>
              <a:gd name="connsiteX400" fmla="*/ 1849151 w 2051041"/>
              <a:gd name="connsiteY400" fmla="*/ 1267928 h 2084191"/>
              <a:gd name="connsiteX401" fmla="*/ 1888332 w 2051041"/>
              <a:gd name="connsiteY401" fmla="*/ 1230924 h 2084191"/>
              <a:gd name="connsiteX402" fmla="*/ 2049952 w 2051041"/>
              <a:gd name="connsiteY402" fmla="*/ 1230380 h 2084191"/>
              <a:gd name="connsiteX403" fmla="*/ 2051041 w 2051041"/>
              <a:gd name="connsiteY403" fmla="*/ 1230805 h 2084191"/>
              <a:gd name="connsiteX404" fmla="*/ 2051041 w 2051041"/>
              <a:gd name="connsiteY404" fmla="*/ 1307109 h 2084191"/>
              <a:gd name="connsiteX405" fmla="*/ 2012404 w 2051041"/>
              <a:gd name="connsiteY405" fmla="*/ 1268472 h 2084191"/>
              <a:gd name="connsiteX406" fmla="*/ 2049952 w 2051041"/>
              <a:gd name="connsiteY406" fmla="*/ 1230380 h 2084191"/>
              <a:gd name="connsiteX407" fmla="*/ 337431 w 2051041"/>
              <a:gd name="connsiteY407" fmla="*/ 1181404 h 2084191"/>
              <a:gd name="connsiteX408" fmla="*/ 345050 w 2051041"/>
              <a:gd name="connsiteY408" fmla="*/ 1187934 h 2084191"/>
              <a:gd name="connsiteX409" fmla="*/ 336343 w 2051041"/>
              <a:gd name="connsiteY409" fmla="*/ 1192288 h 2084191"/>
              <a:gd name="connsiteX410" fmla="*/ 330901 w 2051041"/>
              <a:gd name="connsiteY410" fmla="*/ 1185758 h 2084191"/>
              <a:gd name="connsiteX411" fmla="*/ 337431 w 2051041"/>
              <a:gd name="connsiteY411" fmla="*/ 1181404 h 2084191"/>
              <a:gd name="connsiteX412" fmla="*/ 499051 w 2051041"/>
              <a:gd name="connsiteY412" fmla="*/ 1171065 h 2084191"/>
              <a:gd name="connsiteX413" fmla="*/ 516465 w 2051041"/>
              <a:gd name="connsiteY413" fmla="*/ 1187390 h 2084191"/>
              <a:gd name="connsiteX414" fmla="*/ 500140 w 2051041"/>
              <a:gd name="connsiteY414" fmla="*/ 1202627 h 2084191"/>
              <a:gd name="connsiteX415" fmla="*/ 483814 w 2051041"/>
              <a:gd name="connsiteY415" fmla="*/ 1187390 h 2084191"/>
              <a:gd name="connsiteX416" fmla="*/ 499051 w 2051041"/>
              <a:gd name="connsiteY416" fmla="*/ 1171065 h 2084191"/>
              <a:gd name="connsiteX417" fmla="*/ 662848 w 2051041"/>
              <a:gd name="connsiteY417" fmla="*/ 1165623 h 2084191"/>
              <a:gd name="connsiteX418" fmla="*/ 684615 w 2051041"/>
              <a:gd name="connsiteY418" fmla="*/ 1187390 h 2084191"/>
              <a:gd name="connsiteX419" fmla="*/ 662848 w 2051041"/>
              <a:gd name="connsiteY419" fmla="*/ 1209157 h 2084191"/>
              <a:gd name="connsiteX420" fmla="*/ 641081 w 2051041"/>
              <a:gd name="connsiteY420" fmla="*/ 1186846 h 2084191"/>
              <a:gd name="connsiteX421" fmla="*/ 662848 w 2051041"/>
              <a:gd name="connsiteY421" fmla="*/ 1165623 h 2084191"/>
              <a:gd name="connsiteX422" fmla="*/ 825556 w 2051041"/>
              <a:gd name="connsiteY422" fmla="*/ 1160725 h 2084191"/>
              <a:gd name="connsiteX423" fmla="*/ 852765 w 2051041"/>
              <a:gd name="connsiteY423" fmla="*/ 1186846 h 2084191"/>
              <a:gd name="connsiteX424" fmla="*/ 826645 w 2051041"/>
              <a:gd name="connsiteY424" fmla="*/ 1213511 h 2084191"/>
              <a:gd name="connsiteX425" fmla="*/ 798892 w 2051041"/>
              <a:gd name="connsiteY425" fmla="*/ 1188479 h 2084191"/>
              <a:gd name="connsiteX426" fmla="*/ 825556 w 2051041"/>
              <a:gd name="connsiteY426" fmla="*/ 1160725 h 2084191"/>
              <a:gd name="connsiteX427" fmla="*/ 989353 w 2051041"/>
              <a:gd name="connsiteY427" fmla="*/ 1158004 h 2084191"/>
              <a:gd name="connsiteX428" fmla="*/ 1018195 w 2051041"/>
              <a:gd name="connsiteY428" fmla="*/ 1187934 h 2084191"/>
              <a:gd name="connsiteX429" fmla="*/ 988809 w 2051041"/>
              <a:gd name="connsiteY429" fmla="*/ 1216775 h 2084191"/>
              <a:gd name="connsiteX430" fmla="*/ 959968 w 2051041"/>
              <a:gd name="connsiteY430" fmla="*/ 1187934 h 2084191"/>
              <a:gd name="connsiteX431" fmla="*/ 989353 w 2051041"/>
              <a:gd name="connsiteY431" fmla="*/ 1158004 h 2084191"/>
              <a:gd name="connsiteX432" fmla="*/ 1152062 w 2051041"/>
              <a:gd name="connsiteY432" fmla="*/ 1153651 h 2084191"/>
              <a:gd name="connsiteX433" fmla="*/ 1185801 w 2051041"/>
              <a:gd name="connsiteY433" fmla="*/ 1186301 h 2084191"/>
              <a:gd name="connsiteX434" fmla="*/ 1153150 w 2051041"/>
              <a:gd name="connsiteY434" fmla="*/ 1219496 h 2084191"/>
              <a:gd name="connsiteX435" fmla="*/ 1119956 w 2051041"/>
              <a:gd name="connsiteY435" fmla="*/ 1187390 h 2084191"/>
              <a:gd name="connsiteX436" fmla="*/ 1152062 w 2051041"/>
              <a:gd name="connsiteY436" fmla="*/ 1153651 h 2084191"/>
              <a:gd name="connsiteX437" fmla="*/ 1315315 w 2051041"/>
              <a:gd name="connsiteY437" fmla="*/ 1152018 h 2084191"/>
              <a:gd name="connsiteX438" fmla="*/ 1351230 w 2051041"/>
              <a:gd name="connsiteY438" fmla="*/ 1186845 h 2084191"/>
              <a:gd name="connsiteX439" fmla="*/ 1315859 w 2051041"/>
              <a:gd name="connsiteY439" fmla="*/ 1221673 h 2084191"/>
              <a:gd name="connsiteX440" fmla="*/ 1281576 w 2051041"/>
              <a:gd name="connsiteY440" fmla="*/ 1187390 h 2084191"/>
              <a:gd name="connsiteX441" fmla="*/ 1315315 w 2051041"/>
              <a:gd name="connsiteY441" fmla="*/ 1152018 h 2084191"/>
              <a:gd name="connsiteX442" fmla="*/ 1479656 w 2051041"/>
              <a:gd name="connsiteY442" fmla="*/ 1149298 h 2084191"/>
              <a:gd name="connsiteX443" fmla="*/ 1516660 w 2051041"/>
              <a:gd name="connsiteY443" fmla="*/ 1188479 h 2084191"/>
              <a:gd name="connsiteX444" fmla="*/ 1478023 w 2051041"/>
              <a:gd name="connsiteY444" fmla="*/ 1224394 h 2084191"/>
              <a:gd name="connsiteX445" fmla="*/ 1441563 w 2051041"/>
              <a:gd name="connsiteY445" fmla="*/ 1185758 h 2084191"/>
              <a:gd name="connsiteX446" fmla="*/ 1479656 w 2051041"/>
              <a:gd name="connsiteY446" fmla="*/ 1149298 h 2084191"/>
              <a:gd name="connsiteX447" fmla="*/ 1642365 w 2051041"/>
              <a:gd name="connsiteY447" fmla="*/ 1148209 h 2084191"/>
              <a:gd name="connsiteX448" fmla="*/ 1681001 w 2051041"/>
              <a:gd name="connsiteY448" fmla="*/ 1187390 h 2084191"/>
              <a:gd name="connsiteX449" fmla="*/ 1641821 w 2051041"/>
              <a:gd name="connsiteY449" fmla="*/ 1226026 h 2084191"/>
              <a:gd name="connsiteX450" fmla="*/ 1603728 w 2051041"/>
              <a:gd name="connsiteY450" fmla="*/ 1186846 h 2084191"/>
              <a:gd name="connsiteX451" fmla="*/ 1642365 w 2051041"/>
              <a:gd name="connsiteY451" fmla="*/ 1148209 h 2084191"/>
              <a:gd name="connsiteX452" fmla="*/ 1969414 w 2051041"/>
              <a:gd name="connsiteY452" fmla="*/ 1147665 h 2084191"/>
              <a:gd name="connsiteX453" fmla="*/ 2009139 w 2051041"/>
              <a:gd name="connsiteY453" fmla="*/ 1187934 h 2084191"/>
              <a:gd name="connsiteX454" fmla="*/ 1968870 w 2051041"/>
              <a:gd name="connsiteY454" fmla="*/ 1227114 h 2084191"/>
              <a:gd name="connsiteX455" fmla="*/ 1929145 w 2051041"/>
              <a:gd name="connsiteY455" fmla="*/ 1186301 h 2084191"/>
              <a:gd name="connsiteX456" fmla="*/ 1969414 w 2051041"/>
              <a:gd name="connsiteY456" fmla="*/ 1147665 h 2084191"/>
              <a:gd name="connsiteX457" fmla="*/ 1805617 w 2051041"/>
              <a:gd name="connsiteY457" fmla="*/ 1147665 h 2084191"/>
              <a:gd name="connsiteX458" fmla="*/ 1844798 w 2051041"/>
              <a:gd name="connsiteY458" fmla="*/ 1187934 h 2084191"/>
              <a:gd name="connsiteX459" fmla="*/ 1805073 w 2051041"/>
              <a:gd name="connsiteY459" fmla="*/ 1226571 h 2084191"/>
              <a:gd name="connsiteX460" fmla="*/ 1766981 w 2051041"/>
              <a:gd name="connsiteY460" fmla="*/ 1186845 h 2084191"/>
              <a:gd name="connsiteX461" fmla="*/ 1805617 w 2051041"/>
              <a:gd name="connsiteY461" fmla="*/ 1147665 h 2084191"/>
              <a:gd name="connsiteX462" fmla="*/ 417425 w 2051041"/>
              <a:gd name="connsiteY462" fmla="*/ 1090527 h 2084191"/>
              <a:gd name="connsiteX463" fmla="*/ 432662 w 2051041"/>
              <a:gd name="connsiteY463" fmla="*/ 1105764 h 2084191"/>
              <a:gd name="connsiteX464" fmla="*/ 417969 w 2051041"/>
              <a:gd name="connsiteY464" fmla="*/ 1120457 h 2084191"/>
              <a:gd name="connsiteX465" fmla="*/ 402732 w 2051041"/>
              <a:gd name="connsiteY465" fmla="*/ 1105219 h 2084191"/>
              <a:gd name="connsiteX466" fmla="*/ 417425 w 2051041"/>
              <a:gd name="connsiteY466" fmla="*/ 1090527 h 2084191"/>
              <a:gd name="connsiteX467" fmla="*/ 580677 w 2051041"/>
              <a:gd name="connsiteY467" fmla="*/ 1083996 h 2084191"/>
              <a:gd name="connsiteX468" fmla="*/ 602444 w 2051041"/>
              <a:gd name="connsiteY468" fmla="*/ 1105219 h 2084191"/>
              <a:gd name="connsiteX469" fmla="*/ 581221 w 2051041"/>
              <a:gd name="connsiteY469" fmla="*/ 1127530 h 2084191"/>
              <a:gd name="connsiteX470" fmla="*/ 558910 w 2051041"/>
              <a:gd name="connsiteY470" fmla="*/ 1105219 h 2084191"/>
              <a:gd name="connsiteX471" fmla="*/ 580677 w 2051041"/>
              <a:gd name="connsiteY471" fmla="*/ 1083996 h 2084191"/>
              <a:gd name="connsiteX472" fmla="*/ 743386 w 2051041"/>
              <a:gd name="connsiteY472" fmla="*/ 1079099 h 2084191"/>
              <a:gd name="connsiteX473" fmla="*/ 770595 w 2051041"/>
              <a:gd name="connsiteY473" fmla="*/ 1105219 h 2084191"/>
              <a:gd name="connsiteX474" fmla="*/ 745019 w 2051041"/>
              <a:gd name="connsiteY474" fmla="*/ 1132428 h 2084191"/>
              <a:gd name="connsiteX475" fmla="*/ 717810 w 2051041"/>
              <a:gd name="connsiteY475" fmla="*/ 1106308 h 2084191"/>
              <a:gd name="connsiteX476" fmla="*/ 743386 w 2051041"/>
              <a:gd name="connsiteY476" fmla="*/ 1079099 h 2084191"/>
              <a:gd name="connsiteX477" fmla="*/ 907727 w 2051041"/>
              <a:gd name="connsiteY477" fmla="*/ 1076378 h 2084191"/>
              <a:gd name="connsiteX478" fmla="*/ 937112 w 2051041"/>
              <a:gd name="connsiteY478" fmla="*/ 1105219 h 2084191"/>
              <a:gd name="connsiteX479" fmla="*/ 908271 w 2051041"/>
              <a:gd name="connsiteY479" fmla="*/ 1134061 h 2084191"/>
              <a:gd name="connsiteX480" fmla="*/ 878885 w 2051041"/>
              <a:gd name="connsiteY480" fmla="*/ 1105764 h 2084191"/>
              <a:gd name="connsiteX481" fmla="*/ 907727 w 2051041"/>
              <a:gd name="connsiteY481" fmla="*/ 1076378 h 2084191"/>
              <a:gd name="connsiteX482" fmla="*/ 1071524 w 2051041"/>
              <a:gd name="connsiteY482" fmla="*/ 1072569 h 2084191"/>
              <a:gd name="connsiteX483" fmla="*/ 1104174 w 2051041"/>
              <a:gd name="connsiteY483" fmla="*/ 1105220 h 2084191"/>
              <a:gd name="connsiteX484" fmla="*/ 1070435 w 2051041"/>
              <a:gd name="connsiteY484" fmla="*/ 1137870 h 2084191"/>
              <a:gd name="connsiteX485" fmla="*/ 1038329 w 2051041"/>
              <a:gd name="connsiteY485" fmla="*/ 1105764 h 2084191"/>
              <a:gd name="connsiteX486" fmla="*/ 1071524 w 2051041"/>
              <a:gd name="connsiteY486" fmla="*/ 1072569 h 2084191"/>
              <a:gd name="connsiteX487" fmla="*/ 1235865 w 2051041"/>
              <a:gd name="connsiteY487" fmla="*/ 1068760 h 2084191"/>
              <a:gd name="connsiteX488" fmla="*/ 1271237 w 2051041"/>
              <a:gd name="connsiteY488" fmla="*/ 1106852 h 2084191"/>
              <a:gd name="connsiteX489" fmla="*/ 1234777 w 2051041"/>
              <a:gd name="connsiteY489" fmla="*/ 1142223 h 2084191"/>
              <a:gd name="connsiteX490" fmla="*/ 1198861 w 2051041"/>
              <a:gd name="connsiteY490" fmla="*/ 1105219 h 2084191"/>
              <a:gd name="connsiteX491" fmla="*/ 1235865 w 2051041"/>
              <a:gd name="connsiteY491" fmla="*/ 1068760 h 2084191"/>
              <a:gd name="connsiteX492" fmla="*/ 1396397 w 2051041"/>
              <a:gd name="connsiteY492" fmla="*/ 1067127 h 2084191"/>
              <a:gd name="connsiteX493" fmla="*/ 1435578 w 2051041"/>
              <a:gd name="connsiteY493" fmla="*/ 1105219 h 2084191"/>
              <a:gd name="connsiteX494" fmla="*/ 1396941 w 2051041"/>
              <a:gd name="connsiteY494" fmla="*/ 1143856 h 2084191"/>
              <a:gd name="connsiteX495" fmla="*/ 1358849 w 2051041"/>
              <a:gd name="connsiteY495" fmla="*/ 1105763 h 2084191"/>
              <a:gd name="connsiteX496" fmla="*/ 1396397 w 2051041"/>
              <a:gd name="connsiteY496" fmla="*/ 1067127 h 2084191"/>
              <a:gd name="connsiteX497" fmla="*/ 1560738 w 2051041"/>
              <a:gd name="connsiteY497" fmla="*/ 1066582 h 2084191"/>
              <a:gd name="connsiteX498" fmla="*/ 1599919 w 2051041"/>
              <a:gd name="connsiteY498" fmla="*/ 1105763 h 2084191"/>
              <a:gd name="connsiteX499" fmla="*/ 1560738 w 2051041"/>
              <a:gd name="connsiteY499" fmla="*/ 1144400 h 2084191"/>
              <a:gd name="connsiteX500" fmla="*/ 1521013 w 2051041"/>
              <a:gd name="connsiteY500" fmla="*/ 1105763 h 2084191"/>
              <a:gd name="connsiteX501" fmla="*/ 1560738 w 2051041"/>
              <a:gd name="connsiteY501" fmla="*/ 1066582 h 2084191"/>
              <a:gd name="connsiteX502" fmla="*/ 1723447 w 2051041"/>
              <a:gd name="connsiteY502" fmla="*/ 1064406 h 2084191"/>
              <a:gd name="connsiteX503" fmla="*/ 1764260 w 2051041"/>
              <a:gd name="connsiteY503" fmla="*/ 1104675 h 2084191"/>
              <a:gd name="connsiteX504" fmla="*/ 1724535 w 2051041"/>
              <a:gd name="connsiteY504" fmla="*/ 1146032 h 2084191"/>
              <a:gd name="connsiteX505" fmla="*/ 1683178 w 2051041"/>
              <a:gd name="connsiteY505" fmla="*/ 1105764 h 2084191"/>
              <a:gd name="connsiteX506" fmla="*/ 1723447 w 2051041"/>
              <a:gd name="connsiteY506" fmla="*/ 1064406 h 2084191"/>
              <a:gd name="connsiteX507" fmla="*/ 2051041 w 2051041"/>
              <a:gd name="connsiteY507" fmla="*/ 1063318 h 2084191"/>
              <a:gd name="connsiteX508" fmla="*/ 2051041 w 2051041"/>
              <a:gd name="connsiteY508" fmla="*/ 1147740 h 2084191"/>
              <a:gd name="connsiteX509" fmla="*/ 2049952 w 2051041"/>
              <a:gd name="connsiteY509" fmla="*/ 1148210 h 2084191"/>
              <a:gd name="connsiteX510" fmla="*/ 2008051 w 2051041"/>
              <a:gd name="connsiteY510" fmla="*/ 1105764 h 2084191"/>
              <a:gd name="connsiteX511" fmla="*/ 2051041 w 2051041"/>
              <a:gd name="connsiteY511" fmla="*/ 1063318 h 2084191"/>
              <a:gd name="connsiteX512" fmla="*/ 1887787 w 2051041"/>
              <a:gd name="connsiteY512" fmla="*/ 1062773 h 2084191"/>
              <a:gd name="connsiteX513" fmla="*/ 1929145 w 2051041"/>
              <a:gd name="connsiteY513" fmla="*/ 1105763 h 2084191"/>
              <a:gd name="connsiteX514" fmla="*/ 1886699 w 2051041"/>
              <a:gd name="connsiteY514" fmla="*/ 1147665 h 2084191"/>
              <a:gd name="connsiteX515" fmla="*/ 1844798 w 2051041"/>
              <a:gd name="connsiteY515" fmla="*/ 1105219 h 2084191"/>
              <a:gd name="connsiteX516" fmla="*/ 1887787 w 2051041"/>
              <a:gd name="connsiteY516" fmla="*/ 1062773 h 2084191"/>
              <a:gd name="connsiteX517" fmla="*/ 335798 w 2051041"/>
              <a:gd name="connsiteY517" fmla="*/ 1011621 h 2084191"/>
              <a:gd name="connsiteX518" fmla="*/ 348314 w 2051041"/>
              <a:gd name="connsiteY518" fmla="*/ 1023049 h 2084191"/>
              <a:gd name="connsiteX519" fmla="*/ 336886 w 2051041"/>
              <a:gd name="connsiteY519" fmla="*/ 1036109 h 2084191"/>
              <a:gd name="connsiteX520" fmla="*/ 324370 w 2051041"/>
              <a:gd name="connsiteY520" fmla="*/ 1024681 h 2084191"/>
              <a:gd name="connsiteX521" fmla="*/ 335798 w 2051041"/>
              <a:gd name="connsiteY521" fmla="*/ 1011621 h 2084191"/>
              <a:gd name="connsiteX522" fmla="*/ 499051 w 2051041"/>
              <a:gd name="connsiteY522" fmla="*/ 1002914 h 2084191"/>
              <a:gd name="connsiteX523" fmla="*/ 520818 w 2051041"/>
              <a:gd name="connsiteY523" fmla="*/ 1024137 h 2084191"/>
              <a:gd name="connsiteX524" fmla="*/ 499595 w 2051041"/>
              <a:gd name="connsiteY524" fmla="*/ 1045360 h 2084191"/>
              <a:gd name="connsiteX525" fmla="*/ 478372 w 2051041"/>
              <a:gd name="connsiteY525" fmla="*/ 1024137 h 2084191"/>
              <a:gd name="connsiteX526" fmla="*/ 499051 w 2051041"/>
              <a:gd name="connsiteY526" fmla="*/ 1002914 h 2084191"/>
              <a:gd name="connsiteX527" fmla="*/ 663392 w 2051041"/>
              <a:gd name="connsiteY527" fmla="*/ 997473 h 2084191"/>
              <a:gd name="connsiteX528" fmla="*/ 688424 w 2051041"/>
              <a:gd name="connsiteY528" fmla="*/ 1024138 h 2084191"/>
              <a:gd name="connsiteX529" fmla="*/ 661759 w 2051041"/>
              <a:gd name="connsiteY529" fmla="*/ 1050258 h 2084191"/>
              <a:gd name="connsiteX530" fmla="*/ 636727 w 2051041"/>
              <a:gd name="connsiteY530" fmla="*/ 1023593 h 2084191"/>
              <a:gd name="connsiteX531" fmla="*/ 663392 w 2051041"/>
              <a:gd name="connsiteY531" fmla="*/ 997473 h 2084191"/>
              <a:gd name="connsiteX532" fmla="*/ 826645 w 2051041"/>
              <a:gd name="connsiteY532" fmla="*/ 995840 h 2084191"/>
              <a:gd name="connsiteX533" fmla="*/ 854942 w 2051041"/>
              <a:gd name="connsiteY533" fmla="*/ 1024137 h 2084191"/>
              <a:gd name="connsiteX534" fmla="*/ 825557 w 2051041"/>
              <a:gd name="connsiteY534" fmla="*/ 1052978 h 2084191"/>
              <a:gd name="connsiteX535" fmla="*/ 797260 w 2051041"/>
              <a:gd name="connsiteY535" fmla="*/ 1023593 h 2084191"/>
              <a:gd name="connsiteX536" fmla="*/ 826645 w 2051041"/>
              <a:gd name="connsiteY536" fmla="*/ 995840 h 2084191"/>
              <a:gd name="connsiteX537" fmla="*/ 990441 w 2051041"/>
              <a:gd name="connsiteY537" fmla="*/ 990942 h 2084191"/>
              <a:gd name="connsiteX538" fmla="*/ 1022548 w 2051041"/>
              <a:gd name="connsiteY538" fmla="*/ 1025225 h 2084191"/>
              <a:gd name="connsiteX539" fmla="*/ 988809 w 2051041"/>
              <a:gd name="connsiteY539" fmla="*/ 1056787 h 2084191"/>
              <a:gd name="connsiteX540" fmla="*/ 956702 w 2051041"/>
              <a:gd name="connsiteY540" fmla="*/ 1023593 h 2084191"/>
              <a:gd name="connsiteX541" fmla="*/ 990441 w 2051041"/>
              <a:gd name="connsiteY541" fmla="*/ 990942 h 2084191"/>
              <a:gd name="connsiteX542" fmla="*/ 1150974 w 2051041"/>
              <a:gd name="connsiteY542" fmla="*/ 987678 h 2084191"/>
              <a:gd name="connsiteX543" fmla="*/ 1189610 w 2051041"/>
              <a:gd name="connsiteY543" fmla="*/ 1023593 h 2084191"/>
              <a:gd name="connsiteX544" fmla="*/ 1152062 w 2051041"/>
              <a:gd name="connsiteY544" fmla="*/ 1061685 h 2084191"/>
              <a:gd name="connsiteX545" fmla="*/ 1115058 w 2051041"/>
              <a:gd name="connsiteY545" fmla="*/ 1024682 h 2084191"/>
              <a:gd name="connsiteX546" fmla="*/ 1150974 w 2051041"/>
              <a:gd name="connsiteY546" fmla="*/ 987678 h 2084191"/>
              <a:gd name="connsiteX547" fmla="*/ 1315314 w 2051041"/>
              <a:gd name="connsiteY547" fmla="*/ 985501 h 2084191"/>
              <a:gd name="connsiteX548" fmla="*/ 1354495 w 2051041"/>
              <a:gd name="connsiteY548" fmla="*/ 1023593 h 2084191"/>
              <a:gd name="connsiteX549" fmla="*/ 1315858 w 2051041"/>
              <a:gd name="connsiteY549" fmla="*/ 1062230 h 2084191"/>
              <a:gd name="connsiteX550" fmla="*/ 1277222 w 2051041"/>
              <a:gd name="connsiteY550" fmla="*/ 1024137 h 2084191"/>
              <a:gd name="connsiteX551" fmla="*/ 1315314 w 2051041"/>
              <a:gd name="connsiteY551" fmla="*/ 985501 h 2084191"/>
              <a:gd name="connsiteX552" fmla="*/ 1479656 w 2051041"/>
              <a:gd name="connsiteY552" fmla="*/ 984412 h 2084191"/>
              <a:gd name="connsiteX553" fmla="*/ 1519380 w 2051041"/>
              <a:gd name="connsiteY553" fmla="*/ 1025225 h 2084191"/>
              <a:gd name="connsiteX554" fmla="*/ 1478567 w 2051041"/>
              <a:gd name="connsiteY554" fmla="*/ 1063318 h 2084191"/>
              <a:gd name="connsiteX555" fmla="*/ 1439387 w 2051041"/>
              <a:gd name="connsiteY555" fmla="*/ 1023593 h 2084191"/>
              <a:gd name="connsiteX556" fmla="*/ 1479656 w 2051041"/>
              <a:gd name="connsiteY556" fmla="*/ 984412 h 2084191"/>
              <a:gd name="connsiteX557" fmla="*/ 1641820 w 2051041"/>
              <a:gd name="connsiteY557" fmla="*/ 981691 h 2084191"/>
              <a:gd name="connsiteX558" fmla="*/ 1684810 w 2051041"/>
              <a:gd name="connsiteY558" fmla="*/ 1023592 h 2084191"/>
              <a:gd name="connsiteX559" fmla="*/ 1642909 w 2051041"/>
              <a:gd name="connsiteY559" fmla="*/ 1066038 h 2084191"/>
              <a:gd name="connsiteX560" fmla="*/ 1599919 w 2051041"/>
              <a:gd name="connsiteY560" fmla="*/ 1023592 h 2084191"/>
              <a:gd name="connsiteX561" fmla="*/ 1641820 w 2051041"/>
              <a:gd name="connsiteY561" fmla="*/ 981691 h 2084191"/>
              <a:gd name="connsiteX562" fmla="*/ 1806161 w 2051041"/>
              <a:gd name="connsiteY562" fmla="*/ 980603 h 2084191"/>
              <a:gd name="connsiteX563" fmla="*/ 1849151 w 2051041"/>
              <a:gd name="connsiteY563" fmla="*/ 1023592 h 2084191"/>
              <a:gd name="connsiteX564" fmla="*/ 1805617 w 2051041"/>
              <a:gd name="connsiteY564" fmla="*/ 1067127 h 2084191"/>
              <a:gd name="connsiteX565" fmla="*/ 1762083 w 2051041"/>
              <a:gd name="connsiteY565" fmla="*/ 1023592 h 2084191"/>
              <a:gd name="connsiteX566" fmla="*/ 1806161 w 2051041"/>
              <a:gd name="connsiteY566" fmla="*/ 980603 h 2084191"/>
              <a:gd name="connsiteX567" fmla="*/ 1969414 w 2051041"/>
              <a:gd name="connsiteY567" fmla="*/ 980059 h 2084191"/>
              <a:gd name="connsiteX568" fmla="*/ 2012404 w 2051041"/>
              <a:gd name="connsiteY568" fmla="*/ 1024137 h 2084191"/>
              <a:gd name="connsiteX569" fmla="*/ 1968870 w 2051041"/>
              <a:gd name="connsiteY569" fmla="*/ 1067127 h 2084191"/>
              <a:gd name="connsiteX570" fmla="*/ 1924792 w 2051041"/>
              <a:gd name="connsiteY570" fmla="*/ 1024137 h 2084191"/>
              <a:gd name="connsiteX571" fmla="*/ 1969414 w 2051041"/>
              <a:gd name="connsiteY571" fmla="*/ 980059 h 2084191"/>
              <a:gd name="connsiteX572" fmla="*/ 254171 w 2051041"/>
              <a:gd name="connsiteY572" fmla="*/ 931083 h 2084191"/>
              <a:gd name="connsiteX573" fmla="*/ 265599 w 2051041"/>
              <a:gd name="connsiteY573" fmla="*/ 941967 h 2084191"/>
              <a:gd name="connsiteX574" fmla="*/ 254171 w 2051041"/>
              <a:gd name="connsiteY574" fmla="*/ 952850 h 2084191"/>
              <a:gd name="connsiteX575" fmla="*/ 243832 w 2051041"/>
              <a:gd name="connsiteY575" fmla="*/ 941967 h 2084191"/>
              <a:gd name="connsiteX576" fmla="*/ 254171 w 2051041"/>
              <a:gd name="connsiteY576" fmla="*/ 931083 h 2084191"/>
              <a:gd name="connsiteX577" fmla="*/ 417968 w 2051041"/>
              <a:gd name="connsiteY577" fmla="*/ 922377 h 2084191"/>
              <a:gd name="connsiteX578" fmla="*/ 437559 w 2051041"/>
              <a:gd name="connsiteY578" fmla="*/ 942511 h 2084191"/>
              <a:gd name="connsiteX579" fmla="*/ 417968 w 2051041"/>
              <a:gd name="connsiteY579" fmla="*/ 961557 h 2084191"/>
              <a:gd name="connsiteX580" fmla="*/ 397834 w 2051041"/>
              <a:gd name="connsiteY580" fmla="*/ 941423 h 2084191"/>
              <a:gd name="connsiteX581" fmla="*/ 417968 w 2051041"/>
              <a:gd name="connsiteY581" fmla="*/ 922377 h 2084191"/>
              <a:gd name="connsiteX582" fmla="*/ 581222 w 2051041"/>
              <a:gd name="connsiteY582" fmla="*/ 916934 h 2084191"/>
              <a:gd name="connsiteX583" fmla="*/ 606798 w 2051041"/>
              <a:gd name="connsiteY583" fmla="*/ 943054 h 2084191"/>
              <a:gd name="connsiteX584" fmla="*/ 581222 w 2051041"/>
              <a:gd name="connsiteY584" fmla="*/ 967542 h 2084191"/>
              <a:gd name="connsiteX585" fmla="*/ 556190 w 2051041"/>
              <a:gd name="connsiteY585" fmla="*/ 943054 h 2084191"/>
              <a:gd name="connsiteX586" fmla="*/ 581222 w 2051041"/>
              <a:gd name="connsiteY586" fmla="*/ 916934 h 2084191"/>
              <a:gd name="connsiteX587" fmla="*/ 744474 w 2051041"/>
              <a:gd name="connsiteY587" fmla="*/ 913669 h 2084191"/>
              <a:gd name="connsiteX588" fmla="*/ 773315 w 2051041"/>
              <a:gd name="connsiteY588" fmla="*/ 942510 h 2084191"/>
              <a:gd name="connsiteX589" fmla="*/ 743930 w 2051041"/>
              <a:gd name="connsiteY589" fmla="*/ 970807 h 2084191"/>
              <a:gd name="connsiteX590" fmla="*/ 716177 w 2051041"/>
              <a:gd name="connsiteY590" fmla="*/ 941966 h 2084191"/>
              <a:gd name="connsiteX591" fmla="*/ 744474 w 2051041"/>
              <a:gd name="connsiteY591" fmla="*/ 913669 h 2084191"/>
              <a:gd name="connsiteX592" fmla="*/ 908271 w 2051041"/>
              <a:gd name="connsiteY592" fmla="*/ 908772 h 2084191"/>
              <a:gd name="connsiteX593" fmla="*/ 940377 w 2051041"/>
              <a:gd name="connsiteY593" fmla="*/ 944144 h 2084191"/>
              <a:gd name="connsiteX594" fmla="*/ 906094 w 2051041"/>
              <a:gd name="connsiteY594" fmla="*/ 975162 h 2084191"/>
              <a:gd name="connsiteX595" fmla="*/ 874532 w 2051041"/>
              <a:gd name="connsiteY595" fmla="*/ 940879 h 2084191"/>
              <a:gd name="connsiteX596" fmla="*/ 908271 w 2051041"/>
              <a:gd name="connsiteY596" fmla="*/ 908772 h 2084191"/>
              <a:gd name="connsiteX597" fmla="*/ 1072068 w 2051041"/>
              <a:gd name="connsiteY597" fmla="*/ 906051 h 2084191"/>
              <a:gd name="connsiteX598" fmla="*/ 1107984 w 2051041"/>
              <a:gd name="connsiteY598" fmla="*/ 942511 h 2084191"/>
              <a:gd name="connsiteX599" fmla="*/ 1070980 w 2051041"/>
              <a:gd name="connsiteY599" fmla="*/ 979515 h 2084191"/>
              <a:gd name="connsiteX600" fmla="*/ 1034520 w 2051041"/>
              <a:gd name="connsiteY600" fmla="*/ 942511 h 2084191"/>
              <a:gd name="connsiteX601" fmla="*/ 1072068 w 2051041"/>
              <a:gd name="connsiteY601" fmla="*/ 906051 h 2084191"/>
              <a:gd name="connsiteX602" fmla="*/ 1235321 w 2051041"/>
              <a:gd name="connsiteY602" fmla="*/ 903874 h 2084191"/>
              <a:gd name="connsiteX603" fmla="*/ 1272325 w 2051041"/>
              <a:gd name="connsiteY603" fmla="*/ 943054 h 2084191"/>
              <a:gd name="connsiteX604" fmla="*/ 1233688 w 2051041"/>
              <a:gd name="connsiteY604" fmla="*/ 981147 h 2084191"/>
              <a:gd name="connsiteX605" fmla="*/ 1195596 w 2051041"/>
              <a:gd name="connsiteY605" fmla="*/ 940878 h 2084191"/>
              <a:gd name="connsiteX606" fmla="*/ 1235321 w 2051041"/>
              <a:gd name="connsiteY606" fmla="*/ 903874 h 2084191"/>
              <a:gd name="connsiteX607" fmla="*/ 1397486 w 2051041"/>
              <a:gd name="connsiteY607" fmla="*/ 901153 h 2084191"/>
              <a:gd name="connsiteX608" fmla="*/ 1438299 w 2051041"/>
              <a:gd name="connsiteY608" fmla="*/ 942511 h 2084191"/>
              <a:gd name="connsiteX609" fmla="*/ 1396941 w 2051041"/>
              <a:gd name="connsiteY609" fmla="*/ 983324 h 2084191"/>
              <a:gd name="connsiteX610" fmla="*/ 1356128 w 2051041"/>
              <a:gd name="connsiteY610" fmla="*/ 941967 h 2084191"/>
              <a:gd name="connsiteX611" fmla="*/ 1397486 w 2051041"/>
              <a:gd name="connsiteY611" fmla="*/ 901153 h 2084191"/>
              <a:gd name="connsiteX612" fmla="*/ 1560738 w 2051041"/>
              <a:gd name="connsiteY612" fmla="*/ 898977 h 2084191"/>
              <a:gd name="connsiteX613" fmla="*/ 1603728 w 2051041"/>
              <a:gd name="connsiteY613" fmla="*/ 942511 h 2084191"/>
              <a:gd name="connsiteX614" fmla="*/ 1560738 w 2051041"/>
              <a:gd name="connsiteY614" fmla="*/ 985501 h 2084191"/>
              <a:gd name="connsiteX615" fmla="*/ 1517204 w 2051041"/>
              <a:gd name="connsiteY615" fmla="*/ 941423 h 2084191"/>
              <a:gd name="connsiteX616" fmla="*/ 1560738 w 2051041"/>
              <a:gd name="connsiteY616" fmla="*/ 898977 h 2084191"/>
              <a:gd name="connsiteX617" fmla="*/ 1723990 w 2051041"/>
              <a:gd name="connsiteY617" fmla="*/ 897888 h 2084191"/>
              <a:gd name="connsiteX618" fmla="*/ 1768069 w 2051041"/>
              <a:gd name="connsiteY618" fmla="*/ 942510 h 2084191"/>
              <a:gd name="connsiteX619" fmla="*/ 1723990 w 2051041"/>
              <a:gd name="connsiteY619" fmla="*/ 986589 h 2084191"/>
              <a:gd name="connsiteX620" fmla="*/ 1679912 w 2051041"/>
              <a:gd name="connsiteY620" fmla="*/ 941422 h 2084191"/>
              <a:gd name="connsiteX621" fmla="*/ 1723990 w 2051041"/>
              <a:gd name="connsiteY621" fmla="*/ 897888 h 2084191"/>
              <a:gd name="connsiteX622" fmla="*/ 2050497 w 2051041"/>
              <a:gd name="connsiteY622" fmla="*/ 897344 h 2084191"/>
              <a:gd name="connsiteX623" fmla="*/ 2051041 w 2051041"/>
              <a:gd name="connsiteY623" fmla="*/ 897453 h 2084191"/>
              <a:gd name="connsiteX624" fmla="*/ 2051041 w 2051041"/>
              <a:gd name="connsiteY624" fmla="*/ 986917 h 2084191"/>
              <a:gd name="connsiteX625" fmla="*/ 2049952 w 2051041"/>
              <a:gd name="connsiteY625" fmla="*/ 987133 h 2084191"/>
              <a:gd name="connsiteX626" fmla="*/ 2005330 w 2051041"/>
              <a:gd name="connsiteY626" fmla="*/ 941422 h 2084191"/>
              <a:gd name="connsiteX627" fmla="*/ 2050497 w 2051041"/>
              <a:gd name="connsiteY627" fmla="*/ 897344 h 2084191"/>
              <a:gd name="connsiteX628" fmla="*/ 1887243 w 2051041"/>
              <a:gd name="connsiteY628" fmla="*/ 897344 h 2084191"/>
              <a:gd name="connsiteX629" fmla="*/ 1931866 w 2051041"/>
              <a:gd name="connsiteY629" fmla="*/ 942511 h 2084191"/>
              <a:gd name="connsiteX630" fmla="*/ 1887243 w 2051041"/>
              <a:gd name="connsiteY630" fmla="*/ 986589 h 2084191"/>
              <a:gd name="connsiteX631" fmla="*/ 1843165 w 2051041"/>
              <a:gd name="connsiteY631" fmla="*/ 941422 h 2084191"/>
              <a:gd name="connsiteX632" fmla="*/ 1887243 w 2051041"/>
              <a:gd name="connsiteY632" fmla="*/ 897344 h 2084191"/>
              <a:gd name="connsiteX633" fmla="*/ 172545 w 2051041"/>
              <a:gd name="connsiteY633" fmla="*/ 854354 h 2084191"/>
              <a:gd name="connsiteX634" fmla="*/ 179619 w 2051041"/>
              <a:gd name="connsiteY634" fmla="*/ 860884 h 2084191"/>
              <a:gd name="connsiteX635" fmla="*/ 173634 w 2051041"/>
              <a:gd name="connsiteY635" fmla="*/ 866870 h 2084191"/>
              <a:gd name="connsiteX636" fmla="*/ 166015 w 2051041"/>
              <a:gd name="connsiteY636" fmla="*/ 861973 h 2084191"/>
              <a:gd name="connsiteX637" fmla="*/ 172545 w 2051041"/>
              <a:gd name="connsiteY637" fmla="*/ 854354 h 2084191"/>
              <a:gd name="connsiteX638" fmla="*/ 336342 w 2051041"/>
              <a:gd name="connsiteY638" fmla="*/ 843471 h 2084191"/>
              <a:gd name="connsiteX639" fmla="*/ 353211 w 2051041"/>
              <a:gd name="connsiteY639" fmla="*/ 860340 h 2084191"/>
              <a:gd name="connsiteX640" fmla="*/ 336886 w 2051041"/>
              <a:gd name="connsiteY640" fmla="*/ 877210 h 2084191"/>
              <a:gd name="connsiteX641" fmla="*/ 320017 w 2051041"/>
              <a:gd name="connsiteY641" fmla="*/ 860884 h 2084191"/>
              <a:gd name="connsiteX642" fmla="*/ 336342 w 2051041"/>
              <a:gd name="connsiteY642" fmla="*/ 843471 h 2084191"/>
              <a:gd name="connsiteX643" fmla="*/ 500139 w 2051041"/>
              <a:gd name="connsiteY643" fmla="*/ 837485 h 2084191"/>
              <a:gd name="connsiteX644" fmla="*/ 522994 w 2051041"/>
              <a:gd name="connsiteY644" fmla="*/ 861428 h 2084191"/>
              <a:gd name="connsiteX645" fmla="*/ 499595 w 2051041"/>
              <a:gd name="connsiteY645" fmla="*/ 884284 h 2084191"/>
              <a:gd name="connsiteX646" fmla="*/ 476739 w 2051041"/>
              <a:gd name="connsiteY646" fmla="*/ 860340 h 2084191"/>
              <a:gd name="connsiteX647" fmla="*/ 500139 w 2051041"/>
              <a:gd name="connsiteY647" fmla="*/ 837485 h 2084191"/>
              <a:gd name="connsiteX648" fmla="*/ 662848 w 2051041"/>
              <a:gd name="connsiteY648" fmla="*/ 832587 h 2084191"/>
              <a:gd name="connsiteX649" fmla="*/ 690057 w 2051041"/>
              <a:gd name="connsiteY649" fmla="*/ 860340 h 2084191"/>
              <a:gd name="connsiteX650" fmla="*/ 662848 w 2051041"/>
              <a:gd name="connsiteY650" fmla="*/ 888637 h 2084191"/>
              <a:gd name="connsiteX651" fmla="*/ 634551 w 2051041"/>
              <a:gd name="connsiteY651" fmla="*/ 861428 h 2084191"/>
              <a:gd name="connsiteX652" fmla="*/ 662848 w 2051041"/>
              <a:gd name="connsiteY652" fmla="*/ 832587 h 2084191"/>
              <a:gd name="connsiteX653" fmla="*/ 826101 w 2051041"/>
              <a:gd name="connsiteY653" fmla="*/ 827146 h 2084191"/>
              <a:gd name="connsiteX654" fmla="*/ 859295 w 2051041"/>
              <a:gd name="connsiteY654" fmla="*/ 860885 h 2084191"/>
              <a:gd name="connsiteX655" fmla="*/ 825556 w 2051041"/>
              <a:gd name="connsiteY655" fmla="*/ 892991 h 2084191"/>
              <a:gd name="connsiteX656" fmla="*/ 793450 w 2051041"/>
              <a:gd name="connsiteY656" fmla="*/ 860885 h 2084191"/>
              <a:gd name="connsiteX657" fmla="*/ 826101 w 2051041"/>
              <a:gd name="connsiteY657" fmla="*/ 827146 h 2084191"/>
              <a:gd name="connsiteX658" fmla="*/ 988809 w 2051041"/>
              <a:gd name="connsiteY658" fmla="*/ 824424 h 2084191"/>
              <a:gd name="connsiteX659" fmla="*/ 1025813 w 2051041"/>
              <a:gd name="connsiteY659" fmla="*/ 860339 h 2084191"/>
              <a:gd name="connsiteX660" fmla="*/ 989897 w 2051041"/>
              <a:gd name="connsiteY660" fmla="*/ 897344 h 2084191"/>
              <a:gd name="connsiteX661" fmla="*/ 953437 w 2051041"/>
              <a:gd name="connsiteY661" fmla="*/ 861972 h 2084191"/>
              <a:gd name="connsiteX662" fmla="*/ 988809 w 2051041"/>
              <a:gd name="connsiteY662" fmla="*/ 824424 h 2084191"/>
              <a:gd name="connsiteX663" fmla="*/ 1153695 w 2051041"/>
              <a:gd name="connsiteY663" fmla="*/ 821704 h 2084191"/>
              <a:gd name="connsiteX664" fmla="*/ 1191243 w 2051041"/>
              <a:gd name="connsiteY664" fmla="*/ 861429 h 2084191"/>
              <a:gd name="connsiteX665" fmla="*/ 1152606 w 2051041"/>
              <a:gd name="connsiteY665" fmla="*/ 899521 h 2084191"/>
              <a:gd name="connsiteX666" fmla="*/ 1114514 w 2051041"/>
              <a:gd name="connsiteY666" fmla="*/ 859252 h 2084191"/>
              <a:gd name="connsiteX667" fmla="*/ 1153695 w 2051041"/>
              <a:gd name="connsiteY667" fmla="*/ 821704 h 2084191"/>
              <a:gd name="connsiteX668" fmla="*/ 1316403 w 2051041"/>
              <a:gd name="connsiteY668" fmla="*/ 818982 h 2084191"/>
              <a:gd name="connsiteX669" fmla="*/ 1357216 w 2051041"/>
              <a:gd name="connsiteY669" fmla="*/ 860884 h 2084191"/>
              <a:gd name="connsiteX670" fmla="*/ 1315315 w 2051041"/>
              <a:gd name="connsiteY670" fmla="*/ 901697 h 2084191"/>
              <a:gd name="connsiteX671" fmla="*/ 1274501 w 2051041"/>
              <a:gd name="connsiteY671" fmla="*/ 860340 h 2084191"/>
              <a:gd name="connsiteX672" fmla="*/ 1316403 w 2051041"/>
              <a:gd name="connsiteY672" fmla="*/ 818982 h 2084191"/>
              <a:gd name="connsiteX673" fmla="*/ 1479112 w 2051041"/>
              <a:gd name="connsiteY673" fmla="*/ 816806 h 2084191"/>
              <a:gd name="connsiteX674" fmla="*/ 1522646 w 2051041"/>
              <a:gd name="connsiteY674" fmla="*/ 860340 h 2084191"/>
              <a:gd name="connsiteX675" fmla="*/ 1479656 w 2051041"/>
              <a:gd name="connsiteY675" fmla="*/ 904419 h 2084191"/>
              <a:gd name="connsiteX676" fmla="*/ 1435578 w 2051041"/>
              <a:gd name="connsiteY676" fmla="*/ 860884 h 2084191"/>
              <a:gd name="connsiteX677" fmla="*/ 1479112 w 2051041"/>
              <a:gd name="connsiteY677" fmla="*/ 816806 h 2084191"/>
              <a:gd name="connsiteX678" fmla="*/ 1642909 w 2051041"/>
              <a:gd name="connsiteY678" fmla="*/ 815718 h 2084191"/>
              <a:gd name="connsiteX679" fmla="*/ 1686987 w 2051041"/>
              <a:gd name="connsiteY679" fmla="*/ 860885 h 2084191"/>
              <a:gd name="connsiteX680" fmla="*/ 1641276 w 2051041"/>
              <a:gd name="connsiteY680" fmla="*/ 905507 h 2084191"/>
              <a:gd name="connsiteX681" fmla="*/ 1597742 w 2051041"/>
              <a:gd name="connsiteY681" fmla="*/ 860340 h 2084191"/>
              <a:gd name="connsiteX682" fmla="*/ 1642909 w 2051041"/>
              <a:gd name="connsiteY682" fmla="*/ 815718 h 2084191"/>
              <a:gd name="connsiteX683" fmla="*/ 1806161 w 2051041"/>
              <a:gd name="connsiteY683" fmla="*/ 815173 h 2084191"/>
              <a:gd name="connsiteX684" fmla="*/ 1852416 w 2051041"/>
              <a:gd name="connsiteY684" fmla="*/ 860884 h 2084191"/>
              <a:gd name="connsiteX685" fmla="*/ 1805617 w 2051041"/>
              <a:gd name="connsiteY685" fmla="*/ 906594 h 2084191"/>
              <a:gd name="connsiteX686" fmla="*/ 1759906 w 2051041"/>
              <a:gd name="connsiteY686" fmla="*/ 860884 h 2084191"/>
              <a:gd name="connsiteX687" fmla="*/ 1806161 w 2051041"/>
              <a:gd name="connsiteY687" fmla="*/ 815173 h 2084191"/>
              <a:gd name="connsiteX688" fmla="*/ 1968326 w 2051041"/>
              <a:gd name="connsiteY688" fmla="*/ 812453 h 2084191"/>
              <a:gd name="connsiteX689" fmla="*/ 2000977 w 2051041"/>
              <a:gd name="connsiteY689" fmla="*/ 826057 h 2084191"/>
              <a:gd name="connsiteX690" fmla="*/ 2015670 w 2051041"/>
              <a:gd name="connsiteY690" fmla="*/ 859796 h 2084191"/>
              <a:gd name="connsiteX691" fmla="*/ 1969415 w 2051041"/>
              <a:gd name="connsiteY691" fmla="*/ 907684 h 2084191"/>
              <a:gd name="connsiteX692" fmla="*/ 1922071 w 2051041"/>
              <a:gd name="connsiteY692" fmla="*/ 860885 h 2084191"/>
              <a:gd name="connsiteX693" fmla="*/ 1968326 w 2051041"/>
              <a:gd name="connsiteY693" fmla="*/ 812453 h 2084191"/>
              <a:gd name="connsiteX694" fmla="*/ 255260 w 2051041"/>
              <a:gd name="connsiteY694" fmla="*/ 762932 h 2084191"/>
              <a:gd name="connsiteX695" fmla="*/ 270497 w 2051041"/>
              <a:gd name="connsiteY695" fmla="*/ 779802 h 2084191"/>
              <a:gd name="connsiteX696" fmla="*/ 254172 w 2051041"/>
              <a:gd name="connsiteY696" fmla="*/ 795038 h 2084191"/>
              <a:gd name="connsiteX697" fmla="*/ 238935 w 2051041"/>
              <a:gd name="connsiteY697" fmla="*/ 778713 h 2084191"/>
              <a:gd name="connsiteX698" fmla="*/ 255260 w 2051041"/>
              <a:gd name="connsiteY698" fmla="*/ 762932 h 2084191"/>
              <a:gd name="connsiteX699" fmla="*/ 416881 w 2051041"/>
              <a:gd name="connsiteY699" fmla="*/ 756402 h 2084191"/>
              <a:gd name="connsiteX700" fmla="*/ 440280 w 2051041"/>
              <a:gd name="connsiteY700" fmla="*/ 778713 h 2084191"/>
              <a:gd name="connsiteX701" fmla="*/ 419057 w 2051041"/>
              <a:gd name="connsiteY701" fmla="*/ 801024 h 2084191"/>
              <a:gd name="connsiteX702" fmla="*/ 396202 w 2051041"/>
              <a:gd name="connsiteY702" fmla="*/ 779257 h 2084191"/>
              <a:gd name="connsiteX703" fmla="*/ 416881 w 2051041"/>
              <a:gd name="connsiteY703" fmla="*/ 756402 h 2084191"/>
              <a:gd name="connsiteX704" fmla="*/ 581766 w 2051041"/>
              <a:gd name="connsiteY704" fmla="*/ 751505 h 2084191"/>
              <a:gd name="connsiteX705" fmla="*/ 608975 w 2051041"/>
              <a:gd name="connsiteY705" fmla="*/ 779802 h 2084191"/>
              <a:gd name="connsiteX706" fmla="*/ 580678 w 2051041"/>
              <a:gd name="connsiteY706" fmla="*/ 806467 h 2084191"/>
              <a:gd name="connsiteX707" fmla="*/ 553469 w 2051041"/>
              <a:gd name="connsiteY707" fmla="*/ 778714 h 2084191"/>
              <a:gd name="connsiteX708" fmla="*/ 581766 w 2051041"/>
              <a:gd name="connsiteY708" fmla="*/ 751505 h 2084191"/>
              <a:gd name="connsiteX709" fmla="*/ 746107 w 2051041"/>
              <a:gd name="connsiteY709" fmla="*/ 746607 h 2084191"/>
              <a:gd name="connsiteX710" fmla="*/ 777125 w 2051041"/>
              <a:gd name="connsiteY710" fmla="*/ 780346 h 2084191"/>
              <a:gd name="connsiteX711" fmla="*/ 742842 w 2051041"/>
              <a:gd name="connsiteY711" fmla="*/ 811364 h 2084191"/>
              <a:gd name="connsiteX712" fmla="*/ 712368 w 2051041"/>
              <a:gd name="connsiteY712" fmla="*/ 778713 h 2084191"/>
              <a:gd name="connsiteX713" fmla="*/ 746107 w 2051041"/>
              <a:gd name="connsiteY713" fmla="*/ 746607 h 2084191"/>
              <a:gd name="connsiteX714" fmla="*/ 907727 w 2051041"/>
              <a:gd name="connsiteY714" fmla="*/ 741710 h 2084191"/>
              <a:gd name="connsiteX715" fmla="*/ 944187 w 2051041"/>
              <a:gd name="connsiteY715" fmla="*/ 778714 h 2084191"/>
              <a:gd name="connsiteX716" fmla="*/ 907727 w 2051041"/>
              <a:gd name="connsiteY716" fmla="*/ 815174 h 2084191"/>
              <a:gd name="connsiteX717" fmla="*/ 872355 w 2051041"/>
              <a:gd name="connsiteY717" fmla="*/ 779258 h 2084191"/>
              <a:gd name="connsiteX718" fmla="*/ 907727 w 2051041"/>
              <a:gd name="connsiteY718" fmla="*/ 741710 h 2084191"/>
              <a:gd name="connsiteX719" fmla="*/ 1070979 w 2051041"/>
              <a:gd name="connsiteY719" fmla="*/ 740621 h 2084191"/>
              <a:gd name="connsiteX720" fmla="*/ 1110160 w 2051041"/>
              <a:gd name="connsiteY720" fmla="*/ 779258 h 2084191"/>
              <a:gd name="connsiteX721" fmla="*/ 1070979 w 2051041"/>
              <a:gd name="connsiteY721" fmla="*/ 817894 h 2084191"/>
              <a:gd name="connsiteX722" fmla="*/ 1031799 w 2051041"/>
              <a:gd name="connsiteY722" fmla="*/ 778714 h 2084191"/>
              <a:gd name="connsiteX723" fmla="*/ 1070979 w 2051041"/>
              <a:gd name="connsiteY723" fmla="*/ 740621 h 2084191"/>
              <a:gd name="connsiteX724" fmla="*/ 1233688 w 2051041"/>
              <a:gd name="connsiteY724" fmla="*/ 736268 h 2084191"/>
              <a:gd name="connsiteX725" fmla="*/ 1276134 w 2051041"/>
              <a:gd name="connsiteY725" fmla="*/ 777625 h 2084191"/>
              <a:gd name="connsiteX726" fmla="*/ 1235320 w 2051041"/>
              <a:gd name="connsiteY726" fmla="*/ 820615 h 2084191"/>
              <a:gd name="connsiteX727" fmla="*/ 1192331 w 2051041"/>
              <a:gd name="connsiteY727" fmla="*/ 779258 h 2084191"/>
              <a:gd name="connsiteX728" fmla="*/ 1233688 w 2051041"/>
              <a:gd name="connsiteY728" fmla="*/ 736268 h 2084191"/>
              <a:gd name="connsiteX729" fmla="*/ 1397485 w 2051041"/>
              <a:gd name="connsiteY729" fmla="*/ 735724 h 2084191"/>
              <a:gd name="connsiteX730" fmla="*/ 1441019 w 2051041"/>
              <a:gd name="connsiteY730" fmla="*/ 779802 h 2084191"/>
              <a:gd name="connsiteX731" fmla="*/ 1396397 w 2051041"/>
              <a:gd name="connsiteY731" fmla="*/ 823336 h 2084191"/>
              <a:gd name="connsiteX732" fmla="*/ 1352863 w 2051041"/>
              <a:gd name="connsiteY732" fmla="*/ 779258 h 2084191"/>
              <a:gd name="connsiteX733" fmla="*/ 1397485 w 2051041"/>
              <a:gd name="connsiteY733" fmla="*/ 735724 h 2084191"/>
              <a:gd name="connsiteX734" fmla="*/ 1562371 w 2051041"/>
              <a:gd name="connsiteY734" fmla="*/ 734636 h 2084191"/>
              <a:gd name="connsiteX735" fmla="*/ 1605905 w 2051041"/>
              <a:gd name="connsiteY735" fmla="*/ 779802 h 2084191"/>
              <a:gd name="connsiteX736" fmla="*/ 1560194 w 2051041"/>
              <a:gd name="connsiteY736" fmla="*/ 823881 h 2084191"/>
              <a:gd name="connsiteX737" fmla="*/ 1515572 w 2051041"/>
              <a:gd name="connsiteY737" fmla="*/ 777626 h 2084191"/>
              <a:gd name="connsiteX738" fmla="*/ 1562371 w 2051041"/>
              <a:gd name="connsiteY738" fmla="*/ 734636 h 2084191"/>
              <a:gd name="connsiteX739" fmla="*/ 1724535 w 2051041"/>
              <a:gd name="connsiteY739" fmla="*/ 730827 h 2084191"/>
              <a:gd name="connsiteX740" fmla="*/ 1772422 w 2051041"/>
              <a:gd name="connsiteY740" fmla="*/ 779258 h 2084191"/>
              <a:gd name="connsiteX741" fmla="*/ 1723446 w 2051041"/>
              <a:gd name="connsiteY741" fmla="*/ 826602 h 2084191"/>
              <a:gd name="connsiteX742" fmla="*/ 1676647 w 2051041"/>
              <a:gd name="connsiteY742" fmla="*/ 778714 h 2084191"/>
              <a:gd name="connsiteX743" fmla="*/ 1724535 w 2051041"/>
              <a:gd name="connsiteY743" fmla="*/ 730827 h 2084191"/>
              <a:gd name="connsiteX744" fmla="*/ 1886699 w 2051041"/>
              <a:gd name="connsiteY744" fmla="*/ 730826 h 2084191"/>
              <a:gd name="connsiteX745" fmla="*/ 1935131 w 2051041"/>
              <a:gd name="connsiteY745" fmla="*/ 778713 h 2084191"/>
              <a:gd name="connsiteX746" fmla="*/ 1887244 w 2051041"/>
              <a:gd name="connsiteY746" fmla="*/ 827145 h 2084191"/>
              <a:gd name="connsiteX747" fmla="*/ 1838812 w 2051041"/>
              <a:gd name="connsiteY747" fmla="*/ 778713 h 2084191"/>
              <a:gd name="connsiteX748" fmla="*/ 1886699 w 2051041"/>
              <a:gd name="connsiteY748" fmla="*/ 730826 h 2084191"/>
              <a:gd name="connsiteX749" fmla="*/ 2050496 w 2051041"/>
              <a:gd name="connsiteY749" fmla="*/ 730282 h 2084191"/>
              <a:gd name="connsiteX750" fmla="*/ 2051041 w 2051041"/>
              <a:gd name="connsiteY750" fmla="*/ 730396 h 2084191"/>
              <a:gd name="connsiteX751" fmla="*/ 2051041 w 2051041"/>
              <a:gd name="connsiteY751" fmla="*/ 826942 h 2084191"/>
              <a:gd name="connsiteX752" fmla="*/ 2049952 w 2051041"/>
              <a:gd name="connsiteY752" fmla="*/ 827145 h 2084191"/>
              <a:gd name="connsiteX753" fmla="*/ 2002065 w 2051041"/>
              <a:gd name="connsiteY753" fmla="*/ 778169 h 2084191"/>
              <a:gd name="connsiteX754" fmla="*/ 2050496 w 2051041"/>
              <a:gd name="connsiteY754" fmla="*/ 730282 h 2084191"/>
              <a:gd name="connsiteX755" fmla="*/ 173634 w 2051041"/>
              <a:gd name="connsiteY755" fmla="*/ 685660 h 2084191"/>
              <a:gd name="connsiteX756" fmla="*/ 184518 w 2051041"/>
              <a:gd name="connsiteY756" fmla="*/ 698176 h 2084191"/>
              <a:gd name="connsiteX757" fmla="*/ 172546 w 2051041"/>
              <a:gd name="connsiteY757" fmla="*/ 709059 h 2084191"/>
              <a:gd name="connsiteX758" fmla="*/ 161118 w 2051041"/>
              <a:gd name="connsiteY758" fmla="*/ 697088 h 2084191"/>
              <a:gd name="connsiteX759" fmla="*/ 173634 w 2051041"/>
              <a:gd name="connsiteY759" fmla="*/ 685660 h 2084191"/>
              <a:gd name="connsiteX760" fmla="*/ 335798 w 2051041"/>
              <a:gd name="connsiteY760" fmla="*/ 675320 h 2084191"/>
              <a:gd name="connsiteX761" fmla="*/ 357565 w 2051041"/>
              <a:gd name="connsiteY761" fmla="*/ 696543 h 2084191"/>
              <a:gd name="connsiteX762" fmla="*/ 336342 w 2051041"/>
              <a:gd name="connsiteY762" fmla="*/ 718854 h 2084191"/>
              <a:gd name="connsiteX763" fmla="*/ 315120 w 2051041"/>
              <a:gd name="connsiteY763" fmla="*/ 697631 h 2084191"/>
              <a:gd name="connsiteX764" fmla="*/ 335798 w 2051041"/>
              <a:gd name="connsiteY764" fmla="*/ 675320 h 2084191"/>
              <a:gd name="connsiteX765" fmla="*/ 499051 w 2051041"/>
              <a:gd name="connsiteY765" fmla="*/ 670423 h 2084191"/>
              <a:gd name="connsiteX766" fmla="*/ 526804 w 2051041"/>
              <a:gd name="connsiteY766" fmla="*/ 697088 h 2084191"/>
              <a:gd name="connsiteX767" fmla="*/ 499595 w 2051041"/>
              <a:gd name="connsiteY767" fmla="*/ 724296 h 2084191"/>
              <a:gd name="connsiteX768" fmla="*/ 472930 w 2051041"/>
              <a:gd name="connsiteY768" fmla="*/ 697632 h 2084191"/>
              <a:gd name="connsiteX769" fmla="*/ 499051 w 2051041"/>
              <a:gd name="connsiteY769" fmla="*/ 670423 h 2084191"/>
              <a:gd name="connsiteX770" fmla="*/ 662848 w 2051041"/>
              <a:gd name="connsiteY770" fmla="*/ 665525 h 2084191"/>
              <a:gd name="connsiteX771" fmla="*/ 694954 w 2051041"/>
              <a:gd name="connsiteY771" fmla="*/ 697087 h 2084191"/>
              <a:gd name="connsiteX772" fmla="*/ 663392 w 2051041"/>
              <a:gd name="connsiteY772" fmla="*/ 729194 h 2084191"/>
              <a:gd name="connsiteX773" fmla="*/ 632374 w 2051041"/>
              <a:gd name="connsiteY773" fmla="*/ 698176 h 2084191"/>
              <a:gd name="connsiteX774" fmla="*/ 662848 w 2051041"/>
              <a:gd name="connsiteY774" fmla="*/ 665525 h 2084191"/>
              <a:gd name="connsiteX775" fmla="*/ 825013 w 2051041"/>
              <a:gd name="connsiteY775" fmla="*/ 663349 h 2084191"/>
              <a:gd name="connsiteX776" fmla="*/ 860384 w 2051041"/>
              <a:gd name="connsiteY776" fmla="*/ 697632 h 2084191"/>
              <a:gd name="connsiteX777" fmla="*/ 826101 w 2051041"/>
              <a:gd name="connsiteY777" fmla="*/ 731915 h 2084191"/>
              <a:gd name="connsiteX778" fmla="*/ 791818 w 2051041"/>
              <a:gd name="connsiteY778" fmla="*/ 698176 h 2084191"/>
              <a:gd name="connsiteX779" fmla="*/ 825013 w 2051041"/>
              <a:gd name="connsiteY779" fmla="*/ 663349 h 2084191"/>
              <a:gd name="connsiteX780" fmla="*/ 988809 w 2051041"/>
              <a:gd name="connsiteY780" fmla="*/ 658995 h 2084191"/>
              <a:gd name="connsiteX781" fmla="*/ 1027446 w 2051041"/>
              <a:gd name="connsiteY781" fmla="*/ 697087 h 2084191"/>
              <a:gd name="connsiteX782" fmla="*/ 989353 w 2051041"/>
              <a:gd name="connsiteY782" fmla="*/ 735723 h 2084191"/>
              <a:gd name="connsiteX783" fmla="*/ 950717 w 2051041"/>
              <a:gd name="connsiteY783" fmla="*/ 697631 h 2084191"/>
              <a:gd name="connsiteX784" fmla="*/ 988809 w 2051041"/>
              <a:gd name="connsiteY784" fmla="*/ 658995 h 2084191"/>
              <a:gd name="connsiteX785" fmla="*/ 1152607 w 2051041"/>
              <a:gd name="connsiteY785" fmla="*/ 655729 h 2084191"/>
              <a:gd name="connsiteX786" fmla="*/ 1195052 w 2051041"/>
              <a:gd name="connsiteY786" fmla="*/ 697087 h 2084191"/>
              <a:gd name="connsiteX787" fmla="*/ 1153151 w 2051041"/>
              <a:gd name="connsiteY787" fmla="*/ 739533 h 2084191"/>
              <a:gd name="connsiteX788" fmla="*/ 1110705 w 2051041"/>
              <a:gd name="connsiteY788" fmla="*/ 697631 h 2084191"/>
              <a:gd name="connsiteX789" fmla="*/ 1152607 w 2051041"/>
              <a:gd name="connsiteY789" fmla="*/ 655729 h 2084191"/>
              <a:gd name="connsiteX790" fmla="*/ 1316948 w 2051041"/>
              <a:gd name="connsiteY790" fmla="*/ 653554 h 2084191"/>
              <a:gd name="connsiteX791" fmla="*/ 1359937 w 2051041"/>
              <a:gd name="connsiteY791" fmla="*/ 697632 h 2084191"/>
              <a:gd name="connsiteX792" fmla="*/ 1315315 w 2051041"/>
              <a:gd name="connsiteY792" fmla="*/ 740622 h 2084191"/>
              <a:gd name="connsiteX793" fmla="*/ 1271781 w 2051041"/>
              <a:gd name="connsiteY793" fmla="*/ 696544 h 2084191"/>
              <a:gd name="connsiteX794" fmla="*/ 1316948 w 2051041"/>
              <a:gd name="connsiteY794" fmla="*/ 653554 h 2084191"/>
              <a:gd name="connsiteX795" fmla="*/ 1479112 w 2051041"/>
              <a:gd name="connsiteY795" fmla="*/ 651921 h 2084191"/>
              <a:gd name="connsiteX796" fmla="*/ 1524823 w 2051041"/>
              <a:gd name="connsiteY796" fmla="*/ 697088 h 2084191"/>
              <a:gd name="connsiteX797" fmla="*/ 1479112 w 2051041"/>
              <a:gd name="connsiteY797" fmla="*/ 742254 h 2084191"/>
              <a:gd name="connsiteX798" fmla="*/ 1433945 w 2051041"/>
              <a:gd name="connsiteY798" fmla="*/ 697088 h 2084191"/>
              <a:gd name="connsiteX799" fmla="*/ 1479112 w 2051041"/>
              <a:gd name="connsiteY799" fmla="*/ 651921 h 2084191"/>
              <a:gd name="connsiteX800" fmla="*/ 1642909 w 2051041"/>
              <a:gd name="connsiteY800" fmla="*/ 649744 h 2084191"/>
              <a:gd name="connsiteX801" fmla="*/ 1690796 w 2051041"/>
              <a:gd name="connsiteY801" fmla="*/ 697087 h 2084191"/>
              <a:gd name="connsiteX802" fmla="*/ 1642909 w 2051041"/>
              <a:gd name="connsiteY802" fmla="*/ 745519 h 2084191"/>
              <a:gd name="connsiteX803" fmla="*/ 1594477 w 2051041"/>
              <a:gd name="connsiteY803" fmla="*/ 697632 h 2084191"/>
              <a:gd name="connsiteX804" fmla="*/ 1642909 w 2051041"/>
              <a:gd name="connsiteY804" fmla="*/ 649744 h 2084191"/>
              <a:gd name="connsiteX805" fmla="*/ 1805617 w 2051041"/>
              <a:gd name="connsiteY805" fmla="*/ 648112 h 2084191"/>
              <a:gd name="connsiteX806" fmla="*/ 1854593 w 2051041"/>
              <a:gd name="connsiteY806" fmla="*/ 698176 h 2084191"/>
              <a:gd name="connsiteX807" fmla="*/ 1805073 w 2051041"/>
              <a:gd name="connsiteY807" fmla="*/ 746607 h 2084191"/>
              <a:gd name="connsiteX808" fmla="*/ 1756097 w 2051041"/>
              <a:gd name="connsiteY808" fmla="*/ 697087 h 2084191"/>
              <a:gd name="connsiteX809" fmla="*/ 1805617 w 2051041"/>
              <a:gd name="connsiteY809" fmla="*/ 648112 h 2084191"/>
              <a:gd name="connsiteX810" fmla="*/ 1969414 w 2051041"/>
              <a:gd name="connsiteY810" fmla="*/ 647023 h 2084191"/>
              <a:gd name="connsiteX811" fmla="*/ 2018934 w 2051041"/>
              <a:gd name="connsiteY811" fmla="*/ 698176 h 2084191"/>
              <a:gd name="connsiteX812" fmla="*/ 1968326 w 2051041"/>
              <a:gd name="connsiteY812" fmla="*/ 746063 h 2084191"/>
              <a:gd name="connsiteX813" fmla="*/ 1918806 w 2051041"/>
              <a:gd name="connsiteY813" fmla="*/ 697087 h 2084191"/>
              <a:gd name="connsiteX814" fmla="*/ 1969414 w 2051041"/>
              <a:gd name="connsiteY814" fmla="*/ 647023 h 2084191"/>
              <a:gd name="connsiteX815" fmla="*/ 90919 w 2051041"/>
              <a:gd name="connsiteY815" fmla="*/ 606754 h 2084191"/>
              <a:gd name="connsiteX816" fmla="*/ 99626 w 2051041"/>
              <a:gd name="connsiteY816" fmla="*/ 615460 h 2084191"/>
              <a:gd name="connsiteX817" fmla="*/ 92007 w 2051041"/>
              <a:gd name="connsiteY817" fmla="*/ 627976 h 2084191"/>
              <a:gd name="connsiteX818" fmla="*/ 82756 w 2051041"/>
              <a:gd name="connsiteY818" fmla="*/ 616005 h 2084191"/>
              <a:gd name="connsiteX819" fmla="*/ 90919 w 2051041"/>
              <a:gd name="connsiteY819" fmla="*/ 606754 h 2084191"/>
              <a:gd name="connsiteX820" fmla="*/ 254172 w 2051041"/>
              <a:gd name="connsiteY820" fmla="*/ 598047 h 2084191"/>
              <a:gd name="connsiteX821" fmla="*/ 272674 w 2051041"/>
              <a:gd name="connsiteY821" fmla="*/ 614917 h 2084191"/>
              <a:gd name="connsiteX822" fmla="*/ 255260 w 2051041"/>
              <a:gd name="connsiteY822" fmla="*/ 633419 h 2084191"/>
              <a:gd name="connsiteX823" fmla="*/ 236758 w 2051041"/>
              <a:gd name="connsiteY823" fmla="*/ 616005 h 2084191"/>
              <a:gd name="connsiteX824" fmla="*/ 254172 w 2051041"/>
              <a:gd name="connsiteY824" fmla="*/ 598047 h 2084191"/>
              <a:gd name="connsiteX825" fmla="*/ 418513 w 2051041"/>
              <a:gd name="connsiteY825" fmla="*/ 590429 h 2084191"/>
              <a:gd name="connsiteX826" fmla="*/ 443001 w 2051041"/>
              <a:gd name="connsiteY826" fmla="*/ 614917 h 2084191"/>
              <a:gd name="connsiteX827" fmla="*/ 419058 w 2051041"/>
              <a:gd name="connsiteY827" fmla="*/ 640493 h 2084191"/>
              <a:gd name="connsiteX828" fmla="*/ 392937 w 2051041"/>
              <a:gd name="connsiteY828" fmla="*/ 616005 h 2084191"/>
              <a:gd name="connsiteX829" fmla="*/ 418513 w 2051041"/>
              <a:gd name="connsiteY829" fmla="*/ 590429 h 2084191"/>
              <a:gd name="connsiteX830" fmla="*/ 581222 w 2051041"/>
              <a:gd name="connsiteY830" fmla="*/ 587163 h 2084191"/>
              <a:gd name="connsiteX831" fmla="*/ 610063 w 2051041"/>
              <a:gd name="connsiteY831" fmla="*/ 616549 h 2084191"/>
              <a:gd name="connsiteX832" fmla="*/ 580677 w 2051041"/>
              <a:gd name="connsiteY832" fmla="*/ 645390 h 2084191"/>
              <a:gd name="connsiteX833" fmla="*/ 551836 w 2051041"/>
              <a:gd name="connsiteY833" fmla="*/ 615461 h 2084191"/>
              <a:gd name="connsiteX834" fmla="*/ 581222 w 2051041"/>
              <a:gd name="connsiteY834" fmla="*/ 587163 h 2084191"/>
              <a:gd name="connsiteX835" fmla="*/ 743930 w 2051041"/>
              <a:gd name="connsiteY835" fmla="*/ 582266 h 2084191"/>
              <a:gd name="connsiteX836" fmla="*/ 779301 w 2051041"/>
              <a:gd name="connsiteY836" fmla="*/ 616005 h 2084191"/>
              <a:gd name="connsiteX837" fmla="*/ 745563 w 2051041"/>
              <a:gd name="connsiteY837" fmla="*/ 649744 h 2084191"/>
              <a:gd name="connsiteX838" fmla="*/ 711824 w 2051041"/>
              <a:gd name="connsiteY838" fmla="*/ 616549 h 2084191"/>
              <a:gd name="connsiteX839" fmla="*/ 743930 w 2051041"/>
              <a:gd name="connsiteY839" fmla="*/ 582266 h 2084191"/>
              <a:gd name="connsiteX840" fmla="*/ 907183 w 2051041"/>
              <a:gd name="connsiteY840" fmla="*/ 577913 h 2084191"/>
              <a:gd name="connsiteX841" fmla="*/ 945276 w 2051041"/>
              <a:gd name="connsiteY841" fmla="*/ 615461 h 2084191"/>
              <a:gd name="connsiteX842" fmla="*/ 907727 w 2051041"/>
              <a:gd name="connsiteY842" fmla="*/ 654098 h 2084191"/>
              <a:gd name="connsiteX843" fmla="*/ 869091 w 2051041"/>
              <a:gd name="connsiteY843" fmla="*/ 616006 h 2084191"/>
              <a:gd name="connsiteX844" fmla="*/ 907183 w 2051041"/>
              <a:gd name="connsiteY844" fmla="*/ 577913 h 2084191"/>
              <a:gd name="connsiteX845" fmla="*/ 1069891 w 2051041"/>
              <a:gd name="connsiteY845" fmla="*/ 574648 h 2084191"/>
              <a:gd name="connsiteX846" fmla="*/ 1111248 w 2051041"/>
              <a:gd name="connsiteY846" fmla="*/ 615461 h 2084191"/>
              <a:gd name="connsiteX847" fmla="*/ 1070435 w 2051041"/>
              <a:gd name="connsiteY847" fmla="*/ 656274 h 2084191"/>
              <a:gd name="connsiteX848" fmla="*/ 1029622 w 2051041"/>
              <a:gd name="connsiteY848" fmla="*/ 614917 h 2084191"/>
              <a:gd name="connsiteX849" fmla="*/ 1069891 w 2051041"/>
              <a:gd name="connsiteY849" fmla="*/ 574648 h 2084191"/>
              <a:gd name="connsiteX850" fmla="*/ 1235321 w 2051041"/>
              <a:gd name="connsiteY850" fmla="*/ 572472 h 2084191"/>
              <a:gd name="connsiteX851" fmla="*/ 1277222 w 2051041"/>
              <a:gd name="connsiteY851" fmla="*/ 616550 h 2084191"/>
              <a:gd name="connsiteX852" fmla="*/ 1233688 w 2051041"/>
              <a:gd name="connsiteY852" fmla="*/ 660084 h 2084191"/>
              <a:gd name="connsiteX853" fmla="*/ 1190154 w 2051041"/>
              <a:gd name="connsiteY853" fmla="*/ 614917 h 2084191"/>
              <a:gd name="connsiteX854" fmla="*/ 1235321 w 2051041"/>
              <a:gd name="connsiteY854" fmla="*/ 572472 h 2084191"/>
              <a:gd name="connsiteX855" fmla="*/ 1397485 w 2051041"/>
              <a:gd name="connsiteY855" fmla="*/ 569206 h 2084191"/>
              <a:gd name="connsiteX856" fmla="*/ 1443196 w 2051041"/>
              <a:gd name="connsiteY856" fmla="*/ 616005 h 2084191"/>
              <a:gd name="connsiteX857" fmla="*/ 1396941 w 2051041"/>
              <a:gd name="connsiteY857" fmla="*/ 661172 h 2084191"/>
              <a:gd name="connsiteX858" fmla="*/ 1351775 w 2051041"/>
              <a:gd name="connsiteY858" fmla="*/ 614373 h 2084191"/>
              <a:gd name="connsiteX859" fmla="*/ 1397485 w 2051041"/>
              <a:gd name="connsiteY859" fmla="*/ 569206 h 2084191"/>
              <a:gd name="connsiteX860" fmla="*/ 1560738 w 2051041"/>
              <a:gd name="connsiteY860" fmla="*/ 567029 h 2084191"/>
              <a:gd name="connsiteX861" fmla="*/ 1609714 w 2051041"/>
              <a:gd name="connsiteY861" fmla="*/ 615461 h 2084191"/>
              <a:gd name="connsiteX862" fmla="*/ 1561283 w 2051041"/>
              <a:gd name="connsiteY862" fmla="*/ 663892 h 2084191"/>
              <a:gd name="connsiteX863" fmla="*/ 1512851 w 2051041"/>
              <a:gd name="connsiteY863" fmla="*/ 616005 h 2084191"/>
              <a:gd name="connsiteX864" fmla="*/ 1560738 w 2051041"/>
              <a:gd name="connsiteY864" fmla="*/ 567029 h 2084191"/>
              <a:gd name="connsiteX865" fmla="*/ 1725624 w 2051041"/>
              <a:gd name="connsiteY865" fmla="*/ 565397 h 2084191"/>
              <a:gd name="connsiteX866" fmla="*/ 1774599 w 2051041"/>
              <a:gd name="connsiteY866" fmla="*/ 616005 h 2084191"/>
              <a:gd name="connsiteX867" fmla="*/ 1723447 w 2051041"/>
              <a:gd name="connsiteY867" fmla="*/ 664981 h 2084191"/>
              <a:gd name="connsiteX868" fmla="*/ 1674471 w 2051041"/>
              <a:gd name="connsiteY868" fmla="*/ 615461 h 2084191"/>
              <a:gd name="connsiteX869" fmla="*/ 1725624 w 2051041"/>
              <a:gd name="connsiteY869" fmla="*/ 565397 h 2084191"/>
              <a:gd name="connsiteX870" fmla="*/ 1886699 w 2051041"/>
              <a:gd name="connsiteY870" fmla="*/ 564853 h 2084191"/>
              <a:gd name="connsiteX871" fmla="*/ 1938396 w 2051041"/>
              <a:gd name="connsiteY871" fmla="*/ 614917 h 2084191"/>
              <a:gd name="connsiteX872" fmla="*/ 1887787 w 2051041"/>
              <a:gd name="connsiteY872" fmla="*/ 665525 h 2084191"/>
              <a:gd name="connsiteX873" fmla="*/ 1837179 w 2051041"/>
              <a:gd name="connsiteY873" fmla="*/ 615461 h 2084191"/>
              <a:gd name="connsiteX874" fmla="*/ 1886699 w 2051041"/>
              <a:gd name="connsiteY874" fmla="*/ 564853 h 2084191"/>
              <a:gd name="connsiteX875" fmla="*/ 2050496 w 2051041"/>
              <a:gd name="connsiteY875" fmla="*/ 564852 h 2084191"/>
              <a:gd name="connsiteX876" fmla="*/ 2051041 w 2051041"/>
              <a:gd name="connsiteY876" fmla="*/ 564962 h 2084191"/>
              <a:gd name="connsiteX877" fmla="*/ 2051041 w 2051041"/>
              <a:gd name="connsiteY877" fmla="*/ 665899 h 2084191"/>
              <a:gd name="connsiteX878" fmla="*/ 2049952 w 2051041"/>
              <a:gd name="connsiteY878" fmla="*/ 666069 h 2084191"/>
              <a:gd name="connsiteX879" fmla="*/ 1999344 w 2051041"/>
              <a:gd name="connsiteY879" fmla="*/ 615460 h 2084191"/>
              <a:gd name="connsiteX880" fmla="*/ 2050496 w 2051041"/>
              <a:gd name="connsiteY880" fmla="*/ 564852 h 2084191"/>
              <a:gd name="connsiteX881" fmla="*/ 173090 w 2051041"/>
              <a:gd name="connsiteY881" fmla="*/ 517509 h 2084191"/>
              <a:gd name="connsiteX882" fmla="*/ 189959 w 2051041"/>
              <a:gd name="connsiteY882" fmla="*/ 533834 h 2084191"/>
              <a:gd name="connsiteX883" fmla="*/ 173634 w 2051041"/>
              <a:gd name="connsiteY883" fmla="*/ 550160 h 2084191"/>
              <a:gd name="connsiteX884" fmla="*/ 157308 w 2051041"/>
              <a:gd name="connsiteY884" fmla="*/ 534923 h 2084191"/>
              <a:gd name="connsiteX885" fmla="*/ 173090 w 2051041"/>
              <a:gd name="connsiteY885" fmla="*/ 517509 h 2084191"/>
              <a:gd name="connsiteX886" fmla="*/ 335798 w 2051041"/>
              <a:gd name="connsiteY886" fmla="*/ 511523 h 2084191"/>
              <a:gd name="connsiteX887" fmla="*/ 358654 w 2051041"/>
              <a:gd name="connsiteY887" fmla="*/ 533834 h 2084191"/>
              <a:gd name="connsiteX888" fmla="*/ 336343 w 2051041"/>
              <a:gd name="connsiteY888" fmla="*/ 556689 h 2084191"/>
              <a:gd name="connsiteX889" fmla="*/ 312943 w 2051041"/>
              <a:gd name="connsiteY889" fmla="*/ 534378 h 2084191"/>
              <a:gd name="connsiteX890" fmla="*/ 335798 w 2051041"/>
              <a:gd name="connsiteY890" fmla="*/ 511523 h 2084191"/>
              <a:gd name="connsiteX891" fmla="*/ 500139 w 2051041"/>
              <a:gd name="connsiteY891" fmla="*/ 506626 h 2084191"/>
              <a:gd name="connsiteX892" fmla="*/ 527348 w 2051041"/>
              <a:gd name="connsiteY892" fmla="*/ 535467 h 2084191"/>
              <a:gd name="connsiteX893" fmla="*/ 497963 w 2051041"/>
              <a:gd name="connsiteY893" fmla="*/ 561587 h 2084191"/>
              <a:gd name="connsiteX894" fmla="*/ 471842 w 2051041"/>
              <a:gd name="connsiteY894" fmla="*/ 533290 h 2084191"/>
              <a:gd name="connsiteX895" fmla="*/ 500139 w 2051041"/>
              <a:gd name="connsiteY895" fmla="*/ 506626 h 2084191"/>
              <a:gd name="connsiteX896" fmla="*/ 662304 w 2051041"/>
              <a:gd name="connsiteY896" fmla="*/ 500639 h 2084191"/>
              <a:gd name="connsiteX897" fmla="*/ 696042 w 2051041"/>
              <a:gd name="connsiteY897" fmla="*/ 533290 h 2084191"/>
              <a:gd name="connsiteX898" fmla="*/ 663392 w 2051041"/>
              <a:gd name="connsiteY898" fmla="*/ 566485 h 2084191"/>
              <a:gd name="connsiteX899" fmla="*/ 630197 w 2051041"/>
              <a:gd name="connsiteY899" fmla="*/ 534378 h 2084191"/>
              <a:gd name="connsiteX900" fmla="*/ 662304 w 2051041"/>
              <a:gd name="connsiteY900" fmla="*/ 500639 h 2084191"/>
              <a:gd name="connsiteX901" fmla="*/ 825557 w 2051041"/>
              <a:gd name="connsiteY901" fmla="*/ 496830 h 2084191"/>
              <a:gd name="connsiteX902" fmla="*/ 863649 w 2051041"/>
              <a:gd name="connsiteY902" fmla="*/ 534923 h 2084191"/>
              <a:gd name="connsiteX903" fmla="*/ 825557 w 2051041"/>
              <a:gd name="connsiteY903" fmla="*/ 571383 h 2084191"/>
              <a:gd name="connsiteX904" fmla="*/ 788553 w 2051041"/>
              <a:gd name="connsiteY904" fmla="*/ 534379 h 2084191"/>
              <a:gd name="connsiteX905" fmla="*/ 825557 w 2051041"/>
              <a:gd name="connsiteY905" fmla="*/ 496830 h 2084191"/>
              <a:gd name="connsiteX906" fmla="*/ 989898 w 2051041"/>
              <a:gd name="connsiteY906" fmla="*/ 494110 h 2084191"/>
              <a:gd name="connsiteX907" fmla="*/ 1029078 w 2051041"/>
              <a:gd name="connsiteY907" fmla="*/ 534923 h 2084191"/>
              <a:gd name="connsiteX908" fmla="*/ 989353 w 2051041"/>
              <a:gd name="connsiteY908" fmla="*/ 574104 h 2084191"/>
              <a:gd name="connsiteX909" fmla="*/ 949629 w 2051041"/>
              <a:gd name="connsiteY909" fmla="*/ 533835 h 2084191"/>
              <a:gd name="connsiteX910" fmla="*/ 989898 w 2051041"/>
              <a:gd name="connsiteY910" fmla="*/ 494110 h 2084191"/>
              <a:gd name="connsiteX911" fmla="*/ 1152062 w 2051041"/>
              <a:gd name="connsiteY911" fmla="*/ 490301 h 2084191"/>
              <a:gd name="connsiteX912" fmla="*/ 1196140 w 2051041"/>
              <a:gd name="connsiteY912" fmla="*/ 533835 h 2084191"/>
              <a:gd name="connsiteX913" fmla="*/ 1152606 w 2051041"/>
              <a:gd name="connsiteY913" fmla="*/ 577369 h 2084191"/>
              <a:gd name="connsiteX914" fmla="*/ 1109072 w 2051041"/>
              <a:gd name="connsiteY914" fmla="*/ 534379 h 2084191"/>
              <a:gd name="connsiteX915" fmla="*/ 1152062 w 2051041"/>
              <a:gd name="connsiteY915" fmla="*/ 490301 h 2084191"/>
              <a:gd name="connsiteX916" fmla="*/ 1316947 w 2051041"/>
              <a:gd name="connsiteY916" fmla="*/ 489212 h 2084191"/>
              <a:gd name="connsiteX917" fmla="*/ 1361570 w 2051041"/>
              <a:gd name="connsiteY917" fmla="*/ 534923 h 2084191"/>
              <a:gd name="connsiteX918" fmla="*/ 1315859 w 2051041"/>
              <a:gd name="connsiteY918" fmla="*/ 580090 h 2084191"/>
              <a:gd name="connsiteX919" fmla="*/ 1270693 w 2051041"/>
              <a:gd name="connsiteY919" fmla="*/ 533835 h 2084191"/>
              <a:gd name="connsiteX920" fmla="*/ 1316947 w 2051041"/>
              <a:gd name="connsiteY920" fmla="*/ 489212 h 2084191"/>
              <a:gd name="connsiteX921" fmla="*/ 1479112 w 2051041"/>
              <a:gd name="connsiteY921" fmla="*/ 484315 h 2084191"/>
              <a:gd name="connsiteX922" fmla="*/ 1528087 w 2051041"/>
              <a:gd name="connsiteY922" fmla="*/ 533835 h 2084191"/>
              <a:gd name="connsiteX923" fmla="*/ 1479656 w 2051041"/>
              <a:gd name="connsiteY923" fmla="*/ 582267 h 2084191"/>
              <a:gd name="connsiteX924" fmla="*/ 1431224 w 2051041"/>
              <a:gd name="connsiteY924" fmla="*/ 533835 h 2084191"/>
              <a:gd name="connsiteX925" fmla="*/ 1479112 w 2051041"/>
              <a:gd name="connsiteY925" fmla="*/ 484315 h 2084191"/>
              <a:gd name="connsiteX926" fmla="*/ 1643452 w 2051041"/>
              <a:gd name="connsiteY926" fmla="*/ 484314 h 2084191"/>
              <a:gd name="connsiteX927" fmla="*/ 1692973 w 2051041"/>
              <a:gd name="connsiteY927" fmla="*/ 534923 h 2084191"/>
              <a:gd name="connsiteX928" fmla="*/ 1641276 w 2051041"/>
              <a:gd name="connsiteY928" fmla="*/ 583898 h 2084191"/>
              <a:gd name="connsiteX929" fmla="*/ 1592300 w 2051041"/>
              <a:gd name="connsiteY929" fmla="*/ 532202 h 2084191"/>
              <a:gd name="connsiteX930" fmla="*/ 1643452 w 2051041"/>
              <a:gd name="connsiteY930" fmla="*/ 484314 h 2084191"/>
              <a:gd name="connsiteX931" fmla="*/ 1806162 w 2051041"/>
              <a:gd name="connsiteY931" fmla="*/ 481594 h 2084191"/>
              <a:gd name="connsiteX932" fmla="*/ 1857858 w 2051041"/>
              <a:gd name="connsiteY932" fmla="*/ 536011 h 2084191"/>
              <a:gd name="connsiteX933" fmla="*/ 1803441 w 2051041"/>
              <a:gd name="connsiteY933" fmla="*/ 586075 h 2084191"/>
              <a:gd name="connsiteX934" fmla="*/ 1753377 w 2051041"/>
              <a:gd name="connsiteY934" fmla="*/ 533290 h 2084191"/>
              <a:gd name="connsiteX935" fmla="*/ 1806162 w 2051041"/>
              <a:gd name="connsiteY935" fmla="*/ 481594 h 2084191"/>
              <a:gd name="connsiteX936" fmla="*/ 1968326 w 2051041"/>
              <a:gd name="connsiteY936" fmla="*/ 480505 h 2084191"/>
              <a:gd name="connsiteX937" fmla="*/ 2022200 w 2051041"/>
              <a:gd name="connsiteY937" fmla="*/ 534379 h 2084191"/>
              <a:gd name="connsiteX938" fmla="*/ 1969415 w 2051041"/>
              <a:gd name="connsiteY938" fmla="*/ 588252 h 2084191"/>
              <a:gd name="connsiteX939" fmla="*/ 1915541 w 2051041"/>
              <a:gd name="connsiteY939" fmla="*/ 534923 h 2084191"/>
              <a:gd name="connsiteX940" fmla="*/ 1968326 w 2051041"/>
              <a:gd name="connsiteY940" fmla="*/ 480505 h 2084191"/>
              <a:gd name="connsiteX941" fmla="*/ 91464 w 2051041"/>
              <a:gd name="connsiteY941" fmla="*/ 440780 h 2084191"/>
              <a:gd name="connsiteX942" fmla="*/ 102891 w 2051041"/>
              <a:gd name="connsiteY942" fmla="*/ 451664 h 2084191"/>
              <a:gd name="connsiteX943" fmla="*/ 92008 w 2051041"/>
              <a:gd name="connsiteY943" fmla="*/ 464179 h 2084191"/>
              <a:gd name="connsiteX944" fmla="*/ 80036 w 2051041"/>
              <a:gd name="connsiteY944" fmla="*/ 452752 h 2084191"/>
              <a:gd name="connsiteX945" fmla="*/ 91464 w 2051041"/>
              <a:gd name="connsiteY945" fmla="*/ 440780 h 2084191"/>
              <a:gd name="connsiteX946" fmla="*/ 254172 w 2051041"/>
              <a:gd name="connsiteY946" fmla="*/ 430441 h 2084191"/>
              <a:gd name="connsiteX947" fmla="*/ 275939 w 2051041"/>
              <a:gd name="connsiteY947" fmla="*/ 452208 h 2084191"/>
              <a:gd name="connsiteX948" fmla="*/ 254716 w 2051041"/>
              <a:gd name="connsiteY948" fmla="*/ 473975 h 2084191"/>
              <a:gd name="connsiteX949" fmla="*/ 232405 w 2051041"/>
              <a:gd name="connsiteY949" fmla="*/ 452752 h 2084191"/>
              <a:gd name="connsiteX950" fmla="*/ 254172 w 2051041"/>
              <a:gd name="connsiteY950" fmla="*/ 430441 h 2084191"/>
              <a:gd name="connsiteX951" fmla="*/ 417969 w 2051041"/>
              <a:gd name="connsiteY951" fmla="*/ 424999 h 2084191"/>
              <a:gd name="connsiteX952" fmla="*/ 444634 w 2051041"/>
              <a:gd name="connsiteY952" fmla="*/ 452752 h 2084191"/>
              <a:gd name="connsiteX953" fmla="*/ 417425 w 2051041"/>
              <a:gd name="connsiteY953" fmla="*/ 479417 h 2084191"/>
              <a:gd name="connsiteX954" fmla="*/ 390760 w 2051041"/>
              <a:gd name="connsiteY954" fmla="*/ 452208 h 2084191"/>
              <a:gd name="connsiteX955" fmla="*/ 417969 w 2051041"/>
              <a:gd name="connsiteY955" fmla="*/ 424999 h 2084191"/>
              <a:gd name="connsiteX956" fmla="*/ 580677 w 2051041"/>
              <a:gd name="connsiteY956" fmla="*/ 419558 h 2084191"/>
              <a:gd name="connsiteX957" fmla="*/ 612783 w 2051041"/>
              <a:gd name="connsiteY957" fmla="*/ 452208 h 2084191"/>
              <a:gd name="connsiteX958" fmla="*/ 581221 w 2051041"/>
              <a:gd name="connsiteY958" fmla="*/ 484315 h 2084191"/>
              <a:gd name="connsiteX959" fmla="*/ 549115 w 2051041"/>
              <a:gd name="connsiteY959" fmla="*/ 452208 h 2084191"/>
              <a:gd name="connsiteX960" fmla="*/ 580677 w 2051041"/>
              <a:gd name="connsiteY960" fmla="*/ 419558 h 2084191"/>
              <a:gd name="connsiteX961" fmla="*/ 743931 w 2051041"/>
              <a:gd name="connsiteY961" fmla="*/ 415748 h 2084191"/>
              <a:gd name="connsiteX962" fmla="*/ 780390 w 2051041"/>
              <a:gd name="connsiteY962" fmla="*/ 452208 h 2084191"/>
              <a:gd name="connsiteX963" fmla="*/ 744475 w 2051041"/>
              <a:gd name="connsiteY963" fmla="*/ 489212 h 2084191"/>
              <a:gd name="connsiteX964" fmla="*/ 708559 w 2051041"/>
              <a:gd name="connsiteY964" fmla="*/ 453840 h 2084191"/>
              <a:gd name="connsiteX965" fmla="*/ 743931 w 2051041"/>
              <a:gd name="connsiteY965" fmla="*/ 415748 h 2084191"/>
              <a:gd name="connsiteX966" fmla="*/ 908271 w 2051041"/>
              <a:gd name="connsiteY966" fmla="*/ 414116 h 2084191"/>
              <a:gd name="connsiteX967" fmla="*/ 946363 w 2051041"/>
              <a:gd name="connsiteY967" fmla="*/ 453296 h 2084191"/>
              <a:gd name="connsiteX968" fmla="*/ 906638 w 2051041"/>
              <a:gd name="connsiteY968" fmla="*/ 491933 h 2084191"/>
              <a:gd name="connsiteX969" fmla="*/ 868546 w 2051041"/>
              <a:gd name="connsiteY969" fmla="*/ 452208 h 2084191"/>
              <a:gd name="connsiteX970" fmla="*/ 908271 w 2051041"/>
              <a:gd name="connsiteY970" fmla="*/ 414116 h 2084191"/>
              <a:gd name="connsiteX971" fmla="*/ 1072068 w 2051041"/>
              <a:gd name="connsiteY971" fmla="*/ 409218 h 2084191"/>
              <a:gd name="connsiteX972" fmla="*/ 1113970 w 2051041"/>
              <a:gd name="connsiteY972" fmla="*/ 452752 h 2084191"/>
              <a:gd name="connsiteX973" fmla="*/ 1070436 w 2051041"/>
              <a:gd name="connsiteY973" fmla="*/ 495198 h 2084191"/>
              <a:gd name="connsiteX974" fmla="*/ 1028534 w 2051041"/>
              <a:gd name="connsiteY974" fmla="*/ 451120 h 2084191"/>
              <a:gd name="connsiteX975" fmla="*/ 1072068 w 2051041"/>
              <a:gd name="connsiteY975" fmla="*/ 409218 h 2084191"/>
              <a:gd name="connsiteX976" fmla="*/ 1235865 w 2051041"/>
              <a:gd name="connsiteY976" fmla="*/ 408130 h 2084191"/>
              <a:gd name="connsiteX977" fmla="*/ 1279400 w 2051041"/>
              <a:gd name="connsiteY977" fmla="*/ 453296 h 2084191"/>
              <a:gd name="connsiteX978" fmla="*/ 1233689 w 2051041"/>
              <a:gd name="connsiteY978" fmla="*/ 497374 h 2084191"/>
              <a:gd name="connsiteX979" fmla="*/ 1189611 w 2051041"/>
              <a:gd name="connsiteY979" fmla="*/ 451664 h 2084191"/>
              <a:gd name="connsiteX980" fmla="*/ 1235865 w 2051041"/>
              <a:gd name="connsiteY980" fmla="*/ 408130 h 2084191"/>
              <a:gd name="connsiteX981" fmla="*/ 1396941 w 2051041"/>
              <a:gd name="connsiteY981" fmla="*/ 403776 h 2084191"/>
              <a:gd name="connsiteX982" fmla="*/ 1446461 w 2051041"/>
              <a:gd name="connsiteY982" fmla="*/ 450575 h 2084191"/>
              <a:gd name="connsiteX983" fmla="*/ 1399118 w 2051041"/>
              <a:gd name="connsiteY983" fmla="*/ 500640 h 2084191"/>
              <a:gd name="connsiteX984" fmla="*/ 1349598 w 2051041"/>
              <a:gd name="connsiteY984" fmla="*/ 453296 h 2084191"/>
              <a:gd name="connsiteX985" fmla="*/ 1396941 w 2051041"/>
              <a:gd name="connsiteY985" fmla="*/ 403776 h 2084191"/>
              <a:gd name="connsiteX986" fmla="*/ 1560738 w 2051041"/>
              <a:gd name="connsiteY986" fmla="*/ 402144 h 2084191"/>
              <a:gd name="connsiteX987" fmla="*/ 1611347 w 2051041"/>
              <a:gd name="connsiteY987" fmla="*/ 453297 h 2084191"/>
              <a:gd name="connsiteX988" fmla="*/ 1560194 w 2051041"/>
              <a:gd name="connsiteY988" fmla="*/ 502272 h 2084191"/>
              <a:gd name="connsiteX989" fmla="*/ 1511218 w 2051041"/>
              <a:gd name="connsiteY989" fmla="*/ 451664 h 2084191"/>
              <a:gd name="connsiteX990" fmla="*/ 1560738 w 2051041"/>
              <a:gd name="connsiteY990" fmla="*/ 402144 h 2084191"/>
              <a:gd name="connsiteX991" fmla="*/ 1723991 w 2051041"/>
              <a:gd name="connsiteY991" fmla="*/ 399423 h 2084191"/>
              <a:gd name="connsiteX992" fmla="*/ 1776776 w 2051041"/>
              <a:gd name="connsiteY992" fmla="*/ 452752 h 2084191"/>
              <a:gd name="connsiteX993" fmla="*/ 1725079 w 2051041"/>
              <a:gd name="connsiteY993" fmla="*/ 504993 h 2084191"/>
              <a:gd name="connsiteX994" fmla="*/ 1671750 w 2051041"/>
              <a:gd name="connsiteY994" fmla="*/ 452752 h 2084191"/>
              <a:gd name="connsiteX995" fmla="*/ 1723991 w 2051041"/>
              <a:gd name="connsiteY995" fmla="*/ 399423 h 2084191"/>
              <a:gd name="connsiteX996" fmla="*/ 2051040 w 2051041"/>
              <a:gd name="connsiteY996" fmla="*/ 398335 h 2084191"/>
              <a:gd name="connsiteX997" fmla="*/ 2051041 w 2051041"/>
              <a:gd name="connsiteY997" fmla="*/ 398335 h 2084191"/>
              <a:gd name="connsiteX998" fmla="*/ 2051041 w 2051041"/>
              <a:gd name="connsiteY998" fmla="*/ 506936 h 2084191"/>
              <a:gd name="connsiteX999" fmla="*/ 2049952 w 2051041"/>
              <a:gd name="connsiteY999" fmla="*/ 507170 h 2084191"/>
              <a:gd name="connsiteX1000" fmla="*/ 1995534 w 2051041"/>
              <a:gd name="connsiteY1000" fmla="*/ 452208 h 2084191"/>
              <a:gd name="connsiteX1001" fmla="*/ 2051040 w 2051041"/>
              <a:gd name="connsiteY1001" fmla="*/ 398335 h 2084191"/>
              <a:gd name="connsiteX1002" fmla="*/ 1888332 w 2051041"/>
              <a:gd name="connsiteY1002" fmla="*/ 398335 h 2084191"/>
              <a:gd name="connsiteX1003" fmla="*/ 1941661 w 2051041"/>
              <a:gd name="connsiteY1003" fmla="*/ 452208 h 2084191"/>
              <a:gd name="connsiteX1004" fmla="*/ 1886699 w 2051041"/>
              <a:gd name="connsiteY1004" fmla="*/ 506082 h 2084191"/>
              <a:gd name="connsiteX1005" fmla="*/ 1833370 w 2051041"/>
              <a:gd name="connsiteY1005" fmla="*/ 452208 h 2084191"/>
              <a:gd name="connsiteX1006" fmla="*/ 1888332 w 2051041"/>
              <a:gd name="connsiteY1006" fmla="*/ 398335 h 2084191"/>
              <a:gd name="connsiteX1007" fmla="*/ 12014 w 2051041"/>
              <a:gd name="connsiteY1007" fmla="*/ 364052 h 2084191"/>
              <a:gd name="connsiteX1008" fmla="*/ 15823 w 2051041"/>
              <a:gd name="connsiteY1008" fmla="*/ 370038 h 2084191"/>
              <a:gd name="connsiteX1009" fmla="*/ 9293 w 2051041"/>
              <a:gd name="connsiteY1009" fmla="*/ 377656 h 2084191"/>
              <a:gd name="connsiteX1010" fmla="*/ 3307 w 2051041"/>
              <a:gd name="connsiteY1010" fmla="*/ 371126 h 2084191"/>
              <a:gd name="connsiteX1011" fmla="*/ 12014 w 2051041"/>
              <a:gd name="connsiteY1011" fmla="*/ 364052 h 2084191"/>
              <a:gd name="connsiteX1012" fmla="*/ 172545 w 2051041"/>
              <a:gd name="connsiteY1012" fmla="*/ 353713 h 2084191"/>
              <a:gd name="connsiteX1013" fmla="*/ 190503 w 2051041"/>
              <a:gd name="connsiteY1013" fmla="*/ 370582 h 2084191"/>
              <a:gd name="connsiteX1014" fmla="*/ 173090 w 2051041"/>
              <a:gd name="connsiteY1014" fmla="*/ 387996 h 2084191"/>
              <a:gd name="connsiteX1015" fmla="*/ 155676 w 2051041"/>
              <a:gd name="connsiteY1015" fmla="*/ 371126 h 2084191"/>
              <a:gd name="connsiteX1016" fmla="*/ 172545 w 2051041"/>
              <a:gd name="connsiteY1016" fmla="*/ 353713 h 2084191"/>
              <a:gd name="connsiteX1017" fmla="*/ 336886 w 2051041"/>
              <a:gd name="connsiteY1017" fmla="*/ 345550 h 2084191"/>
              <a:gd name="connsiteX1018" fmla="*/ 361374 w 2051041"/>
              <a:gd name="connsiteY1018" fmla="*/ 371670 h 2084191"/>
              <a:gd name="connsiteX1019" fmla="*/ 335798 w 2051041"/>
              <a:gd name="connsiteY1019" fmla="*/ 395070 h 2084191"/>
              <a:gd name="connsiteX1020" fmla="*/ 311854 w 2051041"/>
              <a:gd name="connsiteY1020" fmla="*/ 370038 h 2084191"/>
              <a:gd name="connsiteX1021" fmla="*/ 336886 w 2051041"/>
              <a:gd name="connsiteY1021" fmla="*/ 345550 h 2084191"/>
              <a:gd name="connsiteX1022" fmla="*/ 499596 w 2051041"/>
              <a:gd name="connsiteY1022" fmla="*/ 342284 h 2084191"/>
              <a:gd name="connsiteX1023" fmla="*/ 528437 w 2051041"/>
              <a:gd name="connsiteY1023" fmla="*/ 370582 h 2084191"/>
              <a:gd name="connsiteX1024" fmla="*/ 499051 w 2051041"/>
              <a:gd name="connsiteY1024" fmla="*/ 399423 h 2084191"/>
              <a:gd name="connsiteX1025" fmla="*/ 470210 w 2051041"/>
              <a:gd name="connsiteY1025" fmla="*/ 370037 h 2084191"/>
              <a:gd name="connsiteX1026" fmla="*/ 499596 w 2051041"/>
              <a:gd name="connsiteY1026" fmla="*/ 342284 h 2084191"/>
              <a:gd name="connsiteX1027" fmla="*/ 663392 w 2051041"/>
              <a:gd name="connsiteY1027" fmla="*/ 337387 h 2084191"/>
              <a:gd name="connsiteX1028" fmla="*/ 697131 w 2051041"/>
              <a:gd name="connsiteY1028" fmla="*/ 371126 h 2084191"/>
              <a:gd name="connsiteX1029" fmla="*/ 662304 w 2051041"/>
              <a:gd name="connsiteY1029" fmla="*/ 404321 h 2084191"/>
              <a:gd name="connsiteX1030" fmla="*/ 629109 w 2051041"/>
              <a:gd name="connsiteY1030" fmla="*/ 371126 h 2084191"/>
              <a:gd name="connsiteX1031" fmla="*/ 663392 w 2051041"/>
              <a:gd name="connsiteY1031" fmla="*/ 337387 h 2084191"/>
              <a:gd name="connsiteX1032" fmla="*/ 825556 w 2051041"/>
              <a:gd name="connsiteY1032" fmla="*/ 332489 h 2084191"/>
              <a:gd name="connsiteX1033" fmla="*/ 864737 w 2051041"/>
              <a:gd name="connsiteY1033" fmla="*/ 370037 h 2084191"/>
              <a:gd name="connsiteX1034" fmla="*/ 826645 w 2051041"/>
              <a:gd name="connsiteY1034" fmla="*/ 409218 h 2084191"/>
              <a:gd name="connsiteX1035" fmla="*/ 787464 w 2051041"/>
              <a:gd name="connsiteY1035" fmla="*/ 371126 h 2084191"/>
              <a:gd name="connsiteX1036" fmla="*/ 825556 w 2051041"/>
              <a:gd name="connsiteY1036" fmla="*/ 332489 h 2084191"/>
              <a:gd name="connsiteX1037" fmla="*/ 989898 w 2051041"/>
              <a:gd name="connsiteY1037" fmla="*/ 328680 h 2084191"/>
              <a:gd name="connsiteX1038" fmla="*/ 1031255 w 2051041"/>
              <a:gd name="connsiteY1038" fmla="*/ 371126 h 2084191"/>
              <a:gd name="connsiteX1039" fmla="*/ 989354 w 2051041"/>
              <a:gd name="connsiteY1039" fmla="*/ 413027 h 2084191"/>
              <a:gd name="connsiteX1040" fmla="*/ 947452 w 2051041"/>
              <a:gd name="connsiteY1040" fmla="*/ 370037 h 2084191"/>
              <a:gd name="connsiteX1041" fmla="*/ 989898 w 2051041"/>
              <a:gd name="connsiteY1041" fmla="*/ 328680 h 2084191"/>
              <a:gd name="connsiteX1042" fmla="*/ 1153150 w 2051041"/>
              <a:gd name="connsiteY1042" fmla="*/ 326504 h 2084191"/>
              <a:gd name="connsiteX1043" fmla="*/ 1197228 w 2051041"/>
              <a:gd name="connsiteY1043" fmla="*/ 370582 h 2084191"/>
              <a:gd name="connsiteX1044" fmla="*/ 1152606 w 2051041"/>
              <a:gd name="connsiteY1044" fmla="*/ 414661 h 2084191"/>
              <a:gd name="connsiteX1045" fmla="*/ 1108528 w 2051041"/>
              <a:gd name="connsiteY1045" fmla="*/ 370038 h 2084191"/>
              <a:gd name="connsiteX1046" fmla="*/ 1153150 w 2051041"/>
              <a:gd name="connsiteY1046" fmla="*/ 326504 h 2084191"/>
              <a:gd name="connsiteX1047" fmla="*/ 1317492 w 2051041"/>
              <a:gd name="connsiteY1047" fmla="*/ 323239 h 2084191"/>
              <a:gd name="connsiteX1048" fmla="*/ 1364835 w 2051041"/>
              <a:gd name="connsiteY1048" fmla="*/ 372215 h 2084191"/>
              <a:gd name="connsiteX1049" fmla="*/ 1314771 w 2051041"/>
              <a:gd name="connsiteY1049" fmla="*/ 419014 h 2084191"/>
              <a:gd name="connsiteX1050" fmla="*/ 1268516 w 2051041"/>
              <a:gd name="connsiteY1050" fmla="*/ 370582 h 2084191"/>
              <a:gd name="connsiteX1051" fmla="*/ 1317492 w 2051041"/>
              <a:gd name="connsiteY1051" fmla="*/ 323239 h 2084191"/>
              <a:gd name="connsiteX1052" fmla="*/ 1479112 w 2051041"/>
              <a:gd name="connsiteY1052" fmla="*/ 320517 h 2084191"/>
              <a:gd name="connsiteX1053" fmla="*/ 1529720 w 2051041"/>
              <a:gd name="connsiteY1053" fmla="*/ 371670 h 2084191"/>
              <a:gd name="connsiteX1054" fmla="*/ 1478568 w 2051041"/>
              <a:gd name="connsiteY1054" fmla="*/ 420101 h 2084191"/>
              <a:gd name="connsiteX1055" fmla="*/ 1429592 w 2051041"/>
              <a:gd name="connsiteY1055" fmla="*/ 370037 h 2084191"/>
              <a:gd name="connsiteX1056" fmla="*/ 1479112 w 2051041"/>
              <a:gd name="connsiteY1056" fmla="*/ 320517 h 2084191"/>
              <a:gd name="connsiteX1057" fmla="*/ 1642364 w 2051041"/>
              <a:gd name="connsiteY1057" fmla="*/ 318341 h 2084191"/>
              <a:gd name="connsiteX1058" fmla="*/ 1695694 w 2051041"/>
              <a:gd name="connsiteY1058" fmla="*/ 370582 h 2084191"/>
              <a:gd name="connsiteX1059" fmla="*/ 1643453 w 2051041"/>
              <a:gd name="connsiteY1059" fmla="*/ 424455 h 2084191"/>
              <a:gd name="connsiteX1060" fmla="*/ 1589035 w 2051041"/>
              <a:gd name="connsiteY1060" fmla="*/ 371670 h 2084191"/>
              <a:gd name="connsiteX1061" fmla="*/ 1642364 w 2051041"/>
              <a:gd name="connsiteY1061" fmla="*/ 318341 h 2084191"/>
              <a:gd name="connsiteX1062" fmla="*/ 90919 w 2051041"/>
              <a:gd name="connsiteY1062" fmla="*/ 273718 h 2084191"/>
              <a:gd name="connsiteX1063" fmla="*/ 106700 w 2051041"/>
              <a:gd name="connsiteY1063" fmla="*/ 288411 h 2084191"/>
              <a:gd name="connsiteX1064" fmla="*/ 91463 w 2051041"/>
              <a:gd name="connsiteY1064" fmla="*/ 303648 h 2084191"/>
              <a:gd name="connsiteX1065" fmla="*/ 76770 w 2051041"/>
              <a:gd name="connsiteY1065" fmla="*/ 288411 h 2084191"/>
              <a:gd name="connsiteX1066" fmla="*/ 90919 w 2051041"/>
              <a:gd name="connsiteY1066" fmla="*/ 273718 h 2084191"/>
              <a:gd name="connsiteX1067" fmla="*/ 254716 w 2051041"/>
              <a:gd name="connsiteY1067" fmla="*/ 267733 h 2084191"/>
              <a:gd name="connsiteX1068" fmla="*/ 276483 w 2051041"/>
              <a:gd name="connsiteY1068" fmla="*/ 288956 h 2084191"/>
              <a:gd name="connsiteX1069" fmla="*/ 254172 w 2051041"/>
              <a:gd name="connsiteY1069" fmla="*/ 311811 h 2084191"/>
              <a:gd name="connsiteX1070" fmla="*/ 232405 w 2051041"/>
              <a:gd name="connsiteY1070" fmla="*/ 289500 h 2084191"/>
              <a:gd name="connsiteX1071" fmla="*/ 254716 w 2051041"/>
              <a:gd name="connsiteY1071" fmla="*/ 267733 h 2084191"/>
              <a:gd name="connsiteX1072" fmla="*/ 1941117 w 2051041"/>
              <a:gd name="connsiteY1072" fmla="*/ 263202 h 2084191"/>
              <a:gd name="connsiteX1073" fmla="*/ 1936219 w 2051041"/>
              <a:gd name="connsiteY1073" fmla="*/ 266467 h 2084191"/>
              <a:gd name="connsiteX1074" fmla="*/ 1938396 w 2051041"/>
              <a:gd name="connsiteY1074" fmla="*/ 272453 h 2084191"/>
              <a:gd name="connsiteX1075" fmla="*/ 1932954 w 2051041"/>
              <a:gd name="connsiteY1075" fmla="*/ 325782 h 2084191"/>
              <a:gd name="connsiteX1076" fmla="*/ 1930777 w 2051041"/>
              <a:gd name="connsiteY1076" fmla="*/ 331224 h 2084191"/>
              <a:gd name="connsiteX1077" fmla="*/ 1936219 w 2051041"/>
              <a:gd name="connsiteY1077" fmla="*/ 330136 h 2084191"/>
              <a:gd name="connsiteX1078" fmla="*/ 1966693 w 2051041"/>
              <a:gd name="connsiteY1078" fmla="*/ 320340 h 2084191"/>
              <a:gd name="connsiteX1079" fmla="*/ 1998799 w 2051041"/>
              <a:gd name="connsiteY1079" fmla="*/ 328503 h 2084191"/>
              <a:gd name="connsiteX1080" fmla="*/ 2003153 w 2051041"/>
              <a:gd name="connsiteY1080" fmla="*/ 330136 h 2084191"/>
              <a:gd name="connsiteX1081" fmla="*/ 2001520 w 2051041"/>
              <a:gd name="connsiteY1081" fmla="*/ 324694 h 2084191"/>
              <a:gd name="connsiteX1082" fmla="*/ 1994446 w 2051041"/>
              <a:gd name="connsiteY1082" fmla="*/ 309457 h 2084191"/>
              <a:gd name="connsiteX1083" fmla="*/ 1998255 w 2051041"/>
              <a:gd name="connsiteY1083" fmla="*/ 267555 h 2084191"/>
              <a:gd name="connsiteX1084" fmla="*/ 2000976 w 2051041"/>
              <a:gd name="connsiteY1084" fmla="*/ 263746 h 2084191"/>
              <a:gd name="connsiteX1085" fmla="*/ 1995534 w 2051041"/>
              <a:gd name="connsiteY1085" fmla="*/ 263746 h 2084191"/>
              <a:gd name="connsiteX1086" fmla="*/ 1941117 w 2051041"/>
              <a:gd name="connsiteY1086" fmla="*/ 263202 h 2084191"/>
              <a:gd name="connsiteX1087" fmla="*/ 417425 w 2051041"/>
              <a:gd name="connsiteY1087" fmla="*/ 262291 h 2084191"/>
              <a:gd name="connsiteX1088" fmla="*/ 445178 w 2051041"/>
              <a:gd name="connsiteY1088" fmla="*/ 288956 h 2084191"/>
              <a:gd name="connsiteX1089" fmla="*/ 417969 w 2051041"/>
              <a:gd name="connsiteY1089" fmla="*/ 317253 h 2084191"/>
              <a:gd name="connsiteX1090" fmla="*/ 390216 w 2051041"/>
              <a:gd name="connsiteY1090" fmla="*/ 290044 h 2084191"/>
              <a:gd name="connsiteX1091" fmla="*/ 417425 w 2051041"/>
              <a:gd name="connsiteY1091" fmla="*/ 262291 h 2084191"/>
              <a:gd name="connsiteX1092" fmla="*/ 580678 w 2051041"/>
              <a:gd name="connsiteY1092" fmla="*/ 256304 h 2084191"/>
              <a:gd name="connsiteX1093" fmla="*/ 613872 w 2051041"/>
              <a:gd name="connsiteY1093" fmla="*/ 288955 h 2084191"/>
              <a:gd name="connsiteX1094" fmla="*/ 581222 w 2051041"/>
              <a:gd name="connsiteY1094" fmla="*/ 322150 h 2084191"/>
              <a:gd name="connsiteX1095" fmla="*/ 548027 w 2051041"/>
              <a:gd name="connsiteY1095" fmla="*/ 289499 h 2084191"/>
              <a:gd name="connsiteX1096" fmla="*/ 580678 w 2051041"/>
              <a:gd name="connsiteY1096" fmla="*/ 256304 h 2084191"/>
              <a:gd name="connsiteX1097" fmla="*/ 743930 w 2051041"/>
              <a:gd name="connsiteY1097" fmla="*/ 251951 h 2084191"/>
              <a:gd name="connsiteX1098" fmla="*/ 782022 w 2051041"/>
              <a:gd name="connsiteY1098" fmla="*/ 289499 h 2084191"/>
              <a:gd name="connsiteX1099" fmla="*/ 744474 w 2051041"/>
              <a:gd name="connsiteY1099" fmla="*/ 326503 h 2084191"/>
              <a:gd name="connsiteX1100" fmla="*/ 707470 w 2051041"/>
              <a:gd name="connsiteY1100" fmla="*/ 289499 h 2084191"/>
              <a:gd name="connsiteX1101" fmla="*/ 743930 w 2051041"/>
              <a:gd name="connsiteY1101" fmla="*/ 251951 h 2084191"/>
              <a:gd name="connsiteX1102" fmla="*/ 907183 w 2051041"/>
              <a:gd name="connsiteY1102" fmla="*/ 249775 h 2084191"/>
              <a:gd name="connsiteX1103" fmla="*/ 947452 w 2051041"/>
              <a:gd name="connsiteY1103" fmla="*/ 289500 h 2084191"/>
              <a:gd name="connsiteX1104" fmla="*/ 908271 w 2051041"/>
              <a:gd name="connsiteY1104" fmla="*/ 329225 h 2084191"/>
              <a:gd name="connsiteX1105" fmla="*/ 867458 w 2051041"/>
              <a:gd name="connsiteY1105" fmla="*/ 290044 h 2084191"/>
              <a:gd name="connsiteX1106" fmla="*/ 907183 w 2051041"/>
              <a:gd name="connsiteY1106" fmla="*/ 249775 h 2084191"/>
              <a:gd name="connsiteX1107" fmla="*/ 1070435 w 2051041"/>
              <a:gd name="connsiteY1107" fmla="*/ 245965 h 2084191"/>
              <a:gd name="connsiteX1108" fmla="*/ 1114513 w 2051041"/>
              <a:gd name="connsiteY1108" fmla="*/ 290043 h 2084191"/>
              <a:gd name="connsiteX1109" fmla="*/ 1069347 w 2051041"/>
              <a:gd name="connsiteY1109" fmla="*/ 333578 h 2084191"/>
              <a:gd name="connsiteX1110" fmla="*/ 1026357 w 2051041"/>
              <a:gd name="connsiteY1110" fmla="*/ 288955 h 2084191"/>
              <a:gd name="connsiteX1111" fmla="*/ 1070435 w 2051041"/>
              <a:gd name="connsiteY1111" fmla="*/ 245965 h 2084191"/>
              <a:gd name="connsiteX1112" fmla="*/ 1233689 w 2051041"/>
              <a:gd name="connsiteY1112" fmla="*/ 241613 h 2084191"/>
              <a:gd name="connsiteX1113" fmla="*/ 1282120 w 2051041"/>
              <a:gd name="connsiteY1113" fmla="*/ 288412 h 2084191"/>
              <a:gd name="connsiteX1114" fmla="*/ 1235321 w 2051041"/>
              <a:gd name="connsiteY1114" fmla="*/ 335755 h 2084191"/>
              <a:gd name="connsiteX1115" fmla="*/ 1187434 w 2051041"/>
              <a:gd name="connsiteY1115" fmla="*/ 289500 h 2084191"/>
              <a:gd name="connsiteX1116" fmla="*/ 1233689 w 2051041"/>
              <a:gd name="connsiteY1116" fmla="*/ 241613 h 2084191"/>
              <a:gd name="connsiteX1117" fmla="*/ 1397485 w 2051041"/>
              <a:gd name="connsiteY1117" fmla="*/ 238891 h 2084191"/>
              <a:gd name="connsiteX1118" fmla="*/ 1448094 w 2051041"/>
              <a:gd name="connsiteY1118" fmla="*/ 288955 h 2084191"/>
              <a:gd name="connsiteX1119" fmla="*/ 1398029 w 2051041"/>
              <a:gd name="connsiteY1119" fmla="*/ 338475 h 2084191"/>
              <a:gd name="connsiteX1120" fmla="*/ 1348509 w 2051041"/>
              <a:gd name="connsiteY1120" fmla="*/ 289499 h 2084191"/>
              <a:gd name="connsiteX1121" fmla="*/ 1397485 w 2051041"/>
              <a:gd name="connsiteY1121" fmla="*/ 238891 h 2084191"/>
              <a:gd name="connsiteX1122" fmla="*/ 1559650 w 2051041"/>
              <a:gd name="connsiteY1122" fmla="*/ 237258 h 2084191"/>
              <a:gd name="connsiteX1123" fmla="*/ 1613523 w 2051041"/>
              <a:gd name="connsiteY1123" fmla="*/ 288955 h 2084191"/>
              <a:gd name="connsiteX1124" fmla="*/ 1560738 w 2051041"/>
              <a:gd name="connsiteY1124" fmla="*/ 342829 h 2084191"/>
              <a:gd name="connsiteX1125" fmla="*/ 1507953 w 2051041"/>
              <a:gd name="connsiteY1125" fmla="*/ 289499 h 2084191"/>
              <a:gd name="connsiteX1126" fmla="*/ 1559650 w 2051041"/>
              <a:gd name="connsiteY1126" fmla="*/ 237258 h 2084191"/>
              <a:gd name="connsiteX1127" fmla="*/ 9837 w 2051041"/>
              <a:gd name="connsiteY1127" fmla="*/ 198078 h 2084191"/>
              <a:gd name="connsiteX1128" fmla="*/ 19632 w 2051041"/>
              <a:gd name="connsiteY1128" fmla="*/ 207873 h 2084191"/>
              <a:gd name="connsiteX1129" fmla="*/ 10381 w 2051041"/>
              <a:gd name="connsiteY1129" fmla="*/ 218213 h 2084191"/>
              <a:gd name="connsiteX1130" fmla="*/ 42 w 2051041"/>
              <a:gd name="connsiteY1130" fmla="*/ 207873 h 2084191"/>
              <a:gd name="connsiteX1131" fmla="*/ 9837 w 2051041"/>
              <a:gd name="connsiteY1131" fmla="*/ 198078 h 2084191"/>
              <a:gd name="connsiteX1132" fmla="*/ 173090 w 2051041"/>
              <a:gd name="connsiteY1132" fmla="*/ 187739 h 2084191"/>
              <a:gd name="connsiteX1133" fmla="*/ 192136 w 2051041"/>
              <a:gd name="connsiteY1133" fmla="*/ 207329 h 2084191"/>
              <a:gd name="connsiteX1134" fmla="*/ 172546 w 2051041"/>
              <a:gd name="connsiteY1134" fmla="*/ 227464 h 2084191"/>
              <a:gd name="connsiteX1135" fmla="*/ 154044 w 2051041"/>
              <a:gd name="connsiteY1135" fmla="*/ 208418 h 2084191"/>
              <a:gd name="connsiteX1136" fmla="*/ 173090 w 2051041"/>
              <a:gd name="connsiteY1136" fmla="*/ 187739 h 2084191"/>
              <a:gd name="connsiteX1137" fmla="*/ 336887 w 2051041"/>
              <a:gd name="connsiteY1137" fmla="*/ 182297 h 2084191"/>
              <a:gd name="connsiteX1138" fmla="*/ 363007 w 2051041"/>
              <a:gd name="connsiteY1138" fmla="*/ 207329 h 2084191"/>
              <a:gd name="connsiteX1139" fmla="*/ 336887 w 2051041"/>
              <a:gd name="connsiteY1139" fmla="*/ 233994 h 2084191"/>
              <a:gd name="connsiteX1140" fmla="*/ 310766 w 2051041"/>
              <a:gd name="connsiteY1140" fmla="*/ 208961 h 2084191"/>
              <a:gd name="connsiteX1141" fmla="*/ 336887 w 2051041"/>
              <a:gd name="connsiteY1141" fmla="*/ 182297 h 2084191"/>
              <a:gd name="connsiteX1142" fmla="*/ 1856225 w 2051041"/>
              <a:gd name="connsiteY1142" fmla="*/ 180487 h 2084191"/>
              <a:gd name="connsiteX1143" fmla="*/ 1855681 w 2051041"/>
              <a:gd name="connsiteY1143" fmla="*/ 185929 h 2084191"/>
              <a:gd name="connsiteX1144" fmla="*/ 1851872 w 2051041"/>
              <a:gd name="connsiteY1144" fmla="*/ 244700 h 2084191"/>
              <a:gd name="connsiteX1145" fmla="*/ 1851328 w 2051041"/>
              <a:gd name="connsiteY1145" fmla="*/ 247965 h 2084191"/>
              <a:gd name="connsiteX1146" fmla="*/ 1854593 w 2051041"/>
              <a:gd name="connsiteY1146" fmla="*/ 247421 h 2084191"/>
              <a:gd name="connsiteX1147" fmla="*/ 1899215 w 2051041"/>
              <a:gd name="connsiteY1147" fmla="*/ 238714 h 2084191"/>
              <a:gd name="connsiteX1148" fmla="*/ 1913908 w 2051041"/>
              <a:gd name="connsiteY1148" fmla="*/ 243067 h 2084191"/>
              <a:gd name="connsiteX1149" fmla="*/ 1918806 w 2051041"/>
              <a:gd name="connsiteY1149" fmla="*/ 242523 h 2084191"/>
              <a:gd name="connsiteX1150" fmla="*/ 1918261 w 2051041"/>
              <a:gd name="connsiteY1150" fmla="*/ 238170 h 2084191"/>
              <a:gd name="connsiteX1151" fmla="*/ 1917173 w 2051041"/>
              <a:gd name="connsiteY1151" fmla="*/ 185929 h 2084191"/>
              <a:gd name="connsiteX1152" fmla="*/ 1918261 w 2051041"/>
              <a:gd name="connsiteY1152" fmla="*/ 181576 h 2084191"/>
              <a:gd name="connsiteX1153" fmla="*/ 1913908 w 2051041"/>
              <a:gd name="connsiteY1153" fmla="*/ 182664 h 2084191"/>
              <a:gd name="connsiteX1154" fmla="*/ 1860579 w 2051041"/>
              <a:gd name="connsiteY1154" fmla="*/ 180487 h 2084191"/>
              <a:gd name="connsiteX1155" fmla="*/ 1856225 w 2051041"/>
              <a:gd name="connsiteY1155" fmla="*/ 180487 h 2084191"/>
              <a:gd name="connsiteX1156" fmla="*/ 499595 w 2051041"/>
              <a:gd name="connsiteY1156" fmla="*/ 175767 h 2084191"/>
              <a:gd name="connsiteX1157" fmla="*/ 531158 w 2051041"/>
              <a:gd name="connsiteY1157" fmla="*/ 207874 h 2084191"/>
              <a:gd name="connsiteX1158" fmla="*/ 498507 w 2051041"/>
              <a:gd name="connsiteY1158" fmla="*/ 238347 h 2084191"/>
              <a:gd name="connsiteX1159" fmla="*/ 468033 w 2051041"/>
              <a:gd name="connsiteY1159" fmla="*/ 207329 h 2084191"/>
              <a:gd name="connsiteX1160" fmla="*/ 499595 w 2051041"/>
              <a:gd name="connsiteY1160" fmla="*/ 175767 h 2084191"/>
              <a:gd name="connsiteX1161" fmla="*/ 662304 w 2051041"/>
              <a:gd name="connsiteY1161" fmla="*/ 173046 h 2084191"/>
              <a:gd name="connsiteX1162" fmla="*/ 697676 w 2051041"/>
              <a:gd name="connsiteY1162" fmla="*/ 207873 h 2084191"/>
              <a:gd name="connsiteX1163" fmla="*/ 662304 w 2051041"/>
              <a:gd name="connsiteY1163" fmla="*/ 242156 h 2084191"/>
              <a:gd name="connsiteX1164" fmla="*/ 628021 w 2051041"/>
              <a:gd name="connsiteY1164" fmla="*/ 207873 h 2084191"/>
              <a:gd name="connsiteX1165" fmla="*/ 662304 w 2051041"/>
              <a:gd name="connsiteY1165" fmla="*/ 173046 h 2084191"/>
              <a:gd name="connsiteX1166" fmla="*/ 826645 w 2051041"/>
              <a:gd name="connsiteY1166" fmla="*/ 168148 h 2084191"/>
              <a:gd name="connsiteX1167" fmla="*/ 864737 w 2051041"/>
              <a:gd name="connsiteY1167" fmla="*/ 207329 h 2084191"/>
              <a:gd name="connsiteX1168" fmla="*/ 826100 w 2051041"/>
              <a:gd name="connsiteY1168" fmla="*/ 247054 h 2084191"/>
              <a:gd name="connsiteX1169" fmla="*/ 787464 w 2051041"/>
              <a:gd name="connsiteY1169" fmla="*/ 207873 h 2084191"/>
              <a:gd name="connsiteX1170" fmla="*/ 826645 w 2051041"/>
              <a:gd name="connsiteY1170" fmla="*/ 168148 h 2084191"/>
              <a:gd name="connsiteX1171" fmla="*/ 987721 w 2051041"/>
              <a:gd name="connsiteY1171" fmla="*/ 164883 h 2084191"/>
              <a:gd name="connsiteX1172" fmla="*/ 1031799 w 2051041"/>
              <a:gd name="connsiteY1172" fmla="*/ 207329 h 2084191"/>
              <a:gd name="connsiteX1173" fmla="*/ 988809 w 2051041"/>
              <a:gd name="connsiteY1173" fmla="*/ 250319 h 2084191"/>
              <a:gd name="connsiteX1174" fmla="*/ 945819 w 2051041"/>
              <a:gd name="connsiteY1174" fmla="*/ 208417 h 2084191"/>
              <a:gd name="connsiteX1175" fmla="*/ 987721 w 2051041"/>
              <a:gd name="connsiteY1175" fmla="*/ 164883 h 2084191"/>
              <a:gd name="connsiteX1176" fmla="*/ 1153150 w 2051041"/>
              <a:gd name="connsiteY1176" fmla="*/ 162707 h 2084191"/>
              <a:gd name="connsiteX1177" fmla="*/ 1197772 w 2051041"/>
              <a:gd name="connsiteY1177" fmla="*/ 207874 h 2084191"/>
              <a:gd name="connsiteX1178" fmla="*/ 1151517 w 2051041"/>
              <a:gd name="connsiteY1178" fmla="*/ 253584 h 2084191"/>
              <a:gd name="connsiteX1179" fmla="*/ 1107439 w 2051041"/>
              <a:gd name="connsiteY1179" fmla="*/ 207329 h 2084191"/>
              <a:gd name="connsiteX1180" fmla="*/ 1153150 w 2051041"/>
              <a:gd name="connsiteY1180" fmla="*/ 162707 h 2084191"/>
              <a:gd name="connsiteX1181" fmla="*/ 1315315 w 2051041"/>
              <a:gd name="connsiteY1181" fmla="*/ 158353 h 2084191"/>
              <a:gd name="connsiteX1182" fmla="*/ 1365379 w 2051041"/>
              <a:gd name="connsiteY1182" fmla="*/ 206785 h 2084191"/>
              <a:gd name="connsiteX1183" fmla="*/ 1315859 w 2051041"/>
              <a:gd name="connsiteY1183" fmla="*/ 256305 h 2084191"/>
              <a:gd name="connsiteX1184" fmla="*/ 1266883 w 2051041"/>
              <a:gd name="connsiteY1184" fmla="*/ 207873 h 2084191"/>
              <a:gd name="connsiteX1185" fmla="*/ 1315315 w 2051041"/>
              <a:gd name="connsiteY1185" fmla="*/ 158353 h 2084191"/>
              <a:gd name="connsiteX1186" fmla="*/ 1478567 w 2051041"/>
              <a:gd name="connsiteY1186" fmla="*/ 156721 h 2084191"/>
              <a:gd name="connsiteX1187" fmla="*/ 1529720 w 2051041"/>
              <a:gd name="connsiteY1187" fmla="*/ 207329 h 2084191"/>
              <a:gd name="connsiteX1188" fmla="*/ 1478567 w 2051041"/>
              <a:gd name="connsiteY1188" fmla="*/ 258482 h 2084191"/>
              <a:gd name="connsiteX1189" fmla="*/ 1427959 w 2051041"/>
              <a:gd name="connsiteY1189" fmla="*/ 207874 h 2084191"/>
              <a:gd name="connsiteX1190" fmla="*/ 1478567 w 2051041"/>
              <a:gd name="connsiteY1190" fmla="*/ 156721 h 2084191"/>
              <a:gd name="connsiteX1191" fmla="*/ 1644541 w 2051041"/>
              <a:gd name="connsiteY1191" fmla="*/ 153456 h 2084191"/>
              <a:gd name="connsiteX1192" fmla="*/ 1697326 w 2051041"/>
              <a:gd name="connsiteY1192" fmla="*/ 209506 h 2084191"/>
              <a:gd name="connsiteX1193" fmla="*/ 1641276 w 2051041"/>
              <a:gd name="connsiteY1193" fmla="*/ 262835 h 2084191"/>
              <a:gd name="connsiteX1194" fmla="*/ 1587947 w 2051041"/>
              <a:gd name="connsiteY1194" fmla="*/ 206785 h 2084191"/>
              <a:gd name="connsiteX1195" fmla="*/ 1644541 w 2051041"/>
              <a:gd name="connsiteY1195" fmla="*/ 153456 h 2084191"/>
              <a:gd name="connsiteX1196" fmla="*/ 91463 w 2051041"/>
              <a:gd name="connsiteY1196" fmla="*/ 109922 h 2084191"/>
              <a:gd name="connsiteX1197" fmla="*/ 107244 w 2051041"/>
              <a:gd name="connsiteY1197" fmla="*/ 126247 h 2084191"/>
              <a:gd name="connsiteX1198" fmla="*/ 91463 w 2051041"/>
              <a:gd name="connsiteY1198" fmla="*/ 142028 h 2084191"/>
              <a:gd name="connsiteX1199" fmla="*/ 75682 w 2051041"/>
              <a:gd name="connsiteY1199" fmla="*/ 126247 h 2084191"/>
              <a:gd name="connsiteX1200" fmla="*/ 91463 w 2051041"/>
              <a:gd name="connsiteY1200" fmla="*/ 109922 h 2084191"/>
              <a:gd name="connsiteX1201" fmla="*/ 1942341 w 2051041"/>
              <a:gd name="connsiteY1201" fmla="*/ 104915 h 2084191"/>
              <a:gd name="connsiteX1202" fmla="*/ 1942205 w 2051041"/>
              <a:gd name="connsiteY1202" fmla="*/ 111377 h 2084191"/>
              <a:gd name="connsiteX1203" fmla="*/ 1946559 w 2051041"/>
              <a:gd name="connsiteY1203" fmla="*/ 131511 h 2084191"/>
              <a:gd name="connsiteX1204" fmla="*/ 1939484 w 2051041"/>
              <a:gd name="connsiteY1204" fmla="*/ 157088 h 2084191"/>
              <a:gd name="connsiteX1205" fmla="*/ 1941117 w 2051041"/>
              <a:gd name="connsiteY1205" fmla="*/ 160353 h 2084191"/>
              <a:gd name="connsiteX1206" fmla="*/ 1986828 w 2051041"/>
              <a:gd name="connsiteY1206" fmla="*/ 157088 h 2084191"/>
              <a:gd name="connsiteX1207" fmla="*/ 1987916 w 2051041"/>
              <a:gd name="connsiteY1207" fmla="*/ 157088 h 2084191"/>
              <a:gd name="connsiteX1208" fmla="*/ 1993902 w 2051041"/>
              <a:gd name="connsiteY1208" fmla="*/ 150013 h 2084191"/>
              <a:gd name="connsiteX1209" fmla="*/ 1993902 w 2051041"/>
              <a:gd name="connsiteY1209" fmla="*/ 109744 h 2084191"/>
              <a:gd name="connsiteX1210" fmla="*/ 1989004 w 2051041"/>
              <a:gd name="connsiteY1210" fmla="*/ 105391 h 2084191"/>
              <a:gd name="connsiteX1211" fmla="*/ 1948191 w 2051041"/>
              <a:gd name="connsiteY1211" fmla="*/ 105391 h 2084191"/>
              <a:gd name="connsiteX1212" fmla="*/ 1942341 w 2051041"/>
              <a:gd name="connsiteY1212" fmla="*/ 104915 h 2084191"/>
              <a:gd name="connsiteX1213" fmla="*/ 255804 w 2051041"/>
              <a:gd name="connsiteY1213" fmla="*/ 103392 h 2084191"/>
              <a:gd name="connsiteX1214" fmla="*/ 277571 w 2051041"/>
              <a:gd name="connsiteY1214" fmla="*/ 126791 h 2084191"/>
              <a:gd name="connsiteX1215" fmla="*/ 254172 w 2051041"/>
              <a:gd name="connsiteY1215" fmla="*/ 148014 h 2084191"/>
              <a:gd name="connsiteX1216" fmla="*/ 232405 w 2051041"/>
              <a:gd name="connsiteY1216" fmla="*/ 125159 h 2084191"/>
              <a:gd name="connsiteX1217" fmla="*/ 255804 w 2051041"/>
              <a:gd name="connsiteY1217" fmla="*/ 103392 h 2084191"/>
              <a:gd name="connsiteX1218" fmla="*/ 1773511 w 2051041"/>
              <a:gd name="connsiteY1218" fmla="*/ 99405 h 2084191"/>
              <a:gd name="connsiteX1219" fmla="*/ 1773511 w 2051041"/>
              <a:gd name="connsiteY1219" fmla="*/ 107023 h 2084191"/>
              <a:gd name="connsiteX1220" fmla="*/ 1780585 w 2051041"/>
              <a:gd name="connsiteY1220" fmla="*/ 130423 h 2084191"/>
              <a:gd name="connsiteX1221" fmla="*/ 1773511 w 2051041"/>
              <a:gd name="connsiteY1221" fmla="*/ 155999 h 2084191"/>
              <a:gd name="connsiteX1222" fmla="*/ 1774055 w 2051041"/>
              <a:gd name="connsiteY1222" fmla="*/ 161985 h 2084191"/>
              <a:gd name="connsiteX1223" fmla="*/ 1780041 w 2051041"/>
              <a:gd name="connsiteY1223" fmla="*/ 162529 h 2084191"/>
              <a:gd name="connsiteX1224" fmla="*/ 1811059 w 2051041"/>
              <a:gd name="connsiteY1224" fmla="*/ 157632 h 2084191"/>
              <a:gd name="connsiteX1225" fmla="*/ 1829561 w 2051041"/>
              <a:gd name="connsiteY1225" fmla="*/ 161985 h 2084191"/>
              <a:gd name="connsiteX1226" fmla="*/ 1836635 w 2051041"/>
              <a:gd name="connsiteY1226" fmla="*/ 161985 h 2084191"/>
              <a:gd name="connsiteX1227" fmla="*/ 1833914 w 2051041"/>
              <a:gd name="connsiteY1227" fmla="*/ 157088 h 2084191"/>
              <a:gd name="connsiteX1228" fmla="*/ 1834458 w 2051041"/>
              <a:gd name="connsiteY1228" fmla="*/ 104303 h 2084191"/>
              <a:gd name="connsiteX1229" fmla="*/ 1835547 w 2051041"/>
              <a:gd name="connsiteY1229" fmla="*/ 99405 h 2084191"/>
              <a:gd name="connsiteX1230" fmla="*/ 1831193 w 2051041"/>
              <a:gd name="connsiteY1230" fmla="*/ 101038 h 2084191"/>
              <a:gd name="connsiteX1231" fmla="*/ 1780041 w 2051041"/>
              <a:gd name="connsiteY1231" fmla="*/ 101582 h 2084191"/>
              <a:gd name="connsiteX1232" fmla="*/ 1773511 w 2051041"/>
              <a:gd name="connsiteY1232" fmla="*/ 99405 h 2084191"/>
              <a:gd name="connsiteX1233" fmla="*/ 417424 w 2051041"/>
              <a:gd name="connsiteY1233" fmla="*/ 97950 h 2084191"/>
              <a:gd name="connsiteX1234" fmla="*/ 445721 w 2051041"/>
              <a:gd name="connsiteY1234" fmla="*/ 126247 h 2084191"/>
              <a:gd name="connsiteX1235" fmla="*/ 417424 w 2051041"/>
              <a:gd name="connsiteY1235" fmla="*/ 153456 h 2084191"/>
              <a:gd name="connsiteX1236" fmla="*/ 390215 w 2051041"/>
              <a:gd name="connsiteY1236" fmla="*/ 125159 h 2084191"/>
              <a:gd name="connsiteX1237" fmla="*/ 417424 w 2051041"/>
              <a:gd name="connsiteY1237" fmla="*/ 97950 h 2084191"/>
              <a:gd name="connsiteX1238" fmla="*/ 580677 w 2051041"/>
              <a:gd name="connsiteY1238" fmla="*/ 92508 h 2084191"/>
              <a:gd name="connsiteX1239" fmla="*/ 614960 w 2051041"/>
              <a:gd name="connsiteY1239" fmla="*/ 125159 h 2084191"/>
              <a:gd name="connsiteX1240" fmla="*/ 581766 w 2051041"/>
              <a:gd name="connsiteY1240" fmla="*/ 158353 h 2084191"/>
              <a:gd name="connsiteX1241" fmla="*/ 548571 w 2051041"/>
              <a:gd name="connsiteY1241" fmla="*/ 125703 h 2084191"/>
              <a:gd name="connsiteX1242" fmla="*/ 580677 w 2051041"/>
              <a:gd name="connsiteY1242" fmla="*/ 92508 h 2084191"/>
              <a:gd name="connsiteX1243" fmla="*/ 745019 w 2051041"/>
              <a:gd name="connsiteY1243" fmla="*/ 88154 h 2084191"/>
              <a:gd name="connsiteX1244" fmla="*/ 782567 w 2051041"/>
              <a:gd name="connsiteY1244" fmla="*/ 126791 h 2084191"/>
              <a:gd name="connsiteX1245" fmla="*/ 743930 w 2051041"/>
              <a:gd name="connsiteY1245" fmla="*/ 164339 h 2084191"/>
              <a:gd name="connsiteX1246" fmla="*/ 706382 w 2051041"/>
              <a:gd name="connsiteY1246" fmla="*/ 125702 h 2084191"/>
              <a:gd name="connsiteX1247" fmla="*/ 745019 w 2051041"/>
              <a:gd name="connsiteY1247" fmla="*/ 88154 h 2084191"/>
              <a:gd name="connsiteX1248" fmla="*/ 1685898 w 2051041"/>
              <a:gd name="connsiteY1248" fmla="*/ 84712 h 2084191"/>
              <a:gd name="connsiteX1249" fmla="*/ 1685681 w 2051041"/>
              <a:gd name="connsiteY1249" fmla="*/ 85147 h 2084191"/>
              <a:gd name="connsiteX1250" fmla="*/ 1685354 w 2051041"/>
              <a:gd name="connsiteY1250" fmla="*/ 85256 h 2084191"/>
              <a:gd name="connsiteX1251" fmla="*/ 1685898 w 2051041"/>
              <a:gd name="connsiteY1251" fmla="*/ 84712 h 2084191"/>
              <a:gd name="connsiteX1252" fmla="*/ 907183 w 2051041"/>
              <a:gd name="connsiteY1252" fmla="*/ 84345 h 2084191"/>
              <a:gd name="connsiteX1253" fmla="*/ 934935 w 2051041"/>
              <a:gd name="connsiteY1253" fmla="*/ 95228 h 2084191"/>
              <a:gd name="connsiteX1254" fmla="*/ 949628 w 2051041"/>
              <a:gd name="connsiteY1254" fmla="*/ 125158 h 2084191"/>
              <a:gd name="connsiteX1255" fmla="*/ 908271 w 2051041"/>
              <a:gd name="connsiteY1255" fmla="*/ 167060 h 2084191"/>
              <a:gd name="connsiteX1256" fmla="*/ 866369 w 2051041"/>
              <a:gd name="connsiteY1256" fmla="*/ 125702 h 2084191"/>
              <a:gd name="connsiteX1257" fmla="*/ 907183 w 2051041"/>
              <a:gd name="connsiteY1257" fmla="*/ 84345 h 2084191"/>
              <a:gd name="connsiteX1258" fmla="*/ 1070979 w 2051041"/>
              <a:gd name="connsiteY1258" fmla="*/ 82169 h 2084191"/>
              <a:gd name="connsiteX1259" fmla="*/ 1115602 w 2051041"/>
              <a:gd name="connsiteY1259" fmla="*/ 126247 h 2084191"/>
              <a:gd name="connsiteX1260" fmla="*/ 1071524 w 2051041"/>
              <a:gd name="connsiteY1260" fmla="*/ 170325 h 2084191"/>
              <a:gd name="connsiteX1261" fmla="*/ 1026357 w 2051041"/>
              <a:gd name="connsiteY1261" fmla="*/ 125703 h 2084191"/>
              <a:gd name="connsiteX1262" fmla="*/ 1070979 w 2051041"/>
              <a:gd name="connsiteY1262" fmla="*/ 82169 h 2084191"/>
              <a:gd name="connsiteX1263" fmla="*/ 1684811 w 2051041"/>
              <a:gd name="connsiteY1263" fmla="*/ 82168 h 2084191"/>
              <a:gd name="connsiteX1264" fmla="*/ 1684266 w 2051041"/>
              <a:gd name="connsiteY1264" fmla="*/ 82713 h 2084191"/>
              <a:gd name="connsiteX1265" fmla="*/ 1684469 w 2051041"/>
              <a:gd name="connsiteY1265" fmla="*/ 82365 h 2084191"/>
              <a:gd name="connsiteX1266" fmla="*/ 1234777 w 2051041"/>
              <a:gd name="connsiteY1266" fmla="*/ 78360 h 2084191"/>
              <a:gd name="connsiteX1267" fmla="*/ 1282664 w 2051041"/>
              <a:gd name="connsiteY1267" fmla="*/ 126791 h 2084191"/>
              <a:gd name="connsiteX1268" fmla="*/ 1234232 w 2051041"/>
              <a:gd name="connsiteY1268" fmla="*/ 174135 h 2084191"/>
              <a:gd name="connsiteX1269" fmla="*/ 1186889 w 2051041"/>
              <a:gd name="connsiteY1269" fmla="*/ 126791 h 2084191"/>
              <a:gd name="connsiteX1270" fmla="*/ 1234777 w 2051041"/>
              <a:gd name="connsiteY1270" fmla="*/ 78360 h 2084191"/>
              <a:gd name="connsiteX1271" fmla="*/ 1398574 w 2051041"/>
              <a:gd name="connsiteY1271" fmla="*/ 76182 h 2084191"/>
              <a:gd name="connsiteX1272" fmla="*/ 1448094 w 2051041"/>
              <a:gd name="connsiteY1272" fmla="*/ 127335 h 2084191"/>
              <a:gd name="connsiteX1273" fmla="*/ 1396941 w 2051041"/>
              <a:gd name="connsiteY1273" fmla="*/ 175766 h 2084191"/>
              <a:gd name="connsiteX1274" fmla="*/ 1347421 w 2051041"/>
              <a:gd name="connsiteY1274" fmla="*/ 125702 h 2084191"/>
              <a:gd name="connsiteX1275" fmla="*/ 1398574 w 2051041"/>
              <a:gd name="connsiteY1275" fmla="*/ 76182 h 2084191"/>
              <a:gd name="connsiteX1276" fmla="*/ 1561282 w 2051041"/>
              <a:gd name="connsiteY1276" fmla="*/ 72373 h 2084191"/>
              <a:gd name="connsiteX1277" fmla="*/ 1614611 w 2051041"/>
              <a:gd name="connsiteY1277" fmla="*/ 126247 h 2084191"/>
              <a:gd name="connsiteX1278" fmla="*/ 1560738 w 2051041"/>
              <a:gd name="connsiteY1278" fmla="*/ 179576 h 2084191"/>
              <a:gd name="connsiteX1279" fmla="*/ 1507409 w 2051041"/>
              <a:gd name="connsiteY1279" fmla="*/ 126247 h 2084191"/>
              <a:gd name="connsiteX1280" fmla="*/ 1561282 w 2051041"/>
              <a:gd name="connsiteY1280" fmla="*/ 72373 h 2084191"/>
              <a:gd name="connsiteX1281" fmla="*/ 10381 w 2051041"/>
              <a:gd name="connsiteY1281" fmla="*/ 33737 h 2084191"/>
              <a:gd name="connsiteX1282" fmla="*/ 20720 w 2051041"/>
              <a:gd name="connsiteY1282" fmla="*/ 45165 h 2084191"/>
              <a:gd name="connsiteX1283" fmla="*/ 9292 w 2051041"/>
              <a:gd name="connsiteY1283" fmla="*/ 54960 h 2084191"/>
              <a:gd name="connsiteX1284" fmla="*/ 41 w 2051041"/>
              <a:gd name="connsiteY1284" fmla="*/ 44621 h 2084191"/>
              <a:gd name="connsiteX1285" fmla="*/ 10381 w 2051041"/>
              <a:gd name="connsiteY1285" fmla="*/ 33737 h 2084191"/>
              <a:gd name="connsiteX1286" fmla="*/ 172546 w 2051041"/>
              <a:gd name="connsiteY1286" fmla="*/ 23942 h 2084191"/>
              <a:gd name="connsiteX1287" fmla="*/ 193224 w 2051041"/>
              <a:gd name="connsiteY1287" fmla="*/ 44621 h 2084191"/>
              <a:gd name="connsiteX1288" fmla="*/ 173090 w 2051041"/>
              <a:gd name="connsiteY1288" fmla="*/ 64755 h 2084191"/>
              <a:gd name="connsiteX1289" fmla="*/ 152411 w 2051041"/>
              <a:gd name="connsiteY1289" fmla="*/ 44621 h 2084191"/>
              <a:gd name="connsiteX1290" fmla="*/ 172546 w 2051041"/>
              <a:gd name="connsiteY1290" fmla="*/ 23942 h 2084191"/>
              <a:gd name="connsiteX1291" fmla="*/ 1861123 w 2051041"/>
              <a:gd name="connsiteY1291" fmla="*/ 22132 h 2084191"/>
              <a:gd name="connsiteX1292" fmla="*/ 1861123 w 2051041"/>
              <a:gd name="connsiteY1292" fmla="*/ 35737 h 2084191"/>
              <a:gd name="connsiteX1293" fmla="*/ 1861123 w 2051041"/>
              <a:gd name="connsiteY1293" fmla="*/ 61313 h 2084191"/>
              <a:gd name="connsiteX1294" fmla="*/ 1858946 w 2051041"/>
              <a:gd name="connsiteY1294" fmla="*/ 72740 h 2084191"/>
              <a:gd name="connsiteX1295" fmla="*/ 1866021 w 2051041"/>
              <a:gd name="connsiteY1295" fmla="*/ 76550 h 2084191"/>
              <a:gd name="connsiteX1296" fmla="*/ 1873639 w 2051041"/>
              <a:gd name="connsiteY1296" fmla="*/ 74917 h 2084191"/>
              <a:gd name="connsiteX1297" fmla="*/ 1900304 w 2051041"/>
              <a:gd name="connsiteY1297" fmla="*/ 74373 h 2084191"/>
              <a:gd name="connsiteX1298" fmla="*/ 1907922 w 2051041"/>
              <a:gd name="connsiteY1298" fmla="*/ 76006 h 2084191"/>
              <a:gd name="connsiteX1299" fmla="*/ 1912820 w 2051041"/>
              <a:gd name="connsiteY1299" fmla="*/ 70020 h 2084191"/>
              <a:gd name="connsiteX1300" fmla="*/ 1912820 w 2051041"/>
              <a:gd name="connsiteY1300" fmla="*/ 27030 h 2084191"/>
              <a:gd name="connsiteX1301" fmla="*/ 1908466 w 2051041"/>
              <a:gd name="connsiteY1301" fmla="*/ 22132 h 2084191"/>
              <a:gd name="connsiteX1302" fmla="*/ 1902480 w 2051041"/>
              <a:gd name="connsiteY1302" fmla="*/ 24309 h 2084191"/>
              <a:gd name="connsiteX1303" fmla="*/ 1873095 w 2051041"/>
              <a:gd name="connsiteY1303" fmla="*/ 24309 h 2084191"/>
              <a:gd name="connsiteX1304" fmla="*/ 1861123 w 2051041"/>
              <a:gd name="connsiteY1304" fmla="*/ 22132 h 2084191"/>
              <a:gd name="connsiteX1305" fmla="*/ 336886 w 2051041"/>
              <a:gd name="connsiteY1305" fmla="*/ 17412 h 2084191"/>
              <a:gd name="connsiteX1306" fmla="*/ 363007 w 2051041"/>
              <a:gd name="connsiteY1306" fmla="*/ 44077 h 2084191"/>
              <a:gd name="connsiteX1307" fmla="*/ 337431 w 2051041"/>
              <a:gd name="connsiteY1307" fmla="*/ 71285 h 2084191"/>
              <a:gd name="connsiteX1308" fmla="*/ 310222 w 2051041"/>
              <a:gd name="connsiteY1308" fmla="*/ 45165 h 2084191"/>
              <a:gd name="connsiteX1309" fmla="*/ 336886 w 2051041"/>
              <a:gd name="connsiteY1309" fmla="*/ 17412 h 2084191"/>
              <a:gd name="connsiteX1310" fmla="*/ 498507 w 2051041"/>
              <a:gd name="connsiteY1310" fmla="*/ 13059 h 2084191"/>
              <a:gd name="connsiteX1311" fmla="*/ 531702 w 2051041"/>
              <a:gd name="connsiteY1311" fmla="*/ 44621 h 2084191"/>
              <a:gd name="connsiteX1312" fmla="*/ 499595 w 2051041"/>
              <a:gd name="connsiteY1312" fmla="*/ 76727 h 2084191"/>
              <a:gd name="connsiteX1313" fmla="*/ 467489 w 2051041"/>
              <a:gd name="connsiteY1313" fmla="*/ 45165 h 2084191"/>
              <a:gd name="connsiteX1314" fmla="*/ 498507 w 2051041"/>
              <a:gd name="connsiteY1314" fmla="*/ 13059 h 2084191"/>
              <a:gd name="connsiteX1315" fmla="*/ 662303 w 2051041"/>
              <a:gd name="connsiteY1315" fmla="*/ 7616 h 2084191"/>
              <a:gd name="connsiteX1316" fmla="*/ 698763 w 2051041"/>
              <a:gd name="connsiteY1316" fmla="*/ 44076 h 2084191"/>
              <a:gd name="connsiteX1317" fmla="*/ 662303 w 2051041"/>
              <a:gd name="connsiteY1317" fmla="*/ 81080 h 2084191"/>
              <a:gd name="connsiteX1318" fmla="*/ 626932 w 2051041"/>
              <a:gd name="connsiteY1318" fmla="*/ 44076 h 2084191"/>
              <a:gd name="connsiteX1319" fmla="*/ 662303 w 2051041"/>
              <a:gd name="connsiteY1319" fmla="*/ 7616 h 2084191"/>
              <a:gd name="connsiteX1320" fmla="*/ 825557 w 2051041"/>
              <a:gd name="connsiteY1320" fmla="*/ 5440 h 2084191"/>
              <a:gd name="connsiteX1321" fmla="*/ 865281 w 2051041"/>
              <a:gd name="connsiteY1321" fmla="*/ 44621 h 2084191"/>
              <a:gd name="connsiteX1322" fmla="*/ 826101 w 2051041"/>
              <a:gd name="connsiteY1322" fmla="*/ 83257 h 2084191"/>
              <a:gd name="connsiteX1323" fmla="*/ 786920 w 2051041"/>
              <a:gd name="connsiteY1323" fmla="*/ 44621 h 2084191"/>
              <a:gd name="connsiteX1324" fmla="*/ 825557 w 2051041"/>
              <a:gd name="connsiteY1324" fmla="*/ 5440 h 2084191"/>
              <a:gd name="connsiteX1325" fmla="*/ 989353 w 2051041"/>
              <a:gd name="connsiteY1325" fmla="*/ 1086 h 2084191"/>
              <a:gd name="connsiteX1326" fmla="*/ 1032343 w 2051041"/>
              <a:gd name="connsiteY1326" fmla="*/ 43532 h 2084191"/>
              <a:gd name="connsiteX1327" fmla="*/ 989897 w 2051041"/>
              <a:gd name="connsiteY1327" fmla="*/ 87610 h 2084191"/>
              <a:gd name="connsiteX1328" fmla="*/ 945819 w 2051041"/>
              <a:gd name="connsiteY1328" fmla="*/ 44620 h 2084191"/>
              <a:gd name="connsiteX1329" fmla="*/ 989353 w 2051041"/>
              <a:gd name="connsiteY1329" fmla="*/ 1086 h 2084191"/>
              <a:gd name="connsiteX1330" fmla="*/ 1614056 w 2051041"/>
              <a:gd name="connsiteY1330" fmla="*/ 0 h 2084191"/>
              <a:gd name="connsiteX1331" fmla="*/ 1675529 w 2051041"/>
              <a:gd name="connsiteY1331" fmla="*/ 0 h 2084191"/>
              <a:gd name="connsiteX1332" fmla="*/ 1682905 w 2051041"/>
              <a:gd name="connsiteY1332" fmla="*/ 4720 h 2084191"/>
              <a:gd name="connsiteX1333" fmla="*/ 1933639 w 2051041"/>
              <a:gd name="connsiteY1333" fmla="*/ 4720 h 2084191"/>
              <a:gd name="connsiteX1334" fmla="*/ 2016655 w 2051041"/>
              <a:gd name="connsiteY1334" fmla="*/ 39107 h 2084191"/>
              <a:gd name="connsiteX1335" fmla="*/ 2028934 w 2051041"/>
              <a:gd name="connsiteY1335" fmla="*/ 57318 h 2084191"/>
              <a:gd name="connsiteX1336" fmla="*/ 2026008 w 2051041"/>
              <a:gd name="connsiteY1336" fmla="*/ 71108 h 2084191"/>
              <a:gd name="connsiteX1337" fmla="*/ 2030906 w 2051041"/>
              <a:gd name="connsiteY1337" fmla="*/ 75461 h 2084191"/>
              <a:gd name="connsiteX1338" fmla="*/ 2039929 w 2051041"/>
              <a:gd name="connsiteY1338" fmla="*/ 73627 h 2084191"/>
              <a:gd name="connsiteX1339" fmla="*/ 2041815 w 2051041"/>
              <a:gd name="connsiteY1339" fmla="*/ 76424 h 2084191"/>
              <a:gd name="connsiteX1340" fmla="*/ 2051041 w 2051041"/>
              <a:gd name="connsiteY1340" fmla="*/ 122122 h 2084191"/>
              <a:gd name="connsiteX1341" fmla="*/ 2051041 w 2051041"/>
              <a:gd name="connsiteY1341" fmla="*/ 186473 h 2084191"/>
              <a:gd name="connsiteX1342" fmla="*/ 2029818 w 2051041"/>
              <a:gd name="connsiteY1342" fmla="*/ 186473 h 2084191"/>
              <a:gd name="connsiteX1343" fmla="*/ 2023287 w 2051041"/>
              <a:gd name="connsiteY1343" fmla="*/ 192459 h 2084191"/>
              <a:gd name="connsiteX1344" fmla="*/ 2023832 w 2051041"/>
              <a:gd name="connsiteY1344" fmla="*/ 196268 h 2084191"/>
              <a:gd name="connsiteX1345" fmla="*/ 2019478 w 2051041"/>
              <a:gd name="connsiteY1345" fmla="*/ 239258 h 2084191"/>
              <a:gd name="connsiteX1346" fmla="*/ 2020022 w 2051041"/>
              <a:gd name="connsiteY1346" fmla="*/ 242523 h 2084191"/>
              <a:gd name="connsiteX1347" fmla="*/ 2023287 w 2051041"/>
              <a:gd name="connsiteY1347" fmla="*/ 243067 h 2084191"/>
              <a:gd name="connsiteX1348" fmla="*/ 2050224 w 2051041"/>
              <a:gd name="connsiteY1348" fmla="*/ 237150 h 2084191"/>
              <a:gd name="connsiteX1349" fmla="*/ 2051041 w 2051041"/>
              <a:gd name="connsiteY1349" fmla="*/ 237329 h 2084191"/>
              <a:gd name="connsiteX1350" fmla="*/ 2051041 w 2051041"/>
              <a:gd name="connsiteY1350" fmla="*/ 348996 h 2084191"/>
              <a:gd name="connsiteX1351" fmla="*/ 2036552 w 2051041"/>
              <a:gd name="connsiteY1351" fmla="*/ 347754 h 2084191"/>
              <a:gd name="connsiteX1352" fmla="*/ 2021111 w 2051041"/>
              <a:gd name="connsiteY1352" fmla="*/ 341019 h 2084191"/>
              <a:gd name="connsiteX1353" fmla="*/ 2016757 w 2051041"/>
              <a:gd name="connsiteY1353" fmla="*/ 338842 h 2084191"/>
              <a:gd name="connsiteX1354" fmla="*/ 2017301 w 2051041"/>
              <a:gd name="connsiteY1354" fmla="*/ 344284 h 2084191"/>
              <a:gd name="connsiteX1355" fmla="*/ 2025464 w 2051041"/>
              <a:gd name="connsiteY1355" fmla="*/ 376391 h 2084191"/>
              <a:gd name="connsiteX1356" fmla="*/ 1994446 w 2051041"/>
              <a:gd name="connsiteY1356" fmla="*/ 424278 h 2084191"/>
              <a:gd name="connsiteX1357" fmla="*/ 1933498 w 2051041"/>
              <a:gd name="connsiteY1357" fmla="*/ 416115 h 2084191"/>
              <a:gd name="connsiteX1358" fmla="*/ 1920438 w 2051041"/>
              <a:gd name="connsiteY1358" fmla="*/ 352447 h 2084191"/>
              <a:gd name="connsiteX1359" fmla="*/ 1925336 w 2051041"/>
              <a:gd name="connsiteY1359" fmla="*/ 338298 h 2084191"/>
              <a:gd name="connsiteX1360" fmla="*/ 1911731 w 2051041"/>
              <a:gd name="connsiteY1360" fmla="*/ 343196 h 2084191"/>
              <a:gd name="connsiteX1361" fmla="*/ 1898671 w 2051041"/>
              <a:gd name="connsiteY1361" fmla="*/ 347005 h 2084191"/>
              <a:gd name="connsiteX1362" fmla="*/ 1854593 w 2051041"/>
              <a:gd name="connsiteY1362" fmla="*/ 336666 h 2084191"/>
              <a:gd name="connsiteX1363" fmla="*/ 1847690 w 2051041"/>
              <a:gd name="connsiteY1363" fmla="*/ 333480 h 2084191"/>
              <a:gd name="connsiteX1364" fmla="*/ 1852961 w 2051041"/>
              <a:gd name="connsiteY1364" fmla="*/ 344461 h 2084191"/>
              <a:gd name="connsiteX1365" fmla="*/ 1826840 w 2051041"/>
              <a:gd name="connsiteY1365" fmla="*/ 420646 h 2084191"/>
              <a:gd name="connsiteX1366" fmla="*/ 1765893 w 2051041"/>
              <a:gd name="connsiteY1366" fmla="*/ 408130 h 2084191"/>
              <a:gd name="connsiteX1367" fmla="*/ 1759362 w 2051041"/>
              <a:gd name="connsiteY1367" fmla="*/ 342829 h 2084191"/>
              <a:gd name="connsiteX1368" fmla="*/ 1815991 w 2051041"/>
              <a:gd name="connsiteY1368" fmla="*/ 317193 h 2084191"/>
              <a:gd name="connsiteX1369" fmla="*/ 1834459 w 2051041"/>
              <a:gd name="connsiteY1369" fmla="*/ 325415 h 2084191"/>
              <a:gd name="connsiteX1370" fmla="*/ 1845023 w 2051041"/>
              <a:gd name="connsiteY1370" fmla="*/ 330169 h 2084191"/>
              <a:gd name="connsiteX1371" fmla="*/ 1840444 w 2051041"/>
              <a:gd name="connsiteY1371" fmla="*/ 321429 h 2084191"/>
              <a:gd name="connsiteX1372" fmla="*/ 1834458 w 2051041"/>
              <a:gd name="connsiteY1372" fmla="*/ 275174 h 2084191"/>
              <a:gd name="connsiteX1373" fmla="*/ 1840988 w 2051041"/>
              <a:gd name="connsiteY1373" fmla="*/ 259937 h 2084191"/>
              <a:gd name="connsiteX1374" fmla="*/ 1842077 w 2051041"/>
              <a:gd name="connsiteY1374" fmla="*/ 255584 h 2084191"/>
              <a:gd name="connsiteX1375" fmla="*/ 1837723 w 2051041"/>
              <a:gd name="connsiteY1375" fmla="*/ 257216 h 2084191"/>
              <a:gd name="connsiteX1376" fmla="*/ 1817589 w 2051041"/>
              <a:gd name="connsiteY1376" fmla="*/ 264834 h 2084191"/>
              <a:gd name="connsiteX1377" fmla="*/ 1768069 w 2051041"/>
              <a:gd name="connsiteY1377" fmla="*/ 251774 h 2084191"/>
              <a:gd name="connsiteX1378" fmla="*/ 1764740 w 2051041"/>
              <a:gd name="connsiteY1378" fmla="*/ 250110 h 2084191"/>
              <a:gd name="connsiteX1379" fmla="*/ 1773510 w 2051041"/>
              <a:gd name="connsiteY1379" fmla="*/ 267189 h 2084191"/>
              <a:gd name="connsiteX1380" fmla="*/ 1750655 w 2051041"/>
              <a:gd name="connsiteY1380" fmla="*/ 336843 h 2084191"/>
              <a:gd name="connsiteX1381" fmla="*/ 1673926 w 2051041"/>
              <a:gd name="connsiteY1381" fmla="*/ 310723 h 2084191"/>
              <a:gd name="connsiteX1382" fmla="*/ 1681545 w 2051041"/>
              <a:gd name="connsiteY1382" fmla="*/ 254673 h 2084191"/>
              <a:gd name="connsiteX1383" fmla="*/ 1733786 w 2051041"/>
              <a:gd name="connsiteY1383" fmla="*/ 235083 h 2084191"/>
              <a:gd name="connsiteX1384" fmla="*/ 1751743 w 2051041"/>
              <a:gd name="connsiteY1384" fmla="*/ 242157 h 2084191"/>
              <a:gd name="connsiteX1385" fmla="*/ 1762506 w 2051041"/>
              <a:gd name="connsiteY1385" fmla="*/ 246769 h 2084191"/>
              <a:gd name="connsiteX1386" fmla="*/ 1757185 w 2051041"/>
              <a:gd name="connsiteY1386" fmla="*/ 236537 h 2084191"/>
              <a:gd name="connsiteX1387" fmla="*/ 1756097 w 2051041"/>
              <a:gd name="connsiteY1387" fmla="*/ 185929 h 2084191"/>
              <a:gd name="connsiteX1388" fmla="*/ 1757185 w 2051041"/>
              <a:gd name="connsiteY1388" fmla="*/ 177766 h 2084191"/>
              <a:gd name="connsiteX1389" fmla="*/ 1749023 w 2051041"/>
              <a:gd name="connsiteY1389" fmla="*/ 178311 h 2084191"/>
              <a:gd name="connsiteX1390" fmla="*/ 1676103 w 2051041"/>
              <a:gd name="connsiteY1390" fmla="*/ 154911 h 2084191"/>
              <a:gd name="connsiteX1391" fmla="*/ 1681001 w 2051041"/>
              <a:gd name="connsiteY1391" fmla="*/ 94507 h 2084191"/>
              <a:gd name="connsiteX1392" fmla="*/ 1685681 w 2051041"/>
              <a:gd name="connsiteY1392" fmla="*/ 85147 h 2084191"/>
              <a:gd name="connsiteX1393" fmla="*/ 1693517 w 2051041"/>
              <a:gd name="connsiteY1393" fmla="*/ 82536 h 2084191"/>
              <a:gd name="connsiteX1394" fmla="*/ 1747934 w 2051041"/>
              <a:gd name="connsiteY1394" fmla="*/ 77638 h 2084191"/>
              <a:gd name="connsiteX1395" fmla="*/ 1756641 w 2051041"/>
              <a:gd name="connsiteY1395" fmla="*/ 79271 h 2084191"/>
              <a:gd name="connsiteX1396" fmla="*/ 1754464 w 2051041"/>
              <a:gd name="connsiteY1396" fmla="*/ 71652 h 2084191"/>
              <a:gd name="connsiteX1397" fmla="*/ 1752832 w 2051041"/>
              <a:gd name="connsiteY1397" fmla="*/ 68387 h 2084191"/>
              <a:gd name="connsiteX1398" fmla="*/ 1756097 w 2051041"/>
              <a:gd name="connsiteY1398" fmla="*/ 20500 h 2084191"/>
              <a:gd name="connsiteX1399" fmla="*/ 1756641 w 2051041"/>
              <a:gd name="connsiteY1399" fmla="*/ 16146 h 2084191"/>
              <a:gd name="connsiteX1400" fmla="*/ 1751744 w 2051041"/>
              <a:gd name="connsiteY1400" fmla="*/ 15058 h 2084191"/>
              <a:gd name="connsiteX1401" fmla="*/ 1741404 w 2051041"/>
              <a:gd name="connsiteY1401" fmla="*/ 19955 h 2084191"/>
              <a:gd name="connsiteX1402" fmla="*/ 1691884 w 2051041"/>
              <a:gd name="connsiteY1402" fmla="*/ 11249 h 2084191"/>
              <a:gd name="connsiteX1403" fmla="*/ 1685645 w 2051041"/>
              <a:gd name="connsiteY1403" fmla="*/ 8369 h 2084191"/>
              <a:gd name="connsiteX1404" fmla="*/ 1688620 w 2051041"/>
              <a:gd name="connsiteY1404" fmla="*/ 14691 h 2084191"/>
              <a:gd name="connsiteX1405" fmla="*/ 1691885 w 2051041"/>
              <a:gd name="connsiteY1405" fmla="*/ 69652 h 2084191"/>
              <a:gd name="connsiteX1406" fmla="*/ 1684469 w 2051041"/>
              <a:gd name="connsiteY1406" fmla="*/ 82365 h 2084191"/>
              <a:gd name="connsiteX1407" fmla="*/ 1663044 w 2051041"/>
              <a:gd name="connsiteY1407" fmla="*/ 94684 h 2084191"/>
              <a:gd name="connsiteX1408" fmla="*/ 1626584 w 2051041"/>
              <a:gd name="connsiteY1408" fmla="*/ 96861 h 2084191"/>
              <a:gd name="connsiteX1409" fmla="*/ 1590124 w 2051041"/>
              <a:gd name="connsiteY1409" fmla="*/ 60401 h 2084191"/>
              <a:gd name="connsiteX1410" fmla="*/ 1591757 w 2051041"/>
              <a:gd name="connsiteY1410" fmla="*/ 25030 h 2084191"/>
              <a:gd name="connsiteX1411" fmla="*/ 1460066 w 2051041"/>
              <a:gd name="connsiteY1411" fmla="*/ 0 h 2084191"/>
              <a:gd name="connsiteX1412" fmla="*/ 1498513 w 2051041"/>
              <a:gd name="connsiteY1412" fmla="*/ 0 h 2084191"/>
              <a:gd name="connsiteX1413" fmla="*/ 1517204 w 2051041"/>
              <a:gd name="connsiteY1413" fmla="*/ 8092 h 2084191"/>
              <a:gd name="connsiteX1414" fmla="*/ 1531896 w 2051041"/>
              <a:gd name="connsiteY1414" fmla="*/ 45164 h 2084191"/>
              <a:gd name="connsiteX1415" fmla="*/ 1479111 w 2051041"/>
              <a:gd name="connsiteY1415" fmla="*/ 97949 h 2084191"/>
              <a:gd name="connsiteX1416" fmla="*/ 1426870 w 2051041"/>
              <a:gd name="connsiteY1416" fmla="*/ 45164 h 2084191"/>
              <a:gd name="connsiteX1417" fmla="*/ 1441631 w 2051041"/>
              <a:gd name="connsiteY1417" fmla="*/ 7684 h 2084191"/>
              <a:gd name="connsiteX1418" fmla="*/ 1296749 w 2051041"/>
              <a:gd name="connsiteY1418" fmla="*/ 0 h 2084191"/>
              <a:gd name="connsiteX1419" fmla="*/ 1335755 w 2051041"/>
              <a:gd name="connsiteY1419" fmla="*/ 0 h 2084191"/>
              <a:gd name="connsiteX1420" fmla="*/ 1350278 w 2051041"/>
              <a:gd name="connsiteY1420" fmla="*/ 10270 h 2084191"/>
              <a:gd name="connsiteX1421" fmla="*/ 1365923 w 2051041"/>
              <a:gd name="connsiteY1421" fmla="*/ 45165 h 2084191"/>
              <a:gd name="connsiteX1422" fmla="*/ 1315315 w 2051041"/>
              <a:gd name="connsiteY1422" fmla="*/ 93052 h 2084191"/>
              <a:gd name="connsiteX1423" fmla="*/ 1266339 w 2051041"/>
              <a:gd name="connsiteY1423" fmla="*/ 44076 h 2084191"/>
              <a:gd name="connsiteX1424" fmla="*/ 1282732 w 2051041"/>
              <a:gd name="connsiteY1424" fmla="*/ 9317 h 2084191"/>
              <a:gd name="connsiteX1425" fmla="*/ 1148085 w 2051041"/>
              <a:gd name="connsiteY1425" fmla="*/ 0 h 2084191"/>
              <a:gd name="connsiteX1426" fmla="*/ 1161802 w 2051041"/>
              <a:gd name="connsiteY1426" fmla="*/ 0 h 2084191"/>
              <a:gd name="connsiteX1427" fmla="*/ 1169637 w 2051041"/>
              <a:gd name="connsiteY1427" fmla="*/ 1315 h 2084191"/>
              <a:gd name="connsiteX1428" fmla="*/ 1199405 w 2051041"/>
              <a:gd name="connsiteY1428" fmla="*/ 45164 h 2084191"/>
              <a:gd name="connsiteX1429" fmla="*/ 1151518 w 2051041"/>
              <a:gd name="connsiteY1429" fmla="*/ 91419 h 2084191"/>
              <a:gd name="connsiteX1430" fmla="*/ 1105807 w 2051041"/>
              <a:gd name="connsiteY1430" fmla="*/ 44620 h 2084191"/>
              <a:gd name="connsiteX1431" fmla="*/ 1119139 w 2051041"/>
              <a:gd name="connsiteY1431" fmla="*/ 11902 h 20841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Lst>
            <a:rect l="l" t="t" r="r" b="b"/>
            <a:pathLst>
              <a:path w="2051041" h="2084191">
                <a:moveTo>
                  <a:pt x="2051041" y="2080382"/>
                </a:moveTo>
                <a:lnTo>
                  <a:pt x="2051041" y="2083967"/>
                </a:lnTo>
                <a:lnTo>
                  <a:pt x="2047231" y="2084191"/>
                </a:lnTo>
                <a:cubicBezTo>
                  <a:pt x="2046687" y="2084191"/>
                  <a:pt x="2046143" y="2082559"/>
                  <a:pt x="2045599" y="2081470"/>
                </a:cubicBezTo>
                <a:close/>
                <a:moveTo>
                  <a:pt x="1478568" y="1997668"/>
                </a:moveTo>
                <a:cubicBezTo>
                  <a:pt x="1484010" y="1997668"/>
                  <a:pt x="1485642" y="2000933"/>
                  <a:pt x="1484554" y="2004743"/>
                </a:cubicBezTo>
                <a:cubicBezTo>
                  <a:pt x="1484010" y="2006919"/>
                  <a:pt x="1480745" y="2008551"/>
                  <a:pt x="1478568" y="2009096"/>
                </a:cubicBezTo>
                <a:cubicBezTo>
                  <a:pt x="1474759" y="2009640"/>
                  <a:pt x="1473126" y="2007463"/>
                  <a:pt x="1473126" y="2003654"/>
                </a:cubicBezTo>
                <a:cubicBezTo>
                  <a:pt x="1473126" y="1998756"/>
                  <a:pt x="1475303" y="1997124"/>
                  <a:pt x="1478568" y="1997668"/>
                </a:cubicBezTo>
                <a:close/>
                <a:moveTo>
                  <a:pt x="1641820" y="1993859"/>
                </a:moveTo>
                <a:cubicBezTo>
                  <a:pt x="1646718" y="1993314"/>
                  <a:pt x="1652160" y="1999300"/>
                  <a:pt x="1652160" y="2003654"/>
                </a:cubicBezTo>
                <a:cubicBezTo>
                  <a:pt x="1652160" y="2008551"/>
                  <a:pt x="1646718" y="2013449"/>
                  <a:pt x="1641820" y="2013449"/>
                </a:cubicBezTo>
                <a:cubicBezTo>
                  <a:pt x="1636923" y="2013449"/>
                  <a:pt x="1632025" y="2008007"/>
                  <a:pt x="1632025" y="2003654"/>
                </a:cubicBezTo>
                <a:cubicBezTo>
                  <a:pt x="1632025" y="1999300"/>
                  <a:pt x="1638011" y="1993859"/>
                  <a:pt x="1641820" y="1993859"/>
                </a:cubicBezTo>
                <a:close/>
                <a:moveTo>
                  <a:pt x="1969414" y="1992226"/>
                </a:moveTo>
                <a:cubicBezTo>
                  <a:pt x="1976488" y="1992226"/>
                  <a:pt x="1979753" y="1996035"/>
                  <a:pt x="1979753" y="2003654"/>
                </a:cubicBezTo>
                <a:cubicBezTo>
                  <a:pt x="1979753" y="2011272"/>
                  <a:pt x="1975944" y="2014537"/>
                  <a:pt x="1968325" y="2014537"/>
                </a:cubicBezTo>
                <a:cubicBezTo>
                  <a:pt x="1960707" y="2014537"/>
                  <a:pt x="1957442" y="2010728"/>
                  <a:pt x="1957986" y="2003110"/>
                </a:cubicBezTo>
                <a:cubicBezTo>
                  <a:pt x="1957986" y="1994947"/>
                  <a:pt x="1961251" y="1992226"/>
                  <a:pt x="1969414" y="1992226"/>
                </a:cubicBezTo>
                <a:close/>
                <a:moveTo>
                  <a:pt x="1805073" y="1992226"/>
                </a:moveTo>
                <a:cubicBezTo>
                  <a:pt x="1811058" y="1992226"/>
                  <a:pt x="1815956" y="1996035"/>
                  <a:pt x="1815956" y="2002565"/>
                </a:cubicBezTo>
                <a:cubicBezTo>
                  <a:pt x="1816500" y="2009096"/>
                  <a:pt x="1812147" y="2014537"/>
                  <a:pt x="1805073" y="2014537"/>
                </a:cubicBezTo>
                <a:cubicBezTo>
                  <a:pt x="1799087" y="2014537"/>
                  <a:pt x="1794189" y="2010184"/>
                  <a:pt x="1794189" y="2004198"/>
                </a:cubicBezTo>
                <a:cubicBezTo>
                  <a:pt x="1794189" y="1997668"/>
                  <a:pt x="1799087" y="1992770"/>
                  <a:pt x="1805073" y="1992226"/>
                </a:cubicBezTo>
                <a:close/>
                <a:moveTo>
                  <a:pt x="1234233" y="1916042"/>
                </a:moveTo>
                <a:cubicBezTo>
                  <a:pt x="1238586" y="1915497"/>
                  <a:pt x="1240763" y="1917674"/>
                  <a:pt x="1240219" y="1923660"/>
                </a:cubicBezTo>
                <a:cubicBezTo>
                  <a:pt x="1239674" y="1924204"/>
                  <a:pt x="1237498" y="1926381"/>
                  <a:pt x="1236953" y="1926381"/>
                </a:cubicBezTo>
                <a:cubicBezTo>
                  <a:pt x="1234233" y="1924204"/>
                  <a:pt x="1231512" y="1921483"/>
                  <a:pt x="1229335" y="1918762"/>
                </a:cubicBezTo>
                <a:cubicBezTo>
                  <a:pt x="1230968" y="1917674"/>
                  <a:pt x="1232600" y="1916586"/>
                  <a:pt x="1234233" y="1916042"/>
                </a:cubicBezTo>
                <a:close/>
                <a:moveTo>
                  <a:pt x="1397486" y="1911144"/>
                </a:moveTo>
                <a:cubicBezTo>
                  <a:pt x="1402927" y="1911144"/>
                  <a:pt x="1408369" y="1916041"/>
                  <a:pt x="1408369" y="1921483"/>
                </a:cubicBezTo>
                <a:cubicBezTo>
                  <a:pt x="1408369" y="1926925"/>
                  <a:pt x="1404016" y="1931279"/>
                  <a:pt x="1399118" y="1931823"/>
                </a:cubicBezTo>
                <a:cubicBezTo>
                  <a:pt x="1392588" y="1932367"/>
                  <a:pt x="1387146" y="1928013"/>
                  <a:pt x="1387146" y="1922028"/>
                </a:cubicBezTo>
                <a:cubicBezTo>
                  <a:pt x="1386602" y="1916586"/>
                  <a:pt x="1391500" y="1911144"/>
                  <a:pt x="1397486" y="1911144"/>
                </a:cubicBezTo>
                <a:close/>
                <a:moveTo>
                  <a:pt x="1560194" y="1906790"/>
                </a:moveTo>
                <a:cubicBezTo>
                  <a:pt x="1566180" y="1906790"/>
                  <a:pt x="1574342" y="1914953"/>
                  <a:pt x="1574342" y="1921482"/>
                </a:cubicBezTo>
                <a:cubicBezTo>
                  <a:pt x="1574342" y="1928013"/>
                  <a:pt x="1566724" y="1936175"/>
                  <a:pt x="1560738" y="1935631"/>
                </a:cubicBezTo>
                <a:cubicBezTo>
                  <a:pt x="1554752" y="1935631"/>
                  <a:pt x="1547678" y="1928557"/>
                  <a:pt x="1547134" y="1922027"/>
                </a:cubicBezTo>
                <a:cubicBezTo>
                  <a:pt x="1546589" y="1915497"/>
                  <a:pt x="1554208" y="1907334"/>
                  <a:pt x="1560194" y="1906790"/>
                </a:cubicBezTo>
                <a:close/>
                <a:moveTo>
                  <a:pt x="2049952" y="1905702"/>
                </a:moveTo>
                <a:lnTo>
                  <a:pt x="2051041" y="1906027"/>
                </a:lnTo>
                <a:lnTo>
                  <a:pt x="2051041" y="1938133"/>
                </a:lnTo>
                <a:lnTo>
                  <a:pt x="2050496" y="1938353"/>
                </a:lnTo>
                <a:cubicBezTo>
                  <a:pt x="2039613" y="1937808"/>
                  <a:pt x="2034715" y="1933455"/>
                  <a:pt x="2034171" y="1922572"/>
                </a:cubicBezTo>
                <a:cubicBezTo>
                  <a:pt x="2034171" y="1911144"/>
                  <a:pt x="2039069" y="1905702"/>
                  <a:pt x="2049952" y="1905702"/>
                </a:cubicBezTo>
                <a:close/>
                <a:moveTo>
                  <a:pt x="1723447" y="1905702"/>
                </a:moveTo>
                <a:cubicBezTo>
                  <a:pt x="1730521" y="1905702"/>
                  <a:pt x="1739772" y="1914409"/>
                  <a:pt x="1739772" y="1920939"/>
                </a:cubicBezTo>
                <a:cubicBezTo>
                  <a:pt x="1740316" y="1929101"/>
                  <a:pt x="1732698" y="1936720"/>
                  <a:pt x="1724535" y="1937264"/>
                </a:cubicBezTo>
                <a:cubicBezTo>
                  <a:pt x="1716373" y="1937264"/>
                  <a:pt x="1708754" y="1930190"/>
                  <a:pt x="1708210" y="1922027"/>
                </a:cubicBezTo>
                <a:cubicBezTo>
                  <a:pt x="1708210" y="1914953"/>
                  <a:pt x="1716373" y="1905702"/>
                  <a:pt x="1723447" y="1905702"/>
                </a:cubicBezTo>
                <a:close/>
                <a:moveTo>
                  <a:pt x="1887787" y="1905158"/>
                </a:moveTo>
                <a:cubicBezTo>
                  <a:pt x="1898671" y="1905158"/>
                  <a:pt x="1904113" y="1911144"/>
                  <a:pt x="1904113" y="1922028"/>
                </a:cubicBezTo>
                <a:cubicBezTo>
                  <a:pt x="1904113" y="1932367"/>
                  <a:pt x="1898127" y="1937809"/>
                  <a:pt x="1886699" y="1937809"/>
                </a:cubicBezTo>
                <a:cubicBezTo>
                  <a:pt x="1876360" y="1937809"/>
                  <a:pt x="1870918" y="1931823"/>
                  <a:pt x="1870918" y="1921483"/>
                </a:cubicBezTo>
                <a:cubicBezTo>
                  <a:pt x="1870918" y="1910600"/>
                  <a:pt x="1876904" y="1904614"/>
                  <a:pt x="1887787" y="1905158"/>
                </a:cubicBezTo>
                <a:close/>
                <a:moveTo>
                  <a:pt x="1152606" y="1831693"/>
                </a:moveTo>
                <a:cubicBezTo>
                  <a:pt x="1155871" y="1832782"/>
                  <a:pt x="1160769" y="1836591"/>
                  <a:pt x="1161313" y="1839312"/>
                </a:cubicBezTo>
                <a:cubicBezTo>
                  <a:pt x="1160769" y="1843121"/>
                  <a:pt x="1156959" y="1846931"/>
                  <a:pt x="1153694" y="1852916"/>
                </a:cubicBezTo>
                <a:cubicBezTo>
                  <a:pt x="1149341" y="1847475"/>
                  <a:pt x="1146076" y="1844754"/>
                  <a:pt x="1144988" y="1841489"/>
                </a:cubicBezTo>
                <a:cubicBezTo>
                  <a:pt x="1143355" y="1837135"/>
                  <a:pt x="1148797" y="1830605"/>
                  <a:pt x="1152606" y="1831693"/>
                </a:cubicBezTo>
                <a:close/>
                <a:moveTo>
                  <a:pt x="1315315" y="1825708"/>
                </a:moveTo>
                <a:cubicBezTo>
                  <a:pt x="1321301" y="1825164"/>
                  <a:pt x="1331096" y="1834415"/>
                  <a:pt x="1330552" y="1840401"/>
                </a:cubicBezTo>
                <a:cubicBezTo>
                  <a:pt x="1330552" y="1845298"/>
                  <a:pt x="1321301" y="1854549"/>
                  <a:pt x="1316404" y="1854549"/>
                </a:cubicBezTo>
                <a:cubicBezTo>
                  <a:pt x="1310962" y="1855094"/>
                  <a:pt x="1302255" y="1846387"/>
                  <a:pt x="1301711" y="1840945"/>
                </a:cubicBezTo>
                <a:cubicBezTo>
                  <a:pt x="1301167" y="1834959"/>
                  <a:pt x="1309329" y="1826252"/>
                  <a:pt x="1315315" y="1825708"/>
                </a:cubicBezTo>
                <a:close/>
                <a:moveTo>
                  <a:pt x="1479656" y="1822987"/>
                </a:moveTo>
                <a:cubicBezTo>
                  <a:pt x="1489995" y="1823531"/>
                  <a:pt x="1495981" y="1830061"/>
                  <a:pt x="1495981" y="1840401"/>
                </a:cubicBezTo>
                <a:cubicBezTo>
                  <a:pt x="1495981" y="1851284"/>
                  <a:pt x="1490539" y="1856726"/>
                  <a:pt x="1478567" y="1856182"/>
                </a:cubicBezTo>
                <a:cubicBezTo>
                  <a:pt x="1467140" y="1856182"/>
                  <a:pt x="1462242" y="1850740"/>
                  <a:pt x="1462242" y="1839312"/>
                </a:cubicBezTo>
                <a:cubicBezTo>
                  <a:pt x="1462242" y="1828429"/>
                  <a:pt x="1468772" y="1822443"/>
                  <a:pt x="1479656" y="1822987"/>
                </a:cubicBezTo>
                <a:close/>
                <a:moveTo>
                  <a:pt x="1642365" y="1821355"/>
                </a:moveTo>
                <a:cubicBezTo>
                  <a:pt x="1653248" y="1821355"/>
                  <a:pt x="1661955" y="1829518"/>
                  <a:pt x="1660867" y="1840401"/>
                </a:cubicBezTo>
                <a:cubicBezTo>
                  <a:pt x="1659778" y="1853461"/>
                  <a:pt x="1653792" y="1857270"/>
                  <a:pt x="1642365" y="1857270"/>
                </a:cubicBezTo>
                <a:cubicBezTo>
                  <a:pt x="1630937" y="1857270"/>
                  <a:pt x="1624407" y="1850740"/>
                  <a:pt x="1624407" y="1839857"/>
                </a:cubicBezTo>
                <a:cubicBezTo>
                  <a:pt x="1624407" y="1828973"/>
                  <a:pt x="1632025" y="1821355"/>
                  <a:pt x="1642365" y="1821355"/>
                </a:cubicBezTo>
                <a:close/>
                <a:moveTo>
                  <a:pt x="1806162" y="1819723"/>
                </a:moveTo>
                <a:cubicBezTo>
                  <a:pt x="1816501" y="1819723"/>
                  <a:pt x="1827385" y="1831150"/>
                  <a:pt x="1826840" y="1840945"/>
                </a:cubicBezTo>
                <a:cubicBezTo>
                  <a:pt x="1826296" y="1850740"/>
                  <a:pt x="1813780" y="1862168"/>
                  <a:pt x="1804529" y="1861080"/>
                </a:cubicBezTo>
                <a:cubicBezTo>
                  <a:pt x="1795278" y="1860536"/>
                  <a:pt x="1783851" y="1847476"/>
                  <a:pt x="1784395" y="1839313"/>
                </a:cubicBezTo>
                <a:cubicBezTo>
                  <a:pt x="1784939" y="1828973"/>
                  <a:pt x="1796367" y="1819178"/>
                  <a:pt x="1806162" y="1819723"/>
                </a:cubicBezTo>
                <a:close/>
                <a:moveTo>
                  <a:pt x="1968870" y="1819178"/>
                </a:moveTo>
                <a:cubicBezTo>
                  <a:pt x="1980298" y="1819178"/>
                  <a:pt x="1990093" y="1828973"/>
                  <a:pt x="1990093" y="1840401"/>
                </a:cubicBezTo>
                <a:cubicBezTo>
                  <a:pt x="1990093" y="1851285"/>
                  <a:pt x="1980298" y="1861624"/>
                  <a:pt x="1968870" y="1861624"/>
                </a:cubicBezTo>
                <a:cubicBezTo>
                  <a:pt x="1957986" y="1861624"/>
                  <a:pt x="1947647" y="1851285"/>
                  <a:pt x="1947647" y="1840401"/>
                </a:cubicBezTo>
                <a:cubicBezTo>
                  <a:pt x="1947647" y="1828973"/>
                  <a:pt x="1957986" y="1819178"/>
                  <a:pt x="1968870" y="1819178"/>
                </a:cubicBezTo>
                <a:close/>
                <a:moveTo>
                  <a:pt x="1070436" y="1747347"/>
                </a:moveTo>
                <a:cubicBezTo>
                  <a:pt x="1078598" y="1747347"/>
                  <a:pt x="1081863" y="1750612"/>
                  <a:pt x="1081863" y="1758231"/>
                </a:cubicBezTo>
                <a:cubicBezTo>
                  <a:pt x="1081863" y="1766393"/>
                  <a:pt x="1078598" y="1769658"/>
                  <a:pt x="1070980" y="1769658"/>
                </a:cubicBezTo>
                <a:cubicBezTo>
                  <a:pt x="1063361" y="1769658"/>
                  <a:pt x="1060096" y="1766393"/>
                  <a:pt x="1059552" y="1758775"/>
                </a:cubicBezTo>
                <a:cubicBezTo>
                  <a:pt x="1059552" y="1751156"/>
                  <a:pt x="1062817" y="1747347"/>
                  <a:pt x="1070436" y="1747347"/>
                </a:cubicBezTo>
                <a:close/>
                <a:moveTo>
                  <a:pt x="1233688" y="1742449"/>
                </a:moveTo>
                <a:cubicBezTo>
                  <a:pt x="1242939" y="1741904"/>
                  <a:pt x="1250558" y="1750067"/>
                  <a:pt x="1250558" y="1758774"/>
                </a:cubicBezTo>
                <a:cubicBezTo>
                  <a:pt x="1250558" y="1767481"/>
                  <a:pt x="1242939" y="1775099"/>
                  <a:pt x="1233688" y="1775099"/>
                </a:cubicBezTo>
                <a:cubicBezTo>
                  <a:pt x="1224981" y="1775099"/>
                  <a:pt x="1218451" y="1768025"/>
                  <a:pt x="1217907" y="1759318"/>
                </a:cubicBezTo>
                <a:cubicBezTo>
                  <a:pt x="1217907" y="1750067"/>
                  <a:pt x="1224981" y="1742449"/>
                  <a:pt x="1233688" y="1742449"/>
                </a:cubicBezTo>
                <a:close/>
                <a:moveTo>
                  <a:pt x="1399662" y="1739728"/>
                </a:moveTo>
                <a:cubicBezTo>
                  <a:pt x="1410002" y="1740817"/>
                  <a:pt x="1418164" y="1750068"/>
                  <a:pt x="1417076" y="1760407"/>
                </a:cubicBezTo>
                <a:cubicBezTo>
                  <a:pt x="1415988" y="1769114"/>
                  <a:pt x="1404560" y="1779997"/>
                  <a:pt x="1396941" y="1779453"/>
                </a:cubicBezTo>
                <a:cubicBezTo>
                  <a:pt x="1388779" y="1778909"/>
                  <a:pt x="1376807" y="1765305"/>
                  <a:pt x="1377895" y="1757686"/>
                </a:cubicBezTo>
                <a:cubicBezTo>
                  <a:pt x="1379528" y="1746803"/>
                  <a:pt x="1389867" y="1738640"/>
                  <a:pt x="1399662" y="1739728"/>
                </a:cubicBezTo>
                <a:close/>
                <a:moveTo>
                  <a:pt x="1723991" y="1735919"/>
                </a:moveTo>
                <a:cubicBezTo>
                  <a:pt x="1738140" y="1735919"/>
                  <a:pt x="1746847" y="1744626"/>
                  <a:pt x="1746847" y="1758774"/>
                </a:cubicBezTo>
                <a:cubicBezTo>
                  <a:pt x="1746847" y="1772379"/>
                  <a:pt x="1738140" y="1781086"/>
                  <a:pt x="1723991" y="1781086"/>
                </a:cubicBezTo>
                <a:cubicBezTo>
                  <a:pt x="1709299" y="1781086"/>
                  <a:pt x="1701680" y="1773467"/>
                  <a:pt x="1701680" y="1758774"/>
                </a:cubicBezTo>
                <a:cubicBezTo>
                  <a:pt x="1701680" y="1744626"/>
                  <a:pt x="1709843" y="1735919"/>
                  <a:pt x="1723991" y="1735919"/>
                </a:cubicBezTo>
                <a:close/>
                <a:moveTo>
                  <a:pt x="1560194" y="1735919"/>
                </a:moveTo>
                <a:cubicBezTo>
                  <a:pt x="1572710" y="1736463"/>
                  <a:pt x="1582505" y="1746258"/>
                  <a:pt x="1582505" y="1758230"/>
                </a:cubicBezTo>
                <a:cubicBezTo>
                  <a:pt x="1582505" y="1770202"/>
                  <a:pt x="1572710" y="1779997"/>
                  <a:pt x="1560738" y="1779997"/>
                </a:cubicBezTo>
                <a:cubicBezTo>
                  <a:pt x="1549855" y="1779997"/>
                  <a:pt x="1538427" y="1769114"/>
                  <a:pt x="1538427" y="1758230"/>
                </a:cubicBezTo>
                <a:cubicBezTo>
                  <a:pt x="1538427" y="1746803"/>
                  <a:pt x="1548766" y="1735919"/>
                  <a:pt x="1560194" y="1735919"/>
                </a:cubicBezTo>
                <a:close/>
                <a:moveTo>
                  <a:pt x="2051041" y="1734831"/>
                </a:moveTo>
                <a:lnTo>
                  <a:pt x="2051041" y="1781438"/>
                </a:lnTo>
                <a:lnTo>
                  <a:pt x="2050496" y="1781630"/>
                </a:lnTo>
                <a:cubicBezTo>
                  <a:pt x="2033627" y="1782174"/>
                  <a:pt x="2027097" y="1772379"/>
                  <a:pt x="2027097" y="1758775"/>
                </a:cubicBezTo>
                <a:cubicBezTo>
                  <a:pt x="2027097" y="1744082"/>
                  <a:pt x="2033627" y="1734831"/>
                  <a:pt x="2051041" y="1734831"/>
                </a:cubicBezTo>
                <a:close/>
                <a:moveTo>
                  <a:pt x="1887788" y="1734831"/>
                </a:moveTo>
                <a:cubicBezTo>
                  <a:pt x="1902481" y="1735375"/>
                  <a:pt x="1910099" y="1742994"/>
                  <a:pt x="1910099" y="1758775"/>
                </a:cubicBezTo>
                <a:cubicBezTo>
                  <a:pt x="1910099" y="1771835"/>
                  <a:pt x="1903025" y="1782718"/>
                  <a:pt x="1886699" y="1781086"/>
                </a:cubicBezTo>
                <a:cubicBezTo>
                  <a:pt x="1872551" y="1782174"/>
                  <a:pt x="1863844" y="1770203"/>
                  <a:pt x="1863844" y="1757687"/>
                </a:cubicBezTo>
                <a:cubicBezTo>
                  <a:pt x="1863844" y="1742994"/>
                  <a:pt x="1874728" y="1734287"/>
                  <a:pt x="1887788" y="1734831"/>
                </a:cubicBezTo>
                <a:close/>
                <a:moveTo>
                  <a:pt x="826100" y="1671706"/>
                </a:moveTo>
                <a:cubicBezTo>
                  <a:pt x="830454" y="1670618"/>
                  <a:pt x="832086" y="1673338"/>
                  <a:pt x="832086" y="1677692"/>
                </a:cubicBezTo>
                <a:cubicBezTo>
                  <a:pt x="832086" y="1681501"/>
                  <a:pt x="829365" y="1683134"/>
                  <a:pt x="825556" y="1683134"/>
                </a:cubicBezTo>
                <a:cubicBezTo>
                  <a:pt x="821203" y="1683134"/>
                  <a:pt x="819570" y="1679869"/>
                  <a:pt x="820658" y="1676603"/>
                </a:cubicBezTo>
                <a:cubicBezTo>
                  <a:pt x="821203" y="1674427"/>
                  <a:pt x="823924" y="1672250"/>
                  <a:pt x="826100" y="1671706"/>
                </a:cubicBezTo>
                <a:close/>
                <a:moveTo>
                  <a:pt x="989354" y="1661912"/>
                </a:moveTo>
                <a:cubicBezTo>
                  <a:pt x="994251" y="1661912"/>
                  <a:pt x="1004046" y="1671707"/>
                  <a:pt x="1004046" y="1676604"/>
                </a:cubicBezTo>
                <a:cubicBezTo>
                  <a:pt x="1004046" y="1682590"/>
                  <a:pt x="996428" y="1690209"/>
                  <a:pt x="989354" y="1690209"/>
                </a:cubicBezTo>
                <a:cubicBezTo>
                  <a:pt x="982823" y="1690209"/>
                  <a:pt x="975749" y="1683679"/>
                  <a:pt x="975205" y="1677693"/>
                </a:cubicBezTo>
                <a:cubicBezTo>
                  <a:pt x="974661" y="1671707"/>
                  <a:pt x="983912" y="1661367"/>
                  <a:pt x="989354" y="1661912"/>
                </a:cubicBezTo>
                <a:close/>
                <a:moveTo>
                  <a:pt x="1153151" y="1659734"/>
                </a:moveTo>
                <a:cubicBezTo>
                  <a:pt x="1162946" y="1658646"/>
                  <a:pt x="1171108" y="1667353"/>
                  <a:pt x="1170564" y="1677692"/>
                </a:cubicBezTo>
                <a:cubicBezTo>
                  <a:pt x="1170020" y="1688575"/>
                  <a:pt x="1162946" y="1694562"/>
                  <a:pt x="1152062" y="1694562"/>
                </a:cubicBezTo>
                <a:cubicBezTo>
                  <a:pt x="1141179" y="1694017"/>
                  <a:pt x="1135737" y="1688031"/>
                  <a:pt x="1135737" y="1677148"/>
                </a:cubicBezTo>
                <a:cubicBezTo>
                  <a:pt x="1135737" y="1664632"/>
                  <a:pt x="1141179" y="1659190"/>
                  <a:pt x="1153151" y="1659734"/>
                </a:cubicBezTo>
                <a:close/>
                <a:moveTo>
                  <a:pt x="1315315" y="1655381"/>
                </a:moveTo>
                <a:cubicBezTo>
                  <a:pt x="1327287" y="1654836"/>
                  <a:pt x="1337082" y="1664088"/>
                  <a:pt x="1337082" y="1676603"/>
                </a:cubicBezTo>
                <a:cubicBezTo>
                  <a:pt x="1337082" y="1688575"/>
                  <a:pt x="1326743" y="1698915"/>
                  <a:pt x="1315315" y="1698915"/>
                </a:cubicBezTo>
                <a:cubicBezTo>
                  <a:pt x="1304976" y="1698915"/>
                  <a:pt x="1294092" y="1687487"/>
                  <a:pt x="1294092" y="1677148"/>
                </a:cubicBezTo>
                <a:cubicBezTo>
                  <a:pt x="1294092" y="1666264"/>
                  <a:pt x="1304431" y="1655925"/>
                  <a:pt x="1315315" y="1655381"/>
                </a:cubicBezTo>
                <a:close/>
                <a:moveTo>
                  <a:pt x="1479111" y="1654293"/>
                </a:moveTo>
                <a:cubicBezTo>
                  <a:pt x="1495437" y="1653204"/>
                  <a:pt x="1501967" y="1664632"/>
                  <a:pt x="1501967" y="1677692"/>
                </a:cubicBezTo>
                <a:cubicBezTo>
                  <a:pt x="1501967" y="1689664"/>
                  <a:pt x="1492716" y="1700548"/>
                  <a:pt x="1479111" y="1700548"/>
                </a:cubicBezTo>
                <a:cubicBezTo>
                  <a:pt x="1466596" y="1700548"/>
                  <a:pt x="1455712" y="1690208"/>
                  <a:pt x="1455712" y="1676604"/>
                </a:cubicBezTo>
                <a:cubicBezTo>
                  <a:pt x="1456256" y="1663544"/>
                  <a:pt x="1464963" y="1653204"/>
                  <a:pt x="1479111" y="1654293"/>
                </a:cubicBezTo>
                <a:close/>
                <a:moveTo>
                  <a:pt x="1643452" y="1650483"/>
                </a:moveTo>
                <a:cubicBezTo>
                  <a:pt x="1654880" y="1651027"/>
                  <a:pt x="1667940" y="1664087"/>
                  <a:pt x="1668484" y="1676603"/>
                </a:cubicBezTo>
                <a:cubicBezTo>
                  <a:pt x="1669029" y="1689120"/>
                  <a:pt x="1655968" y="1702724"/>
                  <a:pt x="1643452" y="1703268"/>
                </a:cubicBezTo>
                <a:cubicBezTo>
                  <a:pt x="1631480" y="1703812"/>
                  <a:pt x="1617332" y="1690208"/>
                  <a:pt x="1617332" y="1677692"/>
                </a:cubicBezTo>
                <a:cubicBezTo>
                  <a:pt x="1616788" y="1664632"/>
                  <a:pt x="1630392" y="1650483"/>
                  <a:pt x="1643452" y="1650483"/>
                </a:cubicBezTo>
                <a:close/>
                <a:moveTo>
                  <a:pt x="1968326" y="1649940"/>
                </a:moveTo>
                <a:cubicBezTo>
                  <a:pt x="1983019" y="1649395"/>
                  <a:pt x="1997167" y="1664088"/>
                  <a:pt x="1995535" y="1676604"/>
                </a:cubicBezTo>
                <a:cubicBezTo>
                  <a:pt x="1997167" y="1689664"/>
                  <a:pt x="1982474" y="1704901"/>
                  <a:pt x="1968870" y="1704357"/>
                </a:cubicBezTo>
                <a:cubicBezTo>
                  <a:pt x="1954177" y="1703813"/>
                  <a:pt x="1942205" y="1691841"/>
                  <a:pt x="1941661" y="1677148"/>
                </a:cubicBezTo>
                <a:cubicBezTo>
                  <a:pt x="1941117" y="1662456"/>
                  <a:pt x="1956354" y="1649940"/>
                  <a:pt x="1968326" y="1649940"/>
                </a:cubicBezTo>
                <a:close/>
                <a:moveTo>
                  <a:pt x="1805617" y="1649939"/>
                </a:moveTo>
                <a:cubicBezTo>
                  <a:pt x="1819222" y="1648851"/>
                  <a:pt x="1832826" y="1664088"/>
                  <a:pt x="1832826" y="1677148"/>
                </a:cubicBezTo>
                <a:cubicBezTo>
                  <a:pt x="1832282" y="1690752"/>
                  <a:pt x="1819222" y="1703812"/>
                  <a:pt x="1805073" y="1704357"/>
                </a:cubicBezTo>
                <a:cubicBezTo>
                  <a:pt x="1792557" y="1704901"/>
                  <a:pt x="1777864" y="1688031"/>
                  <a:pt x="1778409" y="1677148"/>
                </a:cubicBezTo>
                <a:cubicBezTo>
                  <a:pt x="1779497" y="1662999"/>
                  <a:pt x="1791469" y="1649939"/>
                  <a:pt x="1805617" y="1649939"/>
                </a:cubicBezTo>
                <a:close/>
                <a:moveTo>
                  <a:pt x="744474" y="1588992"/>
                </a:moveTo>
                <a:cubicBezTo>
                  <a:pt x="748827" y="1588992"/>
                  <a:pt x="751004" y="1590624"/>
                  <a:pt x="751004" y="1594978"/>
                </a:cubicBezTo>
                <a:cubicBezTo>
                  <a:pt x="751004" y="1598787"/>
                  <a:pt x="749916" y="1601508"/>
                  <a:pt x="745562" y="1602052"/>
                </a:cubicBezTo>
                <a:cubicBezTo>
                  <a:pt x="740665" y="1602052"/>
                  <a:pt x="738488" y="1600420"/>
                  <a:pt x="738488" y="1594978"/>
                </a:cubicBezTo>
                <a:cubicBezTo>
                  <a:pt x="737944" y="1590624"/>
                  <a:pt x="740121" y="1588992"/>
                  <a:pt x="744474" y="1588992"/>
                </a:cubicBezTo>
                <a:close/>
                <a:moveTo>
                  <a:pt x="907183" y="1579741"/>
                </a:moveTo>
                <a:cubicBezTo>
                  <a:pt x="913169" y="1579197"/>
                  <a:pt x="923508" y="1588992"/>
                  <a:pt x="923508" y="1594978"/>
                </a:cubicBezTo>
                <a:cubicBezTo>
                  <a:pt x="923508" y="1600964"/>
                  <a:pt x="915345" y="1610215"/>
                  <a:pt x="908815" y="1610759"/>
                </a:cubicBezTo>
                <a:cubicBezTo>
                  <a:pt x="901197" y="1611303"/>
                  <a:pt x="892490" y="1603685"/>
                  <a:pt x="892490" y="1595522"/>
                </a:cubicBezTo>
                <a:cubicBezTo>
                  <a:pt x="892490" y="1588448"/>
                  <a:pt x="900653" y="1579741"/>
                  <a:pt x="907183" y="1579741"/>
                </a:cubicBezTo>
                <a:close/>
                <a:moveTo>
                  <a:pt x="1071524" y="1574843"/>
                </a:moveTo>
                <a:cubicBezTo>
                  <a:pt x="1081319" y="1575387"/>
                  <a:pt x="1091114" y="1585726"/>
                  <a:pt x="1091114" y="1595522"/>
                </a:cubicBezTo>
                <a:cubicBezTo>
                  <a:pt x="1091114" y="1605317"/>
                  <a:pt x="1080231" y="1615656"/>
                  <a:pt x="1070980" y="1615656"/>
                </a:cubicBezTo>
                <a:cubicBezTo>
                  <a:pt x="1062273" y="1615656"/>
                  <a:pt x="1050845" y="1604228"/>
                  <a:pt x="1050301" y="1595522"/>
                </a:cubicBezTo>
                <a:cubicBezTo>
                  <a:pt x="1050301" y="1586270"/>
                  <a:pt x="1062273" y="1574299"/>
                  <a:pt x="1071524" y="1574843"/>
                </a:cubicBezTo>
                <a:close/>
                <a:moveTo>
                  <a:pt x="1233688" y="1573210"/>
                </a:moveTo>
                <a:cubicBezTo>
                  <a:pt x="1247837" y="1573210"/>
                  <a:pt x="1256544" y="1581373"/>
                  <a:pt x="1256544" y="1595522"/>
                </a:cubicBezTo>
                <a:cubicBezTo>
                  <a:pt x="1256544" y="1609670"/>
                  <a:pt x="1247837" y="1618377"/>
                  <a:pt x="1233688" y="1618377"/>
                </a:cubicBezTo>
                <a:cubicBezTo>
                  <a:pt x="1221172" y="1618377"/>
                  <a:pt x="1212465" y="1608582"/>
                  <a:pt x="1211377" y="1596610"/>
                </a:cubicBezTo>
                <a:cubicBezTo>
                  <a:pt x="1210289" y="1584638"/>
                  <a:pt x="1222261" y="1571034"/>
                  <a:pt x="1233688" y="1573210"/>
                </a:cubicBezTo>
                <a:close/>
                <a:moveTo>
                  <a:pt x="1398030" y="1569402"/>
                </a:moveTo>
                <a:cubicBezTo>
                  <a:pt x="1411634" y="1569946"/>
                  <a:pt x="1423606" y="1582462"/>
                  <a:pt x="1423062" y="1595522"/>
                </a:cubicBezTo>
                <a:cubicBezTo>
                  <a:pt x="1423062" y="1608582"/>
                  <a:pt x="1410546" y="1621099"/>
                  <a:pt x="1397485" y="1621099"/>
                </a:cubicBezTo>
                <a:cubicBezTo>
                  <a:pt x="1384969" y="1621099"/>
                  <a:pt x="1371365" y="1608038"/>
                  <a:pt x="1371365" y="1595522"/>
                </a:cubicBezTo>
                <a:cubicBezTo>
                  <a:pt x="1371365" y="1582462"/>
                  <a:pt x="1384969" y="1568857"/>
                  <a:pt x="1398030" y="1569402"/>
                </a:cubicBezTo>
                <a:close/>
                <a:moveTo>
                  <a:pt x="1560194" y="1568313"/>
                </a:moveTo>
                <a:cubicBezTo>
                  <a:pt x="1574342" y="1566680"/>
                  <a:pt x="1587403" y="1581373"/>
                  <a:pt x="1587947" y="1594433"/>
                </a:cubicBezTo>
                <a:cubicBezTo>
                  <a:pt x="1588491" y="1608582"/>
                  <a:pt x="1574887" y="1622730"/>
                  <a:pt x="1560194" y="1622730"/>
                </a:cubicBezTo>
                <a:cubicBezTo>
                  <a:pt x="1547134" y="1622730"/>
                  <a:pt x="1532985" y="1608582"/>
                  <a:pt x="1532985" y="1594977"/>
                </a:cubicBezTo>
                <a:cubicBezTo>
                  <a:pt x="1532985" y="1581917"/>
                  <a:pt x="1547134" y="1566680"/>
                  <a:pt x="1560194" y="1568313"/>
                </a:cubicBezTo>
                <a:close/>
                <a:moveTo>
                  <a:pt x="1887244" y="1567225"/>
                </a:moveTo>
                <a:cubicBezTo>
                  <a:pt x="1905202" y="1567225"/>
                  <a:pt x="1915541" y="1578109"/>
                  <a:pt x="1915541" y="1594978"/>
                </a:cubicBezTo>
                <a:cubicBezTo>
                  <a:pt x="1915541" y="1612392"/>
                  <a:pt x="1903569" y="1624363"/>
                  <a:pt x="1886699" y="1623819"/>
                </a:cubicBezTo>
                <a:cubicBezTo>
                  <a:pt x="1872551" y="1623819"/>
                  <a:pt x="1857314" y="1613480"/>
                  <a:pt x="1858947" y="1594978"/>
                </a:cubicBezTo>
                <a:cubicBezTo>
                  <a:pt x="1857858" y="1577564"/>
                  <a:pt x="1870918" y="1567225"/>
                  <a:pt x="1887244" y="1567225"/>
                </a:cubicBezTo>
                <a:close/>
                <a:moveTo>
                  <a:pt x="1724535" y="1567225"/>
                </a:moveTo>
                <a:cubicBezTo>
                  <a:pt x="1743037" y="1567225"/>
                  <a:pt x="1752288" y="1581373"/>
                  <a:pt x="1752288" y="1594978"/>
                </a:cubicBezTo>
                <a:cubicBezTo>
                  <a:pt x="1752288" y="1609127"/>
                  <a:pt x="1741949" y="1623275"/>
                  <a:pt x="1724535" y="1623275"/>
                </a:cubicBezTo>
                <a:cubicBezTo>
                  <a:pt x="1710930" y="1623819"/>
                  <a:pt x="1694605" y="1613480"/>
                  <a:pt x="1696238" y="1594978"/>
                </a:cubicBezTo>
                <a:cubicBezTo>
                  <a:pt x="1694605" y="1577564"/>
                  <a:pt x="1708754" y="1567225"/>
                  <a:pt x="1724535" y="1567225"/>
                </a:cubicBezTo>
                <a:close/>
                <a:moveTo>
                  <a:pt x="2050496" y="1566680"/>
                </a:moveTo>
                <a:lnTo>
                  <a:pt x="2051041" y="1566888"/>
                </a:lnTo>
                <a:lnTo>
                  <a:pt x="2051041" y="1623794"/>
                </a:lnTo>
                <a:lnTo>
                  <a:pt x="2049408" y="1624363"/>
                </a:lnTo>
                <a:cubicBezTo>
                  <a:pt x="2033083" y="1623818"/>
                  <a:pt x="2021111" y="1611302"/>
                  <a:pt x="2021655" y="1594977"/>
                </a:cubicBezTo>
                <a:cubicBezTo>
                  <a:pt x="2022199" y="1575931"/>
                  <a:pt x="2033627" y="1567224"/>
                  <a:pt x="2050496" y="1566680"/>
                </a:cubicBezTo>
                <a:close/>
                <a:moveTo>
                  <a:pt x="663392" y="1505188"/>
                </a:moveTo>
                <a:cubicBezTo>
                  <a:pt x="666113" y="1505188"/>
                  <a:pt x="669922" y="1510086"/>
                  <a:pt x="674819" y="1513895"/>
                </a:cubicBezTo>
                <a:cubicBezTo>
                  <a:pt x="669378" y="1517704"/>
                  <a:pt x="665569" y="1522602"/>
                  <a:pt x="662848" y="1522058"/>
                </a:cubicBezTo>
                <a:cubicBezTo>
                  <a:pt x="659583" y="1521513"/>
                  <a:pt x="654685" y="1516072"/>
                  <a:pt x="654685" y="1513351"/>
                </a:cubicBezTo>
                <a:cubicBezTo>
                  <a:pt x="654685" y="1510086"/>
                  <a:pt x="660127" y="1505188"/>
                  <a:pt x="663392" y="1505188"/>
                </a:cubicBezTo>
                <a:close/>
                <a:moveTo>
                  <a:pt x="826101" y="1497570"/>
                </a:moveTo>
                <a:cubicBezTo>
                  <a:pt x="834263" y="1497025"/>
                  <a:pt x="842426" y="1505188"/>
                  <a:pt x="842970" y="1513351"/>
                </a:cubicBezTo>
                <a:cubicBezTo>
                  <a:pt x="842970" y="1522058"/>
                  <a:pt x="835352" y="1529676"/>
                  <a:pt x="826645" y="1529676"/>
                </a:cubicBezTo>
                <a:cubicBezTo>
                  <a:pt x="818482" y="1529676"/>
                  <a:pt x="810864" y="1523146"/>
                  <a:pt x="810319" y="1514983"/>
                </a:cubicBezTo>
                <a:cubicBezTo>
                  <a:pt x="809775" y="1506276"/>
                  <a:pt x="817394" y="1498114"/>
                  <a:pt x="826101" y="1497570"/>
                </a:cubicBezTo>
                <a:close/>
                <a:moveTo>
                  <a:pt x="988265" y="1492128"/>
                </a:moveTo>
                <a:cubicBezTo>
                  <a:pt x="998605" y="1492128"/>
                  <a:pt x="1010577" y="1501379"/>
                  <a:pt x="1010577" y="1513351"/>
                </a:cubicBezTo>
                <a:cubicBezTo>
                  <a:pt x="1010577" y="1524234"/>
                  <a:pt x="1000237" y="1534574"/>
                  <a:pt x="989354" y="1534574"/>
                </a:cubicBezTo>
                <a:cubicBezTo>
                  <a:pt x="979559" y="1534574"/>
                  <a:pt x="968675" y="1523690"/>
                  <a:pt x="968131" y="1513895"/>
                </a:cubicBezTo>
                <a:cubicBezTo>
                  <a:pt x="968131" y="1503556"/>
                  <a:pt x="977926" y="1492672"/>
                  <a:pt x="988265" y="1492128"/>
                </a:cubicBezTo>
                <a:close/>
                <a:moveTo>
                  <a:pt x="1152606" y="1490496"/>
                </a:moveTo>
                <a:cubicBezTo>
                  <a:pt x="1167299" y="1489407"/>
                  <a:pt x="1176006" y="1498658"/>
                  <a:pt x="1176006" y="1513351"/>
                </a:cubicBezTo>
                <a:cubicBezTo>
                  <a:pt x="1176006" y="1530764"/>
                  <a:pt x="1166755" y="1537295"/>
                  <a:pt x="1152606" y="1537839"/>
                </a:cubicBezTo>
                <a:cubicBezTo>
                  <a:pt x="1139546" y="1537839"/>
                  <a:pt x="1129207" y="1530764"/>
                  <a:pt x="1129207" y="1514984"/>
                </a:cubicBezTo>
                <a:cubicBezTo>
                  <a:pt x="1129207" y="1498114"/>
                  <a:pt x="1138458" y="1491040"/>
                  <a:pt x="1152606" y="1490496"/>
                </a:cubicBezTo>
                <a:close/>
                <a:moveTo>
                  <a:pt x="1316403" y="1487231"/>
                </a:moveTo>
                <a:cubicBezTo>
                  <a:pt x="1331095" y="1487775"/>
                  <a:pt x="1342523" y="1499203"/>
                  <a:pt x="1342523" y="1513896"/>
                </a:cubicBezTo>
                <a:cubicBezTo>
                  <a:pt x="1342523" y="1528588"/>
                  <a:pt x="1330551" y="1540560"/>
                  <a:pt x="1315314" y="1540560"/>
                </a:cubicBezTo>
                <a:cubicBezTo>
                  <a:pt x="1303887" y="1542193"/>
                  <a:pt x="1288106" y="1527500"/>
                  <a:pt x="1288650" y="1513896"/>
                </a:cubicBezTo>
                <a:cubicBezTo>
                  <a:pt x="1289194" y="1498659"/>
                  <a:pt x="1301166" y="1486687"/>
                  <a:pt x="1316403" y="1487231"/>
                </a:cubicBezTo>
                <a:close/>
                <a:moveTo>
                  <a:pt x="1479656" y="1485054"/>
                </a:moveTo>
                <a:cubicBezTo>
                  <a:pt x="1495437" y="1485598"/>
                  <a:pt x="1508497" y="1496482"/>
                  <a:pt x="1507409" y="1513895"/>
                </a:cubicBezTo>
                <a:cubicBezTo>
                  <a:pt x="1508497" y="1527500"/>
                  <a:pt x="1498158" y="1542192"/>
                  <a:pt x="1479112" y="1541648"/>
                </a:cubicBezTo>
                <a:cubicBezTo>
                  <a:pt x="1462787" y="1541648"/>
                  <a:pt x="1451359" y="1529676"/>
                  <a:pt x="1451359" y="1513351"/>
                </a:cubicBezTo>
                <a:cubicBezTo>
                  <a:pt x="1451359" y="1493761"/>
                  <a:pt x="1466596" y="1485054"/>
                  <a:pt x="1479656" y="1485054"/>
                </a:cubicBezTo>
                <a:close/>
                <a:moveTo>
                  <a:pt x="1641820" y="1482334"/>
                </a:moveTo>
                <a:cubicBezTo>
                  <a:pt x="1657057" y="1481789"/>
                  <a:pt x="1672838" y="1496482"/>
                  <a:pt x="1673382" y="1512807"/>
                </a:cubicBezTo>
                <a:cubicBezTo>
                  <a:pt x="1673927" y="1528044"/>
                  <a:pt x="1658145" y="1544370"/>
                  <a:pt x="1642909" y="1544370"/>
                </a:cubicBezTo>
                <a:cubicBezTo>
                  <a:pt x="1626039" y="1542193"/>
                  <a:pt x="1612979" y="1532942"/>
                  <a:pt x="1612435" y="1513351"/>
                </a:cubicBezTo>
                <a:cubicBezTo>
                  <a:pt x="1611890" y="1497571"/>
                  <a:pt x="1626583" y="1483422"/>
                  <a:pt x="1641820" y="1482334"/>
                </a:cubicBezTo>
                <a:close/>
                <a:moveTo>
                  <a:pt x="1804529" y="1481788"/>
                </a:moveTo>
                <a:cubicBezTo>
                  <a:pt x="1820855" y="1481244"/>
                  <a:pt x="1836091" y="1494304"/>
                  <a:pt x="1837180" y="1513351"/>
                </a:cubicBezTo>
                <a:cubicBezTo>
                  <a:pt x="1838812" y="1528043"/>
                  <a:pt x="1825208" y="1544913"/>
                  <a:pt x="1805617" y="1545457"/>
                </a:cubicBezTo>
                <a:cubicBezTo>
                  <a:pt x="1787660" y="1544913"/>
                  <a:pt x="1774055" y="1532397"/>
                  <a:pt x="1773511" y="1514983"/>
                </a:cubicBezTo>
                <a:cubicBezTo>
                  <a:pt x="1772967" y="1494849"/>
                  <a:pt x="1788204" y="1482333"/>
                  <a:pt x="1804529" y="1481788"/>
                </a:cubicBezTo>
                <a:close/>
                <a:moveTo>
                  <a:pt x="1968870" y="1480700"/>
                </a:moveTo>
                <a:cubicBezTo>
                  <a:pt x="1984651" y="1480700"/>
                  <a:pt x="2000977" y="1495937"/>
                  <a:pt x="2000977" y="1513351"/>
                </a:cubicBezTo>
                <a:cubicBezTo>
                  <a:pt x="2001521" y="1529132"/>
                  <a:pt x="1987916" y="1546001"/>
                  <a:pt x="1968870" y="1545457"/>
                </a:cubicBezTo>
                <a:cubicBezTo>
                  <a:pt x="1949824" y="1545457"/>
                  <a:pt x="1936764" y="1530764"/>
                  <a:pt x="1936764" y="1513351"/>
                </a:cubicBezTo>
                <a:cubicBezTo>
                  <a:pt x="1936764" y="1493760"/>
                  <a:pt x="1953633" y="1480700"/>
                  <a:pt x="1968870" y="1480700"/>
                </a:cubicBezTo>
                <a:close/>
                <a:moveTo>
                  <a:pt x="581221" y="1423562"/>
                </a:moveTo>
                <a:cubicBezTo>
                  <a:pt x="586663" y="1423562"/>
                  <a:pt x="589384" y="1427371"/>
                  <a:pt x="588840" y="1431725"/>
                </a:cubicBezTo>
                <a:cubicBezTo>
                  <a:pt x="588840" y="1434990"/>
                  <a:pt x="585030" y="1438255"/>
                  <a:pt x="581765" y="1443153"/>
                </a:cubicBezTo>
                <a:cubicBezTo>
                  <a:pt x="577412" y="1438255"/>
                  <a:pt x="574147" y="1436078"/>
                  <a:pt x="573059" y="1432813"/>
                </a:cubicBezTo>
                <a:cubicBezTo>
                  <a:pt x="571426" y="1429004"/>
                  <a:pt x="576868" y="1423562"/>
                  <a:pt x="581221" y="1423562"/>
                </a:cubicBezTo>
                <a:close/>
                <a:moveTo>
                  <a:pt x="745562" y="1414855"/>
                </a:moveTo>
                <a:cubicBezTo>
                  <a:pt x="754269" y="1415399"/>
                  <a:pt x="761344" y="1423018"/>
                  <a:pt x="761344" y="1432269"/>
                </a:cubicBezTo>
                <a:cubicBezTo>
                  <a:pt x="761344" y="1442064"/>
                  <a:pt x="754813" y="1448050"/>
                  <a:pt x="745018" y="1448050"/>
                </a:cubicBezTo>
                <a:cubicBezTo>
                  <a:pt x="734679" y="1448050"/>
                  <a:pt x="728693" y="1442064"/>
                  <a:pt x="728693" y="1431725"/>
                </a:cubicBezTo>
                <a:cubicBezTo>
                  <a:pt x="728693" y="1421386"/>
                  <a:pt x="735223" y="1414311"/>
                  <a:pt x="745562" y="1414855"/>
                </a:cubicBezTo>
                <a:close/>
                <a:moveTo>
                  <a:pt x="908815" y="1409958"/>
                </a:moveTo>
                <a:cubicBezTo>
                  <a:pt x="920243" y="1410502"/>
                  <a:pt x="930038" y="1420297"/>
                  <a:pt x="930038" y="1431725"/>
                </a:cubicBezTo>
                <a:cubicBezTo>
                  <a:pt x="929494" y="1443697"/>
                  <a:pt x="919155" y="1454036"/>
                  <a:pt x="907183" y="1453492"/>
                </a:cubicBezTo>
                <a:cubicBezTo>
                  <a:pt x="896844" y="1453492"/>
                  <a:pt x="885960" y="1442064"/>
                  <a:pt x="885960" y="1431725"/>
                </a:cubicBezTo>
                <a:cubicBezTo>
                  <a:pt x="885960" y="1420297"/>
                  <a:pt x="897388" y="1409414"/>
                  <a:pt x="908815" y="1409958"/>
                </a:cubicBezTo>
                <a:close/>
                <a:moveTo>
                  <a:pt x="1070436" y="1406693"/>
                </a:moveTo>
                <a:cubicBezTo>
                  <a:pt x="1084584" y="1406693"/>
                  <a:pt x="1096012" y="1418121"/>
                  <a:pt x="1096012" y="1432269"/>
                </a:cubicBezTo>
                <a:cubicBezTo>
                  <a:pt x="1096012" y="1445329"/>
                  <a:pt x="1082952" y="1458390"/>
                  <a:pt x="1070436" y="1457846"/>
                </a:cubicBezTo>
                <a:cubicBezTo>
                  <a:pt x="1058464" y="1457301"/>
                  <a:pt x="1044860" y="1443153"/>
                  <a:pt x="1045404" y="1431181"/>
                </a:cubicBezTo>
                <a:cubicBezTo>
                  <a:pt x="1045948" y="1418665"/>
                  <a:pt x="1057920" y="1406693"/>
                  <a:pt x="1070436" y="1406693"/>
                </a:cubicBezTo>
                <a:close/>
                <a:moveTo>
                  <a:pt x="1235865" y="1404516"/>
                </a:moveTo>
                <a:cubicBezTo>
                  <a:pt x="1252191" y="1405605"/>
                  <a:pt x="1262530" y="1415944"/>
                  <a:pt x="1261986" y="1433358"/>
                </a:cubicBezTo>
                <a:cubicBezTo>
                  <a:pt x="1261442" y="1449683"/>
                  <a:pt x="1251102" y="1459478"/>
                  <a:pt x="1233689" y="1459478"/>
                </a:cubicBezTo>
                <a:cubicBezTo>
                  <a:pt x="1218452" y="1461655"/>
                  <a:pt x="1206480" y="1445329"/>
                  <a:pt x="1206480" y="1432269"/>
                </a:cubicBezTo>
                <a:cubicBezTo>
                  <a:pt x="1206480" y="1417032"/>
                  <a:pt x="1220084" y="1403428"/>
                  <a:pt x="1235865" y="1404516"/>
                </a:cubicBezTo>
                <a:close/>
                <a:moveTo>
                  <a:pt x="1397485" y="1400162"/>
                </a:moveTo>
                <a:cubicBezTo>
                  <a:pt x="1412178" y="1400162"/>
                  <a:pt x="1427959" y="1416487"/>
                  <a:pt x="1427959" y="1431724"/>
                </a:cubicBezTo>
                <a:cubicBezTo>
                  <a:pt x="1428503" y="1446961"/>
                  <a:pt x="1413810" y="1462198"/>
                  <a:pt x="1398029" y="1463287"/>
                </a:cubicBezTo>
                <a:cubicBezTo>
                  <a:pt x="1384425" y="1464375"/>
                  <a:pt x="1367555" y="1448049"/>
                  <a:pt x="1366467" y="1432813"/>
                </a:cubicBezTo>
                <a:cubicBezTo>
                  <a:pt x="1365923" y="1418120"/>
                  <a:pt x="1382792" y="1400162"/>
                  <a:pt x="1397485" y="1400162"/>
                </a:cubicBezTo>
                <a:close/>
                <a:moveTo>
                  <a:pt x="1561282" y="1399618"/>
                </a:moveTo>
                <a:cubicBezTo>
                  <a:pt x="1575975" y="1399618"/>
                  <a:pt x="1593388" y="1415943"/>
                  <a:pt x="1593388" y="1432269"/>
                </a:cubicBezTo>
                <a:cubicBezTo>
                  <a:pt x="1593388" y="1446961"/>
                  <a:pt x="1578696" y="1464919"/>
                  <a:pt x="1560738" y="1464375"/>
                </a:cubicBezTo>
                <a:cubicBezTo>
                  <a:pt x="1542236" y="1463831"/>
                  <a:pt x="1529176" y="1450226"/>
                  <a:pt x="1528631" y="1432813"/>
                </a:cubicBezTo>
                <a:cubicBezTo>
                  <a:pt x="1528087" y="1414311"/>
                  <a:pt x="1545501" y="1399618"/>
                  <a:pt x="1561282" y="1399618"/>
                </a:cubicBezTo>
                <a:close/>
                <a:moveTo>
                  <a:pt x="1723446" y="1399074"/>
                </a:moveTo>
                <a:cubicBezTo>
                  <a:pt x="1741948" y="1399074"/>
                  <a:pt x="1757185" y="1413767"/>
                  <a:pt x="1757185" y="1432269"/>
                </a:cubicBezTo>
                <a:cubicBezTo>
                  <a:pt x="1757185" y="1451315"/>
                  <a:pt x="1743037" y="1463831"/>
                  <a:pt x="1723991" y="1465464"/>
                </a:cubicBezTo>
                <a:cubicBezTo>
                  <a:pt x="1707121" y="1466552"/>
                  <a:pt x="1690252" y="1448594"/>
                  <a:pt x="1691340" y="1433357"/>
                </a:cubicBezTo>
                <a:cubicBezTo>
                  <a:pt x="1692428" y="1412678"/>
                  <a:pt x="1704400" y="1399074"/>
                  <a:pt x="1723446" y="1399074"/>
                </a:cubicBezTo>
                <a:close/>
                <a:moveTo>
                  <a:pt x="1886700" y="1398530"/>
                </a:moveTo>
                <a:cubicBezTo>
                  <a:pt x="1904113" y="1396898"/>
                  <a:pt x="1922071" y="1415944"/>
                  <a:pt x="1920439" y="1432269"/>
                </a:cubicBezTo>
                <a:cubicBezTo>
                  <a:pt x="1919350" y="1451315"/>
                  <a:pt x="1907378" y="1464920"/>
                  <a:pt x="1887788" y="1464920"/>
                </a:cubicBezTo>
                <a:cubicBezTo>
                  <a:pt x="1867109" y="1464920"/>
                  <a:pt x="1854049" y="1452948"/>
                  <a:pt x="1854049" y="1433358"/>
                </a:cubicBezTo>
                <a:cubicBezTo>
                  <a:pt x="1854049" y="1412679"/>
                  <a:pt x="1867109" y="1400163"/>
                  <a:pt x="1886700" y="1398530"/>
                </a:cubicBezTo>
                <a:close/>
                <a:moveTo>
                  <a:pt x="2051041" y="1398217"/>
                </a:moveTo>
                <a:lnTo>
                  <a:pt x="2051041" y="1464535"/>
                </a:lnTo>
                <a:lnTo>
                  <a:pt x="2049953" y="1464920"/>
                </a:lnTo>
                <a:cubicBezTo>
                  <a:pt x="2032539" y="1467096"/>
                  <a:pt x="2017302" y="1450771"/>
                  <a:pt x="2017302" y="1431725"/>
                </a:cubicBezTo>
                <a:cubicBezTo>
                  <a:pt x="2017302" y="1422746"/>
                  <a:pt x="2021383" y="1414311"/>
                  <a:pt x="2027709" y="1408121"/>
                </a:cubicBezTo>
                <a:close/>
                <a:moveTo>
                  <a:pt x="500139" y="1341936"/>
                </a:moveTo>
                <a:cubicBezTo>
                  <a:pt x="503404" y="1343568"/>
                  <a:pt x="506125" y="1346833"/>
                  <a:pt x="511023" y="1350643"/>
                </a:cubicBezTo>
                <a:cubicBezTo>
                  <a:pt x="506125" y="1354452"/>
                  <a:pt x="502860" y="1357717"/>
                  <a:pt x="499595" y="1358261"/>
                </a:cubicBezTo>
                <a:cubicBezTo>
                  <a:pt x="495241" y="1359349"/>
                  <a:pt x="490888" y="1353908"/>
                  <a:pt x="491432" y="1349010"/>
                </a:cubicBezTo>
                <a:cubicBezTo>
                  <a:pt x="491976" y="1344112"/>
                  <a:pt x="495241" y="1340848"/>
                  <a:pt x="500139" y="1341936"/>
                </a:cubicBezTo>
                <a:close/>
                <a:moveTo>
                  <a:pt x="662848" y="1333773"/>
                </a:moveTo>
                <a:cubicBezTo>
                  <a:pt x="673187" y="1333773"/>
                  <a:pt x="679173" y="1340303"/>
                  <a:pt x="679173" y="1350643"/>
                </a:cubicBezTo>
                <a:cubicBezTo>
                  <a:pt x="679173" y="1359894"/>
                  <a:pt x="672099" y="1366424"/>
                  <a:pt x="662848" y="1366424"/>
                </a:cubicBezTo>
                <a:cubicBezTo>
                  <a:pt x="653053" y="1366424"/>
                  <a:pt x="647067" y="1359894"/>
                  <a:pt x="647067" y="1350098"/>
                </a:cubicBezTo>
                <a:cubicBezTo>
                  <a:pt x="647067" y="1339759"/>
                  <a:pt x="653053" y="1333773"/>
                  <a:pt x="662848" y="1333773"/>
                </a:cubicBezTo>
                <a:close/>
                <a:moveTo>
                  <a:pt x="826645" y="1328331"/>
                </a:moveTo>
                <a:cubicBezTo>
                  <a:pt x="838617" y="1328331"/>
                  <a:pt x="848412" y="1338670"/>
                  <a:pt x="847868" y="1350642"/>
                </a:cubicBezTo>
                <a:cubicBezTo>
                  <a:pt x="847868" y="1362070"/>
                  <a:pt x="836984" y="1372409"/>
                  <a:pt x="825556" y="1372409"/>
                </a:cubicBezTo>
                <a:cubicBezTo>
                  <a:pt x="814673" y="1372409"/>
                  <a:pt x="803789" y="1360982"/>
                  <a:pt x="804334" y="1349554"/>
                </a:cubicBezTo>
                <a:cubicBezTo>
                  <a:pt x="804334" y="1337582"/>
                  <a:pt x="814673" y="1328331"/>
                  <a:pt x="826645" y="1328331"/>
                </a:cubicBezTo>
                <a:close/>
                <a:moveTo>
                  <a:pt x="989353" y="1323978"/>
                </a:moveTo>
                <a:cubicBezTo>
                  <a:pt x="1002957" y="1324522"/>
                  <a:pt x="1014385" y="1334861"/>
                  <a:pt x="1015473" y="1350098"/>
                </a:cubicBezTo>
                <a:cubicBezTo>
                  <a:pt x="1014929" y="1363702"/>
                  <a:pt x="1004046" y="1376219"/>
                  <a:pt x="989353" y="1376763"/>
                </a:cubicBezTo>
                <a:cubicBezTo>
                  <a:pt x="976293" y="1376763"/>
                  <a:pt x="963777" y="1364791"/>
                  <a:pt x="963777" y="1350642"/>
                </a:cubicBezTo>
                <a:cubicBezTo>
                  <a:pt x="963233" y="1334861"/>
                  <a:pt x="977925" y="1323434"/>
                  <a:pt x="989353" y="1323978"/>
                </a:cubicBezTo>
                <a:close/>
                <a:moveTo>
                  <a:pt x="1152606" y="1322889"/>
                </a:moveTo>
                <a:cubicBezTo>
                  <a:pt x="1170564" y="1320712"/>
                  <a:pt x="1180903" y="1335405"/>
                  <a:pt x="1181447" y="1350098"/>
                </a:cubicBezTo>
                <a:cubicBezTo>
                  <a:pt x="1181447" y="1364791"/>
                  <a:pt x="1171108" y="1379483"/>
                  <a:pt x="1152606" y="1379483"/>
                </a:cubicBezTo>
                <a:cubicBezTo>
                  <a:pt x="1137913" y="1379483"/>
                  <a:pt x="1124853" y="1367511"/>
                  <a:pt x="1124853" y="1350642"/>
                </a:cubicBezTo>
                <a:cubicBezTo>
                  <a:pt x="1124309" y="1333228"/>
                  <a:pt x="1137913" y="1320712"/>
                  <a:pt x="1152606" y="1322889"/>
                </a:cubicBezTo>
                <a:close/>
                <a:moveTo>
                  <a:pt x="1315315" y="1318536"/>
                </a:moveTo>
                <a:cubicBezTo>
                  <a:pt x="1334361" y="1318536"/>
                  <a:pt x="1345789" y="1331596"/>
                  <a:pt x="1347966" y="1350098"/>
                </a:cubicBezTo>
                <a:cubicBezTo>
                  <a:pt x="1345245" y="1369144"/>
                  <a:pt x="1334905" y="1382205"/>
                  <a:pt x="1315315" y="1381661"/>
                </a:cubicBezTo>
                <a:cubicBezTo>
                  <a:pt x="1296813" y="1381116"/>
                  <a:pt x="1284841" y="1369144"/>
                  <a:pt x="1284297" y="1350098"/>
                </a:cubicBezTo>
                <a:cubicBezTo>
                  <a:pt x="1284297" y="1331052"/>
                  <a:pt x="1297357" y="1319080"/>
                  <a:pt x="1315315" y="1318536"/>
                </a:cubicBezTo>
                <a:close/>
                <a:moveTo>
                  <a:pt x="1480744" y="1317448"/>
                </a:moveTo>
                <a:cubicBezTo>
                  <a:pt x="1499246" y="1317992"/>
                  <a:pt x="1512851" y="1332140"/>
                  <a:pt x="1512306" y="1351731"/>
                </a:cubicBezTo>
                <a:cubicBezTo>
                  <a:pt x="1511762" y="1370233"/>
                  <a:pt x="1497070" y="1383837"/>
                  <a:pt x="1477479" y="1383293"/>
                </a:cubicBezTo>
                <a:cubicBezTo>
                  <a:pt x="1458977" y="1382749"/>
                  <a:pt x="1447550" y="1368600"/>
                  <a:pt x="1446461" y="1349554"/>
                </a:cubicBezTo>
                <a:cubicBezTo>
                  <a:pt x="1445373" y="1333773"/>
                  <a:pt x="1463331" y="1314727"/>
                  <a:pt x="1480744" y="1317448"/>
                </a:cubicBezTo>
                <a:close/>
                <a:moveTo>
                  <a:pt x="1642908" y="1315815"/>
                </a:moveTo>
                <a:cubicBezTo>
                  <a:pt x="1663043" y="1315815"/>
                  <a:pt x="1677735" y="1333229"/>
                  <a:pt x="1676647" y="1351731"/>
                </a:cubicBezTo>
                <a:cubicBezTo>
                  <a:pt x="1675559" y="1371865"/>
                  <a:pt x="1661954" y="1384381"/>
                  <a:pt x="1640732" y="1383837"/>
                </a:cubicBezTo>
                <a:cubicBezTo>
                  <a:pt x="1620597" y="1384381"/>
                  <a:pt x="1608081" y="1368056"/>
                  <a:pt x="1608081" y="1349554"/>
                </a:cubicBezTo>
                <a:cubicBezTo>
                  <a:pt x="1608081" y="1329964"/>
                  <a:pt x="1623318" y="1315815"/>
                  <a:pt x="1642908" y="1315815"/>
                </a:cubicBezTo>
                <a:close/>
                <a:moveTo>
                  <a:pt x="1968870" y="1314183"/>
                </a:moveTo>
                <a:cubicBezTo>
                  <a:pt x="1989548" y="1314727"/>
                  <a:pt x="2004785" y="1329420"/>
                  <a:pt x="2005329" y="1351187"/>
                </a:cubicBezTo>
                <a:cubicBezTo>
                  <a:pt x="2004785" y="1370233"/>
                  <a:pt x="1985739" y="1388735"/>
                  <a:pt x="1967781" y="1388191"/>
                </a:cubicBezTo>
                <a:cubicBezTo>
                  <a:pt x="1949823" y="1387647"/>
                  <a:pt x="1931322" y="1367512"/>
                  <a:pt x="1931866" y="1350098"/>
                </a:cubicBezTo>
                <a:cubicBezTo>
                  <a:pt x="1932410" y="1331596"/>
                  <a:pt x="1950912" y="1313094"/>
                  <a:pt x="1968870" y="1314183"/>
                </a:cubicBezTo>
                <a:close/>
                <a:moveTo>
                  <a:pt x="1806161" y="1313639"/>
                </a:moveTo>
                <a:cubicBezTo>
                  <a:pt x="1825207" y="1314183"/>
                  <a:pt x="1843165" y="1332141"/>
                  <a:pt x="1841533" y="1351187"/>
                </a:cubicBezTo>
                <a:cubicBezTo>
                  <a:pt x="1840988" y="1360438"/>
                  <a:pt x="1838267" y="1370233"/>
                  <a:pt x="1830105" y="1376763"/>
                </a:cubicBezTo>
                <a:cubicBezTo>
                  <a:pt x="1822486" y="1383293"/>
                  <a:pt x="1813235" y="1387102"/>
                  <a:pt x="1803984" y="1387102"/>
                </a:cubicBezTo>
                <a:cubicBezTo>
                  <a:pt x="1786027" y="1387102"/>
                  <a:pt x="1768613" y="1367512"/>
                  <a:pt x="1768613" y="1350098"/>
                </a:cubicBezTo>
                <a:cubicBezTo>
                  <a:pt x="1769157" y="1331596"/>
                  <a:pt x="1788203" y="1313094"/>
                  <a:pt x="1806161" y="1313639"/>
                </a:cubicBezTo>
                <a:close/>
                <a:moveTo>
                  <a:pt x="419057" y="1262486"/>
                </a:moveTo>
                <a:cubicBezTo>
                  <a:pt x="423410" y="1262486"/>
                  <a:pt x="425587" y="1265207"/>
                  <a:pt x="424499" y="1269016"/>
                </a:cubicBezTo>
                <a:cubicBezTo>
                  <a:pt x="423410" y="1271737"/>
                  <a:pt x="421234" y="1273914"/>
                  <a:pt x="417969" y="1278811"/>
                </a:cubicBezTo>
                <a:cubicBezTo>
                  <a:pt x="414704" y="1273914"/>
                  <a:pt x="412527" y="1271737"/>
                  <a:pt x="411983" y="1269016"/>
                </a:cubicBezTo>
                <a:cubicBezTo>
                  <a:pt x="410894" y="1264118"/>
                  <a:pt x="414159" y="1262486"/>
                  <a:pt x="419057" y="1262486"/>
                </a:cubicBezTo>
                <a:close/>
                <a:moveTo>
                  <a:pt x="581221" y="1252147"/>
                </a:moveTo>
                <a:cubicBezTo>
                  <a:pt x="591016" y="1252691"/>
                  <a:pt x="598091" y="1260310"/>
                  <a:pt x="597547" y="1269017"/>
                </a:cubicBezTo>
                <a:cubicBezTo>
                  <a:pt x="597547" y="1278268"/>
                  <a:pt x="589928" y="1284798"/>
                  <a:pt x="580133" y="1284254"/>
                </a:cubicBezTo>
                <a:cubicBezTo>
                  <a:pt x="570882" y="1283709"/>
                  <a:pt x="564896" y="1277179"/>
                  <a:pt x="564896" y="1268472"/>
                </a:cubicBezTo>
                <a:cubicBezTo>
                  <a:pt x="564896" y="1259222"/>
                  <a:pt x="571970" y="1252147"/>
                  <a:pt x="581221" y="1252147"/>
                </a:cubicBezTo>
                <a:close/>
                <a:moveTo>
                  <a:pt x="745018" y="1246705"/>
                </a:moveTo>
                <a:cubicBezTo>
                  <a:pt x="757534" y="1246705"/>
                  <a:pt x="766785" y="1257044"/>
                  <a:pt x="766241" y="1269560"/>
                </a:cubicBezTo>
                <a:cubicBezTo>
                  <a:pt x="765697" y="1280988"/>
                  <a:pt x="755358" y="1290783"/>
                  <a:pt x="744474" y="1290783"/>
                </a:cubicBezTo>
                <a:cubicBezTo>
                  <a:pt x="733046" y="1290783"/>
                  <a:pt x="722707" y="1279900"/>
                  <a:pt x="722707" y="1267928"/>
                </a:cubicBezTo>
                <a:cubicBezTo>
                  <a:pt x="722707" y="1255956"/>
                  <a:pt x="733046" y="1246705"/>
                  <a:pt x="745018" y="1246705"/>
                </a:cubicBezTo>
                <a:close/>
                <a:moveTo>
                  <a:pt x="907727" y="1241807"/>
                </a:moveTo>
                <a:cubicBezTo>
                  <a:pt x="921331" y="1241807"/>
                  <a:pt x="934391" y="1257044"/>
                  <a:pt x="933847" y="1269016"/>
                </a:cubicBezTo>
                <a:cubicBezTo>
                  <a:pt x="933847" y="1282620"/>
                  <a:pt x="920787" y="1295680"/>
                  <a:pt x="907183" y="1295136"/>
                </a:cubicBezTo>
                <a:cubicBezTo>
                  <a:pt x="893578" y="1294592"/>
                  <a:pt x="880518" y="1280988"/>
                  <a:pt x="880518" y="1267927"/>
                </a:cubicBezTo>
                <a:cubicBezTo>
                  <a:pt x="881062" y="1254323"/>
                  <a:pt x="894122" y="1242351"/>
                  <a:pt x="907727" y="1241807"/>
                </a:cubicBezTo>
                <a:close/>
                <a:moveTo>
                  <a:pt x="1070979" y="1240719"/>
                </a:moveTo>
                <a:cubicBezTo>
                  <a:pt x="1091114" y="1240175"/>
                  <a:pt x="1099276" y="1252691"/>
                  <a:pt x="1099821" y="1268472"/>
                </a:cubicBezTo>
                <a:cubicBezTo>
                  <a:pt x="1099821" y="1285886"/>
                  <a:pt x="1088393" y="1297858"/>
                  <a:pt x="1070435" y="1297858"/>
                </a:cubicBezTo>
                <a:cubicBezTo>
                  <a:pt x="1053566" y="1297858"/>
                  <a:pt x="1042138" y="1286430"/>
                  <a:pt x="1042138" y="1269560"/>
                </a:cubicBezTo>
                <a:cubicBezTo>
                  <a:pt x="1042138" y="1250514"/>
                  <a:pt x="1053566" y="1240719"/>
                  <a:pt x="1070979" y="1240719"/>
                </a:cubicBezTo>
                <a:close/>
                <a:moveTo>
                  <a:pt x="1234233" y="1235821"/>
                </a:moveTo>
                <a:cubicBezTo>
                  <a:pt x="1250558" y="1235821"/>
                  <a:pt x="1267972" y="1252691"/>
                  <a:pt x="1266883" y="1269016"/>
                </a:cubicBezTo>
                <a:cubicBezTo>
                  <a:pt x="1266339" y="1285885"/>
                  <a:pt x="1251646" y="1301122"/>
                  <a:pt x="1234233" y="1300578"/>
                </a:cubicBezTo>
                <a:cubicBezTo>
                  <a:pt x="1216275" y="1300578"/>
                  <a:pt x="1201582" y="1286430"/>
                  <a:pt x="1201582" y="1267383"/>
                </a:cubicBezTo>
                <a:cubicBezTo>
                  <a:pt x="1201582" y="1249425"/>
                  <a:pt x="1217907" y="1235821"/>
                  <a:pt x="1234233" y="1235821"/>
                </a:cubicBezTo>
                <a:close/>
                <a:moveTo>
                  <a:pt x="1396397" y="1234733"/>
                </a:moveTo>
                <a:cubicBezTo>
                  <a:pt x="1413810" y="1233645"/>
                  <a:pt x="1433945" y="1250514"/>
                  <a:pt x="1431224" y="1268472"/>
                </a:cubicBezTo>
                <a:cubicBezTo>
                  <a:pt x="1433401" y="1286430"/>
                  <a:pt x="1415443" y="1303299"/>
                  <a:pt x="1396941" y="1302755"/>
                </a:cubicBezTo>
                <a:cubicBezTo>
                  <a:pt x="1381160" y="1302211"/>
                  <a:pt x="1363202" y="1290783"/>
                  <a:pt x="1363746" y="1269016"/>
                </a:cubicBezTo>
                <a:cubicBezTo>
                  <a:pt x="1364290" y="1248881"/>
                  <a:pt x="1376806" y="1235821"/>
                  <a:pt x="1396397" y="1234733"/>
                </a:cubicBezTo>
                <a:close/>
                <a:moveTo>
                  <a:pt x="1559649" y="1232557"/>
                </a:moveTo>
                <a:cubicBezTo>
                  <a:pt x="1580328" y="1232013"/>
                  <a:pt x="1595021" y="1246705"/>
                  <a:pt x="1597742" y="1268472"/>
                </a:cubicBezTo>
                <a:cubicBezTo>
                  <a:pt x="1598286" y="1286974"/>
                  <a:pt x="1580872" y="1304932"/>
                  <a:pt x="1561826" y="1305476"/>
                </a:cubicBezTo>
                <a:cubicBezTo>
                  <a:pt x="1543868" y="1306564"/>
                  <a:pt x="1524822" y="1288063"/>
                  <a:pt x="1523734" y="1269561"/>
                </a:cubicBezTo>
                <a:cubicBezTo>
                  <a:pt x="1522645" y="1252147"/>
                  <a:pt x="1541147" y="1232557"/>
                  <a:pt x="1559649" y="1232557"/>
                </a:cubicBezTo>
                <a:close/>
                <a:moveTo>
                  <a:pt x="1723990" y="1231468"/>
                </a:moveTo>
                <a:cubicBezTo>
                  <a:pt x="1743037" y="1231468"/>
                  <a:pt x="1761539" y="1249426"/>
                  <a:pt x="1762083" y="1268472"/>
                </a:cubicBezTo>
                <a:cubicBezTo>
                  <a:pt x="1762627" y="1290239"/>
                  <a:pt x="1741404" y="1306020"/>
                  <a:pt x="1724535" y="1307109"/>
                </a:cubicBezTo>
                <a:cubicBezTo>
                  <a:pt x="1706033" y="1306564"/>
                  <a:pt x="1687531" y="1290239"/>
                  <a:pt x="1686442" y="1270105"/>
                </a:cubicBezTo>
                <a:cubicBezTo>
                  <a:pt x="1685354" y="1254323"/>
                  <a:pt x="1701679" y="1231468"/>
                  <a:pt x="1723990" y="1231468"/>
                </a:cubicBezTo>
                <a:close/>
                <a:moveTo>
                  <a:pt x="1888332" y="1230924"/>
                </a:moveTo>
                <a:cubicBezTo>
                  <a:pt x="1905745" y="1229836"/>
                  <a:pt x="1928056" y="1250514"/>
                  <a:pt x="1925336" y="1269561"/>
                </a:cubicBezTo>
                <a:cubicBezTo>
                  <a:pt x="1925336" y="1289695"/>
                  <a:pt x="1907378" y="1306564"/>
                  <a:pt x="1887243" y="1307653"/>
                </a:cubicBezTo>
                <a:cubicBezTo>
                  <a:pt x="1870918" y="1308197"/>
                  <a:pt x="1847519" y="1288063"/>
                  <a:pt x="1849151" y="1267928"/>
                </a:cubicBezTo>
                <a:cubicBezTo>
                  <a:pt x="1850239" y="1247794"/>
                  <a:pt x="1867653" y="1231468"/>
                  <a:pt x="1888332" y="1230924"/>
                </a:cubicBezTo>
                <a:close/>
                <a:moveTo>
                  <a:pt x="2049952" y="1230380"/>
                </a:moveTo>
                <a:lnTo>
                  <a:pt x="2051041" y="1230805"/>
                </a:lnTo>
                <a:lnTo>
                  <a:pt x="2051041" y="1307109"/>
                </a:lnTo>
                <a:cubicBezTo>
                  <a:pt x="2033627" y="1309830"/>
                  <a:pt x="2011316" y="1286974"/>
                  <a:pt x="2012404" y="1268472"/>
                </a:cubicBezTo>
                <a:cubicBezTo>
                  <a:pt x="2013493" y="1247794"/>
                  <a:pt x="2029274" y="1230380"/>
                  <a:pt x="2049952" y="1230380"/>
                </a:cubicBezTo>
                <a:close/>
                <a:moveTo>
                  <a:pt x="337431" y="1181404"/>
                </a:moveTo>
                <a:cubicBezTo>
                  <a:pt x="339608" y="1182493"/>
                  <a:pt x="341240" y="1184669"/>
                  <a:pt x="345050" y="1187934"/>
                </a:cubicBezTo>
                <a:cubicBezTo>
                  <a:pt x="340696" y="1190111"/>
                  <a:pt x="338519" y="1192288"/>
                  <a:pt x="336343" y="1192288"/>
                </a:cubicBezTo>
                <a:cubicBezTo>
                  <a:pt x="331445" y="1192832"/>
                  <a:pt x="330901" y="1189567"/>
                  <a:pt x="330901" y="1185758"/>
                </a:cubicBezTo>
                <a:cubicBezTo>
                  <a:pt x="330901" y="1181404"/>
                  <a:pt x="334166" y="1180860"/>
                  <a:pt x="337431" y="1181404"/>
                </a:cubicBezTo>
                <a:close/>
                <a:moveTo>
                  <a:pt x="499051" y="1171065"/>
                </a:moveTo>
                <a:cubicBezTo>
                  <a:pt x="506125" y="1170521"/>
                  <a:pt x="516465" y="1179772"/>
                  <a:pt x="516465" y="1187390"/>
                </a:cubicBezTo>
                <a:cubicBezTo>
                  <a:pt x="515921" y="1193920"/>
                  <a:pt x="507214" y="1202627"/>
                  <a:pt x="500140" y="1202627"/>
                </a:cubicBezTo>
                <a:cubicBezTo>
                  <a:pt x="493065" y="1202627"/>
                  <a:pt x="484358" y="1195008"/>
                  <a:pt x="483814" y="1187390"/>
                </a:cubicBezTo>
                <a:cubicBezTo>
                  <a:pt x="483270" y="1180316"/>
                  <a:pt x="491977" y="1171065"/>
                  <a:pt x="499051" y="1171065"/>
                </a:cubicBezTo>
                <a:close/>
                <a:moveTo>
                  <a:pt x="662848" y="1165623"/>
                </a:moveTo>
                <a:cubicBezTo>
                  <a:pt x="675364" y="1165623"/>
                  <a:pt x="684615" y="1174874"/>
                  <a:pt x="684615" y="1187390"/>
                </a:cubicBezTo>
                <a:cubicBezTo>
                  <a:pt x="684615" y="1199362"/>
                  <a:pt x="674820" y="1209157"/>
                  <a:pt x="662848" y="1209157"/>
                </a:cubicBezTo>
                <a:cubicBezTo>
                  <a:pt x="651420" y="1209157"/>
                  <a:pt x="641081" y="1198274"/>
                  <a:pt x="641081" y="1186846"/>
                </a:cubicBezTo>
                <a:cubicBezTo>
                  <a:pt x="641081" y="1175418"/>
                  <a:pt x="651420" y="1165623"/>
                  <a:pt x="662848" y="1165623"/>
                </a:cubicBezTo>
                <a:close/>
                <a:moveTo>
                  <a:pt x="825556" y="1160725"/>
                </a:moveTo>
                <a:cubicBezTo>
                  <a:pt x="840249" y="1161270"/>
                  <a:pt x="851677" y="1171609"/>
                  <a:pt x="852765" y="1186846"/>
                </a:cubicBezTo>
                <a:cubicBezTo>
                  <a:pt x="853309" y="1199906"/>
                  <a:pt x="840249" y="1213511"/>
                  <a:pt x="826645" y="1213511"/>
                </a:cubicBezTo>
                <a:cubicBezTo>
                  <a:pt x="813585" y="1214055"/>
                  <a:pt x="799980" y="1200995"/>
                  <a:pt x="798892" y="1188479"/>
                </a:cubicBezTo>
                <a:cubicBezTo>
                  <a:pt x="797803" y="1173241"/>
                  <a:pt x="814129" y="1160181"/>
                  <a:pt x="825556" y="1160725"/>
                </a:cubicBezTo>
                <a:close/>
                <a:moveTo>
                  <a:pt x="989353" y="1158004"/>
                </a:moveTo>
                <a:cubicBezTo>
                  <a:pt x="1007855" y="1159092"/>
                  <a:pt x="1018739" y="1168888"/>
                  <a:pt x="1018195" y="1187934"/>
                </a:cubicBezTo>
                <a:cubicBezTo>
                  <a:pt x="1017651" y="1206436"/>
                  <a:pt x="1007311" y="1216231"/>
                  <a:pt x="988809" y="1216775"/>
                </a:cubicBezTo>
                <a:cubicBezTo>
                  <a:pt x="972484" y="1217319"/>
                  <a:pt x="960512" y="1203715"/>
                  <a:pt x="959968" y="1187934"/>
                </a:cubicBezTo>
                <a:cubicBezTo>
                  <a:pt x="959968" y="1170520"/>
                  <a:pt x="972484" y="1158004"/>
                  <a:pt x="989353" y="1158004"/>
                </a:cubicBezTo>
                <a:close/>
                <a:moveTo>
                  <a:pt x="1152062" y="1153651"/>
                </a:moveTo>
                <a:cubicBezTo>
                  <a:pt x="1166755" y="1152562"/>
                  <a:pt x="1186345" y="1171065"/>
                  <a:pt x="1185801" y="1186301"/>
                </a:cubicBezTo>
                <a:cubicBezTo>
                  <a:pt x="1184713" y="1205348"/>
                  <a:pt x="1171652" y="1218952"/>
                  <a:pt x="1153150" y="1219496"/>
                </a:cubicBezTo>
                <a:cubicBezTo>
                  <a:pt x="1135193" y="1221129"/>
                  <a:pt x="1119412" y="1204259"/>
                  <a:pt x="1119956" y="1187390"/>
                </a:cubicBezTo>
                <a:cubicBezTo>
                  <a:pt x="1120500" y="1168888"/>
                  <a:pt x="1134648" y="1154739"/>
                  <a:pt x="1152062" y="1153651"/>
                </a:cubicBezTo>
                <a:close/>
                <a:moveTo>
                  <a:pt x="1315315" y="1152018"/>
                </a:moveTo>
                <a:cubicBezTo>
                  <a:pt x="1336537" y="1151474"/>
                  <a:pt x="1351230" y="1169432"/>
                  <a:pt x="1351230" y="1186845"/>
                </a:cubicBezTo>
                <a:cubicBezTo>
                  <a:pt x="1350686" y="1205891"/>
                  <a:pt x="1338714" y="1222217"/>
                  <a:pt x="1315859" y="1221673"/>
                </a:cubicBezTo>
                <a:cubicBezTo>
                  <a:pt x="1294092" y="1221128"/>
                  <a:pt x="1282120" y="1209157"/>
                  <a:pt x="1281576" y="1187390"/>
                </a:cubicBezTo>
                <a:cubicBezTo>
                  <a:pt x="1281031" y="1167255"/>
                  <a:pt x="1295724" y="1152562"/>
                  <a:pt x="1315315" y="1152018"/>
                </a:cubicBezTo>
                <a:close/>
                <a:moveTo>
                  <a:pt x="1479656" y="1149298"/>
                </a:moveTo>
                <a:cubicBezTo>
                  <a:pt x="1500878" y="1149842"/>
                  <a:pt x="1517204" y="1168888"/>
                  <a:pt x="1516660" y="1188479"/>
                </a:cubicBezTo>
                <a:cubicBezTo>
                  <a:pt x="1515027" y="1210246"/>
                  <a:pt x="1495981" y="1224938"/>
                  <a:pt x="1478023" y="1224394"/>
                </a:cubicBezTo>
                <a:cubicBezTo>
                  <a:pt x="1457889" y="1223850"/>
                  <a:pt x="1439931" y="1205892"/>
                  <a:pt x="1441563" y="1185758"/>
                </a:cubicBezTo>
                <a:cubicBezTo>
                  <a:pt x="1442652" y="1166167"/>
                  <a:pt x="1458977" y="1149298"/>
                  <a:pt x="1479656" y="1149298"/>
                </a:cubicBezTo>
                <a:close/>
                <a:moveTo>
                  <a:pt x="1642365" y="1148209"/>
                </a:moveTo>
                <a:cubicBezTo>
                  <a:pt x="1659779" y="1147121"/>
                  <a:pt x="1681001" y="1166711"/>
                  <a:pt x="1681001" y="1187390"/>
                </a:cubicBezTo>
                <a:cubicBezTo>
                  <a:pt x="1681001" y="1208613"/>
                  <a:pt x="1658690" y="1226026"/>
                  <a:pt x="1641821" y="1226026"/>
                </a:cubicBezTo>
                <a:cubicBezTo>
                  <a:pt x="1624407" y="1226026"/>
                  <a:pt x="1601007" y="1205348"/>
                  <a:pt x="1603728" y="1186846"/>
                </a:cubicBezTo>
                <a:cubicBezTo>
                  <a:pt x="1603728" y="1165623"/>
                  <a:pt x="1621686" y="1149298"/>
                  <a:pt x="1642365" y="1148209"/>
                </a:cubicBezTo>
                <a:close/>
                <a:moveTo>
                  <a:pt x="1969414" y="1147665"/>
                </a:moveTo>
                <a:cubicBezTo>
                  <a:pt x="1991725" y="1146032"/>
                  <a:pt x="2009139" y="1165623"/>
                  <a:pt x="2009139" y="1187934"/>
                </a:cubicBezTo>
                <a:cubicBezTo>
                  <a:pt x="2008595" y="1209157"/>
                  <a:pt x="1990093" y="1227114"/>
                  <a:pt x="1968870" y="1227114"/>
                </a:cubicBezTo>
                <a:cubicBezTo>
                  <a:pt x="1949824" y="1227114"/>
                  <a:pt x="1928601" y="1209701"/>
                  <a:pt x="1929145" y="1186301"/>
                </a:cubicBezTo>
                <a:cubicBezTo>
                  <a:pt x="1929145" y="1165623"/>
                  <a:pt x="1948191" y="1145488"/>
                  <a:pt x="1969414" y="1147665"/>
                </a:cubicBezTo>
                <a:close/>
                <a:moveTo>
                  <a:pt x="1805617" y="1147665"/>
                </a:moveTo>
                <a:cubicBezTo>
                  <a:pt x="1825752" y="1147665"/>
                  <a:pt x="1845342" y="1165078"/>
                  <a:pt x="1844798" y="1187934"/>
                </a:cubicBezTo>
                <a:cubicBezTo>
                  <a:pt x="1844254" y="1208612"/>
                  <a:pt x="1824664" y="1227115"/>
                  <a:pt x="1805073" y="1226571"/>
                </a:cubicBezTo>
                <a:cubicBezTo>
                  <a:pt x="1787115" y="1226571"/>
                  <a:pt x="1764260" y="1209701"/>
                  <a:pt x="1766981" y="1186845"/>
                </a:cubicBezTo>
                <a:cubicBezTo>
                  <a:pt x="1764804" y="1165623"/>
                  <a:pt x="1786027" y="1147665"/>
                  <a:pt x="1805617" y="1147665"/>
                </a:cubicBezTo>
                <a:close/>
                <a:moveTo>
                  <a:pt x="417425" y="1090527"/>
                </a:moveTo>
                <a:cubicBezTo>
                  <a:pt x="423955" y="1090527"/>
                  <a:pt x="433206" y="1099234"/>
                  <a:pt x="432662" y="1105764"/>
                </a:cubicBezTo>
                <a:cubicBezTo>
                  <a:pt x="432662" y="1111206"/>
                  <a:pt x="423955" y="1119912"/>
                  <a:pt x="417969" y="1120457"/>
                </a:cubicBezTo>
                <a:cubicBezTo>
                  <a:pt x="411439" y="1121001"/>
                  <a:pt x="402188" y="1111750"/>
                  <a:pt x="402732" y="1105219"/>
                </a:cubicBezTo>
                <a:cubicBezTo>
                  <a:pt x="402732" y="1099234"/>
                  <a:pt x="411439" y="1090527"/>
                  <a:pt x="417425" y="1090527"/>
                </a:cubicBezTo>
                <a:close/>
                <a:moveTo>
                  <a:pt x="580677" y="1083996"/>
                </a:moveTo>
                <a:cubicBezTo>
                  <a:pt x="592105" y="1083996"/>
                  <a:pt x="601900" y="1093791"/>
                  <a:pt x="602444" y="1105219"/>
                </a:cubicBezTo>
                <a:cubicBezTo>
                  <a:pt x="602988" y="1116647"/>
                  <a:pt x="593193" y="1126986"/>
                  <a:pt x="581221" y="1127530"/>
                </a:cubicBezTo>
                <a:cubicBezTo>
                  <a:pt x="570338" y="1127530"/>
                  <a:pt x="558910" y="1116102"/>
                  <a:pt x="558910" y="1105219"/>
                </a:cubicBezTo>
                <a:cubicBezTo>
                  <a:pt x="558910" y="1094880"/>
                  <a:pt x="570338" y="1083996"/>
                  <a:pt x="580677" y="1083996"/>
                </a:cubicBezTo>
                <a:close/>
                <a:moveTo>
                  <a:pt x="743386" y="1079099"/>
                </a:moveTo>
                <a:cubicBezTo>
                  <a:pt x="756991" y="1079099"/>
                  <a:pt x="769507" y="1088894"/>
                  <a:pt x="770595" y="1105219"/>
                </a:cubicBezTo>
                <a:cubicBezTo>
                  <a:pt x="771683" y="1116103"/>
                  <a:pt x="760800" y="1131340"/>
                  <a:pt x="745019" y="1132428"/>
                </a:cubicBezTo>
                <a:cubicBezTo>
                  <a:pt x="734135" y="1134061"/>
                  <a:pt x="717810" y="1118280"/>
                  <a:pt x="717810" y="1106308"/>
                </a:cubicBezTo>
                <a:cubicBezTo>
                  <a:pt x="717810" y="1091071"/>
                  <a:pt x="731414" y="1079099"/>
                  <a:pt x="743386" y="1079099"/>
                </a:cubicBezTo>
                <a:close/>
                <a:moveTo>
                  <a:pt x="907727" y="1076378"/>
                </a:moveTo>
                <a:cubicBezTo>
                  <a:pt x="926773" y="1076378"/>
                  <a:pt x="937112" y="1087262"/>
                  <a:pt x="937112" y="1105219"/>
                </a:cubicBezTo>
                <a:cubicBezTo>
                  <a:pt x="937112" y="1121545"/>
                  <a:pt x="928950" y="1134061"/>
                  <a:pt x="908271" y="1134061"/>
                </a:cubicBezTo>
                <a:cubicBezTo>
                  <a:pt x="888681" y="1134605"/>
                  <a:pt x="878341" y="1122633"/>
                  <a:pt x="878885" y="1105764"/>
                </a:cubicBezTo>
                <a:cubicBezTo>
                  <a:pt x="878341" y="1086173"/>
                  <a:pt x="892490" y="1076378"/>
                  <a:pt x="907727" y="1076378"/>
                </a:cubicBezTo>
                <a:close/>
                <a:moveTo>
                  <a:pt x="1071524" y="1072569"/>
                </a:moveTo>
                <a:cubicBezTo>
                  <a:pt x="1089482" y="1072569"/>
                  <a:pt x="1104174" y="1087806"/>
                  <a:pt x="1104174" y="1105220"/>
                </a:cubicBezTo>
                <a:cubicBezTo>
                  <a:pt x="1104174" y="1123722"/>
                  <a:pt x="1090026" y="1137870"/>
                  <a:pt x="1070435" y="1137870"/>
                </a:cubicBezTo>
                <a:cubicBezTo>
                  <a:pt x="1054110" y="1140047"/>
                  <a:pt x="1037241" y="1121545"/>
                  <a:pt x="1038329" y="1105764"/>
                </a:cubicBezTo>
                <a:cubicBezTo>
                  <a:pt x="1039417" y="1086173"/>
                  <a:pt x="1052478" y="1072569"/>
                  <a:pt x="1071524" y="1072569"/>
                </a:cubicBezTo>
                <a:close/>
                <a:moveTo>
                  <a:pt x="1235865" y="1068760"/>
                </a:moveTo>
                <a:cubicBezTo>
                  <a:pt x="1254912" y="1070392"/>
                  <a:pt x="1272325" y="1088894"/>
                  <a:pt x="1271237" y="1106852"/>
                </a:cubicBezTo>
                <a:cubicBezTo>
                  <a:pt x="1270149" y="1124810"/>
                  <a:pt x="1252735" y="1142223"/>
                  <a:pt x="1234777" y="1142223"/>
                </a:cubicBezTo>
                <a:cubicBezTo>
                  <a:pt x="1215187" y="1142223"/>
                  <a:pt x="1197773" y="1124265"/>
                  <a:pt x="1198861" y="1105219"/>
                </a:cubicBezTo>
                <a:cubicBezTo>
                  <a:pt x="1199406" y="1085629"/>
                  <a:pt x="1217908" y="1067127"/>
                  <a:pt x="1235865" y="1068760"/>
                </a:cubicBezTo>
                <a:close/>
                <a:moveTo>
                  <a:pt x="1396397" y="1067127"/>
                </a:moveTo>
                <a:cubicBezTo>
                  <a:pt x="1416532" y="1065494"/>
                  <a:pt x="1437755" y="1087806"/>
                  <a:pt x="1435578" y="1105219"/>
                </a:cubicBezTo>
                <a:cubicBezTo>
                  <a:pt x="1437210" y="1125898"/>
                  <a:pt x="1413267" y="1144400"/>
                  <a:pt x="1396941" y="1143856"/>
                </a:cubicBezTo>
                <a:cubicBezTo>
                  <a:pt x="1377895" y="1143856"/>
                  <a:pt x="1358305" y="1122633"/>
                  <a:pt x="1358849" y="1105763"/>
                </a:cubicBezTo>
                <a:cubicBezTo>
                  <a:pt x="1359393" y="1085629"/>
                  <a:pt x="1376807" y="1068759"/>
                  <a:pt x="1396397" y="1067127"/>
                </a:cubicBezTo>
                <a:close/>
                <a:moveTo>
                  <a:pt x="1560738" y="1066582"/>
                </a:moveTo>
                <a:cubicBezTo>
                  <a:pt x="1581961" y="1063862"/>
                  <a:pt x="1599919" y="1083452"/>
                  <a:pt x="1599919" y="1105763"/>
                </a:cubicBezTo>
                <a:cubicBezTo>
                  <a:pt x="1599919" y="1127530"/>
                  <a:pt x="1581417" y="1144400"/>
                  <a:pt x="1560738" y="1144400"/>
                </a:cubicBezTo>
                <a:cubicBezTo>
                  <a:pt x="1538971" y="1144400"/>
                  <a:pt x="1521557" y="1125898"/>
                  <a:pt x="1521013" y="1105763"/>
                </a:cubicBezTo>
                <a:cubicBezTo>
                  <a:pt x="1521013" y="1085629"/>
                  <a:pt x="1538971" y="1063862"/>
                  <a:pt x="1560738" y="1066582"/>
                </a:cubicBezTo>
                <a:close/>
                <a:moveTo>
                  <a:pt x="1723447" y="1064406"/>
                </a:moveTo>
                <a:cubicBezTo>
                  <a:pt x="1744126" y="1063862"/>
                  <a:pt x="1763716" y="1076378"/>
                  <a:pt x="1764260" y="1104675"/>
                </a:cubicBezTo>
                <a:cubicBezTo>
                  <a:pt x="1764804" y="1130796"/>
                  <a:pt x="1745758" y="1145488"/>
                  <a:pt x="1724535" y="1146032"/>
                </a:cubicBezTo>
                <a:cubicBezTo>
                  <a:pt x="1703313" y="1147121"/>
                  <a:pt x="1683722" y="1130796"/>
                  <a:pt x="1683178" y="1105764"/>
                </a:cubicBezTo>
                <a:cubicBezTo>
                  <a:pt x="1684266" y="1082364"/>
                  <a:pt x="1698415" y="1064950"/>
                  <a:pt x="1723447" y="1064406"/>
                </a:cubicBezTo>
                <a:close/>
                <a:moveTo>
                  <a:pt x="2051041" y="1063318"/>
                </a:moveTo>
                <a:lnTo>
                  <a:pt x="2051041" y="1147740"/>
                </a:lnTo>
                <a:lnTo>
                  <a:pt x="2049952" y="1148210"/>
                </a:lnTo>
                <a:cubicBezTo>
                  <a:pt x="2028730" y="1147121"/>
                  <a:pt x="2008051" y="1128619"/>
                  <a:pt x="2008051" y="1105764"/>
                </a:cubicBezTo>
                <a:cubicBezTo>
                  <a:pt x="2008595" y="1081276"/>
                  <a:pt x="2027641" y="1063862"/>
                  <a:pt x="2051041" y="1063318"/>
                </a:cubicBezTo>
                <a:close/>
                <a:moveTo>
                  <a:pt x="1887787" y="1062773"/>
                </a:moveTo>
                <a:cubicBezTo>
                  <a:pt x="1909554" y="1063862"/>
                  <a:pt x="1930233" y="1084540"/>
                  <a:pt x="1929145" y="1105763"/>
                </a:cubicBezTo>
                <a:cubicBezTo>
                  <a:pt x="1928056" y="1130251"/>
                  <a:pt x="1908466" y="1147121"/>
                  <a:pt x="1886699" y="1147665"/>
                </a:cubicBezTo>
                <a:cubicBezTo>
                  <a:pt x="1862755" y="1145488"/>
                  <a:pt x="1845886" y="1127530"/>
                  <a:pt x="1844798" y="1105219"/>
                </a:cubicBezTo>
                <a:cubicBezTo>
                  <a:pt x="1844253" y="1083996"/>
                  <a:pt x="1867109" y="1061685"/>
                  <a:pt x="1887787" y="1062773"/>
                </a:cubicBezTo>
                <a:close/>
                <a:moveTo>
                  <a:pt x="335798" y="1011621"/>
                </a:moveTo>
                <a:cubicBezTo>
                  <a:pt x="343960" y="1011621"/>
                  <a:pt x="347770" y="1014886"/>
                  <a:pt x="348314" y="1023049"/>
                </a:cubicBezTo>
                <a:cubicBezTo>
                  <a:pt x="348314" y="1031755"/>
                  <a:pt x="344505" y="1036109"/>
                  <a:pt x="336886" y="1036109"/>
                </a:cubicBezTo>
                <a:cubicBezTo>
                  <a:pt x="329268" y="1036109"/>
                  <a:pt x="324914" y="1032300"/>
                  <a:pt x="324370" y="1024681"/>
                </a:cubicBezTo>
                <a:cubicBezTo>
                  <a:pt x="323826" y="1015974"/>
                  <a:pt x="327635" y="1011621"/>
                  <a:pt x="335798" y="1011621"/>
                </a:cubicBezTo>
                <a:close/>
                <a:moveTo>
                  <a:pt x="499051" y="1002914"/>
                </a:moveTo>
                <a:cubicBezTo>
                  <a:pt x="508846" y="1002370"/>
                  <a:pt x="520818" y="1014342"/>
                  <a:pt x="520818" y="1024137"/>
                </a:cubicBezTo>
                <a:cubicBezTo>
                  <a:pt x="520818" y="1032844"/>
                  <a:pt x="508846" y="1045360"/>
                  <a:pt x="499595" y="1045360"/>
                </a:cubicBezTo>
                <a:cubicBezTo>
                  <a:pt x="490888" y="1045360"/>
                  <a:pt x="478372" y="1032844"/>
                  <a:pt x="478372" y="1024137"/>
                </a:cubicBezTo>
                <a:cubicBezTo>
                  <a:pt x="478372" y="1014886"/>
                  <a:pt x="489800" y="1002914"/>
                  <a:pt x="499051" y="1002914"/>
                </a:cubicBezTo>
                <a:close/>
                <a:moveTo>
                  <a:pt x="663392" y="997473"/>
                </a:moveTo>
                <a:cubicBezTo>
                  <a:pt x="675908" y="998561"/>
                  <a:pt x="688968" y="1011622"/>
                  <a:pt x="688424" y="1024138"/>
                </a:cubicBezTo>
                <a:cubicBezTo>
                  <a:pt x="687880" y="1039374"/>
                  <a:pt x="676452" y="1050802"/>
                  <a:pt x="661759" y="1050258"/>
                </a:cubicBezTo>
                <a:cubicBezTo>
                  <a:pt x="647066" y="1049170"/>
                  <a:pt x="637271" y="1036109"/>
                  <a:pt x="636727" y="1023593"/>
                </a:cubicBezTo>
                <a:cubicBezTo>
                  <a:pt x="637271" y="1010533"/>
                  <a:pt x="651420" y="996929"/>
                  <a:pt x="663392" y="997473"/>
                </a:cubicBezTo>
                <a:close/>
                <a:moveTo>
                  <a:pt x="826645" y="995840"/>
                </a:moveTo>
                <a:cubicBezTo>
                  <a:pt x="845147" y="995296"/>
                  <a:pt x="855486" y="1007267"/>
                  <a:pt x="854942" y="1024137"/>
                </a:cubicBezTo>
                <a:cubicBezTo>
                  <a:pt x="855486" y="1039374"/>
                  <a:pt x="845147" y="1052978"/>
                  <a:pt x="825557" y="1052978"/>
                </a:cubicBezTo>
                <a:cubicBezTo>
                  <a:pt x="808143" y="1052434"/>
                  <a:pt x="796715" y="1041006"/>
                  <a:pt x="797260" y="1023593"/>
                </a:cubicBezTo>
                <a:cubicBezTo>
                  <a:pt x="797260" y="1005635"/>
                  <a:pt x="808687" y="995840"/>
                  <a:pt x="826645" y="995840"/>
                </a:cubicBezTo>
                <a:close/>
                <a:moveTo>
                  <a:pt x="990441" y="990942"/>
                </a:moveTo>
                <a:cubicBezTo>
                  <a:pt x="1008943" y="990942"/>
                  <a:pt x="1023092" y="1006179"/>
                  <a:pt x="1022548" y="1025225"/>
                </a:cubicBezTo>
                <a:cubicBezTo>
                  <a:pt x="1022004" y="1043183"/>
                  <a:pt x="1007311" y="1056243"/>
                  <a:pt x="988809" y="1056787"/>
                </a:cubicBezTo>
                <a:cubicBezTo>
                  <a:pt x="973028" y="1057332"/>
                  <a:pt x="956702" y="1041551"/>
                  <a:pt x="956702" y="1023593"/>
                </a:cubicBezTo>
                <a:cubicBezTo>
                  <a:pt x="956158" y="1006723"/>
                  <a:pt x="973572" y="988221"/>
                  <a:pt x="990441" y="990942"/>
                </a:cubicBezTo>
                <a:close/>
                <a:moveTo>
                  <a:pt x="1150974" y="987678"/>
                </a:moveTo>
                <a:cubicBezTo>
                  <a:pt x="1170020" y="986045"/>
                  <a:pt x="1189066" y="1004547"/>
                  <a:pt x="1189610" y="1023593"/>
                </a:cubicBezTo>
                <a:cubicBezTo>
                  <a:pt x="1190154" y="1042095"/>
                  <a:pt x="1170564" y="1061685"/>
                  <a:pt x="1152062" y="1061685"/>
                </a:cubicBezTo>
                <a:cubicBezTo>
                  <a:pt x="1134104" y="1061685"/>
                  <a:pt x="1115602" y="1042639"/>
                  <a:pt x="1115058" y="1024682"/>
                </a:cubicBezTo>
                <a:cubicBezTo>
                  <a:pt x="1115058" y="1006724"/>
                  <a:pt x="1133016" y="988222"/>
                  <a:pt x="1150974" y="987678"/>
                </a:cubicBezTo>
                <a:close/>
                <a:moveTo>
                  <a:pt x="1315314" y="985501"/>
                </a:moveTo>
                <a:cubicBezTo>
                  <a:pt x="1335993" y="983868"/>
                  <a:pt x="1354495" y="1005635"/>
                  <a:pt x="1354495" y="1023593"/>
                </a:cubicBezTo>
                <a:cubicBezTo>
                  <a:pt x="1355039" y="1042639"/>
                  <a:pt x="1333816" y="1065495"/>
                  <a:pt x="1315858" y="1062230"/>
                </a:cubicBezTo>
                <a:cubicBezTo>
                  <a:pt x="1294636" y="1062230"/>
                  <a:pt x="1277222" y="1045360"/>
                  <a:pt x="1277222" y="1024137"/>
                </a:cubicBezTo>
                <a:cubicBezTo>
                  <a:pt x="1277222" y="1002914"/>
                  <a:pt x="1294091" y="986589"/>
                  <a:pt x="1315314" y="985501"/>
                </a:cubicBezTo>
                <a:close/>
                <a:moveTo>
                  <a:pt x="1479656" y="984412"/>
                </a:moveTo>
                <a:cubicBezTo>
                  <a:pt x="1503055" y="984412"/>
                  <a:pt x="1519925" y="1000737"/>
                  <a:pt x="1519380" y="1025225"/>
                </a:cubicBezTo>
                <a:cubicBezTo>
                  <a:pt x="1518836" y="1045904"/>
                  <a:pt x="1502511" y="1065494"/>
                  <a:pt x="1478567" y="1063318"/>
                </a:cubicBezTo>
                <a:cubicBezTo>
                  <a:pt x="1454624" y="1064950"/>
                  <a:pt x="1438842" y="1044816"/>
                  <a:pt x="1439387" y="1023593"/>
                </a:cubicBezTo>
                <a:cubicBezTo>
                  <a:pt x="1439931" y="1000193"/>
                  <a:pt x="1455712" y="983868"/>
                  <a:pt x="1479656" y="984412"/>
                </a:cubicBezTo>
                <a:close/>
                <a:moveTo>
                  <a:pt x="1641820" y="981691"/>
                </a:moveTo>
                <a:cubicBezTo>
                  <a:pt x="1665220" y="981691"/>
                  <a:pt x="1683178" y="999649"/>
                  <a:pt x="1684810" y="1023592"/>
                </a:cubicBezTo>
                <a:cubicBezTo>
                  <a:pt x="1683722" y="1048625"/>
                  <a:pt x="1665220" y="1066038"/>
                  <a:pt x="1642909" y="1066038"/>
                </a:cubicBezTo>
                <a:cubicBezTo>
                  <a:pt x="1618421" y="1066038"/>
                  <a:pt x="1599919" y="1047536"/>
                  <a:pt x="1599919" y="1023592"/>
                </a:cubicBezTo>
                <a:cubicBezTo>
                  <a:pt x="1599919" y="1001281"/>
                  <a:pt x="1616788" y="982235"/>
                  <a:pt x="1641820" y="981691"/>
                </a:cubicBezTo>
                <a:close/>
                <a:moveTo>
                  <a:pt x="1806161" y="980603"/>
                </a:moveTo>
                <a:cubicBezTo>
                  <a:pt x="1829561" y="980603"/>
                  <a:pt x="1848607" y="1000737"/>
                  <a:pt x="1849151" y="1023592"/>
                </a:cubicBezTo>
                <a:cubicBezTo>
                  <a:pt x="1849151" y="1046992"/>
                  <a:pt x="1827928" y="1068215"/>
                  <a:pt x="1805617" y="1067127"/>
                </a:cubicBezTo>
                <a:cubicBezTo>
                  <a:pt x="1781673" y="1068215"/>
                  <a:pt x="1762083" y="1044815"/>
                  <a:pt x="1762083" y="1023592"/>
                </a:cubicBezTo>
                <a:cubicBezTo>
                  <a:pt x="1762083" y="1002370"/>
                  <a:pt x="1781673" y="980058"/>
                  <a:pt x="1806161" y="980603"/>
                </a:cubicBezTo>
                <a:close/>
                <a:moveTo>
                  <a:pt x="1969414" y="980059"/>
                </a:moveTo>
                <a:cubicBezTo>
                  <a:pt x="1993358" y="980603"/>
                  <a:pt x="2012404" y="1001282"/>
                  <a:pt x="2012404" y="1024137"/>
                </a:cubicBezTo>
                <a:cubicBezTo>
                  <a:pt x="2012404" y="1046449"/>
                  <a:pt x="1991726" y="1069304"/>
                  <a:pt x="1968870" y="1067127"/>
                </a:cubicBezTo>
                <a:cubicBezTo>
                  <a:pt x="1946015" y="1068760"/>
                  <a:pt x="1925336" y="1044272"/>
                  <a:pt x="1924792" y="1024137"/>
                </a:cubicBezTo>
                <a:cubicBezTo>
                  <a:pt x="1924792" y="1002914"/>
                  <a:pt x="1944382" y="980059"/>
                  <a:pt x="1969414" y="980059"/>
                </a:cubicBezTo>
                <a:close/>
                <a:moveTo>
                  <a:pt x="254171" y="931083"/>
                </a:moveTo>
                <a:cubicBezTo>
                  <a:pt x="260701" y="931083"/>
                  <a:pt x="265599" y="935437"/>
                  <a:pt x="265599" y="941967"/>
                </a:cubicBezTo>
                <a:cubicBezTo>
                  <a:pt x="265599" y="948497"/>
                  <a:pt x="260701" y="952850"/>
                  <a:pt x="254171" y="952850"/>
                </a:cubicBezTo>
                <a:cubicBezTo>
                  <a:pt x="247641" y="952850"/>
                  <a:pt x="243832" y="948497"/>
                  <a:pt x="243832" y="941967"/>
                </a:cubicBezTo>
                <a:cubicBezTo>
                  <a:pt x="243832" y="935437"/>
                  <a:pt x="247641" y="931627"/>
                  <a:pt x="254171" y="931083"/>
                </a:cubicBezTo>
                <a:close/>
                <a:moveTo>
                  <a:pt x="417968" y="922377"/>
                </a:moveTo>
                <a:cubicBezTo>
                  <a:pt x="427219" y="921833"/>
                  <a:pt x="437559" y="932716"/>
                  <a:pt x="437559" y="942511"/>
                </a:cubicBezTo>
                <a:cubicBezTo>
                  <a:pt x="437559" y="951762"/>
                  <a:pt x="427219" y="961557"/>
                  <a:pt x="417968" y="961557"/>
                </a:cubicBezTo>
                <a:cubicBezTo>
                  <a:pt x="409262" y="961557"/>
                  <a:pt x="397290" y="949585"/>
                  <a:pt x="397834" y="941423"/>
                </a:cubicBezTo>
                <a:cubicBezTo>
                  <a:pt x="398378" y="933260"/>
                  <a:pt x="409806" y="922377"/>
                  <a:pt x="417968" y="922377"/>
                </a:cubicBezTo>
                <a:close/>
                <a:moveTo>
                  <a:pt x="581222" y="916934"/>
                </a:moveTo>
                <a:cubicBezTo>
                  <a:pt x="593738" y="916934"/>
                  <a:pt x="607342" y="931082"/>
                  <a:pt x="606798" y="943054"/>
                </a:cubicBezTo>
                <a:cubicBezTo>
                  <a:pt x="606254" y="955570"/>
                  <a:pt x="593738" y="967542"/>
                  <a:pt x="581222" y="967542"/>
                </a:cubicBezTo>
                <a:cubicBezTo>
                  <a:pt x="567617" y="966454"/>
                  <a:pt x="557278" y="958291"/>
                  <a:pt x="556190" y="943054"/>
                </a:cubicBezTo>
                <a:cubicBezTo>
                  <a:pt x="555101" y="929994"/>
                  <a:pt x="568161" y="916934"/>
                  <a:pt x="581222" y="916934"/>
                </a:cubicBezTo>
                <a:close/>
                <a:moveTo>
                  <a:pt x="744474" y="913669"/>
                </a:moveTo>
                <a:cubicBezTo>
                  <a:pt x="765153" y="913669"/>
                  <a:pt x="773860" y="927273"/>
                  <a:pt x="773315" y="942510"/>
                </a:cubicBezTo>
                <a:cubicBezTo>
                  <a:pt x="772771" y="959924"/>
                  <a:pt x="761344" y="971352"/>
                  <a:pt x="743930" y="970807"/>
                </a:cubicBezTo>
                <a:cubicBezTo>
                  <a:pt x="727061" y="970807"/>
                  <a:pt x="716177" y="959380"/>
                  <a:pt x="716177" y="941966"/>
                </a:cubicBezTo>
                <a:cubicBezTo>
                  <a:pt x="716177" y="923464"/>
                  <a:pt x="727605" y="914213"/>
                  <a:pt x="744474" y="913669"/>
                </a:cubicBezTo>
                <a:close/>
                <a:moveTo>
                  <a:pt x="908271" y="908772"/>
                </a:moveTo>
                <a:cubicBezTo>
                  <a:pt x="927317" y="910405"/>
                  <a:pt x="940922" y="924553"/>
                  <a:pt x="940377" y="944144"/>
                </a:cubicBezTo>
                <a:cubicBezTo>
                  <a:pt x="939833" y="962101"/>
                  <a:pt x="925141" y="975162"/>
                  <a:pt x="906094" y="975162"/>
                </a:cubicBezTo>
                <a:cubicBezTo>
                  <a:pt x="890313" y="975162"/>
                  <a:pt x="873988" y="959925"/>
                  <a:pt x="874532" y="940879"/>
                </a:cubicBezTo>
                <a:cubicBezTo>
                  <a:pt x="874532" y="925641"/>
                  <a:pt x="891402" y="907684"/>
                  <a:pt x="908271" y="908772"/>
                </a:cubicBezTo>
                <a:close/>
                <a:moveTo>
                  <a:pt x="1072068" y="906051"/>
                </a:moveTo>
                <a:cubicBezTo>
                  <a:pt x="1093291" y="907683"/>
                  <a:pt x="1105807" y="921832"/>
                  <a:pt x="1107984" y="942511"/>
                </a:cubicBezTo>
                <a:cubicBezTo>
                  <a:pt x="1107984" y="961013"/>
                  <a:pt x="1088938" y="979515"/>
                  <a:pt x="1070980" y="979515"/>
                </a:cubicBezTo>
                <a:cubicBezTo>
                  <a:pt x="1053022" y="979515"/>
                  <a:pt x="1034520" y="960469"/>
                  <a:pt x="1034520" y="942511"/>
                </a:cubicBezTo>
                <a:cubicBezTo>
                  <a:pt x="1034520" y="923465"/>
                  <a:pt x="1053566" y="904419"/>
                  <a:pt x="1072068" y="906051"/>
                </a:cubicBezTo>
                <a:close/>
                <a:moveTo>
                  <a:pt x="1235321" y="903874"/>
                </a:moveTo>
                <a:cubicBezTo>
                  <a:pt x="1257088" y="903874"/>
                  <a:pt x="1272325" y="920199"/>
                  <a:pt x="1272325" y="943054"/>
                </a:cubicBezTo>
                <a:cubicBezTo>
                  <a:pt x="1275045" y="962645"/>
                  <a:pt x="1251646" y="982779"/>
                  <a:pt x="1233688" y="981147"/>
                </a:cubicBezTo>
                <a:cubicBezTo>
                  <a:pt x="1211921" y="979514"/>
                  <a:pt x="1195052" y="963189"/>
                  <a:pt x="1195596" y="940878"/>
                </a:cubicBezTo>
                <a:cubicBezTo>
                  <a:pt x="1196140" y="919111"/>
                  <a:pt x="1212465" y="903330"/>
                  <a:pt x="1235321" y="903874"/>
                </a:cubicBezTo>
                <a:close/>
                <a:moveTo>
                  <a:pt x="1397486" y="901153"/>
                </a:moveTo>
                <a:cubicBezTo>
                  <a:pt x="1420885" y="901698"/>
                  <a:pt x="1437755" y="917479"/>
                  <a:pt x="1438299" y="942511"/>
                </a:cubicBezTo>
                <a:cubicBezTo>
                  <a:pt x="1437210" y="966999"/>
                  <a:pt x="1420341" y="983324"/>
                  <a:pt x="1396941" y="983324"/>
                </a:cubicBezTo>
                <a:cubicBezTo>
                  <a:pt x="1371909" y="983324"/>
                  <a:pt x="1355584" y="963190"/>
                  <a:pt x="1356128" y="941967"/>
                </a:cubicBezTo>
                <a:cubicBezTo>
                  <a:pt x="1356128" y="919655"/>
                  <a:pt x="1373542" y="900609"/>
                  <a:pt x="1397486" y="901153"/>
                </a:cubicBezTo>
                <a:close/>
                <a:moveTo>
                  <a:pt x="1560738" y="898977"/>
                </a:moveTo>
                <a:cubicBezTo>
                  <a:pt x="1584138" y="899521"/>
                  <a:pt x="1603728" y="917479"/>
                  <a:pt x="1603728" y="942511"/>
                </a:cubicBezTo>
                <a:cubicBezTo>
                  <a:pt x="1603728" y="966999"/>
                  <a:pt x="1581961" y="985501"/>
                  <a:pt x="1560738" y="985501"/>
                </a:cubicBezTo>
                <a:cubicBezTo>
                  <a:pt x="1537883" y="985501"/>
                  <a:pt x="1516660" y="963734"/>
                  <a:pt x="1517204" y="941423"/>
                </a:cubicBezTo>
                <a:cubicBezTo>
                  <a:pt x="1517748" y="919656"/>
                  <a:pt x="1535706" y="898977"/>
                  <a:pt x="1560738" y="898977"/>
                </a:cubicBezTo>
                <a:close/>
                <a:moveTo>
                  <a:pt x="1723990" y="897888"/>
                </a:moveTo>
                <a:cubicBezTo>
                  <a:pt x="1747934" y="897888"/>
                  <a:pt x="1769701" y="919111"/>
                  <a:pt x="1768069" y="942510"/>
                </a:cubicBezTo>
                <a:cubicBezTo>
                  <a:pt x="1770245" y="965366"/>
                  <a:pt x="1746302" y="987133"/>
                  <a:pt x="1723990" y="986589"/>
                </a:cubicBezTo>
                <a:cubicBezTo>
                  <a:pt x="1701679" y="986589"/>
                  <a:pt x="1679912" y="964278"/>
                  <a:pt x="1679912" y="941422"/>
                </a:cubicBezTo>
                <a:cubicBezTo>
                  <a:pt x="1680456" y="919655"/>
                  <a:pt x="1700047" y="897888"/>
                  <a:pt x="1723990" y="897888"/>
                </a:cubicBezTo>
                <a:close/>
                <a:moveTo>
                  <a:pt x="2050497" y="897344"/>
                </a:moveTo>
                <a:lnTo>
                  <a:pt x="2051041" y="897453"/>
                </a:lnTo>
                <a:lnTo>
                  <a:pt x="2051041" y="986917"/>
                </a:lnTo>
                <a:lnTo>
                  <a:pt x="2049952" y="987133"/>
                </a:lnTo>
                <a:cubicBezTo>
                  <a:pt x="2026553" y="987133"/>
                  <a:pt x="2004786" y="965366"/>
                  <a:pt x="2005330" y="941422"/>
                </a:cubicBezTo>
                <a:cubicBezTo>
                  <a:pt x="2005874" y="918023"/>
                  <a:pt x="2026009" y="897344"/>
                  <a:pt x="2050497" y="897344"/>
                </a:cubicBezTo>
                <a:close/>
                <a:moveTo>
                  <a:pt x="1887243" y="897344"/>
                </a:moveTo>
                <a:cubicBezTo>
                  <a:pt x="1910099" y="897344"/>
                  <a:pt x="1931866" y="916390"/>
                  <a:pt x="1931866" y="942511"/>
                </a:cubicBezTo>
                <a:cubicBezTo>
                  <a:pt x="1931866" y="965910"/>
                  <a:pt x="1910099" y="986589"/>
                  <a:pt x="1887243" y="986589"/>
                </a:cubicBezTo>
                <a:cubicBezTo>
                  <a:pt x="1864932" y="987133"/>
                  <a:pt x="1839900" y="965910"/>
                  <a:pt x="1843165" y="941422"/>
                </a:cubicBezTo>
                <a:cubicBezTo>
                  <a:pt x="1840444" y="918567"/>
                  <a:pt x="1863299" y="897344"/>
                  <a:pt x="1887243" y="897344"/>
                </a:cubicBezTo>
                <a:close/>
                <a:moveTo>
                  <a:pt x="172545" y="854354"/>
                </a:moveTo>
                <a:cubicBezTo>
                  <a:pt x="176899" y="854354"/>
                  <a:pt x="179619" y="855442"/>
                  <a:pt x="179619" y="860884"/>
                </a:cubicBezTo>
                <a:cubicBezTo>
                  <a:pt x="180164" y="864693"/>
                  <a:pt x="177987" y="866870"/>
                  <a:pt x="173634" y="866870"/>
                </a:cubicBezTo>
                <a:cubicBezTo>
                  <a:pt x="169824" y="866870"/>
                  <a:pt x="166559" y="866870"/>
                  <a:pt x="166015" y="861973"/>
                </a:cubicBezTo>
                <a:cubicBezTo>
                  <a:pt x="165471" y="857075"/>
                  <a:pt x="167103" y="854354"/>
                  <a:pt x="172545" y="854354"/>
                </a:cubicBezTo>
                <a:close/>
                <a:moveTo>
                  <a:pt x="336342" y="843471"/>
                </a:moveTo>
                <a:cubicBezTo>
                  <a:pt x="346681" y="844015"/>
                  <a:pt x="353211" y="849457"/>
                  <a:pt x="353211" y="860340"/>
                </a:cubicBezTo>
                <a:cubicBezTo>
                  <a:pt x="353211" y="872312"/>
                  <a:pt x="348858" y="876665"/>
                  <a:pt x="336886" y="877210"/>
                </a:cubicBezTo>
                <a:cubicBezTo>
                  <a:pt x="324370" y="877210"/>
                  <a:pt x="320561" y="872856"/>
                  <a:pt x="320017" y="860884"/>
                </a:cubicBezTo>
                <a:cubicBezTo>
                  <a:pt x="319473" y="851089"/>
                  <a:pt x="327635" y="842927"/>
                  <a:pt x="336342" y="843471"/>
                </a:cubicBezTo>
                <a:close/>
                <a:moveTo>
                  <a:pt x="500139" y="837485"/>
                </a:moveTo>
                <a:cubicBezTo>
                  <a:pt x="514832" y="837485"/>
                  <a:pt x="522994" y="846735"/>
                  <a:pt x="522994" y="861428"/>
                </a:cubicBezTo>
                <a:cubicBezTo>
                  <a:pt x="522994" y="876121"/>
                  <a:pt x="513743" y="884284"/>
                  <a:pt x="499595" y="884284"/>
                </a:cubicBezTo>
                <a:cubicBezTo>
                  <a:pt x="485446" y="883740"/>
                  <a:pt x="475651" y="875033"/>
                  <a:pt x="476739" y="860340"/>
                </a:cubicBezTo>
                <a:cubicBezTo>
                  <a:pt x="476195" y="842926"/>
                  <a:pt x="489256" y="836940"/>
                  <a:pt x="500139" y="837485"/>
                </a:cubicBezTo>
                <a:close/>
                <a:moveTo>
                  <a:pt x="662848" y="832587"/>
                </a:moveTo>
                <a:cubicBezTo>
                  <a:pt x="677541" y="832587"/>
                  <a:pt x="691689" y="842926"/>
                  <a:pt x="690057" y="860340"/>
                </a:cubicBezTo>
                <a:cubicBezTo>
                  <a:pt x="691689" y="876121"/>
                  <a:pt x="679718" y="888637"/>
                  <a:pt x="662848" y="888637"/>
                </a:cubicBezTo>
                <a:cubicBezTo>
                  <a:pt x="644890" y="888637"/>
                  <a:pt x="634551" y="874489"/>
                  <a:pt x="634551" y="861428"/>
                </a:cubicBezTo>
                <a:cubicBezTo>
                  <a:pt x="634551" y="842926"/>
                  <a:pt x="647611" y="832587"/>
                  <a:pt x="662848" y="832587"/>
                </a:cubicBezTo>
                <a:close/>
                <a:moveTo>
                  <a:pt x="826101" y="827146"/>
                </a:moveTo>
                <a:cubicBezTo>
                  <a:pt x="840249" y="826602"/>
                  <a:pt x="859840" y="843471"/>
                  <a:pt x="859295" y="860885"/>
                </a:cubicBezTo>
                <a:cubicBezTo>
                  <a:pt x="858751" y="875033"/>
                  <a:pt x="844603" y="894624"/>
                  <a:pt x="825556" y="892991"/>
                </a:cubicBezTo>
                <a:cubicBezTo>
                  <a:pt x="808687" y="894079"/>
                  <a:pt x="793450" y="877754"/>
                  <a:pt x="793450" y="860885"/>
                </a:cubicBezTo>
                <a:cubicBezTo>
                  <a:pt x="793994" y="842927"/>
                  <a:pt x="808143" y="828234"/>
                  <a:pt x="826101" y="827146"/>
                </a:cubicBezTo>
                <a:close/>
                <a:moveTo>
                  <a:pt x="988809" y="824424"/>
                </a:moveTo>
                <a:cubicBezTo>
                  <a:pt x="1010576" y="825512"/>
                  <a:pt x="1024180" y="839661"/>
                  <a:pt x="1025813" y="860339"/>
                </a:cubicBezTo>
                <a:cubicBezTo>
                  <a:pt x="1026901" y="878842"/>
                  <a:pt x="1008399" y="896799"/>
                  <a:pt x="989897" y="897344"/>
                </a:cubicBezTo>
                <a:cubicBezTo>
                  <a:pt x="971939" y="897344"/>
                  <a:pt x="953982" y="880474"/>
                  <a:pt x="953437" y="861972"/>
                </a:cubicBezTo>
                <a:cubicBezTo>
                  <a:pt x="951805" y="842926"/>
                  <a:pt x="969763" y="824968"/>
                  <a:pt x="988809" y="824424"/>
                </a:cubicBezTo>
                <a:close/>
                <a:moveTo>
                  <a:pt x="1153695" y="821704"/>
                </a:moveTo>
                <a:cubicBezTo>
                  <a:pt x="1175462" y="822248"/>
                  <a:pt x="1191243" y="839118"/>
                  <a:pt x="1191243" y="861429"/>
                </a:cubicBezTo>
                <a:cubicBezTo>
                  <a:pt x="1193964" y="882107"/>
                  <a:pt x="1169476" y="900610"/>
                  <a:pt x="1152606" y="899521"/>
                </a:cubicBezTo>
                <a:cubicBezTo>
                  <a:pt x="1130839" y="898433"/>
                  <a:pt x="1114514" y="882107"/>
                  <a:pt x="1114514" y="859252"/>
                </a:cubicBezTo>
                <a:cubicBezTo>
                  <a:pt x="1115058" y="837485"/>
                  <a:pt x="1131928" y="821704"/>
                  <a:pt x="1153695" y="821704"/>
                </a:cubicBezTo>
                <a:close/>
                <a:moveTo>
                  <a:pt x="1316403" y="818982"/>
                </a:moveTo>
                <a:cubicBezTo>
                  <a:pt x="1341979" y="820071"/>
                  <a:pt x="1356128" y="838573"/>
                  <a:pt x="1357216" y="860884"/>
                </a:cubicBezTo>
                <a:cubicBezTo>
                  <a:pt x="1356128" y="884828"/>
                  <a:pt x="1337626" y="901697"/>
                  <a:pt x="1315315" y="901697"/>
                </a:cubicBezTo>
                <a:cubicBezTo>
                  <a:pt x="1293003" y="901697"/>
                  <a:pt x="1273957" y="884284"/>
                  <a:pt x="1274501" y="860340"/>
                </a:cubicBezTo>
                <a:cubicBezTo>
                  <a:pt x="1275046" y="835852"/>
                  <a:pt x="1291915" y="818438"/>
                  <a:pt x="1316403" y="818982"/>
                </a:cubicBezTo>
                <a:close/>
                <a:moveTo>
                  <a:pt x="1479112" y="816806"/>
                </a:moveTo>
                <a:cubicBezTo>
                  <a:pt x="1501423" y="816806"/>
                  <a:pt x="1523190" y="835852"/>
                  <a:pt x="1522646" y="860340"/>
                </a:cubicBezTo>
                <a:cubicBezTo>
                  <a:pt x="1523735" y="885372"/>
                  <a:pt x="1499791" y="904419"/>
                  <a:pt x="1479656" y="904419"/>
                </a:cubicBezTo>
                <a:cubicBezTo>
                  <a:pt x="1457889" y="904419"/>
                  <a:pt x="1436122" y="883740"/>
                  <a:pt x="1435578" y="860884"/>
                </a:cubicBezTo>
                <a:cubicBezTo>
                  <a:pt x="1435578" y="838573"/>
                  <a:pt x="1455713" y="816806"/>
                  <a:pt x="1479112" y="816806"/>
                </a:cubicBezTo>
                <a:close/>
                <a:moveTo>
                  <a:pt x="1642909" y="815718"/>
                </a:moveTo>
                <a:cubicBezTo>
                  <a:pt x="1665764" y="816262"/>
                  <a:pt x="1686987" y="835852"/>
                  <a:pt x="1686987" y="860885"/>
                </a:cubicBezTo>
                <a:cubicBezTo>
                  <a:pt x="1686987" y="884284"/>
                  <a:pt x="1666308" y="906051"/>
                  <a:pt x="1641276" y="905507"/>
                </a:cubicBezTo>
                <a:cubicBezTo>
                  <a:pt x="1619509" y="905507"/>
                  <a:pt x="1595021" y="884284"/>
                  <a:pt x="1597742" y="860340"/>
                </a:cubicBezTo>
                <a:cubicBezTo>
                  <a:pt x="1595021" y="836941"/>
                  <a:pt x="1619509" y="815174"/>
                  <a:pt x="1642909" y="815718"/>
                </a:cubicBezTo>
                <a:close/>
                <a:moveTo>
                  <a:pt x="1806161" y="815173"/>
                </a:moveTo>
                <a:cubicBezTo>
                  <a:pt x="1832282" y="815717"/>
                  <a:pt x="1854593" y="836396"/>
                  <a:pt x="1852416" y="860884"/>
                </a:cubicBezTo>
                <a:cubicBezTo>
                  <a:pt x="1850240" y="885372"/>
                  <a:pt x="1837179" y="906050"/>
                  <a:pt x="1805617" y="906594"/>
                </a:cubicBezTo>
                <a:cubicBezTo>
                  <a:pt x="1776776" y="906594"/>
                  <a:pt x="1759362" y="885916"/>
                  <a:pt x="1759906" y="860884"/>
                </a:cubicBezTo>
                <a:cubicBezTo>
                  <a:pt x="1759906" y="834219"/>
                  <a:pt x="1776776" y="815717"/>
                  <a:pt x="1806161" y="815173"/>
                </a:cubicBezTo>
                <a:close/>
                <a:moveTo>
                  <a:pt x="1968326" y="812453"/>
                </a:moveTo>
                <a:cubicBezTo>
                  <a:pt x="1979754" y="812453"/>
                  <a:pt x="1991726" y="817351"/>
                  <a:pt x="2000977" y="826057"/>
                </a:cubicBezTo>
                <a:cubicBezTo>
                  <a:pt x="2010772" y="835308"/>
                  <a:pt x="2016214" y="847280"/>
                  <a:pt x="2015670" y="859796"/>
                </a:cubicBezTo>
                <a:cubicBezTo>
                  <a:pt x="2014581" y="884828"/>
                  <a:pt x="2000977" y="904963"/>
                  <a:pt x="1969415" y="907684"/>
                </a:cubicBezTo>
                <a:cubicBezTo>
                  <a:pt x="1942206" y="906051"/>
                  <a:pt x="1923704" y="890270"/>
                  <a:pt x="1922071" y="860885"/>
                </a:cubicBezTo>
                <a:cubicBezTo>
                  <a:pt x="1920983" y="836397"/>
                  <a:pt x="1943294" y="812453"/>
                  <a:pt x="1968326" y="812453"/>
                </a:cubicBezTo>
                <a:close/>
                <a:moveTo>
                  <a:pt x="255260" y="762932"/>
                </a:moveTo>
                <a:cubicBezTo>
                  <a:pt x="261790" y="763476"/>
                  <a:pt x="271041" y="773271"/>
                  <a:pt x="270497" y="779802"/>
                </a:cubicBezTo>
                <a:cubicBezTo>
                  <a:pt x="270497" y="786332"/>
                  <a:pt x="261246" y="795038"/>
                  <a:pt x="254172" y="795038"/>
                </a:cubicBezTo>
                <a:cubicBezTo>
                  <a:pt x="246553" y="795038"/>
                  <a:pt x="238391" y="786332"/>
                  <a:pt x="238935" y="778713"/>
                </a:cubicBezTo>
                <a:cubicBezTo>
                  <a:pt x="239479" y="771095"/>
                  <a:pt x="248186" y="762388"/>
                  <a:pt x="255260" y="762932"/>
                </a:cubicBezTo>
                <a:close/>
                <a:moveTo>
                  <a:pt x="416881" y="756402"/>
                </a:moveTo>
                <a:cubicBezTo>
                  <a:pt x="430485" y="756402"/>
                  <a:pt x="439736" y="765109"/>
                  <a:pt x="440280" y="778713"/>
                </a:cubicBezTo>
                <a:cubicBezTo>
                  <a:pt x="440280" y="791229"/>
                  <a:pt x="431573" y="801024"/>
                  <a:pt x="419057" y="801024"/>
                </a:cubicBezTo>
                <a:cubicBezTo>
                  <a:pt x="405997" y="801569"/>
                  <a:pt x="396202" y="792317"/>
                  <a:pt x="396202" y="779257"/>
                </a:cubicBezTo>
                <a:cubicBezTo>
                  <a:pt x="396202" y="766741"/>
                  <a:pt x="404909" y="756946"/>
                  <a:pt x="416881" y="756402"/>
                </a:cubicBezTo>
                <a:close/>
                <a:moveTo>
                  <a:pt x="581766" y="751505"/>
                </a:moveTo>
                <a:cubicBezTo>
                  <a:pt x="598091" y="752594"/>
                  <a:pt x="607887" y="762933"/>
                  <a:pt x="608975" y="779802"/>
                </a:cubicBezTo>
                <a:cubicBezTo>
                  <a:pt x="608975" y="792318"/>
                  <a:pt x="596459" y="808644"/>
                  <a:pt x="580678" y="806467"/>
                </a:cubicBezTo>
                <a:cubicBezTo>
                  <a:pt x="565985" y="808100"/>
                  <a:pt x="553469" y="792318"/>
                  <a:pt x="553469" y="778714"/>
                </a:cubicBezTo>
                <a:cubicBezTo>
                  <a:pt x="553469" y="764021"/>
                  <a:pt x="567618" y="750417"/>
                  <a:pt x="581766" y="751505"/>
                </a:cubicBezTo>
                <a:close/>
                <a:moveTo>
                  <a:pt x="746107" y="746607"/>
                </a:moveTo>
                <a:cubicBezTo>
                  <a:pt x="762432" y="747695"/>
                  <a:pt x="778213" y="765653"/>
                  <a:pt x="777125" y="780346"/>
                </a:cubicBezTo>
                <a:cubicBezTo>
                  <a:pt x="776581" y="795038"/>
                  <a:pt x="762432" y="811908"/>
                  <a:pt x="742842" y="811364"/>
                </a:cubicBezTo>
                <a:cubicBezTo>
                  <a:pt x="725428" y="810276"/>
                  <a:pt x="712368" y="795583"/>
                  <a:pt x="712368" y="778713"/>
                </a:cubicBezTo>
                <a:cubicBezTo>
                  <a:pt x="712368" y="760755"/>
                  <a:pt x="730870" y="745519"/>
                  <a:pt x="746107" y="746607"/>
                </a:cubicBezTo>
                <a:close/>
                <a:moveTo>
                  <a:pt x="907727" y="741710"/>
                </a:moveTo>
                <a:cubicBezTo>
                  <a:pt x="925684" y="741710"/>
                  <a:pt x="944187" y="760756"/>
                  <a:pt x="944187" y="778714"/>
                </a:cubicBezTo>
                <a:cubicBezTo>
                  <a:pt x="944187" y="796672"/>
                  <a:pt x="926229" y="815174"/>
                  <a:pt x="907727" y="815174"/>
                </a:cubicBezTo>
                <a:cubicBezTo>
                  <a:pt x="889225" y="815174"/>
                  <a:pt x="872899" y="798848"/>
                  <a:pt x="872355" y="779258"/>
                </a:cubicBezTo>
                <a:cubicBezTo>
                  <a:pt x="871811" y="759668"/>
                  <a:pt x="888136" y="742254"/>
                  <a:pt x="907727" y="741710"/>
                </a:cubicBezTo>
                <a:close/>
                <a:moveTo>
                  <a:pt x="1070979" y="740621"/>
                </a:moveTo>
                <a:cubicBezTo>
                  <a:pt x="1091114" y="737357"/>
                  <a:pt x="1110704" y="761300"/>
                  <a:pt x="1110160" y="779258"/>
                </a:cubicBezTo>
                <a:cubicBezTo>
                  <a:pt x="1110160" y="798304"/>
                  <a:pt x="1089481" y="817894"/>
                  <a:pt x="1070979" y="817894"/>
                </a:cubicBezTo>
                <a:cubicBezTo>
                  <a:pt x="1049757" y="817894"/>
                  <a:pt x="1031255" y="797216"/>
                  <a:pt x="1031799" y="778714"/>
                </a:cubicBezTo>
                <a:cubicBezTo>
                  <a:pt x="1033431" y="756947"/>
                  <a:pt x="1049212" y="740621"/>
                  <a:pt x="1070979" y="740621"/>
                </a:cubicBezTo>
                <a:close/>
                <a:moveTo>
                  <a:pt x="1233688" y="736268"/>
                </a:moveTo>
                <a:cubicBezTo>
                  <a:pt x="1254367" y="735723"/>
                  <a:pt x="1276134" y="756402"/>
                  <a:pt x="1276134" y="777625"/>
                </a:cubicBezTo>
                <a:cubicBezTo>
                  <a:pt x="1276134" y="801025"/>
                  <a:pt x="1258720" y="819526"/>
                  <a:pt x="1235320" y="820615"/>
                </a:cubicBezTo>
                <a:cubicBezTo>
                  <a:pt x="1211377" y="821159"/>
                  <a:pt x="1193419" y="802657"/>
                  <a:pt x="1192331" y="779258"/>
                </a:cubicBezTo>
                <a:cubicBezTo>
                  <a:pt x="1190698" y="758579"/>
                  <a:pt x="1213009" y="736812"/>
                  <a:pt x="1233688" y="736268"/>
                </a:cubicBezTo>
                <a:close/>
                <a:moveTo>
                  <a:pt x="1397485" y="735724"/>
                </a:moveTo>
                <a:cubicBezTo>
                  <a:pt x="1421973" y="734091"/>
                  <a:pt x="1441564" y="757491"/>
                  <a:pt x="1441019" y="779802"/>
                </a:cubicBezTo>
                <a:cubicBezTo>
                  <a:pt x="1441019" y="803746"/>
                  <a:pt x="1418708" y="823336"/>
                  <a:pt x="1396397" y="823336"/>
                </a:cubicBezTo>
                <a:cubicBezTo>
                  <a:pt x="1374630" y="823336"/>
                  <a:pt x="1352863" y="802113"/>
                  <a:pt x="1352863" y="779258"/>
                </a:cubicBezTo>
                <a:cubicBezTo>
                  <a:pt x="1353407" y="758579"/>
                  <a:pt x="1372453" y="733547"/>
                  <a:pt x="1397485" y="735724"/>
                </a:cubicBezTo>
                <a:close/>
                <a:moveTo>
                  <a:pt x="1562371" y="734636"/>
                </a:moveTo>
                <a:cubicBezTo>
                  <a:pt x="1586314" y="732459"/>
                  <a:pt x="1605905" y="754226"/>
                  <a:pt x="1605905" y="779802"/>
                </a:cubicBezTo>
                <a:cubicBezTo>
                  <a:pt x="1605361" y="805923"/>
                  <a:pt x="1585226" y="823881"/>
                  <a:pt x="1560194" y="823881"/>
                </a:cubicBezTo>
                <a:cubicBezTo>
                  <a:pt x="1535706" y="823881"/>
                  <a:pt x="1515027" y="803202"/>
                  <a:pt x="1515572" y="777626"/>
                </a:cubicBezTo>
                <a:cubicBezTo>
                  <a:pt x="1516116" y="755859"/>
                  <a:pt x="1535162" y="731371"/>
                  <a:pt x="1562371" y="734636"/>
                </a:cubicBezTo>
                <a:close/>
                <a:moveTo>
                  <a:pt x="1724535" y="730827"/>
                </a:moveTo>
                <a:cubicBezTo>
                  <a:pt x="1748478" y="731371"/>
                  <a:pt x="1772422" y="755314"/>
                  <a:pt x="1772422" y="779258"/>
                </a:cubicBezTo>
                <a:cubicBezTo>
                  <a:pt x="1771878" y="804290"/>
                  <a:pt x="1748478" y="826602"/>
                  <a:pt x="1723446" y="826602"/>
                </a:cubicBezTo>
                <a:cubicBezTo>
                  <a:pt x="1696238" y="823881"/>
                  <a:pt x="1677736" y="807011"/>
                  <a:pt x="1676647" y="778714"/>
                </a:cubicBezTo>
                <a:cubicBezTo>
                  <a:pt x="1676103" y="753138"/>
                  <a:pt x="1699503" y="730282"/>
                  <a:pt x="1724535" y="730827"/>
                </a:cubicBezTo>
                <a:close/>
                <a:moveTo>
                  <a:pt x="1886699" y="730826"/>
                </a:moveTo>
                <a:cubicBezTo>
                  <a:pt x="1914452" y="730826"/>
                  <a:pt x="1934587" y="749872"/>
                  <a:pt x="1935131" y="778713"/>
                </a:cubicBezTo>
                <a:cubicBezTo>
                  <a:pt x="1936219" y="804834"/>
                  <a:pt x="1916085" y="826601"/>
                  <a:pt x="1887244" y="827145"/>
                </a:cubicBezTo>
                <a:cubicBezTo>
                  <a:pt x="1860579" y="826601"/>
                  <a:pt x="1838812" y="805922"/>
                  <a:pt x="1838812" y="778713"/>
                </a:cubicBezTo>
                <a:cubicBezTo>
                  <a:pt x="1839356" y="750416"/>
                  <a:pt x="1860035" y="730282"/>
                  <a:pt x="1886699" y="730826"/>
                </a:cubicBezTo>
                <a:close/>
                <a:moveTo>
                  <a:pt x="2050496" y="730282"/>
                </a:moveTo>
                <a:lnTo>
                  <a:pt x="2051041" y="730396"/>
                </a:lnTo>
                <a:lnTo>
                  <a:pt x="2051041" y="826942"/>
                </a:lnTo>
                <a:lnTo>
                  <a:pt x="2049952" y="827145"/>
                </a:lnTo>
                <a:cubicBezTo>
                  <a:pt x="2023832" y="827145"/>
                  <a:pt x="2001521" y="804290"/>
                  <a:pt x="2002065" y="778169"/>
                </a:cubicBezTo>
                <a:cubicBezTo>
                  <a:pt x="2002609" y="751505"/>
                  <a:pt x="2024376" y="730282"/>
                  <a:pt x="2050496" y="730282"/>
                </a:cubicBezTo>
                <a:close/>
                <a:moveTo>
                  <a:pt x="173634" y="685660"/>
                </a:moveTo>
                <a:cubicBezTo>
                  <a:pt x="181253" y="685660"/>
                  <a:pt x="185062" y="690013"/>
                  <a:pt x="184518" y="698176"/>
                </a:cubicBezTo>
                <a:cubicBezTo>
                  <a:pt x="183973" y="705250"/>
                  <a:pt x="180164" y="709059"/>
                  <a:pt x="172546" y="709059"/>
                </a:cubicBezTo>
                <a:cubicBezTo>
                  <a:pt x="164383" y="709059"/>
                  <a:pt x="160574" y="705250"/>
                  <a:pt x="161118" y="697088"/>
                </a:cubicBezTo>
                <a:cubicBezTo>
                  <a:pt x="161662" y="688925"/>
                  <a:pt x="164927" y="685660"/>
                  <a:pt x="173634" y="685660"/>
                </a:cubicBezTo>
                <a:close/>
                <a:moveTo>
                  <a:pt x="335798" y="675320"/>
                </a:moveTo>
                <a:cubicBezTo>
                  <a:pt x="345593" y="675320"/>
                  <a:pt x="357565" y="685115"/>
                  <a:pt x="357565" y="696543"/>
                </a:cubicBezTo>
                <a:cubicBezTo>
                  <a:pt x="357565" y="707426"/>
                  <a:pt x="346682" y="718854"/>
                  <a:pt x="336342" y="718854"/>
                </a:cubicBezTo>
                <a:cubicBezTo>
                  <a:pt x="327091" y="718854"/>
                  <a:pt x="315664" y="707426"/>
                  <a:pt x="315120" y="697631"/>
                </a:cubicBezTo>
                <a:cubicBezTo>
                  <a:pt x="314575" y="687292"/>
                  <a:pt x="325459" y="675864"/>
                  <a:pt x="335798" y="675320"/>
                </a:cubicBezTo>
                <a:close/>
                <a:moveTo>
                  <a:pt x="499051" y="670423"/>
                </a:moveTo>
                <a:cubicBezTo>
                  <a:pt x="512111" y="669335"/>
                  <a:pt x="526804" y="684027"/>
                  <a:pt x="526804" y="697088"/>
                </a:cubicBezTo>
                <a:cubicBezTo>
                  <a:pt x="526804" y="711236"/>
                  <a:pt x="513744" y="724296"/>
                  <a:pt x="499595" y="724296"/>
                </a:cubicBezTo>
                <a:cubicBezTo>
                  <a:pt x="486535" y="724296"/>
                  <a:pt x="472930" y="711236"/>
                  <a:pt x="472930" y="697632"/>
                </a:cubicBezTo>
                <a:cubicBezTo>
                  <a:pt x="472386" y="684027"/>
                  <a:pt x="485446" y="670423"/>
                  <a:pt x="499051" y="670423"/>
                </a:cubicBezTo>
                <a:close/>
                <a:moveTo>
                  <a:pt x="662848" y="665525"/>
                </a:moveTo>
                <a:cubicBezTo>
                  <a:pt x="678629" y="665525"/>
                  <a:pt x="694410" y="681306"/>
                  <a:pt x="694954" y="697087"/>
                </a:cubicBezTo>
                <a:cubicBezTo>
                  <a:pt x="695499" y="712868"/>
                  <a:pt x="679173" y="729194"/>
                  <a:pt x="663392" y="729194"/>
                </a:cubicBezTo>
                <a:cubicBezTo>
                  <a:pt x="647611" y="729194"/>
                  <a:pt x="632374" y="713957"/>
                  <a:pt x="632374" y="698176"/>
                </a:cubicBezTo>
                <a:cubicBezTo>
                  <a:pt x="631286" y="681850"/>
                  <a:pt x="647067" y="665525"/>
                  <a:pt x="662848" y="665525"/>
                </a:cubicBezTo>
                <a:close/>
                <a:moveTo>
                  <a:pt x="825013" y="663349"/>
                </a:moveTo>
                <a:cubicBezTo>
                  <a:pt x="844603" y="662260"/>
                  <a:pt x="861472" y="676953"/>
                  <a:pt x="860384" y="697632"/>
                </a:cubicBezTo>
                <a:cubicBezTo>
                  <a:pt x="861472" y="716134"/>
                  <a:pt x="846780" y="731915"/>
                  <a:pt x="826101" y="731915"/>
                </a:cubicBezTo>
                <a:cubicBezTo>
                  <a:pt x="806511" y="731915"/>
                  <a:pt x="791818" y="719399"/>
                  <a:pt x="791818" y="698176"/>
                </a:cubicBezTo>
                <a:cubicBezTo>
                  <a:pt x="791818" y="676409"/>
                  <a:pt x="805967" y="663893"/>
                  <a:pt x="825013" y="663349"/>
                </a:cubicBezTo>
                <a:close/>
                <a:moveTo>
                  <a:pt x="988809" y="658995"/>
                </a:moveTo>
                <a:cubicBezTo>
                  <a:pt x="1008400" y="657362"/>
                  <a:pt x="1028534" y="679129"/>
                  <a:pt x="1027446" y="697087"/>
                </a:cubicBezTo>
                <a:cubicBezTo>
                  <a:pt x="1026902" y="718310"/>
                  <a:pt x="1010576" y="735723"/>
                  <a:pt x="989353" y="735723"/>
                </a:cubicBezTo>
                <a:cubicBezTo>
                  <a:pt x="968675" y="735723"/>
                  <a:pt x="950717" y="718310"/>
                  <a:pt x="950717" y="697631"/>
                </a:cubicBezTo>
                <a:cubicBezTo>
                  <a:pt x="950717" y="676408"/>
                  <a:pt x="968131" y="660627"/>
                  <a:pt x="988809" y="658995"/>
                </a:cubicBezTo>
                <a:close/>
                <a:moveTo>
                  <a:pt x="1152607" y="655729"/>
                </a:moveTo>
                <a:cubicBezTo>
                  <a:pt x="1173829" y="654097"/>
                  <a:pt x="1194508" y="675864"/>
                  <a:pt x="1195052" y="697087"/>
                </a:cubicBezTo>
                <a:cubicBezTo>
                  <a:pt x="1195596" y="717766"/>
                  <a:pt x="1173829" y="739533"/>
                  <a:pt x="1153151" y="739533"/>
                </a:cubicBezTo>
                <a:cubicBezTo>
                  <a:pt x="1132472" y="740077"/>
                  <a:pt x="1110705" y="718310"/>
                  <a:pt x="1110705" y="697631"/>
                </a:cubicBezTo>
                <a:cubicBezTo>
                  <a:pt x="1112882" y="674231"/>
                  <a:pt x="1127574" y="657362"/>
                  <a:pt x="1152607" y="655729"/>
                </a:cubicBezTo>
                <a:close/>
                <a:moveTo>
                  <a:pt x="1316948" y="653554"/>
                </a:moveTo>
                <a:cubicBezTo>
                  <a:pt x="1340347" y="654098"/>
                  <a:pt x="1359937" y="674777"/>
                  <a:pt x="1359937" y="697632"/>
                </a:cubicBezTo>
                <a:cubicBezTo>
                  <a:pt x="1359937" y="718855"/>
                  <a:pt x="1339803" y="743343"/>
                  <a:pt x="1315315" y="740622"/>
                </a:cubicBezTo>
                <a:cubicBezTo>
                  <a:pt x="1293004" y="742799"/>
                  <a:pt x="1271237" y="718311"/>
                  <a:pt x="1271781" y="696544"/>
                </a:cubicBezTo>
                <a:cubicBezTo>
                  <a:pt x="1271781" y="675321"/>
                  <a:pt x="1292460" y="653010"/>
                  <a:pt x="1316948" y="653554"/>
                </a:cubicBezTo>
                <a:close/>
                <a:moveTo>
                  <a:pt x="1479112" y="651921"/>
                </a:moveTo>
                <a:cubicBezTo>
                  <a:pt x="1506321" y="651377"/>
                  <a:pt x="1524823" y="669335"/>
                  <a:pt x="1524823" y="697088"/>
                </a:cubicBezTo>
                <a:cubicBezTo>
                  <a:pt x="1524823" y="722664"/>
                  <a:pt x="1506865" y="743343"/>
                  <a:pt x="1479112" y="742254"/>
                </a:cubicBezTo>
                <a:cubicBezTo>
                  <a:pt x="1450815" y="743343"/>
                  <a:pt x="1433401" y="721031"/>
                  <a:pt x="1433945" y="697088"/>
                </a:cubicBezTo>
                <a:cubicBezTo>
                  <a:pt x="1434490" y="670423"/>
                  <a:pt x="1451903" y="652465"/>
                  <a:pt x="1479112" y="651921"/>
                </a:cubicBezTo>
                <a:close/>
                <a:moveTo>
                  <a:pt x="1642909" y="649744"/>
                </a:moveTo>
                <a:cubicBezTo>
                  <a:pt x="1671750" y="650288"/>
                  <a:pt x="1690252" y="668790"/>
                  <a:pt x="1690796" y="697087"/>
                </a:cubicBezTo>
                <a:cubicBezTo>
                  <a:pt x="1691340" y="723752"/>
                  <a:pt x="1672294" y="743342"/>
                  <a:pt x="1642909" y="745519"/>
                </a:cubicBezTo>
                <a:cubicBezTo>
                  <a:pt x="1614067" y="743887"/>
                  <a:pt x="1594477" y="725384"/>
                  <a:pt x="1594477" y="697632"/>
                </a:cubicBezTo>
                <a:cubicBezTo>
                  <a:pt x="1594477" y="668790"/>
                  <a:pt x="1614611" y="649200"/>
                  <a:pt x="1642909" y="649744"/>
                </a:cubicBezTo>
                <a:close/>
                <a:moveTo>
                  <a:pt x="1805617" y="648112"/>
                </a:moveTo>
                <a:cubicBezTo>
                  <a:pt x="1829561" y="648112"/>
                  <a:pt x="1857314" y="672055"/>
                  <a:pt x="1854593" y="698176"/>
                </a:cubicBezTo>
                <a:cubicBezTo>
                  <a:pt x="1856770" y="719399"/>
                  <a:pt x="1832826" y="747151"/>
                  <a:pt x="1805073" y="746607"/>
                </a:cubicBezTo>
                <a:cubicBezTo>
                  <a:pt x="1779497" y="746063"/>
                  <a:pt x="1756097" y="721575"/>
                  <a:pt x="1756097" y="697087"/>
                </a:cubicBezTo>
                <a:cubicBezTo>
                  <a:pt x="1756097" y="670423"/>
                  <a:pt x="1782218" y="647567"/>
                  <a:pt x="1805617" y="648112"/>
                </a:cubicBezTo>
                <a:close/>
                <a:moveTo>
                  <a:pt x="1969414" y="647023"/>
                </a:moveTo>
                <a:cubicBezTo>
                  <a:pt x="1992814" y="647023"/>
                  <a:pt x="2020567" y="672055"/>
                  <a:pt x="2018934" y="698176"/>
                </a:cubicBezTo>
                <a:cubicBezTo>
                  <a:pt x="2017302" y="725384"/>
                  <a:pt x="1996623" y="746063"/>
                  <a:pt x="1968326" y="746063"/>
                </a:cubicBezTo>
                <a:cubicBezTo>
                  <a:pt x="1941661" y="748784"/>
                  <a:pt x="1919350" y="721031"/>
                  <a:pt x="1918806" y="697087"/>
                </a:cubicBezTo>
                <a:cubicBezTo>
                  <a:pt x="1918806" y="669878"/>
                  <a:pt x="1945471" y="647023"/>
                  <a:pt x="1969414" y="647023"/>
                </a:cubicBezTo>
                <a:close/>
                <a:moveTo>
                  <a:pt x="90919" y="606754"/>
                </a:moveTo>
                <a:cubicBezTo>
                  <a:pt x="94728" y="608386"/>
                  <a:pt x="99626" y="612195"/>
                  <a:pt x="99626" y="615460"/>
                </a:cubicBezTo>
                <a:cubicBezTo>
                  <a:pt x="100170" y="618181"/>
                  <a:pt x="95816" y="621990"/>
                  <a:pt x="92007" y="627976"/>
                </a:cubicBezTo>
                <a:cubicBezTo>
                  <a:pt x="87654" y="623079"/>
                  <a:pt x="84389" y="619814"/>
                  <a:pt x="82756" y="616005"/>
                </a:cubicBezTo>
                <a:cubicBezTo>
                  <a:pt x="81668" y="613284"/>
                  <a:pt x="88198" y="605665"/>
                  <a:pt x="90919" y="606754"/>
                </a:cubicBezTo>
                <a:close/>
                <a:moveTo>
                  <a:pt x="254172" y="598047"/>
                </a:moveTo>
                <a:cubicBezTo>
                  <a:pt x="265599" y="597503"/>
                  <a:pt x="273218" y="606210"/>
                  <a:pt x="272674" y="614917"/>
                </a:cubicBezTo>
                <a:cubicBezTo>
                  <a:pt x="272674" y="625800"/>
                  <a:pt x="266688" y="632874"/>
                  <a:pt x="255260" y="633419"/>
                </a:cubicBezTo>
                <a:cubicBezTo>
                  <a:pt x="244376" y="633963"/>
                  <a:pt x="237302" y="626889"/>
                  <a:pt x="236758" y="616005"/>
                </a:cubicBezTo>
                <a:cubicBezTo>
                  <a:pt x="236758" y="605122"/>
                  <a:pt x="243832" y="598047"/>
                  <a:pt x="254172" y="598047"/>
                </a:cubicBezTo>
                <a:close/>
                <a:moveTo>
                  <a:pt x="418513" y="590429"/>
                </a:moveTo>
                <a:cubicBezTo>
                  <a:pt x="431029" y="590429"/>
                  <a:pt x="442457" y="601857"/>
                  <a:pt x="443001" y="614917"/>
                </a:cubicBezTo>
                <a:cubicBezTo>
                  <a:pt x="443545" y="627977"/>
                  <a:pt x="432118" y="640493"/>
                  <a:pt x="419058" y="640493"/>
                </a:cubicBezTo>
                <a:cubicBezTo>
                  <a:pt x="404365" y="640493"/>
                  <a:pt x="394570" y="630698"/>
                  <a:pt x="392937" y="616005"/>
                </a:cubicBezTo>
                <a:cubicBezTo>
                  <a:pt x="391849" y="604033"/>
                  <a:pt x="405997" y="590429"/>
                  <a:pt x="418513" y="590429"/>
                </a:cubicBezTo>
                <a:close/>
                <a:moveTo>
                  <a:pt x="581222" y="587163"/>
                </a:moveTo>
                <a:cubicBezTo>
                  <a:pt x="600812" y="588252"/>
                  <a:pt x="610063" y="598047"/>
                  <a:pt x="610063" y="616549"/>
                </a:cubicBezTo>
                <a:cubicBezTo>
                  <a:pt x="610063" y="634507"/>
                  <a:pt x="599179" y="644846"/>
                  <a:pt x="580677" y="645390"/>
                </a:cubicBezTo>
                <a:cubicBezTo>
                  <a:pt x="565440" y="644846"/>
                  <a:pt x="551836" y="634507"/>
                  <a:pt x="551836" y="615461"/>
                </a:cubicBezTo>
                <a:cubicBezTo>
                  <a:pt x="551836" y="594782"/>
                  <a:pt x="567073" y="586075"/>
                  <a:pt x="581222" y="587163"/>
                </a:cubicBezTo>
                <a:close/>
                <a:moveTo>
                  <a:pt x="743930" y="582266"/>
                </a:moveTo>
                <a:cubicBezTo>
                  <a:pt x="761344" y="581178"/>
                  <a:pt x="779301" y="599136"/>
                  <a:pt x="779301" y="616005"/>
                </a:cubicBezTo>
                <a:cubicBezTo>
                  <a:pt x="779301" y="632874"/>
                  <a:pt x="762976" y="649744"/>
                  <a:pt x="745563" y="649744"/>
                </a:cubicBezTo>
                <a:cubicBezTo>
                  <a:pt x="728149" y="649200"/>
                  <a:pt x="710191" y="635595"/>
                  <a:pt x="711824" y="616549"/>
                </a:cubicBezTo>
                <a:cubicBezTo>
                  <a:pt x="711824" y="596415"/>
                  <a:pt x="724340" y="583355"/>
                  <a:pt x="743930" y="582266"/>
                </a:cubicBezTo>
                <a:close/>
                <a:moveTo>
                  <a:pt x="907183" y="577913"/>
                </a:moveTo>
                <a:cubicBezTo>
                  <a:pt x="927318" y="576825"/>
                  <a:pt x="947452" y="598592"/>
                  <a:pt x="945276" y="615461"/>
                </a:cubicBezTo>
                <a:cubicBezTo>
                  <a:pt x="945276" y="635596"/>
                  <a:pt x="927318" y="653554"/>
                  <a:pt x="907727" y="654098"/>
                </a:cubicBezTo>
                <a:cubicBezTo>
                  <a:pt x="890314" y="654642"/>
                  <a:pt x="869091" y="635052"/>
                  <a:pt x="869091" y="616006"/>
                </a:cubicBezTo>
                <a:cubicBezTo>
                  <a:pt x="869635" y="595871"/>
                  <a:pt x="887049" y="578457"/>
                  <a:pt x="907183" y="577913"/>
                </a:cubicBezTo>
                <a:close/>
                <a:moveTo>
                  <a:pt x="1069891" y="574648"/>
                </a:moveTo>
                <a:cubicBezTo>
                  <a:pt x="1092202" y="574648"/>
                  <a:pt x="1111793" y="589885"/>
                  <a:pt x="1111248" y="615461"/>
                </a:cubicBezTo>
                <a:cubicBezTo>
                  <a:pt x="1111793" y="639405"/>
                  <a:pt x="1093835" y="656274"/>
                  <a:pt x="1070435" y="656274"/>
                </a:cubicBezTo>
                <a:cubicBezTo>
                  <a:pt x="1045403" y="656274"/>
                  <a:pt x="1029622" y="635052"/>
                  <a:pt x="1029622" y="614917"/>
                </a:cubicBezTo>
                <a:cubicBezTo>
                  <a:pt x="1030166" y="593150"/>
                  <a:pt x="1046491" y="574648"/>
                  <a:pt x="1069891" y="574648"/>
                </a:cubicBezTo>
                <a:close/>
                <a:moveTo>
                  <a:pt x="1235321" y="572472"/>
                </a:moveTo>
                <a:cubicBezTo>
                  <a:pt x="1256543" y="572472"/>
                  <a:pt x="1279399" y="590973"/>
                  <a:pt x="1277222" y="616550"/>
                </a:cubicBezTo>
                <a:cubicBezTo>
                  <a:pt x="1278855" y="639949"/>
                  <a:pt x="1255455" y="660084"/>
                  <a:pt x="1233688" y="660084"/>
                </a:cubicBezTo>
                <a:cubicBezTo>
                  <a:pt x="1211377" y="660084"/>
                  <a:pt x="1189610" y="637773"/>
                  <a:pt x="1190154" y="614917"/>
                </a:cubicBezTo>
                <a:cubicBezTo>
                  <a:pt x="1190698" y="594783"/>
                  <a:pt x="1209200" y="571927"/>
                  <a:pt x="1235321" y="572472"/>
                </a:cubicBezTo>
                <a:close/>
                <a:moveTo>
                  <a:pt x="1397485" y="569206"/>
                </a:moveTo>
                <a:cubicBezTo>
                  <a:pt x="1423606" y="569750"/>
                  <a:pt x="1443196" y="587708"/>
                  <a:pt x="1443196" y="616005"/>
                </a:cubicBezTo>
                <a:cubicBezTo>
                  <a:pt x="1443196" y="642670"/>
                  <a:pt x="1424150" y="661716"/>
                  <a:pt x="1396941" y="661172"/>
                </a:cubicBezTo>
                <a:cubicBezTo>
                  <a:pt x="1369188" y="661172"/>
                  <a:pt x="1350686" y="638860"/>
                  <a:pt x="1351775" y="614373"/>
                </a:cubicBezTo>
                <a:cubicBezTo>
                  <a:pt x="1352319" y="587164"/>
                  <a:pt x="1371365" y="569206"/>
                  <a:pt x="1397485" y="569206"/>
                </a:cubicBezTo>
                <a:close/>
                <a:moveTo>
                  <a:pt x="1560738" y="567029"/>
                </a:moveTo>
                <a:cubicBezTo>
                  <a:pt x="1586859" y="567029"/>
                  <a:pt x="1608082" y="587708"/>
                  <a:pt x="1609714" y="615461"/>
                </a:cubicBezTo>
                <a:cubicBezTo>
                  <a:pt x="1608082" y="641581"/>
                  <a:pt x="1589580" y="663892"/>
                  <a:pt x="1561283" y="663892"/>
                </a:cubicBezTo>
                <a:cubicBezTo>
                  <a:pt x="1534074" y="663892"/>
                  <a:pt x="1512851" y="642669"/>
                  <a:pt x="1512851" y="616005"/>
                </a:cubicBezTo>
                <a:cubicBezTo>
                  <a:pt x="1512851" y="587163"/>
                  <a:pt x="1535706" y="567029"/>
                  <a:pt x="1560738" y="567029"/>
                </a:cubicBezTo>
                <a:close/>
                <a:moveTo>
                  <a:pt x="1725624" y="565397"/>
                </a:moveTo>
                <a:cubicBezTo>
                  <a:pt x="1747935" y="565941"/>
                  <a:pt x="1775144" y="590429"/>
                  <a:pt x="1774599" y="616005"/>
                </a:cubicBezTo>
                <a:cubicBezTo>
                  <a:pt x="1774055" y="638317"/>
                  <a:pt x="1751744" y="668246"/>
                  <a:pt x="1723447" y="664981"/>
                </a:cubicBezTo>
                <a:cubicBezTo>
                  <a:pt x="1700592" y="667158"/>
                  <a:pt x="1674471" y="643758"/>
                  <a:pt x="1674471" y="615461"/>
                </a:cubicBezTo>
                <a:cubicBezTo>
                  <a:pt x="1674471" y="588797"/>
                  <a:pt x="1700592" y="565397"/>
                  <a:pt x="1725624" y="565397"/>
                </a:cubicBezTo>
                <a:close/>
                <a:moveTo>
                  <a:pt x="1886699" y="564853"/>
                </a:moveTo>
                <a:cubicBezTo>
                  <a:pt x="1914996" y="564309"/>
                  <a:pt x="1938396" y="589341"/>
                  <a:pt x="1938396" y="614917"/>
                </a:cubicBezTo>
                <a:cubicBezTo>
                  <a:pt x="1938396" y="640493"/>
                  <a:pt x="1917717" y="667702"/>
                  <a:pt x="1887787" y="665525"/>
                </a:cubicBezTo>
                <a:cubicBezTo>
                  <a:pt x="1860034" y="667702"/>
                  <a:pt x="1837723" y="644302"/>
                  <a:pt x="1837179" y="615461"/>
                </a:cubicBezTo>
                <a:cubicBezTo>
                  <a:pt x="1837179" y="586620"/>
                  <a:pt x="1861667" y="565397"/>
                  <a:pt x="1886699" y="564853"/>
                </a:cubicBezTo>
                <a:close/>
                <a:moveTo>
                  <a:pt x="2050496" y="564852"/>
                </a:moveTo>
                <a:lnTo>
                  <a:pt x="2051041" y="564962"/>
                </a:lnTo>
                <a:lnTo>
                  <a:pt x="2051041" y="665899"/>
                </a:lnTo>
                <a:lnTo>
                  <a:pt x="2049952" y="666069"/>
                </a:lnTo>
                <a:cubicBezTo>
                  <a:pt x="2018934" y="667157"/>
                  <a:pt x="1999344" y="642669"/>
                  <a:pt x="1999344" y="615460"/>
                </a:cubicBezTo>
                <a:cubicBezTo>
                  <a:pt x="1999344" y="587163"/>
                  <a:pt x="2021655" y="564852"/>
                  <a:pt x="2050496" y="564852"/>
                </a:cubicBezTo>
                <a:close/>
                <a:moveTo>
                  <a:pt x="173090" y="517509"/>
                </a:moveTo>
                <a:cubicBezTo>
                  <a:pt x="181252" y="517509"/>
                  <a:pt x="189415" y="525672"/>
                  <a:pt x="189959" y="533834"/>
                </a:cubicBezTo>
                <a:cubicBezTo>
                  <a:pt x="189959" y="542541"/>
                  <a:pt x="182341" y="550160"/>
                  <a:pt x="173634" y="550160"/>
                </a:cubicBezTo>
                <a:cubicBezTo>
                  <a:pt x="165471" y="550160"/>
                  <a:pt x="157853" y="543085"/>
                  <a:pt x="157308" y="534923"/>
                </a:cubicBezTo>
                <a:cubicBezTo>
                  <a:pt x="156764" y="526216"/>
                  <a:pt x="164383" y="518053"/>
                  <a:pt x="173090" y="517509"/>
                </a:cubicBezTo>
                <a:close/>
                <a:moveTo>
                  <a:pt x="335798" y="511523"/>
                </a:moveTo>
                <a:cubicBezTo>
                  <a:pt x="349947" y="512067"/>
                  <a:pt x="357565" y="519686"/>
                  <a:pt x="358654" y="533834"/>
                </a:cubicBezTo>
                <a:cubicBezTo>
                  <a:pt x="359742" y="547439"/>
                  <a:pt x="348314" y="557778"/>
                  <a:pt x="336343" y="556689"/>
                </a:cubicBezTo>
                <a:cubicBezTo>
                  <a:pt x="324371" y="558322"/>
                  <a:pt x="312943" y="545806"/>
                  <a:pt x="312943" y="534378"/>
                </a:cubicBezTo>
                <a:cubicBezTo>
                  <a:pt x="312943" y="522951"/>
                  <a:pt x="322738" y="510979"/>
                  <a:pt x="335798" y="511523"/>
                </a:cubicBezTo>
                <a:close/>
                <a:moveTo>
                  <a:pt x="500139" y="506626"/>
                </a:moveTo>
                <a:cubicBezTo>
                  <a:pt x="517553" y="507170"/>
                  <a:pt x="527892" y="517509"/>
                  <a:pt x="527348" y="535467"/>
                </a:cubicBezTo>
                <a:cubicBezTo>
                  <a:pt x="526804" y="552880"/>
                  <a:pt x="515920" y="562131"/>
                  <a:pt x="497963" y="561587"/>
                </a:cubicBezTo>
                <a:cubicBezTo>
                  <a:pt x="481093" y="561043"/>
                  <a:pt x="472386" y="550704"/>
                  <a:pt x="471842" y="533290"/>
                </a:cubicBezTo>
                <a:cubicBezTo>
                  <a:pt x="471298" y="516965"/>
                  <a:pt x="485447" y="506081"/>
                  <a:pt x="500139" y="506626"/>
                </a:cubicBezTo>
                <a:close/>
                <a:moveTo>
                  <a:pt x="662304" y="500639"/>
                </a:moveTo>
                <a:cubicBezTo>
                  <a:pt x="677540" y="497919"/>
                  <a:pt x="696587" y="518597"/>
                  <a:pt x="696042" y="533290"/>
                </a:cubicBezTo>
                <a:cubicBezTo>
                  <a:pt x="694954" y="551792"/>
                  <a:pt x="681894" y="565396"/>
                  <a:pt x="663392" y="566485"/>
                </a:cubicBezTo>
                <a:cubicBezTo>
                  <a:pt x="643802" y="567573"/>
                  <a:pt x="629653" y="549615"/>
                  <a:pt x="630197" y="534378"/>
                </a:cubicBezTo>
                <a:cubicBezTo>
                  <a:pt x="630741" y="515876"/>
                  <a:pt x="644346" y="501184"/>
                  <a:pt x="662304" y="500639"/>
                </a:cubicBezTo>
                <a:close/>
                <a:moveTo>
                  <a:pt x="825557" y="496830"/>
                </a:moveTo>
                <a:cubicBezTo>
                  <a:pt x="846780" y="496286"/>
                  <a:pt x="862561" y="513700"/>
                  <a:pt x="863649" y="534923"/>
                </a:cubicBezTo>
                <a:cubicBezTo>
                  <a:pt x="862017" y="556690"/>
                  <a:pt x="845147" y="571927"/>
                  <a:pt x="825557" y="571383"/>
                </a:cubicBezTo>
                <a:cubicBezTo>
                  <a:pt x="805422" y="570838"/>
                  <a:pt x="788553" y="555057"/>
                  <a:pt x="788553" y="534379"/>
                </a:cubicBezTo>
                <a:cubicBezTo>
                  <a:pt x="788553" y="514244"/>
                  <a:pt x="804334" y="497375"/>
                  <a:pt x="825557" y="496830"/>
                </a:cubicBezTo>
                <a:close/>
                <a:moveTo>
                  <a:pt x="989898" y="494110"/>
                </a:moveTo>
                <a:cubicBezTo>
                  <a:pt x="1012209" y="494654"/>
                  <a:pt x="1029622" y="513156"/>
                  <a:pt x="1029078" y="534923"/>
                </a:cubicBezTo>
                <a:cubicBezTo>
                  <a:pt x="1028534" y="556146"/>
                  <a:pt x="1010576" y="574104"/>
                  <a:pt x="989353" y="574104"/>
                </a:cubicBezTo>
                <a:cubicBezTo>
                  <a:pt x="969763" y="574648"/>
                  <a:pt x="947452" y="556690"/>
                  <a:pt x="949629" y="533835"/>
                </a:cubicBezTo>
                <a:cubicBezTo>
                  <a:pt x="947996" y="512068"/>
                  <a:pt x="968675" y="494110"/>
                  <a:pt x="989898" y="494110"/>
                </a:cubicBezTo>
                <a:close/>
                <a:moveTo>
                  <a:pt x="1152062" y="490301"/>
                </a:moveTo>
                <a:cubicBezTo>
                  <a:pt x="1174917" y="490301"/>
                  <a:pt x="1196140" y="509347"/>
                  <a:pt x="1196140" y="533835"/>
                </a:cubicBezTo>
                <a:cubicBezTo>
                  <a:pt x="1197228" y="558867"/>
                  <a:pt x="1173829" y="577913"/>
                  <a:pt x="1152606" y="577369"/>
                </a:cubicBezTo>
                <a:cubicBezTo>
                  <a:pt x="1130839" y="577369"/>
                  <a:pt x="1109616" y="556690"/>
                  <a:pt x="1109072" y="534379"/>
                </a:cubicBezTo>
                <a:cubicBezTo>
                  <a:pt x="1108528" y="510980"/>
                  <a:pt x="1128662" y="490301"/>
                  <a:pt x="1152062" y="490301"/>
                </a:cubicBezTo>
                <a:close/>
                <a:moveTo>
                  <a:pt x="1316947" y="489212"/>
                </a:moveTo>
                <a:cubicBezTo>
                  <a:pt x="1343612" y="489756"/>
                  <a:pt x="1361570" y="510435"/>
                  <a:pt x="1361570" y="534923"/>
                </a:cubicBezTo>
                <a:cubicBezTo>
                  <a:pt x="1361570" y="560499"/>
                  <a:pt x="1341980" y="580090"/>
                  <a:pt x="1315859" y="580090"/>
                </a:cubicBezTo>
                <a:cubicBezTo>
                  <a:pt x="1291915" y="580090"/>
                  <a:pt x="1269060" y="560499"/>
                  <a:pt x="1270693" y="533835"/>
                </a:cubicBezTo>
                <a:cubicBezTo>
                  <a:pt x="1269604" y="508258"/>
                  <a:pt x="1291371" y="488124"/>
                  <a:pt x="1316947" y="489212"/>
                </a:cubicBezTo>
                <a:close/>
                <a:moveTo>
                  <a:pt x="1479112" y="484315"/>
                </a:moveTo>
                <a:cubicBezTo>
                  <a:pt x="1503599" y="484315"/>
                  <a:pt x="1528087" y="508259"/>
                  <a:pt x="1528087" y="533835"/>
                </a:cubicBezTo>
                <a:cubicBezTo>
                  <a:pt x="1528087" y="558867"/>
                  <a:pt x="1506865" y="582267"/>
                  <a:pt x="1479656" y="582267"/>
                </a:cubicBezTo>
                <a:cubicBezTo>
                  <a:pt x="1453535" y="582267"/>
                  <a:pt x="1431224" y="560500"/>
                  <a:pt x="1431224" y="533835"/>
                </a:cubicBezTo>
                <a:cubicBezTo>
                  <a:pt x="1430680" y="506626"/>
                  <a:pt x="1454624" y="485403"/>
                  <a:pt x="1479112" y="484315"/>
                </a:cubicBezTo>
                <a:close/>
                <a:moveTo>
                  <a:pt x="1643452" y="484314"/>
                </a:moveTo>
                <a:cubicBezTo>
                  <a:pt x="1667396" y="481049"/>
                  <a:pt x="1693517" y="509891"/>
                  <a:pt x="1692973" y="534923"/>
                </a:cubicBezTo>
                <a:cubicBezTo>
                  <a:pt x="1692428" y="558867"/>
                  <a:pt x="1669573" y="584987"/>
                  <a:pt x="1641276" y="583898"/>
                </a:cubicBezTo>
                <a:cubicBezTo>
                  <a:pt x="1616788" y="583354"/>
                  <a:pt x="1592300" y="562676"/>
                  <a:pt x="1592300" y="532202"/>
                </a:cubicBezTo>
                <a:cubicBezTo>
                  <a:pt x="1592300" y="509891"/>
                  <a:pt x="1615155" y="481049"/>
                  <a:pt x="1643452" y="484314"/>
                </a:cubicBezTo>
                <a:close/>
                <a:moveTo>
                  <a:pt x="1806162" y="481594"/>
                </a:moveTo>
                <a:cubicBezTo>
                  <a:pt x="1839901" y="484859"/>
                  <a:pt x="1858947" y="504993"/>
                  <a:pt x="1857858" y="536011"/>
                </a:cubicBezTo>
                <a:cubicBezTo>
                  <a:pt x="1855682" y="568662"/>
                  <a:pt x="1834459" y="584987"/>
                  <a:pt x="1803441" y="586075"/>
                </a:cubicBezTo>
                <a:cubicBezTo>
                  <a:pt x="1775144" y="584443"/>
                  <a:pt x="1751744" y="559955"/>
                  <a:pt x="1753377" y="533290"/>
                </a:cubicBezTo>
                <a:cubicBezTo>
                  <a:pt x="1755009" y="504993"/>
                  <a:pt x="1780041" y="479417"/>
                  <a:pt x="1806162" y="481594"/>
                </a:cubicBezTo>
                <a:close/>
                <a:moveTo>
                  <a:pt x="1968326" y="480505"/>
                </a:moveTo>
                <a:cubicBezTo>
                  <a:pt x="1998256" y="483226"/>
                  <a:pt x="2020023" y="501728"/>
                  <a:pt x="2022200" y="534379"/>
                </a:cubicBezTo>
                <a:cubicBezTo>
                  <a:pt x="2023832" y="560499"/>
                  <a:pt x="1996079" y="588252"/>
                  <a:pt x="1969415" y="588252"/>
                </a:cubicBezTo>
                <a:cubicBezTo>
                  <a:pt x="1943294" y="588796"/>
                  <a:pt x="1916085" y="561587"/>
                  <a:pt x="1915541" y="534923"/>
                </a:cubicBezTo>
                <a:cubicBezTo>
                  <a:pt x="1914453" y="508258"/>
                  <a:pt x="1941117" y="480505"/>
                  <a:pt x="1968326" y="480505"/>
                </a:cubicBezTo>
                <a:close/>
                <a:moveTo>
                  <a:pt x="91464" y="440780"/>
                </a:moveTo>
                <a:cubicBezTo>
                  <a:pt x="99082" y="440780"/>
                  <a:pt x="102347" y="443501"/>
                  <a:pt x="102891" y="451664"/>
                </a:cubicBezTo>
                <a:cubicBezTo>
                  <a:pt x="102891" y="460915"/>
                  <a:pt x="100171" y="464179"/>
                  <a:pt x="92008" y="464179"/>
                </a:cubicBezTo>
                <a:cubicBezTo>
                  <a:pt x="83301" y="464179"/>
                  <a:pt x="80036" y="461459"/>
                  <a:pt x="80036" y="452752"/>
                </a:cubicBezTo>
                <a:cubicBezTo>
                  <a:pt x="80036" y="444045"/>
                  <a:pt x="83301" y="440780"/>
                  <a:pt x="91464" y="440780"/>
                </a:cubicBezTo>
                <a:close/>
                <a:moveTo>
                  <a:pt x="254172" y="430441"/>
                </a:moveTo>
                <a:cubicBezTo>
                  <a:pt x="263967" y="430441"/>
                  <a:pt x="276483" y="440236"/>
                  <a:pt x="275939" y="452208"/>
                </a:cubicBezTo>
                <a:cubicBezTo>
                  <a:pt x="275939" y="463092"/>
                  <a:pt x="265600" y="473975"/>
                  <a:pt x="254716" y="473975"/>
                </a:cubicBezTo>
                <a:cubicBezTo>
                  <a:pt x="244377" y="473975"/>
                  <a:pt x="232949" y="463092"/>
                  <a:pt x="232405" y="452752"/>
                </a:cubicBezTo>
                <a:cubicBezTo>
                  <a:pt x="232405" y="442413"/>
                  <a:pt x="243833" y="430985"/>
                  <a:pt x="254172" y="430441"/>
                </a:cubicBezTo>
                <a:close/>
                <a:moveTo>
                  <a:pt x="417969" y="424999"/>
                </a:moveTo>
                <a:cubicBezTo>
                  <a:pt x="432118" y="424999"/>
                  <a:pt x="444634" y="438059"/>
                  <a:pt x="444634" y="452752"/>
                </a:cubicBezTo>
                <a:cubicBezTo>
                  <a:pt x="445178" y="464180"/>
                  <a:pt x="432662" y="481049"/>
                  <a:pt x="417425" y="479417"/>
                </a:cubicBezTo>
                <a:cubicBezTo>
                  <a:pt x="405453" y="481049"/>
                  <a:pt x="389672" y="465268"/>
                  <a:pt x="390760" y="452208"/>
                </a:cubicBezTo>
                <a:cubicBezTo>
                  <a:pt x="391849" y="437515"/>
                  <a:pt x="403276" y="424999"/>
                  <a:pt x="417969" y="424999"/>
                </a:cubicBezTo>
                <a:close/>
                <a:moveTo>
                  <a:pt x="580677" y="419558"/>
                </a:moveTo>
                <a:cubicBezTo>
                  <a:pt x="596458" y="419013"/>
                  <a:pt x="612783" y="434795"/>
                  <a:pt x="612783" y="452208"/>
                </a:cubicBezTo>
                <a:cubicBezTo>
                  <a:pt x="612783" y="469622"/>
                  <a:pt x="599723" y="483226"/>
                  <a:pt x="581221" y="484315"/>
                </a:cubicBezTo>
                <a:cubicBezTo>
                  <a:pt x="561087" y="482138"/>
                  <a:pt x="549659" y="470710"/>
                  <a:pt x="549115" y="452208"/>
                </a:cubicBezTo>
                <a:cubicBezTo>
                  <a:pt x="548571" y="433162"/>
                  <a:pt x="564352" y="420102"/>
                  <a:pt x="580677" y="419558"/>
                </a:cubicBezTo>
                <a:close/>
                <a:moveTo>
                  <a:pt x="743931" y="415748"/>
                </a:moveTo>
                <a:cubicBezTo>
                  <a:pt x="761888" y="414660"/>
                  <a:pt x="779846" y="432618"/>
                  <a:pt x="780390" y="452208"/>
                </a:cubicBezTo>
                <a:cubicBezTo>
                  <a:pt x="780934" y="471254"/>
                  <a:pt x="764065" y="488668"/>
                  <a:pt x="744475" y="489212"/>
                </a:cubicBezTo>
                <a:cubicBezTo>
                  <a:pt x="727061" y="489212"/>
                  <a:pt x="709103" y="472342"/>
                  <a:pt x="708559" y="453840"/>
                </a:cubicBezTo>
                <a:cubicBezTo>
                  <a:pt x="707471" y="435883"/>
                  <a:pt x="725428" y="416836"/>
                  <a:pt x="743931" y="415748"/>
                </a:cubicBezTo>
                <a:close/>
                <a:moveTo>
                  <a:pt x="908271" y="414116"/>
                </a:moveTo>
                <a:cubicBezTo>
                  <a:pt x="927861" y="411395"/>
                  <a:pt x="946907" y="431529"/>
                  <a:pt x="946363" y="453296"/>
                </a:cubicBezTo>
                <a:cubicBezTo>
                  <a:pt x="946363" y="473975"/>
                  <a:pt x="927317" y="491933"/>
                  <a:pt x="906638" y="491933"/>
                </a:cubicBezTo>
                <a:cubicBezTo>
                  <a:pt x="887048" y="491933"/>
                  <a:pt x="866913" y="473431"/>
                  <a:pt x="868546" y="452208"/>
                </a:cubicBezTo>
                <a:cubicBezTo>
                  <a:pt x="870179" y="428808"/>
                  <a:pt x="884871" y="413571"/>
                  <a:pt x="908271" y="414116"/>
                </a:cubicBezTo>
                <a:close/>
                <a:moveTo>
                  <a:pt x="1072068" y="409218"/>
                </a:moveTo>
                <a:cubicBezTo>
                  <a:pt x="1097100" y="410307"/>
                  <a:pt x="1113970" y="427720"/>
                  <a:pt x="1113970" y="452752"/>
                </a:cubicBezTo>
                <a:cubicBezTo>
                  <a:pt x="1113970" y="478329"/>
                  <a:pt x="1092203" y="495198"/>
                  <a:pt x="1070436" y="495198"/>
                </a:cubicBezTo>
                <a:cubicBezTo>
                  <a:pt x="1048124" y="494654"/>
                  <a:pt x="1027446" y="475063"/>
                  <a:pt x="1028534" y="451120"/>
                </a:cubicBezTo>
                <a:cubicBezTo>
                  <a:pt x="1029622" y="427720"/>
                  <a:pt x="1048669" y="408130"/>
                  <a:pt x="1072068" y="409218"/>
                </a:cubicBezTo>
                <a:close/>
                <a:moveTo>
                  <a:pt x="1235865" y="408130"/>
                </a:moveTo>
                <a:cubicBezTo>
                  <a:pt x="1258721" y="405953"/>
                  <a:pt x="1279400" y="427176"/>
                  <a:pt x="1279400" y="453296"/>
                </a:cubicBezTo>
                <a:cubicBezTo>
                  <a:pt x="1278855" y="478328"/>
                  <a:pt x="1258177" y="497374"/>
                  <a:pt x="1233689" y="497374"/>
                </a:cubicBezTo>
                <a:cubicBezTo>
                  <a:pt x="1209745" y="496830"/>
                  <a:pt x="1189066" y="476151"/>
                  <a:pt x="1189611" y="451664"/>
                </a:cubicBezTo>
                <a:cubicBezTo>
                  <a:pt x="1189611" y="429352"/>
                  <a:pt x="1209201" y="404864"/>
                  <a:pt x="1235865" y="408130"/>
                </a:cubicBezTo>
                <a:close/>
                <a:moveTo>
                  <a:pt x="1396941" y="403776"/>
                </a:moveTo>
                <a:cubicBezTo>
                  <a:pt x="1425238" y="403232"/>
                  <a:pt x="1445373" y="423911"/>
                  <a:pt x="1446461" y="450575"/>
                </a:cubicBezTo>
                <a:cubicBezTo>
                  <a:pt x="1447005" y="476696"/>
                  <a:pt x="1426327" y="500096"/>
                  <a:pt x="1399118" y="500640"/>
                </a:cubicBezTo>
                <a:cubicBezTo>
                  <a:pt x="1372453" y="501184"/>
                  <a:pt x="1349598" y="479961"/>
                  <a:pt x="1349598" y="453296"/>
                </a:cubicBezTo>
                <a:cubicBezTo>
                  <a:pt x="1349598" y="424999"/>
                  <a:pt x="1370277" y="404865"/>
                  <a:pt x="1396941" y="403776"/>
                </a:cubicBezTo>
                <a:close/>
                <a:moveTo>
                  <a:pt x="1560738" y="402144"/>
                </a:moveTo>
                <a:cubicBezTo>
                  <a:pt x="1588491" y="402144"/>
                  <a:pt x="1611347" y="427176"/>
                  <a:pt x="1611347" y="453297"/>
                </a:cubicBezTo>
                <a:cubicBezTo>
                  <a:pt x="1610803" y="476152"/>
                  <a:pt x="1590668" y="502817"/>
                  <a:pt x="1560194" y="502272"/>
                </a:cubicBezTo>
                <a:cubicBezTo>
                  <a:pt x="1534074" y="501728"/>
                  <a:pt x="1508498" y="479961"/>
                  <a:pt x="1511218" y="451664"/>
                </a:cubicBezTo>
                <a:cubicBezTo>
                  <a:pt x="1508498" y="425544"/>
                  <a:pt x="1534618" y="402144"/>
                  <a:pt x="1560738" y="402144"/>
                </a:cubicBezTo>
                <a:close/>
                <a:moveTo>
                  <a:pt x="1723991" y="399423"/>
                </a:moveTo>
                <a:cubicBezTo>
                  <a:pt x="1756097" y="402688"/>
                  <a:pt x="1777320" y="422278"/>
                  <a:pt x="1776776" y="452752"/>
                </a:cubicBezTo>
                <a:cubicBezTo>
                  <a:pt x="1776232" y="483226"/>
                  <a:pt x="1757730" y="501728"/>
                  <a:pt x="1725079" y="504993"/>
                </a:cubicBezTo>
                <a:cubicBezTo>
                  <a:pt x="1697870" y="507714"/>
                  <a:pt x="1670117" y="479961"/>
                  <a:pt x="1671750" y="452752"/>
                </a:cubicBezTo>
                <a:cubicBezTo>
                  <a:pt x="1673382" y="420102"/>
                  <a:pt x="1692428" y="403232"/>
                  <a:pt x="1723991" y="399423"/>
                </a:cubicBezTo>
                <a:close/>
                <a:moveTo>
                  <a:pt x="2051040" y="398335"/>
                </a:moveTo>
                <a:lnTo>
                  <a:pt x="2051041" y="398335"/>
                </a:lnTo>
                <a:lnTo>
                  <a:pt x="2051041" y="506936"/>
                </a:lnTo>
                <a:lnTo>
                  <a:pt x="2049952" y="507170"/>
                </a:lnTo>
                <a:cubicBezTo>
                  <a:pt x="2020566" y="506626"/>
                  <a:pt x="1995534" y="481593"/>
                  <a:pt x="1995534" y="452208"/>
                </a:cubicBezTo>
                <a:cubicBezTo>
                  <a:pt x="1996078" y="424455"/>
                  <a:pt x="2021655" y="397246"/>
                  <a:pt x="2051040" y="398335"/>
                </a:cubicBezTo>
                <a:close/>
                <a:moveTo>
                  <a:pt x="1888332" y="398335"/>
                </a:moveTo>
                <a:cubicBezTo>
                  <a:pt x="1915541" y="398879"/>
                  <a:pt x="1941661" y="423911"/>
                  <a:pt x="1941661" y="452208"/>
                </a:cubicBezTo>
                <a:cubicBezTo>
                  <a:pt x="1941661" y="481594"/>
                  <a:pt x="1916085" y="507170"/>
                  <a:pt x="1886699" y="506082"/>
                </a:cubicBezTo>
                <a:cubicBezTo>
                  <a:pt x="1857314" y="505538"/>
                  <a:pt x="1833914" y="481594"/>
                  <a:pt x="1833370" y="452208"/>
                </a:cubicBezTo>
                <a:cubicBezTo>
                  <a:pt x="1833370" y="423911"/>
                  <a:pt x="1860035" y="398335"/>
                  <a:pt x="1888332" y="398335"/>
                </a:cubicBezTo>
                <a:close/>
                <a:moveTo>
                  <a:pt x="12014" y="364052"/>
                </a:moveTo>
                <a:cubicBezTo>
                  <a:pt x="13102" y="365140"/>
                  <a:pt x="15279" y="367317"/>
                  <a:pt x="15823" y="370038"/>
                </a:cubicBezTo>
                <a:cubicBezTo>
                  <a:pt x="16911" y="374391"/>
                  <a:pt x="14191" y="377656"/>
                  <a:pt x="9293" y="377656"/>
                </a:cubicBezTo>
                <a:cubicBezTo>
                  <a:pt x="4940" y="377656"/>
                  <a:pt x="3307" y="374936"/>
                  <a:pt x="3307" y="371126"/>
                </a:cubicBezTo>
                <a:cubicBezTo>
                  <a:pt x="3307" y="367317"/>
                  <a:pt x="4940" y="364052"/>
                  <a:pt x="12014" y="364052"/>
                </a:cubicBezTo>
                <a:close/>
                <a:moveTo>
                  <a:pt x="172545" y="353713"/>
                </a:moveTo>
                <a:cubicBezTo>
                  <a:pt x="184517" y="353713"/>
                  <a:pt x="190503" y="359154"/>
                  <a:pt x="190503" y="370582"/>
                </a:cubicBezTo>
                <a:cubicBezTo>
                  <a:pt x="190503" y="381466"/>
                  <a:pt x="184517" y="387996"/>
                  <a:pt x="173090" y="387996"/>
                </a:cubicBezTo>
                <a:cubicBezTo>
                  <a:pt x="163839" y="388540"/>
                  <a:pt x="155676" y="381466"/>
                  <a:pt x="155676" y="371126"/>
                </a:cubicBezTo>
                <a:cubicBezTo>
                  <a:pt x="155676" y="362419"/>
                  <a:pt x="161662" y="352080"/>
                  <a:pt x="172545" y="353713"/>
                </a:cubicBezTo>
                <a:close/>
                <a:moveTo>
                  <a:pt x="336886" y="345550"/>
                </a:moveTo>
                <a:cubicBezTo>
                  <a:pt x="350490" y="346094"/>
                  <a:pt x="362462" y="358610"/>
                  <a:pt x="361374" y="371670"/>
                </a:cubicBezTo>
                <a:cubicBezTo>
                  <a:pt x="360286" y="385275"/>
                  <a:pt x="348858" y="395614"/>
                  <a:pt x="335798" y="395070"/>
                </a:cubicBezTo>
                <a:cubicBezTo>
                  <a:pt x="319472" y="394526"/>
                  <a:pt x="311854" y="381466"/>
                  <a:pt x="311854" y="370038"/>
                </a:cubicBezTo>
                <a:cubicBezTo>
                  <a:pt x="311854" y="356978"/>
                  <a:pt x="324370" y="345550"/>
                  <a:pt x="336886" y="345550"/>
                </a:cubicBezTo>
                <a:close/>
                <a:moveTo>
                  <a:pt x="499596" y="342284"/>
                </a:moveTo>
                <a:cubicBezTo>
                  <a:pt x="518642" y="341196"/>
                  <a:pt x="528437" y="354256"/>
                  <a:pt x="528437" y="370582"/>
                </a:cubicBezTo>
                <a:cubicBezTo>
                  <a:pt x="528437" y="386363"/>
                  <a:pt x="518642" y="399967"/>
                  <a:pt x="499051" y="399423"/>
                </a:cubicBezTo>
                <a:cubicBezTo>
                  <a:pt x="481094" y="399423"/>
                  <a:pt x="470210" y="387995"/>
                  <a:pt x="470210" y="370037"/>
                </a:cubicBezTo>
                <a:cubicBezTo>
                  <a:pt x="470754" y="352624"/>
                  <a:pt x="481638" y="341740"/>
                  <a:pt x="499596" y="342284"/>
                </a:cubicBezTo>
                <a:close/>
                <a:moveTo>
                  <a:pt x="663392" y="337387"/>
                </a:moveTo>
                <a:cubicBezTo>
                  <a:pt x="680262" y="337387"/>
                  <a:pt x="697675" y="354801"/>
                  <a:pt x="697131" y="371126"/>
                </a:cubicBezTo>
                <a:cubicBezTo>
                  <a:pt x="696043" y="390172"/>
                  <a:pt x="682982" y="404321"/>
                  <a:pt x="662304" y="404321"/>
                </a:cubicBezTo>
                <a:cubicBezTo>
                  <a:pt x="643258" y="405953"/>
                  <a:pt x="629109" y="389084"/>
                  <a:pt x="629109" y="371126"/>
                </a:cubicBezTo>
                <a:cubicBezTo>
                  <a:pt x="629109" y="352624"/>
                  <a:pt x="645434" y="337387"/>
                  <a:pt x="663392" y="337387"/>
                </a:cubicBezTo>
                <a:close/>
                <a:moveTo>
                  <a:pt x="825556" y="332489"/>
                </a:moveTo>
                <a:cubicBezTo>
                  <a:pt x="847323" y="333577"/>
                  <a:pt x="864193" y="349358"/>
                  <a:pt x="864737" y="370037"/>
                </a:cubicBezTo>
                <a:cubicBezTo>
                  <a:pt x="864193" y="391260"/>
                  <a:pt x="847323" y="409218"/>
                  <a:pt x="826645" y="409218"/>
                </a:cubicBezTo>
                <a:cubicBezTo>
                  <a:pt x="808687" y="412483"/>
                  <a:pt x="788008" y="387995"/>
                  <a:pt x="787464" y="371126"/>
                </a:cubicBezTo>
                <a:cubicBezTo>
                  <a:pt x="787464" y="353712"/>
                  <a:pt x="808687" y="331945"/>
                  <a:pt x="825556" y="332489"/>
                </a:cubicBezTo>
                <a:close/>
                <a:moveTo>
                  <a:pt x="989898" y="328680"/>
                </a:moveTo>
                <a:cubicBezTo>
                  <a:pt x="1013297" y="329224"/>
                  <a:pt x="1030167" y="347182"/>
                  <a:pt x="1031255" y="371126"/>
                </a:cubicBezTo>
                <a:cubicBezTo>
                  <a:pt x="1029623" y="396702"/>
                  <a:pt x="1010576" y="413027"/>
                  <a:pt x="989354" y="413027"/>
                </a:cubicBezTo>
                <a:cubicBezTo>
                  <a:pt x="964866" y="412483"/>
                  <a:pt x="946908" y="393981"/>
                  <a:pt x="947452" y="370037"/>
                </a:cubicBezTo>
                <a:cubicBezTo>
                  <a:pt x="947996" y="346094"/>
                  <a:pt x="964866" y="328680"/>
                  <a:pt x="989898" y="328680"/>
                </a:cubicBezTo>
                <a:close/>
                <a:moveTo>
                  <a:pt x="1153150" y="326504"/>
                </a:moveTo>
                <a:cubicBezTo>
                  <a:pt x="1177094" y="326504"/>
                  <a:pt x="1197228" y="347727"/>
                  <a:pt x="1197228" y="370582"/>
                </a:cubicBezTo>
                <a:cubicBezTo>
                  <a:pt x="1197228" y="392894"/>
                  <a:pt x="1176550" y="417925"/>
                  <a:pt x="1152606" y="414661"/>
                </a:cubicBezTo>
                <a:cubicBezTo>
                  <a:pt x="1130295" y="417925"/>
                  <a:pt x="1107984" y="393982"/>
                  <a:pt x="1108528" y="370038"/>
                </a:cubicBezTo>
                <a:cubicBezTo>
                  <a:pt x="1109072" y="347727"/>
                  <a:pt x="1129751" y="326504"/>
                  <a:pt x="1153150" y="326504"/>
                </a:cubicBezTo>
                <a:close/>
                <a:moveTo>
                  <a:pt x="1317492" y="323239"/>
                </a:moveTo>
                <a:cubicBezTo>
                  <a:pt x="1341979" y="322151"/>
                  <a:pt x="1367012" y="348271"/>
                  <a:pt x="1364835" y="372215"/>
                </a:cubicBezTo>
                <a:cubicBezTo>
                  <a:pt x="1361026" y="399968"/>
                  <a:pt x="1344700" y="416837"/>
                  <a:pt x="1314771" y="419014"/>
                </a:cubicBezTo>
                <a:cubicBezTo>
                  <a:pt x="1286474" y="415205"/>
                  <a:pt x="1267972" y="398879"/>
                  <a:pt x="1268516" y="370582"/>
                </a:cubicBezTo>
                <a:cubicBezTo>
                  <a:pt x="1268516" y="341197"/>
                  <a:pt x="1288650" y="324327"/>
                  <a:pt x="1317492" y="323239"/>
                </a:cubicBezTo>
                <a:close/>
                <a:moveTo>
                  <a:pt x="1479112" y="320517"/>
                </a:moveTo>
                <a:cubicBezTo>
                  <a:pt x="1503600" y="319973"/>
                  <a:pt x="1530265" y="343917"/>
                  <a:pt x="1529720" y="371670"/>
                </a:cubicBezTo>
                <a:cubicBezTo>
                  <a:pt x="1528632" y="395069"/>
                  <a:pt x="1506321" y="423366"/>
                  <a:pt x="1478568" y="420101"/>
                </a:cubicBezTo>
                <a:cubicBezTo>
                  <a:pt x="1452447" y="422822"/>
                  <a:pt x="1429592" y="397246"/>
                  <a:pt x="1429592" y="370037"/>
                </a:cubicBezTo>
                <a:cubicBezTo>
                  <a:pt x="1429592" y="342284"/>
                  <a:pt x="1455713" y="320517"/>
                  <a:pt x="1479112" y="320517"/>
                </a:cubicBezTo>
                <a:close/>
                <a:moveTo>
                  <a:pt x="1642364" y="318341"/>
                </a:moveTo>
                <a:cubicBezTo>
                  <a:pt x="1670661" y="318341"/>
                  <a:pt x="1692973" y="339020"/>
                  <a:pt x="1695694" y="370582"/>
                </a:cubicBezTo>
                <a:cubicBezTo>
                  <a:pt x="1696238" y="397791"/>
                  <a:pt x="1671206" y="423367"/>
                  <a:pt x="1643453" y="424455"/>
                </a:cubicBezTo>
                <a:cubicBezTo>
                  <a:pt x="1616788" y="425544"/>
                  <a:pt x="1589035" y="398335"/>
                  <a:pt x="1589035" y="371670"/>
                </a:cubicBezTo>
                <a:cubicBezTo>
                  <a:pt x="1589035" y="345006"/>
                  <a:pt x="1615155" y="317797"/>
                  <a:pt x="1642364" y="318341"/>
                </a:cubicBezTo>
                <a:close/>
                <a:moveTo>
                  <a:pt x="90919" y="273718"/>
                </a:moveTo>
                <a:cubicBezTo>
                  <a:pt x="96361" y="273174"/>
                  <a:pt x="106156" y="282425"/>
                  <a:pt x="106700" y="288411"/>
                </a:cubicBezTo>
                <a:cubicBezTo>
                  <a:pt x="106700" y="294941"/>
                  <a:pt x="97993" y="303648"/>
                  <a:pt x="91463" y="303648"/>
                </a:cubicBezTo>
                <a:cubicBezTo>
                  <a:pt x="84933" y="303648"/>
                  <a:pt x="76226" y="294941"/>
                  <a:pt x="76770" y="288411"/>
                </a:cubicBezTo>
                <a:cubicBezTo>
                  <a:pt x="76770" y="283513"/>
                  <a:pt x="86021" y="274262"/>
                  <a:pt x="90919" y="273718"/>
                </a:cubicBezTo>
                <a:close/>
                <a:moveTo>
                  <a:pt x="254716" y="267733"/>
                </a:moveTo>
                <a:cubicBezTo>
                  <a:pt x="267776" y="267733"/>
                  <a:pt x="276483" y="276440"/>
                  <a:pt x="276483" y="288956"/>
                </a:cubicBezTo>
                <a:cubicBezTo>
                  <a:pt x="276483" y="301472"/>
                  <a:pt x="266688" y="311811"/>
                  <a:pt x="254172" y="311811"/>
                </a:cubicBezTo>
                <a:cubicBezTo>
                  <a:pt x="243289" y="311811"/>
                  <a:pt x="232405" y="300384"/>
                  <a:pt x="232405" y="289500"/>
                </a:cubicBezTo>
                <a:cubicBezTo>
                  <a:pt x="232405" y="276984"/>
                  <a:pt x="242744" y="267733"/>
                  <a:pt x="254716" y="267733"/>
                </a:cubicBezTo>
                <a:close/>
                <a:moveTo>
                  <a:pt x="1941117" y="263202"/>
                </a:moveTo>
                <a:cubicBezTo>
                  <a:pt x="1937852" y="261570"/>
                  <a:pt x="1936219" y="263202"/>
                  <a:pt x="1936219" y="266467"/>
                </a:cubicBezTo>
                <a:cubicBezTo>
                  <a:pt x="1936763" y="268644"/>
                  <a:pt x="1937852" y="270276"/>
                  <a:pt x="1938396" y="272453"/>
                </a:cubicBezTo>
                <a:cubicBezTo>
                  <a:pt x="1944382" y="290955"/>
                  <a:pt x="1943838" y="308913"/>
                  <a:pt x="1932954" y="325782"/>
                </a:cubicBezTo>
                <a:cubicBezTo>
                  <a:pt x="1931866" y="327415"/>
                  <a:pt x="1931866" y="329047"/>
                  <a:pt x="1930777" y="331224"/>
                </a:cubicBezTo>
                <a:cubicBezTo>
                  <a:pt x="1932410" y="331224"/>
                  <a:pt x="1935131" y="331224"/>
                  <a:pt x="1936219" y="330136"/>
                </a:cubicBezTo>
                <a:cubicBezTo>
                  <a:pt x="1945470" y="323061"/>
                  <a:pt x="1955265" y="320885"/>
                  <a:pt x="1966693" y="320340"/>
                </a:cubicBezTo>
                <a:cubicBezTo>
                  <a:pt x="1978121" y="319796"/>
                  <a:pt x="1989004" y="323061"/>
                  <a:pt x="1998799" y="328503"/>
                </a:cubicBezTo>
                <a:cubicBezTo>
                  <a:pt x="2000432" y="329047"/>
                  <a:pt x="2001520" y="329592"/>
                  <a:pt x="2003153" y="330136"/>
                </a:cubicBezTo>
                <a:cubicBezTo>
                  <a:pt x="2002609" y="328503"/>
                  <a:pt x="2002609" y="326326"/>
                  <a:pt x="2001520" y="324694"/>
                </a:cubicBezTo>
                <a:cubicBezTo>
                  <a:pt x="1999344" y="319796"/>
                  <a:pt x="1995534" y="314899"/>
                  <a:pt x="1994446" y="309457"/>
                </a:cubicBezTo>
                <a:cubicBezTo>
                  <a:pt x="1992269" y="295308"/>
                  <a:pt x="1990093" y="281160"/>
                  <a:pt x="1998255" y="267555"/>
                </a:cubicBezTo>
                <a:cubicBezTo>
                  <a:pt x="2000432" y="267555"/>
                  <a:pt x="2000432" y="265923"/>
                  <a:pt x="2000976" y="263746"/>
                </a:cubicBezTo>
                <a:cubicBezTo>
                  <a:pt x="1998799" y="263746"/>
                  <a:pt x="1996623" y="262658"/>
                  <a:pt x="1995534" y="263746"/>
                </a:cubicBezTo>
                <a:cubicBezTo>
                  <a:pt x="1977577" y="272997"/>
                  <a:pt x="1959075" y="272997"/>
                  <a:pt x="1941117" y="263202"/>
                </a:cubicBezTo>
                <a:close/>
                <a:moveTo>
                  <a:pt x="417425" y="262291"/>
                </a:moveTo>
                <a:cubicBezTo>
                  <a:pt x="434839" y="262291"/>
                  <a:pt x="445178" y="272086"/>
                  <a:pt x="445178" y="288956"/>
                </a:cubicBezTo>
                <a:cubicBezTo>
                  <a:pt x="445178" y="305825"/>
                  <a:pt x="434839" y="316164"/>
                  <a:pt x="417969" y="317253"/>
                </a:cubicBezTo>
                <a:cubicBezTo>
                  <a:pt x="404909" y="317797"/>
                  <a:pt x="389672" y="306369"/>
                  <a:pt x="390216" y="290044"/>
                </a:cubicBezTo>
                <a:cubicBezTo>
                  <a:pt x="391305" y="272086"/>
                  <a:pt x="400011" y="262291"/>
                  <a:pt x="417425" y="262291"/>
                </a:cubicBezTo>
                <a:close/>
                <a:moveTo>
                  <a:pt x="580678" y="256304"/>
                </a:moveTo>
                <a:cubicBezTo>
                  <a:pt x="596459" y="255760"/>
                  <a:pt x="616049" y="273174"/>
                  <a:pt x="613872" y="288955"/>
                </a:cubicBezTo>
                <a:cubicBezTo>
                  <a:pt x="615505" y="304736"/>
                  <a:pt x="598635" y="322150"/>
                  <a:pt x="581222" y="322150"/>
                </a:cubicBezTo>
                <a:cubicBezTo>
                  <a:pt x="564352" y="322150"/>
                  <a:pt x="548571" y="308001"/>
                  <a:pt x="548027" y="289499"/>
                </a:cubicBezTo>
                <a:cubicBezTo>
                  <a:pt x="547483" y="272086"/>
                  <a:pt x="565441" y="256849"/>
                  <a:pt x="580678" y="256304"/>
                </a:cubicBezTo>
                <a:close/>
                <a:moveTo>
                  <a:pt x="743930" y="251951"/>
                </a:moveTo>
                <a:cubicBezTo>
                  <a:pt x="764609" y="251951"/>
                  <a:pt x="782566" y="268820"/>
                  <a:pt x="782022" y="289499"/>
                </a:cubicBezTo>
                <a:cubicBezTo>
                  <a:pt x="781478" y="311266"/>
                  <a:pt x="765153" y="326503"/>
                  <a:pt x="744474" y="326503"/>
                </a:cubicBezTo>
                <a:cubicBezTo>
                  <a:pt x="723795" y="326503"/>
                  <a:pt x="708014" y="311266"/>
                  <a:pt x="707470" y="289499"/>
                </a:cubicBezTo>
                <a:cubicBezTo>
                  <a:pt x="706926" y="271541"/>
                  <a:pt x="722163" y="252495"/>
                  <a:pt x="743930" y="251951"/>
                </a:cubicBezTo>
                <a:close/>
                <a:moveTo>
                  <a:pt x="907183" y="249775"/>
                </a:moveTo>
                <a:cubicBezTo>
                  <a:pt x="929494" y="249775"/>
                  <a:pt x="946908" y="263924"/>
                  <a:pt x="947452" y="289500"/>
                </a:cubicBezTo>
                <a:cubicBezTo>
                  <a:pt x="947996" y="311811"/>
                  <a:pt x="931127" y="330313"/>
                  <a:pt x="908271" y="329225"/>
                </a:cubicBezTo>
                <a:cubicBezTo>
                  <a:pt x="885960" y="330857"/>
                  <a:pt x="868002" y="312355"/>
                  <a:pt x="867458" y="290044"/>
                </a:cubicBezTo>
                <a:cubicBezTo>
                  <a:pt x="867458" y="266100"/>
                  <a:pt x="884872" y="249775"/>
                  <a:pt x="907183" y="249775"/>
                </a:cubicBezTo>
                <a:close/>
                <a:moveTo>
                  <a:pt x="1070435" y="245965"/>
                </a:moveTo>
                <a:cubicBezTo>
                  <a:pt x="1093291" y="245421"/>
                  <a:pt x="1116146" y="264467"/>
                  <a:pt x="1114513" y="290043"/>
                </a:cubicBezTo>
                <a:cubicBezTo>
                  <a:pt x="1115602" y="312899"/>
                  <a:pt x="1092202" y="334122"/>
                  <a:pt x="1069347" y="333578"/>
                </a:cubicBezTo>
                <a:cubicBezTo>
                  <a:pt x="1047036" y="333034"/>
                  <a:pt x="1026357" y="311266"/>
                  <a:pt x="1026357" y="288955"/>
                </a:cubicBezTo>
                <a:cubicBezTo>
                  <a:pt x="1026901" y="268276"/>
                  <a:pt x="1045403" y="245965"/>
                  <a:pt x="1070435" y="245965"/>
                </a:cubicBezTo>
                <a:close/>
                <a:moveTo>
                  <a:pt x="1233689" y="241613"/>
                </a:moveTo>
                <a:cubicBezTo>
                  <a:pt x="1257632" y="241068"/>
                  <a:pt x="1281032" y="263924"/>
                  <a:pt x="1282120" y="288412"/>
                </a:cubicBezTo>
                <a:cubicBezTo>
                  <a:pt x="1282665" y="312900"/>
                  <a:pt x="1260898" y="336299"/>
                  <a:pt x="1235321" y="335755"/>
                </a:cubicBezTo>
                <a:cubicBezTo>
                  <a:pt x="1206480" y="335211"/>
                  <a:pt x="1190155" y="318886"/>
                  <a:pt x="1187434" y="289500"/>
                </a:cubicBezTo>
                <a:cubicBezTo>
                  <a:pt x="1184713" y="266100"/>
                  <a:pt x="1208657" y="242701"/>
                  <a:pt x="1233689" y="241613"/>
                </a:cubicBezTo>
                <a:close/>
                <a:moveTo>
                  <a:pt x="1397485" y="238891"/>
                </a:moveTo>
                <a:cubicBezTo>
                  <a:pt x="1421973" y="237259"/>
                  <a:pt x="1448638" y="264467"/>
                  <a:pt x="1448094" y="288955"/>
                </a:cubicBezTo>
                <a:cubicBezTo>
                  <a:pt x="1447005" y="312355"/>
                  <a:pt x="1424150" y="341196"/>
                  <a:pt x="1398029" y="338475"/>
                </a:cubicBezTo>
                <a:cubicBezTo>
                  <a:pt x="1372453" y="340652"/>
                  <a:pt x="1347421" y="315620"/>
                  <a:pt x="1348509" y="289499"/>
                </a:cubicBezTo>
                <a:cubicBezTo>
                  <a:pt x="1349598" y="261202"/>
                  <a:pt x="1369732" y="240524"/>
                  <a:pt x="1397485" y="238891"/>
                </a:cubicBezTo>
                <a:close/>
                <a:moveTo>
                  <a:pt x="1559650" y="237258"/>
                </a:moveTo>
                <a:cubicBezTo>
                  <a:pt x="1590668" y="236170"/>
                  <a:pt x="1611891" y="259570"/>
                  <a:pt x="1613523" y="288955"/>
                </a:cubicBezTo>
                <a:cubicBezTo>
                  <a:pt x="1613523" y="316164"/>
                  <a:pt x="1587403" y="342829"/>
                  <a:pt x="1560738" y="342829"/>
                </a:cubicBezTo>
                <a:cubicBezTo>
                  <a:pt x="1534618" y="342829"/>
                  <a:pt x="1505776" y="315620"/>
                  <a:pt x="1507953" y="289499"/>
                </a:cubicBezTo>
                <a:cubicBezTo>
                  <a:pt x="1510130" y="261202"/>
                  <a:pt x="1526455" y="238347"/>
                  <a:pt x="1559650" y="237258"/>
                </a:cubicBezTo>
                <a:close/>
                <a:moveTo>
                  <a:pt x="9837" y="198078"/>
                </a:moveTo>
                <a:cubicBezTo>
                  <a:pt x="14190" y="198078"/>
                  <a:pt x="19632" y="202976"/>
                  <a:pt x="19632" y="207873"/>
                </a:cubicBezTo>
                <a:cubicBezTo>
                  <a:pt x="19632" y="212227"/>
                  <a:pt x="14190" y="217668"/>
                  <a:pt x="10381" y="218213"/>
                </a:cubicBezTo>
                <a:cubicBezTo>
                  <a:pt x="5483" y="218757"/>
                  <a:pt x="-503" y="212771"/>
                  <a:pt x="42" y="207873"/>
                </a:cubicBezTo>
                <a:cubicBezTo>
                  <a:pt x="42" y="202976"/>
                  <a:pt x="5483" y="198078"/>
                  <a:pt x="9837" y="198078"/>
                </a:cubicBezTo>
                <a:close/>
                <a:moveTo>
                  <a:pt x="173090" y="187739"/>
                </a:moveTo>
                <a:cubicBezTo>
                  <a:pt x="183429" y="188283"/>
                  <a:pt x="192136" y="196990"/>
                  <a:pt x="192136" y="207329"/>
                </a:cubicBezTo>
                <a:cubicBezTo>
                  <a:pt x="192136" y="217669"/>
                  <a:pt x="182341" y="228008"/>
                  <a:pt x="172546" y="227464"/>
                </a:cubicBezTo>
                <a:cubicBezTo>
                  <a:pt x="163839" y="226920"/>
                  <a:pt x="154588" y="217669"/>
                  <a:pt x="154044" y="208418"/>
                </a:cubicBezTo>
                <a:cubicBezTo>
                  <a:pt x="153500" y="198078"/>
                  <a:pt x="162751" y="187739"/>
                  <a:pt x="173090" y="187739"/>
                </a:cubicBezTo>
                <a:close/>
                <a:moveTo>
                  <a:pt x="336887" y="182297"/>
                </a:moveTo>
                <a:cubicBezTo>
                  <a:pt x="350491" y="182841"/>
                  <a:pt x="361919" y="191548"/>
                  <a:pt x="363007" y="207329"/>
                </a:cubicBezTo>
                <a:cubicBezTo>
                  <a:pt x="363551" y="219845"/>
                  <a:pt x="349947" y="233449"/>
                  <a:pt x="336887" y="233994"/>
                </a:cubicBezTo>
                <a:cubicBezTo>
                  <a:pt x="324371" y="233994"/>
                  <a:pt x="311311" y="221478"/>
                  <a:pt x="310766" y="208961"/>
                </a:cubicBezTo>
                <a:cubicBezTo>
                  <a:pt x="310222" y="195357"/>
                  <a:pt x="323282" y="181753"/>
                  <a:pt x="336887" y="182297"/>
                </a:cubicBezTo>
                <a:close/>
                <a:moveTo>
                  <a:pt x="1856225" y="180487"/>
                </a:moveTo>
                <a:cubicBezTo>
                  <a:pt x="1856225" y="182664"/>
                  <a:pt x="1855137" y="184841"/>
                  <a:pt x="1855681" y="185929"/>
                </a:cubicBezTo>
                <a:cubicBezTo>
                  <a:pt x="1863844" y="206064"/>
                  <a:pt x="1863844" y="226198"/>
                  <a:pt x="1851872" y="244700"/>
                </a:cubicBezTo>
                <a:cubicBezTo>
                  <a:pt x="1851328" y="245788"/>
                  <a:pt x="1851328" y="246877"/>
                  <a:pt x="1851328" y="247965"/>
                </a:cubicBezTo>
                <a:cubicBezTo>
                  <a:pt x="1852416" y="247965"/>
                  <a:pt x="1854049" y="247965"/>
                  <a:pt x="1854593" y="247421"/>
                </a:cubicBezTo>
                <a:cubicBezTo>
                  <a:pt x="1868197" y="237082"/>
                  <a:pt x="1883434" y="237082"/>
                  <a:pt x="1899215" y="238714"/>
                </a:cubicBezTo>
                <a:cubicBezTo>
                  <a:pt x="1904113" y="239258"/>
                  <a:pt x="1909010" y="241979"/>
                  <a:pt x="1913908" y="243067"/>
                </a:cubicBezTo>
                <a:cubicBezTo>
                  <a:pt x="1915541" y="243612"/>
                  <a:pt x="1917173" y="242523"/>
                  <a:pt x="1918806" y="242523"/>
                </a:cubicBezTo>
                <a:cubicBezTo>
                  <a:pt x="1918806" y="240891"/>
                  <a:pt x="1918806" y="239258"/>
                  <a:pt x="1918261" y="238170"/>
                </a:cubicBezTo>
                <a:cubicBezTo>
                  <a:pt x="1908466" y="220756"/>
                  <a:pt x="1910099" y="203887"/>
                  <a:pt x="1917173" y="185929"/>
                </a:cubicBezTo>
                <a:cubicBezTo>
                  <a:pt x="1917717" y="184297"/>
                  <a:pt x="1917717" y="183208"/>
                  <a:pt x="1918261" y="181576"/>
                </a:cubicBezTo>
                <a:cubicBezTo>
                  <a:pt x="1916629" y="182120"/>
                  <a:pt x="1914996" y="182120"/>
                  <a:pt x="1913908" y="182664"/>
                </a:cubicBezTo>
                <a:cubicBezTo>
                  <a:pt x="1895950" y="189738"/>
                  <a:pt x="1877992" y="190827"/>
                  <a:pt x="1860579" y="180487"/>
                </a:cubicBezTo>
                <a:cubicBezTo>
                  <a:pt x="1858946" y="181031"/>
                  <a:pt x="1857858" y="181031"/>
                  <a:pt x="1856225" y="180487"/>
                </a:cubicBezTo>
                <a:close/>
                <a:moveTo>
                  <a:pt x="499595" y="175767"/>
                </a:moveTo>
                <a:cubicBezTo>
                  <a:pt x="514832" y="175767"/>
                  <a:pt x="531702" y="193181"/>
                  <a:pt x="531158" y="207874"/>
                </a:cubicBezTo>
                <a:cubicBezTo>
                  <a:pt x="530613" y="223110"/>
                  <a:pt x="513744" y="239980"/>
                  <a:pt x="498507" y="238347"/>
                </a:cubicBezTo>
                <a:cubicBezTo>
                  <a:pt x="479461" y="236715"/>
                  <a:pt x="469666" y="224743"/>
                  <a:pt x="468033" y="207329"/>
                </a:cubicBezTo>
                <a:cubicBezTo>
                  <a:pt x="466945" y="192636"/>
                  <a:pt x="484903" y="175767"/>
                  <a:pt x="499595" y="175767"/>
                </a:cubicBezTo>
                <a:close/>
                <a:moveTo>
                  <a:pt x="662304" y="173046"/>
                </a:moveTo>
                <a:cubicBezTo>
                  <a:pt x="683527" y="171958"/>
                  <a:pt x="698220" y="189916"/>
                  <a:pt x="697676" y="207873"/>
                </a:cubicBezTo>
                <a:cubicBezTo>
                  <a:pt x="697131" y="227464"/>
                  <a:pt x="684615" y="243245"/>
                  <a:pt x="662304" y="242156"/>
                </a:cubicBezTo>
                <a:cubicBezTo>
                  <a:pt x="639993" y="241612"/>
                  <a:pt x="628565" y="229096"/>
                  <a:pt x="628021" y="207873"/>
                </a:cubicBezTo>
                <a:cubicBezTo>
                  <a:pt x="628021" y="187739"/>
                  <a:pt x="642714" y="172502"/>
                  <a:pt x="662304" y="173046"/>
                </a:cubicBezTo>
                <a:close/>
                <a:moveTo>
                  <a:pt x="826645" y="168148"/>
                </a:moveTo>
                <a:cubicBezTo>
                  <a:pt x="844602" y="168148"/>
                  <a:pt x="867458" y="187194"/>
                  <a:pt x="864737" y="207329"/>
                </a:cubicBezTo>
                <a:cubicBezTo>
                  <a:pt x="867458" y="229096"/>
                  <a:pt x="844058" y="247054"/>
                  <a:pt x="826100" y="247054"/>
                </a:cubicBezTo>
                <a:cubicBezTo>
                  <a:pt x="808687" y="247054"/>
                  <a:pt x="787464" y="228552"/>
                  <a:pt x="787464" y="207873"/>
                </a:cubicBezTo>
                <a:cubicBezTo>
                  <a:pt x="787464" y="187194"/>
                  <a:pt x="807054" y="168148"/>
                  <a:pt x="826645" y="168148"/>
                </a:cubicBezTo>
                <a:close/>
                <a:moveTo>
                  <a:pt x="987721" y="164883"/>
                </a:moveTo>
                <a:cubicBezTo>
                  <a:pt x="1012209" y="164339"/>
                  <a:pt x="1030711" y="181753"/>
                  <a:pt x="1031799" y="207329"/>
                </a:cubicBezTo>
                <a:cubicBezTo>
                  <a:pt x="1031255" y="232361"/>
                  <a:pt x="1011665" y="250319"/>
                  <a:pt x="988809" y="250319"/>
                </a:cubicBezTo>
                <a:cubicBezTo>
                  <a:pt x="965954" y="250319"/>
                  <a:pt x="946364" y="231273"/>
                  <a:pt x="945819" y="208417"/>
                </a:cubicBezTo>
                <a:cubicBezTo>
                  <a:pt x="945275" y="185018"/>
                  <a:pt x="962689" y="165428"/>
                  <a:pt x="987721" y="164883"/>
                </a:cubicBezTo>
                <a:close/>
                <a:moveTo>
                  <a:pt x="1153150" y="162707"/>
                </a:moveTo>
                <a:cubicBezTo>
                  <a:pt x="1177638" y="161619"/>
                  <a:pt x="1197772" y="180665"/>
                  <a:pt x="1197772" y="207874"/>
                </a:cubicBezTo>
                <a:cubicBezTo>
                  <a:pt x="1197772" y="235083"/>
                  <a:pt x="1176005" y="253584"/>
                  <a:pt x="1151517" y="253584"/>
                </a:cubicBezTo>
                <a:cubicBezTo>
                  <a:pt x="1128118" y="253040"/>
                  <a:pt x="1106895" y="234538"/>
                  <a:pt x="1107439" y="207329"/>
                </a:cubicBezTo>
                <a:cubicBezTo>
                  <a:pt x="1107983" y="179576"/>
                  <a:pt x="1129206" y="161075"/>
                  <a:pt x="1153150" y="162707"/>
                </a:cubicBezTo>
                <a:close/>
                <a:moveTo>
                  <a:pt x="1315315" y="158353"/>
                </a:moveTo>
                <a:cubicBezTo>
                  <a:pt x="1341435" y="156177"/>
                  <a:pt x="1365923" y="184474"/>
                  <a:pt x="1365379" y="206785"/>
                </a:cubicBezTo>
                <a:cubicBezTo>
                  <a:pt x="1365379" y="229640"/>
                  <a:pt x="1344156" y="256849"/>
                  <a:pt x="1315859" y="256305"/>
                </a:cubicBezTo>
                <a:cubicBezTo>
                  <a:pt x="1290283" y="256305"/>
                  <a:pt x="1267427" y="233994"/>
                  <a:pt x="1266883" y="207873"/>
                </a:cubicBezTo>
                <a:cubicBezTo>
                  <a:pt x="1265795" y="181209"/>
                  <a:pt x="1292460" y="157265"/>
                  <a:pt x="1315315" y="158353"/>
                </a:cubicBezTo>
                <a:close/>
                <a:moveTo>
                  <a:pt x="1478567" y="156721"/>
                </a:moveTo>
                <a:cubicBezTo>
                  <a:pt x="1510129" y="156721"/>
                  <a:pt x="1530264" y="180665"/>
                  <a:pt x="1529720" y="207329"/>
                </a:cubicBezTo>
                <a:cubicBezTo>
                  <a:pt x="1530264" y="236715"/>
                  <a:pt x="1510129" y="258482"/>
                  <a:pt x="1478567" y="258482"/>
                </a:cubicBezTo>
                <a:cubicBezTo>
                  <a:pt x="1449182" y="257938"/>
                  <a:pt x="1428503" y="238892"/>
                  <a:pt x="1427959" y="207874"/>
                </a:cubicBezTo>
                <a:cubicBezTo>
                  <a:pt x="1427415" y="179576"/>
                  <a:pt x="1447549" y="156721"/>
                  <a:pt x="1478567" y="156721"/>
                </a:cubicBezTo>
                <a:close/>
                <a:moveTo>
                  <a:pt x="1644541" y="153456"/>
                </a:moveTo>
                <a:cubicBezTo>
                  <a:pt x="1672294" y="154544"/>
                  <a:pt x="1697870" y="180665"/>
                  <a:pt x="1697326" y="209506"/>
                </a:cubicBezTo>
                <a:cubicBezTo>
                  <a:pt x="1696782" y="238347"/>
                  <a:pt x="1669573" y="263924"/>
                  <a:pt x="1641276" y="262835"/>
                </a:cubicBezTo>
                <a:cubicBezTo>
                  <a:pt x="1612979" y="261203"/>
                  <a:pt x="1587402" y="236715"/>
                  <a:pt x="1587947" y="206785"/>
                </a:cubicBezTo>
                <a:cubicBezTo>
                  <a:pt x="1587947" y="180121"/>
                  <a:pt x="1613523" y="152368"/>
                  <a:pt x="1644541" y="153456"/>
                </a:cubicBezTo>
                <a:close/>
                <a:moveTo>
                  <a:pt x="91463" y="109922"/>
                </a:moveTo>
                <a:cubicBezTo>
                  <a:pt x="97993" y="109922"/>
                  <a:pt x="107244" y="119173"/>
                  <a:pt x="107244" y="126247"/>
                </a:cubicBezTo>
                <a:cubicBezTo>
                  <a:pt x="107788" y="132777"/>
                  <a:pt x="98537" y="142028"/>
                  <a:pt x="91463" y="142028"/>
                </a:cubicBezTo>
                <a:cubicBezTo>
                  <a:pt x="83845" y="142028"/>
                  <a:pt x="75682" y="133866"/>
                  <a:pt x="75682" y="126247"/>
                </a:cubicBezTo>
                <a:cubicBezTo>
                  <a:pt x="75682" y="118629"/>
                  <a:pt x="84389" y="109922"/>
                  <a:pt x="91463" y="109922"/>
                </a:cubicBezTo>
                <a:close/>
                <a:moveTo>
                  <a:pt x="1942341" y="104915"/>
                </a:moveTo>
                <a:cubicBezTo>
                  <a:pt x="1941389" y="105799"/>
                  <a:pt x="1941389" y="107840"/>
                  <a:pt x="1942205" y="111377"/>
                </a:cubicBezTo>
                <a:cubicBezTo>
                  <a:pt x="1943294" y="118451"/>
                  <a:pt x="1944926" y="124437"/>
                  <a:pt x="1946559" y="131511"/>
                </a:cubicBezTo>
                <a:cubicBezTo>
                  <a:pt x="1944382" y="139674"/>
                  <a:pt x="1941661" y="148381"/>
                  <a:pt x="1939484" y="157088"/>
                </a:cubicBezTo>
                <a:cubicBezTo>
                  <a:pt x="1939484" y="158176"/>
                  <a:pt x="1941117" y="160353"/>
                  <a:pt x="1941117" y="160353"/>
                </a:cubicBezTo>
                <a:cubicBezTo>
                  <a:pt x="1955810" y="154367"/>
                  <a:pt x="1971046" y="150558"/>
                  <a:pt x="1986828" y="157088"/>
                </a:cubicBezTo>
                <a:cubicBezTo>
                  <a:pt x="1987372" y="157088"/>
                  <a:pt x="1987916" y="157088"/>
                  <a:pt x="1987916" y="157088"/>
                </a:cubicBezTo>
                <a:cubicBezTo>
                  <a:pt x="1994990" y="157632"/>
                  <a:pt x="1996623" y="155999"/>
                  <a:pt x="1993902" y="150013"/>
                </a:cubicBezTo>
                <a:cubicBezTo>
                  <a:pt x="1988460" y="136409"/>
                  <a:pt x="1988460" y="123349"/>
                  <a:pt x="1993902" y="109744"/>
                </a:cubicBezTo>
                <a:cubicBezTo>
                  <a:pt x="1995534" y="105935"/>
                  <a:pt x="1994446" y="103214"/>
                  <a:pt x="1989004" y="105391"/>
                </a:cubicBezTo>
                <a:cubicBezTo>
                  <a:pt x="1975400" y="109744"/>
                  <a:pt x="1961796" y="109744"/>
                  <a:pt x="1948191" y="105391"/>
                </a:cubicBezTo>
                <a:cubicBezTo>
                  <a:pt x="1945198" y="104303"/>
                  <a:pt x="1943294" y="104031"/>
                  <a:pt x="1942341" y="104915"/>
                </a:cubicBezTo>
                <a:close/>
                <a:moveTo>
                  <a:pt x="255804" y="103392"/>
                </a:moveTo>
                <a:cubicBezTo>
                  <a:pt x="269409" y="103392"/>
                  <a:pt x="277571" y="112643"/>
                  <a:pt x="277571" y="126791"/>
                </a:cubicBezTo>
                <a:cubicBezTo>
                  <a:pt x="277027" y="139852"/>
                  <a:pt x="267776" y="148558"/>
                  <a:pt x="254172" y="148014"/>
                </a:cubicBezTo>
                <a:cubicBezTo>
                  <a:pt x="241112" y="148014"/>
                  <a:pt x="231861" y="138763"/>
                  <a:pt x="232405" y="125159"/>
                </a:cubicBezTo>
                <a:cubicBezTo>
                  <a:pt x="232405" y="112099"/>
                  <a:pt x="242200" y="102848"/>
                  <a:pt x="255804" y="103392"/>
                </a:cubicBezTo>
                <a:close/>
                <a:moveTo>
                  <a:pt x="1773511" y="99405"/>
                </a:moveTo>
                <a:cubicBezTo>
                  <a:pt x="1773511" y="102126"/>
                  <a:pt x="1772966" y="104303"/>
                  <a:pt x="1773511" y="107023"/>
                </a:cubicBezTo>
                <a:cubicBezTo>
                  <a:pt x="1776232" y="114098"/>
                  <a:pt x="1778408" y="121716"/>
                  <a:pt x="1780585" y="130423"/>
                </a:cubicBezTo>
                <a:cubicBezTo>
                  <a:pt x="1778408" y="139130"/>
                  <a:pt x="1775687" y="147293"/>
                  <a:pt x="1773511" y="155999"/>
                </a:cubicBezTo>
                <a:cubicBezTo>
                  <a:pt x="1772966" y="157632"/>
                  <a:pt x="1772966" y="160897"/>
                  <a:pt x="1774055" y="161985"/>
                </a:cubicBezTo>
                <a:cubicBezTo>
                  <a:pt x="1775143" y="163074"/>
                  <a:pt x="1778408" y="163074"/>
                  <a:pt x="1780041" y="162529"/>
                </a:cubicBezTo>
                <a:cubicBezTo>
                  <a:pt x="1789836" y="155455"/>
                  <a:pt x="1800719" y="157632"/>
                  <a:pt x="1811059" y="157632"/>
                </a:cubicBezTo>
                <a:cubicBezTo>
                  <a:pt x="1817589" y="157632"/>
                  <a:pt x="1824119" y="156543"/>
                  <a:pt x="1829561" y="161985"/>
                </a:cubicBezTo>
                <a:cubicBezTo>
                  <a:pt x="1830649" y="163074"/>
                  <a:pt x="1834458" y="161985"/>
                  <a:pt x="1836635" y="161985"/>
                </a:cubicBezTo>
                <a:cubicBezTo>
                  <a:pt x="1835547" y="160353"/>
                  <a:pt x="1835002" y="158720"/>
                  <a:pt x="1833914" y="157088"/>
                </a:cubicBezTo>
                <a:cubicBezTo>
                  <a:pt x="1826840" y="139674"/>
                  <a:pt x="1826296" y="121716"/>
                  <a:pt x="1834458" y="104303"/>
                </a:cubicBezTo>
                <a:cubicBezTo>
                  <a:pt x="1835002" y="102670"/>
                  <a:pt x="1835547" y="101038"/>
                  <a:pt x="1835547" y="99405"/>
                </a:cubicBezTo>
                <a:cubicBezTo>
                  <a:pt x="1833914" y="99949"/>
                  <a:pt x="1832282" y="99949"/>
                  <a:pt x="1831193" y="101038"/>
                </a:cubicBezTo>
                <a:cubicBezTo>
                  <a:pt x="1814324" y="109200"/>
                  <a:pt x="1797454" y="109200"/>
                  <a:pt x="1780041" y="101582"/>
                </a:cubicBezTo>
                <a:cubicBezTo>
                  <a:pt x="1777864" y="100493"/>
                  <a:pt x="1775687" y="100493"/>
                  <a:pt x="1773511" y="99405"/>
                </a:cubicBezTo>
                <a:close/>
                <a:moveTo>
                  <a:pt x="417424" y="97950"/>
                </a:moveTo>
                <a:cubicBezTo>
                  <a:pt x="435382" y="97950"/>
                  <a:pt x="445721" y="108289"/>
                  <a:pt x="445721" y="126247"/>
                </a:cubicBezTo>
                <a:cubicBezTo>
                  <a:pt x="445721" y="143661"/>
                  <a:pt x="435382" y="153456"/>
                  <a:pt x="417424" y="153456"/>
                </a:cubicBezTo>
                <a:cubicBezTo>
                  <a:pt x="402187" y="155088"/>
                  <a:pt x="389127" y="141484"/>
                  <a:pt x="390215" y="125159"/>
                </a:cubicBezTo>
                <a:cubicBezTo>
                  <a:pt x="391304" y="107745"/>
                  <a:pt x="400555" y="97950"/>
                  <a:pt x="417424" y="97950"/>
                </a:cubicBezTo>
                <a:close/>
                <a:moveTo>
                  <a:pt x="580677" y="92508"/>
                </a:moveTo>
                <a:cubicBezTo>
                  <a:pt x="599724" y="92508"/>
                  <a:pt x="613328" y="106112"/>
                  <a:pt x="614960" y="125159"/>
                </a:cubicBezTo>
                <a:cubicBezTo>
                  <a:pt x="616049" y="141484"/>
                  <a:pt x="598091" y="161618"/>
                  <a:pt x="581766" y="158353"/>
                </a:cubicBezTo>
                <a:cubicBezTo>
                  <a:pt x="561631" y="158353"/>
                  <a:pt x="548571" y="145293"/>
                  <a:pt x="548571" y="125703"/>
                </a:cubicBezTo>
                <a:cubicBezTo>
                  <a:pt x="548571" y="106657"/>
                  <a:pt x="562175" y="92508"/>
                  <a:pt x="580677" y="92508"/>
                </a:cubicBezTo>
                <a:close/>
                <a:moveTo>
                  <a:pt x="745019" y="88154"/>
                </a:moveTo>
                <a:cubicBezTo>
                  <a:pt x="763521" y="87610"/>
                  <a:pt x="783111" y="107745"/>
                  <a:pt x="782567" y="126791"/>
                </a:cubicBezTo>
                <a:cubicBezTo>
                  <a:pt x="782023" y="147469"/>
                  <a:pt x="761344" y="164339"/>
                  <a:pt x="743930" y="164339"/>
                </a:cubicBezTo>
                <a:cubicBezTo>
                  <a:pt x="723796" y="163795"/>
                  <a:pt x="705838" y="144204"/>
                  <a:pt x="706382" y="125702"/>
                </a:cubicBezTo>
                <a:cubicBezTo>
                  <a:pt x="706926" y="109377"/>
                  <a:pt x="723252" y="87066"/>
                  <a:pt x="745019" y="88154"/>
                </a:cubicBezTo>
                <a:close/>
                <a:moveTo>
                  <a:pt x="1685898" y="84712"/>
                </a:moveTo>
                <a:lnTo>
                  <a:pt x="1685681" y="85147"/>
                </a:lnTo>
                <a:lnTo>
                  <a:pt x="1685354" y="85256"/>
                </a:lnTo>
                <a:cubicBezTo>
                  <a:pt x="1685354" y="85256"/>
                  <a:pt x="1685898" y="84712"/>
                  <a:pt x="1685898" y="84712"/>
                </a:cubicBezTo>
                <a:close/>
                <a:moveTo>
                  <a:pt x="907183" y="84345"/>
                </a:moveTo>
                <a:cubicBezTo>
                  <a:pt x="916978" y="84345"/>
                  <a:pt x="926773" y="87610"/>
                  <a:pt x="934935" y="95228"/>
                </a:cubicBezTo>
                <a:cubicBezTo>
                  <a:pt x="944187" y="103935"/>
                  <a:pt x="946907" y="114819"/>
                  <a:pt x="949628" y="125158"/>
                </a:cubicBezTo>
                <a:cubicBezTo>
                  <a:pt x="946907" y="150190"/>
                  <a:pt x="932759" y="166515"/>
                  <a:pt x="908271" y="167060"/>
                </a:cubicBezTo>
                <a:cubicBezTo>
                  <a:pt x="884871" y="167604"/>
                  <a:pt x="867458" y="150734"/>
                  <a:pt x="866369" y="125702"/>
                </a:cubicBezTo>
                <a:cubicBezTo>
                  <a:pt x="865825" y="103935"/>
                  <a:pt x="884871" y="83801"/>
                  <a:pt x="907183" y="84345"/>
                </a:cubicBezTo>
                <a:close/>
                <a:moveTo>
                  <a:pt x="1070979" y="82169"/>
                </a:moveTo>
                <a:cubicBezTo>
                  <a:pt x="1095467" y="79448"/>
                  <a:pt x="1115602" y="103936"/>
                  <a:pt x="1115602" y="126247"/>
                </a:cubicBezTo>
                <a:cubicBezTo>
                  <a:pt x="1115602" y="148014"/>
                  <a:pt x="1094923" y="170325"/>
                  <a:pt x="1071524" y="170325"/>
                </a:cubicBezTo>
                <a:cubicBezTo>
                  <a:pt x="1047580" y="170325"/>
                  <a:pt x="1026357" y="148558"/>
                  <a:pt x="1026357" y="125703"/>
                </a:cubicBezTo>
                <a:cubicBezTo>
                  <a:pt x="1026357" y="103936"/>
                  <a:pt x="1047036" y="79448"/>
                  <a:pt x="1070979" y="82169"/>
                </a:cubicBezTo>
                <a:close/>
                <a:moveTo>
                  <a:pt x="1684811" y="82168"/>
                </a:moveTo>
                <a:cubicBezTo>
                  <a:pt x="1684811" y="82168"/>
                  <a:pt x="1684266" y="82713"/>
                  <a:pt x="1684266" y="82713"/>
                </a:cubicBezTo>
                <a:lnTo>
                  <a:pt x="1684469" y="82365"/>
                </a:lnTo>
                <a:close/>
                <a:moveTo>
                  <a:pt x="1234777" y="78360"/>
                </a:moveTo>
                <a:cubicBezTo>
                  <a:pt x="1259809" y="76727"/>
                  <a:pt x="1284297" y="101759"/>
                  <a:pt x="1282664" y="126791"/>
                </a:cubicBezTo>
                <a:cubicBezTo>
                  <a:pt x="1280487" y="152912"/>
                  <a:pt x="1264162" y="171958"/>
                  <a:pt x="1234232" y="174135"/>
                </a:cubicBezTo>
                <a:cubicBezTo>
                  <a:pt x="1205935" y="172502"/>
                  <a:pt x="1186345" y="153456"/>
                  <a:pt x="1186889" y="126791"/>
                </a:cubicBezTo>
                <a:cubicBezTo>
                  <a:pt x="1187433" y="96318"/>
                  <a:pt x="1207024" y="79992"/>
                  <a:pt x="1234777" y="78360"/>
                </a:cubicBezTo>
                <a:close/>
                <a:moveTo>
                  <a:pt x="1398574" y="76182"/>
                </a:moveTo>
                <a:cubicBezTo>
                  <a:pt x="1424150" y="74006"/>
                  <a:pt x="1448638" y="99582"/>
                  <a:pt x="1448094" y="127335"/>
                </a:cubicBezTo>
                <a:cubicBezTo>
                  <a:pt x="1447549" y="151823"/>
                  <a:pt x="1426327" y="176311"/>
                  <a:pt x="1396941" y="175766"/>
                </a:cubicBezTo>
                <a:cubicBezTo>
                  <a:pt x="1367011" y="175222"/>
                  <a:pt x="1347421" y="151278"/>
                  <a:pt x="1347421" y="125702"/>
                </a:cubicBezTo>
                <a:cubicBezTo>
                  <a:pt x="1347421" y="99038"/>
                  <a:pt x="1369732" y="74006"/>
                  <a:pt x="1398574" y="76182"/>
                </a:cubicBezTo>
                <a:close/>
                <a:moveTo>
                  <a:pt x="1561282" y="72373"/>
                </a:moveTo>
                <a:cubicBezTo>
                  <a:pt x="1588491" y="72373"/>
                  <a:pt x="1614611" y="96861"/>
                  <a:pt x="1614611" y="126247"/>
                </a:cubicBezTo>
                <a:cubicBezTo>
                  <a:pt x="1614067" y="155632"/>
                  <a:pt x="1590667" y="180120"/>
                  <a:pt x="1560738" y="179576"/>
                </a:cubicBezTo>
                <a:cubicBezTo>
                  <a:pt x="1530808" y="179576"/>
                  <a:pt x="1507953" y="156176"/>
                  <a:pt x="1507409" y="126247"/>
                </a:cubicBezTo>
                <a:cubicBezTo>
                  <a:pt x="1506864" y="96861"/>
                  <a:pt x="1532441" y="72373"/>
                  <a:pt x="1561282" y="72373"/>
                </a:cubicBezTo>
                <a:close/>
                <a:moveTo>
                  <a:pt x="10381" y="33737"/>
                </a:moveTo>
                <a:cubicBezTo>
                  <a:pt x="15822" y="33737"/>
                  <a:pt x="20720" y="39179"/>
                  <a:pt x="20720" y="45165"/>
                </a:cubicBezTo>
                <a:cubicBezTo>
                  <a:pt x="20176" y="50606"/>
                  <a:pt x="14734" y="55504"/>
                  <a:pt x="9292" y="54960"/>
                </a:cubicBezTo>
                <a:cubicBezTo>
                  <a:pt x="4395" y="54416"/>
                  <a:pt x="41" y="49518"/>
                  <a:pt x="41" y="44621"/>
                </a:cubicBezTo>
                <a:cubicBezTo>
                  <a:pt x="-503" y="38635"/>
                  <a:pt x="4395" y="33737"/>
                  <a:pt x="10381" y="33737"/>
                </a:cubicBezTo>
                <a:close/>
                <a:moveTo>
                  <a:pt x="172546" y="23942"/>
                </a:moveTo>
                <a:cubicBezTo>
                  <a:pt x="181796" y="22854"/>
                  <a:pt x="193224" y="34826"/>
                  <a:pt x="193224" y="44621"/>
                </a:cubicBezTo>
                <a:cubicBezTo>
                  <a:pt x="193224" y="53872"/>
                  <a:pt x="182341" y="64755"/>
                  <a:pt x="173090" y="64755"/>
                </a:cubicBezTo>
                <a:cubicBezTo>
                  <a:pt x="164383" y="64755"/>
                  <a:pt x="152411" y="52784"/>
                  <a:pt x="152411" y="44621"/>
                </a:cubicBezTo>
                <a:cubicBezTo>
                  <a:pt x="152411" y="36458"/>
                  <a:pt x="164927" y="24486"/>
                  <a:pt x="172546" y="23942"/>
                </a:cubicBezTo>
                <a:close/>
                <a:moveTo>
                  <a:pt x="1861123" y="22132"/>
                </a:moveTo>
                <a:cubicBezTo>
                  <a:pt x="1861123" y="26485"/>
                  <a:pt x="1860035" y="31383"/>
                  <a:pt x="1861123" y="35737"/>
                </a:cubicBezTo>
                <a:cubicBezTo>
                  <a:pt x="1863844" y="44443"/>
                  <a:pt x="1864932" y="52606"/>
                  <a:pt x="1861123" y="61313"/>
                </a:cubicBezTo>
                <a:cubicBezTo>
                  <a:pt x="1860035" y="64034"/>
                  <a:pt x="1860035" y="67299"/>
                  <a:pt x="1858946" y="72740"/>
                </a:cubicBezTo>
                <a:cubicBezTo>
                  <a:pt x="1858402" y="76550"/>
                  <a:pt x="1861123" y="77638"/>
                  <a:pt x="1866021" y="76550"/>
                </a:cubicBezTo>
                <a:cubicBezTo>
                  <a:pt x="1868741" y="76006"/>
                  <a:pt x="1871462" y="76006"/>
                  <a:pt x="1873639" y="74917"/>
                </a:cubicBezTo>
                <a:cubicBezTo>
                  <a:pt x="1882346" y="71108"/>
                  <a:pt x="1891053" y="71108"/>
                  <a:pt x="1900304" y="74373"/>
                </a:cubicBezTo>
                <a:cubicBezTo>
                  <a:pt x="1902480" y="75461"/>
                  <a:pt x="1905201" y="76006"/>
                  <a:pt x="1907922" y="76006"/>
                </a:cubicBezTo>
                <a:cubicBezTo>
                  <a:pt x="1912276" y="76550"/>
                  <a:pt x="1914996" y="75461"/>
                  <a:pt x="1912820" y="70020"/>
                </a:cubicBezTo>
                <a:cubicBezTo>
                  <a:pt x="1907378" y="55871"/>
                  <a:pt x="1906834" y="41178"/>
                  <a:pt x="1912820" y="27030"/>
                </a:cubicBezTo>
                <a:cubicBezTo>
                  <a:pt x="1914996" y="22132"/>
                  <a:pt x="1911731" y="21588"/>
                  <a:pt x="1908466" y="22132"/>
                </a:cubicBezTo>
                <a:cubicBezTo>
                  <a:pt x="1906290" y="22676"/>
                  <a:pt x="1904657" y="24309"/>
                  <a:pt x="1902480" y="24309"/>
                </a:cubicBezTo>
                <a:cubicBezTo>
                  <a:pt x="1892685" y="24309"/>
                  <a:pt x="1882890" y="24853"/>
                  <a:pt x="1873095" y="24309"/>
                </a:cubicBezTo>
                <a:cubicBezTo>
                  <a:pt x="1868741" y="24309"/>
                  <a:pt x="1864932" y="22676"/>
                  <a:pt x="1861123" y="22132"/>
                </a:cubicBezTo>
                <a:close/>
                <a:moveTo>
                  <a:pt x="336886" y="17412"/>
                </a:moveTo>
                <a:cubicBezTo>
                  <a:pt x="347770" y="17412"/>
                  <a:pt x="363551" y="31016"/>
                  <a:pt x="363007" y="44077"/>
                </a:cubicBezTo>
                <a:cubicBezTo>
                  <a:pt x="363007" y="57681"/>
                  <a:pt x="350491" y="70741"/>
                  <a:pt x="337431" y="71285"/>
                </a:cubicBezTo>
                <a:cubicBezTo>
                  <a:pt x="324370" y="71830"/>
                  <a:pt x="310766" y="58769"/>
                  <a:pt x="310222" y="45165"/>
                </a:cubicBezTo>
                <a:cubicBezTo>
                  <a:pt x="309678" y="31016"/>
                  <a:pt x="323282" y="17956"/>
                  <a:pt x="336886" y="17412"/>
                </a:cubicBezTo>
                <a:close/>
                <a:moveTo>
                  <a:pt x="498507" y="13059"/>
                </a:moveTo>
                <a:cubicBezTo>
                  <a:pt x="514832" y="11970"/>
                  <a:pt x="531702" y="28296"/>
                  <a:pt x="531702" y="44621"/>
                </a:cubicBezTo>
                <a:cubicBezTo>
                  <a:pt x="531702" y="60402"/>
                  <a:pt x="515376" y="76183"/>
                  <a:pt x="499595" y="76727"/>
                </a:cubicBezTo>
                <a:cubicBezTo>
                  <a:pt x="483270" y="76727"/>
                  <a:pt x="467489" y="61490"/>
                  <a:pt x="467489" y="45165"/>
                </a:cubicBezTo>
                <a:cubicBezTo>
                  <a:pt x="467489" y="28840"/>
                  <a:pt x="482182" y="13059"/>
                  <a:pt x="498507" y="13059"/>
                </a:cubicBezTo>
                <a:close/>
                <a:moveTo>
                  <a:pt x="662303" y="7616"/>
                </a:moveTo>
                <a:cubicBezTo>
                  <a:pt x="680805" y="7072"/>
                  <a:pt x="698763" y="25030"/>
                  <a:pt x="698763" y="44076"/>
                </a:cubicBezTo>
                <a:cubicBezTo>
                  <a:pt x="698763" y="62578"/>
                  <a:pt x="680261" y="81624"/>
                  <a:pt x="662303" y="81080"/>
                </a:cubicBezTo>
                <a:cubicBezTo>
                  <a:pt x="644346" y="80536"/>
                  <a:pt x="626932" y="62578"/>
                  <a:pt x="626932" y="44076"/>
                </a:cubicBezTo>
                <a:cubicBezTo>
                  <a:pt x="626932" y="25574"/>
                  <a:pt x="643257" y="8160"/>
                  <a:pt x="662303" y="7616"/>
                </a:cubicBezTo>
                <a:close/>
                <a:moveTo>
                  <a:pt x="825557" y="5440"/>
                </a:moveTo>
                <a:cubicBezTo>
                  <a:pt x="847868" y="5440"/>
                  <a:pt x="865281" y="23942"/>
                  <a:pt x="865281" y="44621"/>
                </a:cubicBezTo>
                <a:cubicBezTo>
                  <a:pt x="865281" y="63667"/>
                  <a:pt x="847324" y="85978"/>
                  <a:pt x="826101" y="83257"/>
                </a:cubicBezTo>
                <a:cubicBezTo>
                  <a:pt x="805422" y="85978"/>
                  <a:pt x="786920" y="64211"/>
                  <a:pt x="786920" y="44621"/>
                </a:cubicBezTo>
                <a:cubicBezTo>
                  <a:pt x="786920" y="22854"/>
                  <a:pt x="805422" y="5440"/>
                  <a:pt x="825557" y="5440"/>
                </a:cubicBezTo>
                <a:close/>
                <a:moveTo>
                  <a:pt x="989353" y="1086"/>
                </a:moveTo>
                <a:cubicBezTo>
                  <a:pt x="1013297" y="1086"/>
                  <a:pt x="1032343" y="21220"/>
                  <a:pt x="1032343" y="43532"/>
                </a:cubicBezTo>
                <a:cubicBezTo>
                  <a:pt x="1032887" y="66931"/>
                  <a:pt x="1012753" y="88698"/>
                  <a:pt x="989897" y="87610"/>
                </a:cubicBezTo>
                <a:cubicBezTo>
                  <a:pt x="967042" y="88698"/>
                  <a:pt x="945819" y="65843"/>
                  <a:pt x="945819" y="44620"/>
                </a:cubicBezTo>
                <a:cubicBezTo>
                  <a:pt x="945819" y="23941"/>
                  <a:pt x="964321" y="1086"/>
                  <a:pt x="989353" y="1086"/>
                </a:cubicBezTo>
                <a:close/>
                <a:moveTo>
                  <a:pt x="1614056" y="0"/>
                </a:moveTo>
                <a:lnTo>
                  <a:pt x="1675529" y="0"/>
                </a:lnTo>
                <a:lnTo>
                  <a:pt x="1682905" y="4720"/>
                </a:lnTo>
                <a:lnTo>
                  <a:pt x="1933639" y="4720"/>
                </a:lnTo>
                <a:cubicBezTo>
                  <a:pt x="1966059" y="4720"/>
                  <a:pt x="1995409" y="17861"/>
                  <a:pt x="2016655" y="39107"/>
                </a:cubicBezTo>
                <a:lnTo>
                  <a:pt x="2028934" y="57318"/>
                </a:lnTo>
                <a:lnTo>
                  <a:pt x="2026008" y="71108"/>
                </a:lnTo>
                <a:cubicBezTo>
                  <a:pt x="2023832" y="74917"/>
                  <a:pt x="2026552" y="77094"/>
                  <a:pt x="2030906" y="75461"/>
                </a:cubicBezTo>
                <a:lnTo>
                  <a:pt x="2039929" y="73627"/>
                </a:lnTo>
                <a:lnTo>
                  <a:pt x="2041815" y="76424"/>
                </a:lnTo>
                <a:cubicBezTo>
                  <a:pt x="2047756" y="90470"/>
                  <a:pt x="2051041" y="105912"/>
                  <a:pt x="2051041" y="122122"/>
                </a:cubicBezTo>
                <a:lnTo>
                  <a:pt x="2051041" y="186473"/>
                </a:lnTo>
                <a:lnTo>
                  <a:pt x="2029818" y="186473"/>
                </a:lnTo>
                <a:cubicBezTo>
                  <a:pt x="2023832" y="184297"/>
                  <a:pt x="2022743" y="185929"/>
                  <a:pt x="2023287" y="192459"/>
                </a:cubicBezTo>
                <a:cubicBezTo>
                  <a:pt x="2023287" y="193548"/>
                  <a:pt x="2023287" y="195180"/>
                  <a:pt x="2023832" y="196268"/>
                </a:cubicBezTo>
                <a:cubicBezTo>
                  <a:pt x="2028185" y="210961"/>
                  <a:pt x="2026008" y="225110"/>
                  <a:pt x="2019478" y="239258"/>
                </a:cubicBezTo>
                <a:cubicBezTo>
                  <a:pt x="2018934" y="240347"/>
                  <a:pt x="2019478" y="241979"/>
                  <a:pt x="2020022" y="242523"/>
                </a:cubicBezTo>
                <a:cubicBezTo>
                  <a:pt x="2020566" y="243067"/>
                  <a:pt x="2022743" y="243612"/>
                  <a:pt x="2023287" y="243067"/>
                </a:cubicBezTo>
                <a:cubicBezTo>
                  <a:pt x="2032266" y="238986"/>
                  <a:pt x="2041245" y="237082"/>
                  <a:pt x="2050224" y="237150"/>
                </a:cubicBezTo>
                <a:lnTo>
                  <a:pt x="2051041" y="237329"/>
                </a:lnTo>
                <a:lnTo>
                  <a:pt x="2051041" y="348996"/>
                </a:lnTo>
                <a:lnTo>
                  <a:pt x="2036552" y="347754"/>
                </a:lnTo>
                <a:cubicBezTo>
                  <a:pt x="2031178" y="346733"/>
                  <a:pt x="2026009" y="344829"/>
                  <a:pt x="2021111" y="341019"/>
                </a:cubicBezTo>
                <a:cubicBezTo>
                  <a:pt x="2020022" y="339931"/>
                  <a:pt x="2018390" y="339387"/>
                  <a:pt x="2016757" y="338842"/>
                </a:cubicBezTo>
                <a:cubicBezTo>
                  <a:pt x="2016757" y="340475"/>
                  <a:pt x="2016757" y="343196"/>
                  <a:pt x="2017301" y="344284"/>
                </a:cubicBezTo>
                <a:cubicBezTo>
                  <a:pt x="2022743" y="354079"/>
                  <a:pt x="2026008" y="364419"/>
                  <a:pt x="2025464" y="376391"/>
                </a:cubicBezTo>
                <a:cubicBezTo>
                  <a:pt x="2024376" y="398702"/>
                  <a:pt x="2014580" y="413939"/>
                  <a:pt x="1994446" y="424278"/>
                </a:cubicBezTo>
                <a:cubicBezTo>
                  <a:pt x="1972135" y="435706"/>
                  <a:pt x="1950912" y="431352"/>
                  <a:pt x="1933498" y="416115"/>
                </a:cubicBezTo>
                <a:cubicBezTo>
                  <a:pt x="1917173" y="401967"/>
                  <a:pt x="1908466" y="378567"/>
                  <a:pt x="1920438" y="352447"/>
                </a:cubicBezTo>
                <a:cubicBezTo>
                  <a:pt x="1922615" y="348093"/>
                  <a:pt x="1923703" y="343196"/>
                  <a:pt x="1925336" y="338298"/>
                </a:cubicBezTo>
                <a:cubicBezTo>
                  <a:pt x="1920982" y="339931"/>
                  <a:pt x="1916085" y="341563"/>
                  <a:pt x="1911731" y="343196"/>
                </a:cubicBezTo>
                <a:cubicBezTo>
                  <a:pt x="1907378" y="344828"/>
                  <a:pt x="1903024" y="347005"/>
                  <a:pt x="1898671" y="347005"/>
                </a:cubicBezTo>
                <a:cubicBezTo>
                  <a:pt x="1882890" y="348638"/>
                  <a:pt x="1867653" y="348638"/>
                  <a:pt x="1854593" y="336666"/>
                </a:cubicBezTo>
                <a:lnTo>
                  <a:pt x="1847690" y="333480"/>
                </a:lnTo>
                <a:lnTo>
                  <a:pt x="1852961" y="344461"/>
                </a:lnTo>
                <a:cubicBezTo>
                  <a:pt x="1868742" y="372214"/>
                  <a:pt x="1855137" y="408674"/>
                  <a:pt x="1826840" y="420646"/>
                </a:cubicBezTo>
                <a:cubicBezTo>
                  <a:pt x="1803441" y="430985"/>
                  <a:pt x="1777864" y="422278"/>
                  <a:pt x="1765893" y="408130"/>
                </a:cubicBezTo>
                <a:cubicBezTo>
                  <a:pt x="1749567" y="388539"/>
                  <a:pt x="1744126" y="368405"/>
                  <a:pt x="1759362" y="342829"/>
                </a:cubicBezTo>
                <a:cubicBezTo>
                  <a:pt x="1771199" y="322422"/>
                  <a:pt x="1795584" y="313341"/>
                  <a:pt x="1815991" y="317193"/>
                </a:cubicBezTo>
                <a:cubicBezTo>
                  <a:pt x="1822793" y="318477"/>
                  <a:pt x="1829153" y="321198"/>
                  <a:pt x="1834459" y="325415"/>
                </a:cubicBezTo>
                <a:lnTo>
                  <a:pt x="1845023" y="330169"/>
                </a:lnTo>
                <a:lnTo>
                  <a:pt x="1840444" y="321429"/>
                </a:lnTo>
                <a:cubicBezTo>
                  <a:pt x="1831193" y="306736"/>
                  <a:pt x="1832282" y="290955"/>
                  <a:pt x="1834458" y="275174"/>
                </a:cubicBezTo>
                <a:cubicBezTo>
                  <a:pt x="1835002" y="269732"/>
                  <a:pt x="1838812" y="265379"/>
                  <a:pt x="1840988" y="259937"/>
                </a:cubicBezTo>
                <a:cubicBezTo>
                  <a:pt x="1841533" y="258849"/>
                  <a:pt x="1842077" y="257216"/>
                  <a:pt x="1842077" y="255584"/>
                </a:cubicBezTo>
                <a:cubicBezTo>
                  <a:pt x="1840444" y="256128"/>
                  <a:pt x="1838812" y="256672"/>
                  <a:pt x="1837723" y="257216"/>
                </a:cubicBezTo>
                <a:cubicBezTo>
                  <a:pt x="1831193" y="259937"/>
                  <a:pt x="1824663" y="263746"/>
                  <a:pt x="1817589" y="264834"/>
                </a:cubicBezTo>
                <a:cubicBezTo>
                  <a:pt x="1799631" y="268100"/>
                  <a:pt x="1782762" y="264290"/>
                  <a:pt x="1768069" y="251774"/>
                </a:cubicBezTo>
                <a:lnTo>
                  <a:pt x="1764740" y="250110"/>
                </a:lnTo>
                <a:lnTo>
                  <a:pt x="1773510" y="267189"/>
                </a:lnTo>
                <a:cubicBezTo>
                  <a:pt x="1786571" y="292765"/>
                  <a:pt x="1773510" y="323239"/>
                  <a:pt x="1750655" y="336843"/>
                </a:cubicBezTo>
                <a:cubicBezTo>
                  <a:pt x="1721270" y="354257"/>
                  <a:pt x="1685354" y="337388"/>
                  <a:pt x="1673926" y="310723"/>
                </a:cubicBezTo>
                <a:cubicBezTo>
                  <a:pt x="1664675" y="289500"/>
                  <a:pt x="1669029" y="271542"/>
                  <a:pt x="1681545" y="254673"/>
                </a:cubicBezTo>
                <a:cubicBezTo>
                  <a:pt x="1694605" y="237803"/>
                  <a:pt x="1712563" y="231817"/>
                  <a:pt x="1733786" y="235083"/>
                </a:cubicBezTo>
                <a:cubicBezTo>
                  <a:pt x="1739771" y="236171"/>
                  <a:pt x="1745757" y="239980"/>
                  <a:pt x="1751743" y="242157"/>
                </a:cubicBezTo>
                <a:lnTo>
                  <a:pt x="1762506" y="246769"/>
                </a:lnTo>
                <a:lnTo>
                  <a:pt x="1757185" y="236537"/>
                </a:lnTo>
                <a:cubicBezTo>
                  <a:pt x="1747934" y="219668"/>
                  <a:pt x="1747390" y="203343"/>
                  <a:pt x="1756097" y="185929"/>
                </a:cubicBezTo>
                <a:cubicBezTo>
                  <a:pt x="1757185" y="183752"/>
                  <a:pt x="1756641" y="180487"/>
                  <a:pt x="1757185" y="177766"/>
                </a:cubicBezTo>
                <a:cubicBezTo>
                  <a:pt x="1754464" y="177766"/>
                  <a:pt x="1751199" y="177222"/>
                  <a:pt x="1749023" y="178311"/>
                </a:cubicBezTo>
                <a:cubicBezTo>
                  <a:pt x="1722358" y="193003"/>
                  <a:pt x="1688075" y="178855"/>
                  <a:pt x="1676103" y="154911"/>
                </a:cubicBezTo>
                <a:cubicBezTo>
                  <a:pt x="1665220" y="133688"/>
                  <a:pt x="1667396" y="113554"/>
                  <a:pt x="1681001" y="94507"/>
                </a:cubicBezTo>
                <a:lnTo>
                  <a:pt x="1685681" y="85147"/>
                </a:lnTo>
                <a:lnTo>
                  <a:pt x="1693517" y="82536"/>
                </a:lnTo>
                <a:cubicBezTo>
                  <a:pt x="1710930" y="71108"/>
                  <a:pt x="1728888" y="71108"/>
                  <a:pt x="1747934" y="77638"/>
                </a:cubicBezTo>
                <a:cubicBezTo>
                  <a:pt x="1750655" y="78726"/>
                  <a:pt x="1753920" y="78726"/>
                  <a:pt x="1756641" y="79271"/>
                </a:cubicBezTo>
                <a:cubicBezTo>
                  <a:pt x="1756097" y="76550"/>
                  <a:pt x="1755553" y="74373"/>
                  <a:pt x="1754464" y="71652"/>
                </a:cubicBezTo>
                <a:cubicBezTo>
                  <a:pt x="1753920" y="70564"/>
                  <a:pt x="1753376" y="69475"/>
                  <a:pt x="1752832" y="68387"/>
                </a:cubicBezTo>
                <a:cubicBezTo>
                  <a:pt x="1747934" y="52062"/>
                  <a:pt x="1747390" y="35737"/>
                  <a:pt x="1756097" y="20500"/>
                </a:cubicBezTo>
                <a:cubicBezTo>
                  <a:pt x="1756641" y="19411"/>
                  <a:pt x="1757185" y="16690"/>
                  <a:pt x="1756641" y="16146"/>
                </a:cubicBezTo>
                <a:cubicBezTo>
                  <a:pt x="1755553" y="15058"/>
                  <a:pt x="1753376" y="14514"/>
                  <a:pt x="1751744" y="15058"/>
                </a:cubicBezTo>
                <a:cubicBezTo>
                  <a:pt x="1747934" y="16146"/>
                  <a:pt x="1744669" y="19411"/>
                  <a:pt x="1741404" y="19955"/>
                </a:cubicBezTo>
                <a:cubicBezTo>
                  <a:pt x="1724535" y="21588"/>
                  <a:pt x="1707121" y="23765"/>
                  <a:pt x="1691884" y="11249"/>
                </a:cubicBezTo>
                <a:lnTo>
                  <a:pt x="1685645" y="8369"/>
                </a:lnTo>
                <a:lnTo>
                  <a:pt x="1688620" y="14691"/>
                </a:lnTo>
                <a:cubicBezTo>
                  <a:pt x="1700048" y="32648"/>
                  <a:pt x="1700048" y="50606"/>
                  <a:pt x="1691885" y="69652"/>
                </a:cubicBezTo>
                <a:lnTo>
                  <a:pt x="1684469" y="82365"/>
                </a:lnTo>
                <a:lnTo>
                  <a:pt x="1663044" y="94684"/>
                </a:lnTo>
                <a:cubicBezTo>
                  <a:pt x="1651072" y="101759"/>
                  <a:pt x="1638556" y="100126"/>
                  <a:pt x="1626584" y="96861"/>
                </a:cubicBezTo>
                <a:cubicBezTo>
                  <a:pt x="1608082" y="91419"/>
                  <a:pt x="1595566" y="78359"/>
                  <a:pt x="1590124" y="60401"/>
                </a:cubicBezTo>
                <a:cubicBezTo>
                  <a:pt x="1586315" y="48974"/>
                  <a:pt x="1586315" y="37002"/>
                  <a:pt x="1591757" y="25030"/>
                </a:cubicBezTo>
                <a:close/>
                <a:moveTo>
                  <a:pt x="1460066" y="0"/>
                </a:moveTo>
                <a:lnTo>
                  <a:pt x="1498513" y="0"/>
                </a:lnTo>
                <a:lnTo>
                  <a:pt x="1517204" y="8092"/>
                </a:lnTo>
                <a:cubicBezTo>
                  <a:pt x="1526183" y="17411"/>
                  <a:pt x="1531352" y="30199"/>
                  <a:pt x="1531896" y="45164"/>
                </a:cubicBezTo>
                <a:cubicBezTo>
                  <a:pt x="1532985" y="71829"/>
                  <a:pt x="1505776" y="97949"/>
                  <a:pt x="1479111" y="97949"/>
                </a:cubicBezTo>
                <a:cubicBezTo>
                  <a:pt x="1451902" y="97949"/>
                  <a:pt x="1425238" y="71829"/>
                  <a:pt x="1426870" y="45164"/>
                </a:cubicBezTo>
                <a:cubicBezTo>
                  <a:pt x="1427687" y="29655"/>
                  <a:pt x="1432720" y="16867"/>
                  <a:pt x="1441631" y="7684"/>
                </a:cubicBezTo>
                <a:close/>
                <a:moveTo>
                  <a:pt x="1296749" y="0"/>
                </a:moveTo>
                <a:lnTo>
                  <a:pt x="1335755" y="0"/>
                </a:lnTo>
                <a:lnTo>
                  <a:pt x="1350278" y="10270"/>
                </a:lnTo>
                <a:cubicBezTo>
                  <a:pt x="1359937" y="19861"/>
                  <a:pt x="1366467" y="32649"/>
                  <a:pt x="1365923" y="45165"/>
                </a:cubicBezTo>
                <a:cubicBezTo>
                  <a:pt x="1364291" y="71829"/>
                  <a:pt x="1343068" y="93052"/>
                  <a:pt x="1315315" y="93052"/>
                </a:cubicBezTo>
                <a:cubicBezTo>
                  <a:pt x="1290283" y="95229"/>
                  <a:pt x="1266339" y="69109"/>
                  <a:pt x="1266339" y="44076"/>
                </a:cubicBezTo>
                <a:cubicBezTo>
                  <a:pt x="1266339" y="30472"/>
                  <a:pt x="1273141" y="18228"/>
                  <a:pt x="1282732" y="9317"/>
                </a:cubicBezTo>
                <a:close/>
                <a:moveTo>
                  <a:pt x="1148085" y="0"/>
                </a:moveTo>
                <a:lnTo>
                  <a:pt x="1161802" y="0"/>
                </a:lnTo>
                <a:lnTo>
                  <a:pt x="1169637" y="1315"/>
                </a:lnTo>
                <a:cubicBezTo>
                  <a:pt x="1186447" y="8432"/>
                  <a:pt x="1199813" y="26798"/>
                  <a:pt x="1199405" y="45164"/>
                </a:cubicBezTo>
                <a:cubicBezTo>
                  <a:pt x="1198861" y="69652"/>
                  <a:pt x="1175462" y="93596"/>
                  <a:pt x="1151518" y="91419"/>
                </a:cubicBezTo>
                <a:cubicBezTo>
                  <a:pt x="1123765" y="88154"/>
                  <a:pt x="1109072" y="72373"/>
                  <a:pt x="1105807" y="44620"/>
                </a:cubicBezTo>
                <a:cubicBezTo>
                  <a:pt x="1107440" y="30472"/>
                  <a:pt x="1111657" y="19588"/>
                  <a:pt x="1119139" y="11902"/>
                </a:cubicBezTo>
                <a:close/>
              </a:path>
            </a:pathLst>
          </a:custGeom>
          <a:solidFill>
            <a:srgbClr val="9AA8C5">
              <a:alpha val="17000"/>
            </a:srgbClr>
          </a:solidFill>
          <a:ln w="5432" cap="flat">
            <a:noFill/>
            <a:prstDash val="solid"/>
            <a:miter/>
          </a:ln>
        </p:spPr>
        <p:txBody>
          <a:bodyPr rtlCol="0" anchor="ctr"/>
          <a:lstStyle/>
          <a:p>
            <a:endParaRPr lang="en-IN"/>
          </a:p>
        </p:txBody>
      </p:sp>
    </p:spTree>
    <p:extLst>
      <p:ext uri="{BB962C8B-B14F-4D97-AF65-F5344CB8AC3E}">
        <p14:creationId xmlns:p14="http://schemas.microsoft.com/office/powerpoint/2010/main" val="231374832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tags" Target="../tags/tag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heme" Target="../theme/theme1.xml"/><Relationship Id="rId30"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E8999A7C-9F45-4AF9-BD17-1057C6AAF49F}"/>
              </a:ext>
            </a:extLst>
          </p:cNvPr>
          <p:cNvGraphicFramePr>
            <a:graphicFrameLocks noChangeAspect="1"/>
          </p:cNvGraphicFramePr>
          <p:nvPr>
            <p:custDataLst>
              <p:tags r:id="rId28"/>
            </p:custDataLst>
            <p:extLst>
              <p:ext uri="{D42A27DB-BD31-4B8C-83A1-F6EECF244321}">
                <p14:modId xmlns:p14="http://schemas.microsoft.com/office/powerpoint/2010/main" val="7836985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9" imgW="400" imgH="393" progId="TCLayout.ActiveDocument.1">
                  <p:embed/>
                </p:oleObj>
              </mc:Choice>
              <mc:Fallback>
                <p:oleObj name="think-cell Slide" r:id="rId29" imgW="400" imgH="393" progId="TCLayout.ActiveDocument.1">
                  <p:embed/>
                  <p:pic>
                    <p:nvPicPr>
                      <p:cNvPr id="9" name="Object 8" hidden="1">
                        <a:extLst>
                          <a:ext uri="{FF2B5EF4-FFF2-40B4-BE49-F238E27FC236}">
                            <a16:creationId xmlns:a16="http://schemas.microsoft.com/office/drawing/2014/main" id="{E8999A7C-9F45-4AF9-BD17-1057C6AAF49F}"/>
                          </a:ext>
                        </a:extLst>
                      </p:cNvPr>
                      <p:cNvPicPr/>
                      <p:nvPr/>
                    </p:nvPicPr>
                    <p:blipFill>
                      <a:blip r:embed="rId30"/>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1257488171"/>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Lst>
  <p:txStyles>
    <p:titleStyle>
      <a:lvl1pPr algn="l" defTabSz="914400" rtl="0" eaLnBrk="1" latinLnBrk="0" hangingPunct="1">
        <a:lnSpc>
          <a:spcPct val="110000"/>
        </a:lnSpc>
        <a:spcBef>
          <a:spcPts val="0"/>
        </a:spcBef>
        <a:spcAft>
          <a:spcPts val="0"/>
        </a:spcAft>
        <a:buNone/>
        <a:defRPr sz="2800" b="1" kern="1200">
          <a:solidFill>
            <a:schemeClr val="tx1"/>
          </a:solidFill>
          <a:latin typeface="+mn-lt"/>
          <a:ea typeface="+mj-ea"/>
          <a:cs typeface="+mj-cs"/>
        </a:defRPr>
      </a:lvl1pPr>
    </p:titleStyle>
    <p:bodyStyle>
      <a:lvl1pPr marL="0" indent="0" algn="l" defTabSz="457200" rtl="0" eaLnBrk="1" latinLnBrk="0" hangingPunct="1">
        <a:lnSpc>
          <a:spcPct val="110000"/>
        </a:lnSpc>
        <a:spcBef>
          <a:spcPts val="0"/>
        </a:spcBef>
        <a:spcAft>
          <a:spcPts val="0"/>
        </a:spcAft>
        <a:buClr>
          <a:srgbClr val="7FC4D7"/>
        </a:buClr>
        <a:buFont typeface="Wingdings" panose="05000000000000000000" pitchFamily="2" charset="2"/>
        <a:buNone/>
        <a:defRPr lang="en-US" sz="1200" kern="1200" dirty="0" smtClean="0">
          <a:solidFill>
            <a:schemeClr val="tx1">
              <a:lumMod val="75000"/>
              <a:lumOff val="25000"/>
            </a:schemeClr>
          </a:solidFill>
          <a:latin typeface="+mn-lt"/>
          <a:ea typeface="+mn-ea"/>
          <a:cs typeface="+mn-cs"/>
        </a:defRPr>
      </a:lvl1pPr>
      <a:lvl2pPr marL="171450" indent="-171450" algn="l" defTabSz="457200" rtl="0" eaLnBrk="1" latinLnBrk="0" hangingPunct="1">
        <a:lnSpc>
          <a:spcPct val="110000"/>
        </a:lnSpc>
        <a:spcBef>
          <a:spcPts val="0"/>
        </a:spcBef>
        <a:spcAft>
          <a:spcPts val="0"/>
        </a:spcAft>
        <a:buClr>
          <a:schemeClr val="accent3"/>
        </a:buClr>
        <a:buFont typeface="Wingdings" panose="05000000000000000000" pitchFamily="2" charset="2"/>
        <a:buChar char="§"/>
        <a:defRPr lang="en-US" sz="1200" kern="1200" dirty="0" smtClean="0">
          <a:solidFill>
            <a:schemeClr val="tx1">
              <a:lumMod val="75000"/>
              <a:lumOff val="25000"/>
            </a:schemeClr>
          </a:solidFill>
          <a:latin typeface="+mn-lt"/>
          <a:ea typeface="+mn-ea"/>
          <a:cs typeface="+mn-cs"/>
        </a:defRPr>
      </a:lvl2pPr>
      <a:lvl3pPr marL="342900" indent="-171450" algn="l" defTabSz="457200" rtl="0" eaLnBrk="1" latinLnBrk="0" hangingPunct="1">
        <a:lnSpc>
          <a:spcPct val="110000"/>
        </a:lnSpc>
        <a:spcBef>
          <a:spcPts val="0"/>
        </a:spcBef>
        <a:spcAft>
          <a:spcPts val="0"/>
        </a:spcAft>
        <a:buClr>
          <a:schemeClr val="accent3"/>
        </a:buClr>
        <a:buFont typeface="Calibri" panose="020F0502020204030204" pitchFamily="34" charset="0"/>
        <a:buChar char="–"/>
        <a:defRPr lang="en-US" sz="1200" kern="1200" dirty="0" smtClean="0">
          <a:solidFill>
            <a:schemeClr val="tx1">
              <a:lumMod val="75000"/>
              <a:lumOff val="25000"/>
            </a:schemeClr>
          </a:solidFill>
          <a:latin typeface="+mn-lt"/>
          <a:ea typeface="+mn-ea"/>
          <a:cs typeface="+mn-cs"/>
        </a:defRPr>
      </a:lvl3pPr>
      <a:lvl4pPr marL="514350" indent="-171450" algn="l" defTabSz="457200" rtl="0" eaLnBrk="1" latinLnBrk="0" hangingPunct="1">
        <a:lnSpc>
          <a:spcPct val="110000"/>
        </a:lnSpc>
        <a:spcBef>
          <a:spcPts val="0"/>
        </a:spcBef>
        <a:spcAft>
          <a:spcPts val="0"/>
        </a:spcAft>
        <a:buClr>
          <a:schemeClr val="accent3"/>
        </a:buClr>
        <a:buFont typeface="Arial" panose="020B0604020202020204" pitchFamily="34" charset="0"/>
        <a:buChar char="•"/>
        <a:defRPr lang="en-US" sz="1200" kern="1200" dirty="0" smtClean="0">
          <a:solidFill>
            <a:schemeClr val="tx1">
              <a:lumMod val="75000"/>
              <a:lumOff val="25000"/>
            </a:schemeClr>
          </a:solidFill>
          <a:latin typeface="+mn-lt"/>
          <a:ea typeface="+mn-ea"/>
          <a:cs typeface="+mn-cs"/>
        </a:defRPr>
      </a:lvl4pPr>
      <a:lvl5pPr marL="685800" indent="-171450" algn="l" defTabSz="457200" rtl="0" eaLnBrk="1" latinLnBrk="0" hangingPunct="1">
        <a:lnSpc>
          <a:spcPct val="110000"/>
        </a:lnSpc>
        <a:spcBef>
          <a:spcPts val="0"/>
        </a:spcBef>
        <a:spcAft>
          <a:spcPts val="0"/>
        </a:spcAft>
        <a:buClr>
          <a:schemeClr val="accent3"/>
        </a:buClr>
        <a:buFont typeface="Calibri" panose="020F0502020204030204" pitchFamily="34" charset="0"/>
        <a:buChar char="▫"/>
        <a:defRPr lang="en-US" sz="1200" kern="1200" dirty="0">
          <a:solidFill>
            <a:schemeClr val="tx1">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020">
          <p15:clr>
            <a:srgbClr val="F26B43"/>
          </p15:clr>
        </p15:guide>
        <p15:guide id="3" pos="7423">
          <p15:clr>
            <a:srgbClr val="F26B43"/>
          </p15:clr>
        </p15:guide>
        <p15:guide id="4" pos="234">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xml"/><Relationship Id="rId1" Type="http://schemas.openxmlformats.org/officeDocument/2006/relationships/slideLayout" Target="../slideLayouts/slideLayout2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3.xml.rels><?xml version="1.0" encoding="UTF-8" standalone="yes"?>
<Relationships xmlns="http://schemas.openxmlformats.org/package/2006/relationships"><Relationship Id="rId2" Type="http://schemas.openxmlformats.org/officeDocument/2006/relationships/hyperlink" Target="https://valq.com/demos/spend-analysis-using-microsoft-power-bi/" TargetMode="External"/><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extBox 13">
            <a:extLst>
              <a:ext uri="{FF2B5EF4-FFF2-40B4-BE49-F238E27FC236}">
                <a16:creationId xmlns:a16="http://schemas.microsoft.com/office/drawing/2014/main" id="{631E194D-95D7-4AA0-B7B0-5FB570573C0F}"/>
              </a:ext>
            </a:extLst>
          </p:cNvPr>
          <p:cNvSpPr txBox="1"/>
          <p:nvPr/>
        </p:nvSpPr>
        <p:spPr>
          <a:xfrm>
            <a:off x="820013" y="6024252"/>
            <a:ext cx="2637751" cy="2308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900" b="0" i="0" u="none" strike="noStrike" kern="1200" cap="none" spc="0" normalizeH="0" baseline="0" noProof="0">
                <a:ln>
                  <a:noFill/>
                </a:ln>
                <a:solidFill>
                  <a:srgbClr val="FFFFFF"/>
                </a:solidFill>
                <a:effectLst/>
                <a:uLnTx/>
                <a:uFillTx/>
                <a:latin typeface="Calibri" panose="020F0502020204030204"/>
                <a:ea typeface="+mn-ea"/>
                <a:cs typeface="+mn-cs"/>
              </a:rPr>
              <a:t>© 2022 CitiusTech     </a:t>
            </a:r>
            <a:r>
              <a:rPr kumimoji="0" lang="en-IN" sz="900" b="0" i="0" u="none" strike="noStrike" kern="1200" cap="none" spc="0" normalizeH="0" baseline="0" noProof="0">
                <a:ln>
                  <a:noFill/>
                </a:ln>
                <a:solidFill>
                  <a:srgbClr val="18BEB7"/>
                </a:solidFill>
                <a:effectLst/>
                <a:uLnTx/>
                <a:uFillTx/>
                <a:latin typeface="Calibri" panose="020F0502020204030204"/>
                <a:ea typeface="+mn-ea"/>
                <a:cs typeface="+mn-cs"/>
              </a:rPr>
              <a:t>|</a:t>
            </a:r>
            <a:r>
              <a:rPr kumimoji="0" lang="en-IN" sz="900" b="0" i="0" u="none" strike="noStrike" kern="1200" cap="none" spc="0" normalizeH="0" baseline="0" noProof="0">
                <a:ln>
                  <a:noFill/>
                </a:ln>
                <a:solidFill>
                  <a:srgbClr val="FFFFFF"/>
                </a:solidFill>
                <a:effectLst/>
                <a:uLnTx/>
                <a:uFillTx/>
                <a:latin typeface="Calibri" panose="020F0502020204030204"/>
                <a:ea typeface="+mn-ea"/>
                <a:cs typeface="+mn-cs"/>
              </a:rPr>
              <a:t>     Private &amp; Confidential</a:t>
            </a:r>
          </a:p>
        </p:txBody>
      </p:sp>
      <p:sp>
        <p:nvSpPr>
          <p:cNvPr id="15" name="TextBox 14">
            <a:extLst>
              <a:ext uri="{FF2B5EF4-FFF2-40B4-BE49-F238E27FC236}">
                <a16:creationId xmlns:a16="http://schemas.microsoft.com/office/drawing/2014/main" id="{321D2BE0-C27E-4A02-9841-D281469CDCC6}"/>
              </a:ext>
            </a:extLst>
          </p:cNvPr>
          <p:cNvSpPr txBox="1"/>
          <p:nvPr/>
        </p:nvSpPr>
        <p:spPr>
          <a:xfrm>
            <a:off x="820012" y="5600549"/>
            <a:ext cx="7223191" cy="50783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FFFFFF"/>
                </a:solidFill>
                <a:effectLst/>
                <a:uLnTx/>
                <a:uFillTx/>
                <a:latin typeface="Calibri" panose="020F0502020204030204"/>
                <a:ea typeface="+mn-ea"/>
                <a:cs typeface="Poppins Thin" panose="00000300000000000000" pitchFamily="2" charset="0"/>
              </a:rPr>
              <a:t>This document is confidential and contains proprietary information, including trade secrets of CitiusTech. Neither the document nor any of the information contained in it may be reproduced or disclosed to any unauthorized person under any circumstances without the express written permission of CitiusTech.</a:t>
            </a:r>
            <a:endParaRPr kumimoji="0" lang="en-IN" sz="900" b="0" i="0" u="none" strike="noStrike" kern="1200" cap="none" spc="0" normalizeH="0" baseline="0" noProof="0">
              <a:ln>
                <a:noFill/>
              </a:ln>
              <a:solidFill>
                <a:srgbClr val="FFFFFF"/>
              </a:solidFill>
              <a:effectLst/>
              <a:uLnTx/>
              <a:uFillTx/>
              <a:latin typeface="Calibri" panose="020F0502020204030204"/>
              <a:ea typeface="+mn-ea"/>
              <a:cs typeface="Poppins Thin" panose="00000300000000000000" pitchFamily="2" charset="0"/>
            </a:endParaRPr>
          </a:p>
        </p:txBody>
      </p:sp>
      <p:pic>
        <p:nvPicPr>
          <p:cNvPr id="19" name="Picture 18">
            <a:extLst>
              <a:ext uri="{FF2B5EF4-FFF2-40B4-BE49-F238E27FC236}">
                <a16:creationId xmlns:a16="http://schemas.microsoft.com/office/drawing/2014/main" id="{3783A708-C8DD-4DEF-8911-74DB9F0154A8}"/>
              </a:ext>
            </a:extLst>
          </p:cNvPr>
          <p:cNvPicPr>
            <a:picLocks noChangeAspect="1"/>
          </p:cNvPicPr>
          <p:nvPr/>
        </p:nvPicPr>
        <p:blipFill rotWithShape="1">
          <a:blip r:embed="rId3"/>
          <a:srcRect l="4459" b="3792"/>
          <a:stretch/>
        </p:blipFill>
        <p:spPr>
          <a:xfrm flipH="1">
            <a:off x="5516487" y="2812508"/>
            <a:ext cx="6675512" cy="3922120"/>
          </a:xfrm>
          <a:prstGeom prst="rect">
            <a:avLst/>
          </a:prstGeom>
        </p:spPr>
      </p:pic>
      <p:sp>
        <p:nvSpPr>
          <p:cNvPr id="13" name="Freeform: Shape 12">
            <a:extLst>
              <a:ext uri="{FF2B5EF4-FFF2-40B4-BE49-F238E27FC236}">
                <a16:creationId xmlns:a16="http://schemas.microsoft.com/office/drawing/2014/main" id="{76E52642-F7FB-46F7-B399-63BD6E9A2331}"/>
              </a:ext>
            </a:extLst>
          </p:cNvPr>
          <p:cNvSpPr/>
          <p:nvPr/>
        </p:nvSpPr>
        <p:spPr>
          <a:xfrm rot="5400000" flipH="1">
            <a:off x="10482680" y="1472442"/>
            <a:ext cx="1681874" cy="1709057"/>
          </a:xfrm>
          <a:custGeom>
            <a:avLst/>
            <a:gdLst>
              <a:gd name="connsiteX0" fmla="*/ 2051041 w 2051041"/>
              <a:gd name="connsiteY0" fmla="*/ 2080382 h 2084191"/>
              <a:gd name="connsiteX1" fmla="*/ 2051041 w 2051041"/>
              <a:gd name="connsiteY1" fmla="*/ 2083967 h 2084191"/>
              <a:gd name="connsiteX2" fmla="*/ 2047231 w 2051041"/>
              <a:gd name="connsiteY2" fmla="*/ 2084191 h 2084191"/>
              <a:gd name="connsiteX3" fmla="*/ 2045599 w 2051041"/>
              <a:gd name="connsiteY3" fmla="*/ 2081470 h 2084191"/>
              <a:gd name="connsiteX4" fmla="*/ 1478568 w 2051041"/>
              <a:gd name="connsiteY4" fmla="*/ 1997668 h 2084191"/>
              <a:gd name="connsiteX5" fmla="*/ 1484554 w 2051041"/>
              <a:gd name="connsiteY5" fmla="*/ 2004743 h 2084191"/>
              <a:gd name="connsiteX6" fmla="*/ 1478568 w 2051041"/>
              <a:gd name="connsiteY6" fmla="*/ 2009096 h 2084191"/>
              <a:gd name="connsiteX7" fmla="*/ 1473126 w 2051041"/>
              <a:gd name="connsiteY7" fmla="*/ 2003654 h 2084191"/>
              <a:gd name="connsiteX8" fmla="*/ 1478568 w 2051041"/>
              <a:gd name="connsiteY8" fmla="*/ 1997668 h 2084191"/>
              <a:gd name="connsiteX9" fmla="*/ 1641820 w 2051041"/>
              <a:gd name="connsiteY9" fmla="*/ 1993859 h 2084191"/>
              <a:gd name="connsiteX10" fmla="*/ 1652160 w 2051041"/>
              <a:gd name="connsiteY10" fmla="*/ 2003654 h 2084191"/>
              <a:gd name="connsiteX11" fmla="*/ 1641820 w 2051041"/>
              <a:gd name="connsiteY11" fmla="*/ 2013449 h 2084191"/>
              <a:gd name="connsiteX12" fmla="*/ 1632025 w 2051041"/>
              <a:gd name="connsiteY12" fmla="*/ 2003654 h 2084191"/>
              <a:gd name="connsiteX13" fmla="*/ 1641820 w 2051041"/>
              <a:gd name="connsiteY13" fmla="*/ 1993859 h 2084191"/>
              <a:gd name="connsiteX14" fmla="*/ 1969414 w 2051041"/>
              <a:gd name="connsiteY14" fmla="*/ 1992226 h 2084191"/>
              <a:gd name="connsiteX15" fmla="*/ 1979753 w 2051041"/>
              <a:gd name="connsiteY15" fmla="*/ 2003654 h 2084191"/>
              <a:gd name="connsiteX16" fmla="*/ 1968325 w 2051041"/>
              <a:gd name="connsiteY16" fmla="*/ 2014537 h 2084191"/>
              <a:gd name="connsiteX17" fmla="*/ 1957986 w 2051041"/>
              <a:gd name="connsiteY17" fmla="*/ 2003110 h 2084191"/>
              <a:gd name="connsiteX18" fmla="*/ 1969414 w 2051041"/>
              <a:gd name="connsiteY18" fmla="*/ 1992226 h 2084191"/>
              <a:gd name="connsiteX19" fmla="*/ 1805073 w 2051041"/>
              <a:gd name="connsiteY19" fmla="*/ 1992226 h 2084191"/>
              <a:gd name="connsiteX20" fmla="*/ 1815956 w 2051041"/>
              <a:gd name="connsiteY20" fmla="*/ 2002565 h 2084191"/>
              <a:gd name="connsiteX21" fmla="*/ 1805073 w 2051041"/>
              <a:gd name="connsiteY21" fmla="*/ 2014537 h 2084191"/>
              <a:gd name="connsiteX22" fmla="*/ 1794189 w 2051041"/>
              <a:gd name="connsiteY22" fmla="*/ 2004198 h 2084191"/>
              <a:gd name="connsiteX23" fmla="*/ 1805073 w 2051041"/>
              <a:gd name="connsiteY23" fmla="*/ 1992226 h 2084191"/>
              <a:gd name="connsiteX24" fmla="*/ 1234233 w 2051041"/>
              <a:gd name="connsiteY24" fmla="*/ 1916042 h 2084191"/>
              <a:gd name="connsiteX25" fmla="*/ 1240219 w 2051041"/>
              <a:gd name="connsiteY25" fmla="*/ 1923660 h 2084191"/>
              <a:gd name="connsiteX26" fmla="*/ 1236953 w 2051041"/>
              <a:gd name="connsiteY26" fmla="*/ 1926381 h 2084191"/>
              <a:gd name="connsiteX27" fmla="*/ 1229335 w 2051041"/>
              <a:gd name="connsiteY27" fmla="*/ 1918762 h 2084191"/>
              <a:gd name="connsiteX28" fmla="*/ 1234233 w 2051041"/>
              <a:gd name="connsiteY28" fmla="*/ 1916042 h 2084191"/>
              <a:gd name="connsiteX29" fmla="*/ 1397486 w 2051041"/>
              <a:gd name="connsiteY29" fmla="*/ 1911144 h 2084191"/>
              <a:gd name="connsiteX30" fmla="*/ 1408369 w 2051041"/>
              <a:gd name="connsiteY30" fmla="*/ 1921483 h 2084191"/>
              <a:gd name="connsiteX31" fmla="*/ 1399118 w 2051041"/>
              <a:gd name="connsiteY31" fmla="*/ 1931823 h 2084191"/>
              <a:gd name="connsiteX32" fmla="*/ 1387146 w 2051041"/>
              <a:gd name="connsiteY32" fmla="*/ 1922028 h 2084191"/>
              <a:gd name="connsiteX33" fmla="*/ 1397486 w 2051041"/>
              <a:gd name="connsiteY33" fmla="*/ 1911144 h 2084191"/>
              <a:gd name="connsiteX34" fmla="*/ 1560194 w 2051041"/>
              <a:gd name="connsiteY34" fmla="*/ 1906790 h 2084191"/>
              <a:gd name="connsiteX35" fmla="*/ 1574342 w 2051041"/>
              <a:gd name="connsiteY35" fmla="*/ 1921482 h 2084191"/>
              <a:gd name="connsiteX36" fmla="*/ 1560738 w 2051041"/>
              <a:gd name="connsiteY36" fmla="*/ 1935631 h 2084191"/>
              <a:gd name="connsiteX37" fmla="*/ 1547134 w 2051041"/>
              <a:gd name="connsiteY37" fmla="*/ 1922027 h 2084191"/>
              <a:gd name="connsiteX38" fmla="*/ 1560194 w 2051041"/>
              <a:gd name="connsiteY38" fmla="*/ 1906790 h 2084191"/>
              <a:gd name="connsiteX39" fmla="*/ 2049952 w 2051041"/>
              <a:gd name="connsiteY39" fmla="*/ 1905702 h 2084191"/>
              <a:gd name="connsiteX40" fmla="*/ 2051041 w 2051041"/>
              <a:gd name="connsiteY40" fmla="*/ 1906027 h 2084191"/>
              <a:gd name="connsiteX41" fmla="*/ 2051041 w 2051041"/>
              <a:gd name="connsiteY41" fmla="*/ 1938133 h 2084191"/>
              <a:gd name="connsiteX42" fmla="*/ 2050496 w 2051041"/>
              <a:gd name="connsiteY42" fmla="*/ 1938353 h 2084191"/>
              <a:gd name="connsiteX43" fmla="*/ 2034171 w 2051041"/>
              <a:gd name="connsiteY43" fmla="*/ 1922572 h 2084191"/>
              <a:gd name="connsiteX44" fmla="*/ 2049952 w 2051041"/>
              <a:gd name="connsiteY44" fmla="*/ 1905702 h 2084191"/>
              <a:gd name="connsiteX45" fmla="*/ 1723447 w 2051041"/>
              <a:gd name="connsiteY45" fmla="*/ 1905702 h 2084191"/>
              <a:gd name="connsiteX46" fmla="*/ 1739772 w 2051041"/>
              <a:gd name="connsiteY46" fmla="*/ 1920939 h 2084191"/>
              <a:gd name="connsiteX47" fmla="*/ 1724535 w 2051041"/>
              <a:gd name="connsiteY47" fmla="*/ 1937264 h 2084191"/>
              <a:gd name="connsiteX48" fmla="*/ 1708210 w 2051041"/>
              <a:gd name="connsiteY48" fmla="*/ 1922027 h 2084191"/>
              <a:gd name="connsiteX49" fmla="*/ 1723447 w 2051041"/>
              <a:gd name="connsiteY49" fmla="*/ 1905702 h 2084191"/>
              <a:gd name="connsiteX50" fmla="*/ 1887787 w 2051041"/>
              <a:gd name="connsiteY50" fmla="*/ 1905158 h 2084191"/>
              <a:gd name="connsiteX51" fmla="*/ 1904113 w 2051041"/>
              <a:gd name="connsiteY51" fmla="*/ 1922028 h 2084191"/>
              <a:gd name="connsiteX52" fmla="*/ 1886699 w 2051041"/>
              <a:gd name="connsiteY52" fmla="*/ 1937809 h 2084191"/>
              <a:gd name="connsiteX53" fmla="*/ 1870918 w 2051041"/>
              <a:gd name="connsiteY53" fmla="*/ 1921483 h 2084191"/>
              <a:gd name="connsiteX54" fmla="*/ 1887787 w 2051041"/>
              <a:gd name="connsiteY54" fmla="*/ 1905158 h 2084191"/>
              <a:gd name="connsiteX55" fmla="*/ 1152606 w 2051041"/>
              <a:gd name="connsiteY55" fmla="*/ 1831693 h 2084191"/>
              <a:gd name="connsiteX56" fmla="*/ 1161313 w 2051041"/>
              <a:gd name="connsiteY56" fmla="*/ 1839312 h 2084191"/>
              <a:gd name="connsiteX57" fmla="*/ 1153694 w 2051041"/>
              <a:gd name="connsiteY57" fmla="*/ 1852916 h 2084191"/>
              <a:gd name="connsiteX58" fmla="*/ 1144988 w 2051041"/>
              <a:gd name="connsiteY58" fmla="*/ 1841489 h 2084191"/>
              <a:gd name="connsiteX59" fmla="*/ 1152606 w 2051041"/>
              <a:gd name="connsiteY59" fmla="*/ 1831693 h 2084191"/>
              <a:gd name="connsiteX60" fmla="*/ 1315315 w 2051041"/>
              <a:gd name="connsiteY60" fmla="*/ 1825708 h 2084191"/>
              <a:gd name="connsiteX61" fmla="*/ 1330552 w 2051041"/>
              <a:gd name="connsiteY61" fmla="*/ 1840401 h 2084191"/>
              <a:gd name="connsiteX62" fmla="*/ 1316404 w 2051041"/>
              <a:gd name="connsiteY62" fmla="*/ 1854549 h 2084191"/>
              <a:gd name="connsiteX63" fmla="*/ 1301711 w 2051041"/>
              <a:gd name="connsiteY63" fmla="*/ 1840945 h 2084191"/>
              <a:gd name="connsiteX64" fmla="*/ 1315315 w 2051041"/>
              <a:gd name="connsiteY64" fmla="*/ 1825708 h 2084191"/>
              <a:gd name="connsiteX65" fmla="*/ 1479656 w 2051041"/>
              <a:gd name="connsiteY65" fmla="*/ 1822987 h 2084191"/>
              <a:gd name="connsiteX66" fmla="*/ 1495981 w 2051041"/>
              <a:gd name="connsiteY66" fmla="*/ 1840401 h 2084191"/>
              <a:gd name="connsiteX67" fmla="*/ 1478567 w 2051041"/>
              <a:gd name="connsiteY67" fmla="*/ 1856182 h 2084191"/>
              <a:gd name="connsiteX68" fmla="*/ 1462242 w 2051041"/>
              <a:gd name="connsiteY68" fmla="*/ 1839312 h 2084191"/>
              <a:gd name="connsiteX69" fmla="*/ 1479656 w 2051041"/>
              <a:gd name="connsiteY69" fmla="*/ 1822987 h 2084191"/>
              <a:gd name="connsiteX70" fmla="*/ 1642365 w 2051041"/>
              <a:gd name="connsiteY70" fmla="*/ 1821355 h 2084191"/>
              <a:gd name="connsiteX71" fmla="*/ 1660867 w 2051041"/>
              <a:gd name="connsiteY71" fmla="*/ 1840401 h 2084191"/>
              <a:gd name="connsiteX72" fmla="*/ 1642365 w 2051041"/>
              <a:gd name="connsiteY72" fmla="*/ 1857270 h 2084191"/>
              <a:gd name="connsiteX73" fmla="*/ 1624407 w 2051041"/>
              <a:gd name="connsiteY73" fmla="*/ 1839857 h 2084191"/>
              <a:gd name="connsiteX74" fmla="*/ 1642365 w 2051041"/>
              <a:gd name="connsiteY74" fmla="*/ 1821355 h 2084191"/>
              <a:gd name="connsiteX75" fmla="*/ 1806162 w 2051041"/>
              <a:gd name="connsiteY75" fmla="*/ 1819723 h 2084191"/>
              <a:gd name="connsiteX76" fmla="*/ 1826840 w 2051041"/>
              <a:gd name="connsiteY76" fmla="*/ 1840945 h 2084191"/>
              <a:gd name="connsiteX77" fmla="*/ 1804529 w 2051041"/>
              <a:gd name="connsiteY77" fmla="*/ 1861080 h 2084191"/>
              <a:gd name="connsiteX78" fmla="*/ 1784395 w 2051041"/>
              <a:gd name="connsiteY78" fmla="*/ 1839313 h 2084191"/>
              <a:gd name="connsiteX79" fmla="*/ 1806162 w 2051041"/>
              <a:gd name="connsiteY79" fmla="*/ 1819723 h 2084191"/>
              <a:gd name="connsiteX80" fmla="*/ 1968870 w 2051041"/>
              <a:gd name="connsiteY80" fmla="*/ 1819178 h 2084191"/>
              <a:gd name="connsiteX81" fmla="*/ 1990093 w 2051041"/>
              <a:gd name="connsiteY81" fmla="*/ 1840401 h 2084191"/>
              <a:gd name="connsiteX82" fmla="*/ 1968870 w 2051041"/>
              <a:gd name="connsiteY82" fmla="*/ 1861624 h 2084191"/>
              <a:gd name="connsiteX83" fmla="*/ 1947647 w 2051041"/>
              <a:gd name="connsiteY83" fmla="*/ 1840401 h 2084191"/>
              <a:gd name="connsiteX84" fmla="*/ 1968870 w 2051041"/>
              <a:gd name="connsiteY84" fmla="*/ 1819178 h 2084191"/>
              <a:gd name="connsiteX85" fmla="*/ 1070436 w 2051041"/>
              <a:gd name="connsiteY85" fmla="*/ 1747347 h 2084191"/>
              <a:gd name="connsiteX86" fmla="*/ 1081863 w 2051041"/>
              <a:gd name="connsiteY86" fmla="*/ 1758231 h 2084191"/>
              <a:gd name="connsiteX87" fmla="*/ 1070980 w 2051041"/>
              <a:gd name="connsiteY87" fmla="*/ 1769658 h 2084191"/>
              <a:gd name="connsiteX88" fmla="*/ 1059552 w 2051041"/>
              <a:gd name="connsiteY88" fmla="*/ 1758775 h 2084191"/>
              <a:gd name="connsiteX89" fmla="*/ 1070436 w 2051041"/>
              <a:gd name="connsiteY89" fmla="*/ 1747347 h 2084191"/>
              <a:gd name="connsiteX90" fmla="*/ 1233688 w 2051041"/>
              <a:gd name="connsiteY90" fmla="*/ 1742449 h 2084191"/>
              <a:gd name="connsiteX91" fmla="*/ 1250558 w 2051041"/>
              <a:gd name="connsiteY91" fmla="*/ 1758774 h 2084191"/>
              <a:gd name="connsiteX92" fmla="*/ 1233688 w 2051041"/>
              <a:gd name="connsiteY92" fmla="*/ 1775099 h 2084191"/>
              <a:gd name="connsiteX93" fmla="*/ 1217907 w 2051041"/>
              <a:gd name="connsiteY93" fmla="*/ 1759318 h 2084191"/>
              <a:gd name="connsiteX94" fmla="*/ 1233688 w 2051041"/>
              <a:gd name="connsiteY94" fmla="*/ 1742449 h 2084191"/>
              <a:gd name="connsiteX95" fmla="*/ 1399662 w 2051041"/>
              <a:gd name="connsiteY95" fmla="*/ 1739728 h 2084191"/>
              <a:gd name="connsiteX96" fmla="*/ 1417076 w 2051041"/>
              <a:gd name="connsiteY96" fmla="*/ 1760407 h 2084191"/>
              <a:gd name="connsiteX97" fmla="*/ 1396941 w 2051041"/>
              <a:gd name="connsiteY97" fmla="*/ 1779453 h 2084191"/>
              <a:gd name="connsiteX98" fmla="*/ 1377895 w 2051041"/>
              <a:gd name="connsiteY98" fmla="*/ 1757686 h 2084191"/>
              <a:gd name="connsiteX99" fmla="*/ 1399662 w 2051041"/>
              <a:gd name="connsiteY99" fmla="*/ 1739728 h 2084191"/>
              <a:gd name="connsiteX100" fmla="*/ 1723991 w 2051041"/>
              <a:gd name="connsiteY100" fmla="*/ 1735919 h 2084191"/>
              <a:gd name="connsiteX101" fmla="*/ 1746847 w 2051041"/>
              <a:gd name="connsiteY101" fmla="*/ 1758774 h 2084191"/>
              <a:gd name="connsiteX102" fmla="*/ 1723991 w 2051041"/>
              <a:gd name="connsiteY102" fmla="*/ 1781086 h 2084191"/>
              <a:gd name="connsiteX103" fmla="*/ 1701680 w 2051041"/>
              <a:gd name="connsiteY103" fmla="*/ 1758774 h 2084191"/>
              <a:gd name="connsiteX104" fmla="*/ 1723991 w 2051041"/>
              <a:gd name="connsiteY104" fmla="*/ 1735919 h 2084191"/>
              <a:gd name="connsiteX105" fmla="*/ 1560194 w 2051041"/>
              <a:gd name="connsiteY105" fmla="*/ 1735919 h 2084191"/>
              <a:gd name="connsiteX106" fmla="*/ 1582505 w 2051041"/>
              <a:gd name="connsiteY106" fmla="*/ 1758230 h 2084191"/>
              <a:gd name="connsiteX107" fmla="*/ 1560738 w 2051041"/>
              <a:gd name="connsiteY107" fmla="*/ 1779997 h 2084191"/>
              <a:gd name="connsiteX108" fmla="*/ 1538427 w 2051041"/>
              <a:gd name="connsiteY108" fmla="*/ 1758230 h 2084191"/>
              <a:gd name="connsiteX109" fmla="*/ 1560194 w 2051041"/>
              <a:gd name="connsiteY109" fmla="*/ 1735919 h 2084191"/>
              <a:gd name="connsiteX110" fmla="*/ 2051041 w 2051041"/>
              <a:gd name="connsiteY110" fmla="*/ 1734831 h 2084191"/>
              <a:gd name="connsiteX111" fmla="*/ 2051041 w 2051041"/>
              <a:gd name="connsiteY111" fmla="*/ 1781438 h 2084191"/>
              <a:gd name="connsiteX112" fmla="*/ 2050496 w 2051041"/>
              <a:gd name="connsiteY112" fmla="*/ 1781630 h 2084191"/>
              <a:gd name="connsiteX113" fmla="*/ 2027097 w 2051041"/>
              <a:gd name="connsiteY113" fmla="*/ 1758775 h 2084191"/>
              <a:gd name="connsiteX114" fmla="*/ 2051041 w 2051041"/>
              <a:gd name="connsiteY114" fmla="*/ 1734831 h 2084191"/>
              <a:gd name="connsiteX115" fmla="*/ 1887788 w 2051041"/>
              <a:gd name="connsiteY115" fmla="*/ 1734831 h 2084191"/>
              <a:gd name="connsiteX116" fmla="*/ 1910099 w 2051041"/>
              <a:gd name="connsiteY116" fmla="*/ 1758775 h 2084191"/>
              <a:gd name="connsiteX117" fmla="*/ 1886699 w 2051041"/>
              <a:gd name="connsiteY117" fmla="*/ 1781086 h 2084191"/>
              <a:gd name="connsiteX118" fmla="*/ 1863844 w 2051041"/>
              <a:gd name="connsiteY118" fmla="*/ 1757687 h 2084191"/>
              <a:gd name="connsiteX119" fmla="*/ 1887788 w 2051041"/>
              <a:gd name="connsiteY119" fmla="*/ 1734831 h 2084191"/>
              <a:gd name="connsiteX120" fmla="*/ 826100 w 2051041"/>
              <a:gd name="connsiteY120" fmla="*/ 1671706 h 2084191"/>
              <a:gd name="connsiteX121" fmla="*/ 832086 w 2051041"/>
              <a:gd name="connsiteY121" fmla="*/ 1677692 h 2084191"/>
              <a:gd name="connsiteX122" fmla="*/ 825556 w 2051041"/>
              <a:gd name="connsiteY122" fmla="*/ 1683134 h 2084191"/>
              <a:gd name="connsiteX123" fmla="*/ 820658 w 2051041"/>
              <a:gd name="connsiteY123" fmla="*/ 1676603 h 2084191"/>
              <a:gd name="connsiteX124" fmla="*/ 826100 w 2051041"/>
              <a:gd name="connsiteY124" fmla="*/ 1671706 h 2084191"/>
              <a:gd name="connsiteX125" fmla="*/ 989354 w 2051041"/>
              <a:gd name="connsiteY125" fmla="*/ 1661912 h 2084191"/>
              <a:gd name="connsiteX126" fmla="*/ 1004046 w 2051041"/>
              <a:gd name="connsiteY126" fmla="*/ 1676604 h 2084191"/>
              <a:gd name="connsiteX127" fmla="*/ 989354 w 2051041"/>
              <a:gd name="connsiteY127" fmla="*/ 1690209 h 2084191"/>
              <a:gd name="connsiteX128" fmla="*/ 975205 w 2051041"/>
              <a:gd name="connsiteY128" fmla="*/ 1677693 h 2084191"/>
              <a:gd name="connsiteX129" fmla="*/ 989354 w 2051041"/>
              <a:gd name="connsiteY129" fmla="*/ 1661912 h 2084191"/>
              <a:gd name="connsiteX130" fmla="*/ 1153151 w 2051041"/>
              <a:gd name="connsiteY130" fmla="*/ 1659734 h 2084191"/>
              <a:gd name="connsiteX131" fmla="*/ 1170564 w 2051041"/>
              <a:gd name="connsiteY131" fmla="*/ 1677692 h 2084191"/>
              <a:gd name="connsiteX132" fmla="*/ 1152062 w 2051041"/>
              <a:gd name="connsiteY132" fmla="*/ 1694562 h 2084191"/>
              <a:gd name="connsiteX133" fmla="*/ 1135737 w 2051041"/>
              <a:gd name="connsiteY133" fmla="*/ 1677148 h 2084191"/>
              <a:gd name="connsiteX134" fmla="*/ 1153151 w 2051041"/>
              <a:gd name="connsiteY134" fmla="*/ 1659734 h 2084191"/>
              <a:gd name="connsiteX135" fmla="*/ 1315315 w 2051041"/>
              <a:gd name="connsiteY135" fmla="*/ 1655381 h 2084191"/>
              <a:gd name="connsiteX136" fmla="*/ 1337082 w 2051041"/>
              <a:gd name="connsiteY136" fmla="*/ 1676603 h 2084191"/>
              <a:gd name="connsiteX137" fmla="*/ 1315315 w 2051041"/>
              <a:gd name="connsiteY137" fmla="*/ 1698915 h 2084191"/>
              <a:gd name="connsiteX138" fmla="*/ 1294092 w 2051041"/>
              <a:gd name="connsiteY138" fmla="*/ 1677148 h 2084191"/>
              <a:gd name="connsiteX139" fmla="*/ 1315315 w 2051041"/>
              <a:gd name="connsiteY139" fmla="*/ 1655381 h 2084191"/>
              <a:gd name="connsiteX140" fmla="*/ 1479111 w 2051041"/>
              <a:gd name="connsiteY140" fmla="*/ 1654293 h 2084191"/>
              <a:gd name="connsiteX141" fmla="*/ 1501967 w 2051041"/>
              <a:gd name="connsiteY141" fmla="*/ 1677692 h 2084191"/>
              <a:gd name="connsiteX142" fmla="*/ 1479111 w 2051041"/>
              <a:gd name="connsiteY142" fmla="*/ 1700548 h 2084191"/>
              <a:gd name="connsiteX143" fmla="*/ 1455712 w 2051041"/>
              <a:gd name="connsiteY143" fmla="*/ 1676604 h 2084191"/>
              <a:gd name="connsiteX144" fmla="*/ 1479111 w 2051041"/>
              <a:gd name="connsiteY144" fmla="*/ 1654293 h 2084191"/>
              <a:gd name="connsiteX145" fmla="*/ 1643452 w 2051041"/>
              <a:gd name="connsiteY145" fmla="*/ 1650483 h 2084191"/>
              <a:gd name="connsiteX146" fmla="*/ 1668484 w 2051041"/>
              <a:gd name="connsiteY146" fmla="*/ 1676603 h 2084191"/>
              <a:gd name="connsiteX147" fmla="*/ 1643452 w 2051041"/>
              <a:gd name="connsiteY147" fmla="*/ 1703268 h 2084191"/>
              <a:gd name="connsiteX148" fmla="*/ 1617332 w 2051041"/>
              <a:gd name="connsiteY148" fmla="*/ 1677692 h 2084191"/>
              <a:gd name="connsiteX149" fmla="*/ 1643452 w 2051041"/>
              <a:gd name="connsiteY149" fmla="*/ 1650483 h 2084191"/>
              <a:gd name="connsiteX150" fmla="*/ 1968326 w 2051041"/>
              <a:gd name="connsiteY150" fmla="*/ 1649940 h 2084191"/>
              <a:gd name="connsiteX151" fmla="*/ 1995535 w 2051041"/>
              <a:gd name="connsiteY151" fmla="*/ 1676604 h 2084191"/>
              <a:gd name="connsiteX152" fmla="*/ 1968870 w 2051041"/>
              <a:gd name="connsiteY152" fmla="*/ 1704357 h 2084191"/>
              <a:gd name="connsiteX153" fmla="*/ 1941661 w 2051041"/>
              <a:gd name="connsiteY153" fmla="*/ 1677148 h 2084191"/>
              <a:gd name="connsiteX154" fmla="*/ 1968326 w 2051041"/>
              <a:gd name="connsiteY154" fmla="*/ 1649940 h 2084191"/>
              <a:gd name="connsiteX155" fmla="*/ 1805617 w 2051041"/>
              <a:gd name="connsiteY155" fmla="*/ 1649939 h 2084191"/>
              <a:gd name="connsiteX156" fmla="*/ 1832826 w 2051041"/>
              <a:gd name="connsiteY156" fmla="*/ 1677148 h 2084191"/>
              <a:gd name="connsiteX157" fmla="*/ 1805073 w 2051041"/>
              <a:gd name="connsiteY157" fmla="*/ 1704357 h 2084191"/>
              <a:gd name="connsiteX158" fmla="*/ 1778409 w 2051041"/>
              <a:gd name="connsiteY158" fmla="*/ 1677148 h 2084191"/>
              <a:gd name="connsiteX159" fmla="*/ 1805617 w 2051041"/>
              <a:gd name="connsiteY159" fmla="*/ 1649939 h 2084191"/>
              <a:gd name="connsiteX160" fmla="*/ 744474 w 2051041"/>
              <a:gd name="connsiteY160" fmla="*/ 1588992 h 2084191"/>
              <a:gd name="connsiteX161" fmla="*/ 751004 w 2051041"/>
              <a:gd name="connsiteY161" fmla="*/ 1594978 h 2084191"/>
              <a:gd name="connsiteX162" fmla="*/ 745562 w 2051041"/>
              <a:gd name="connsiteY162" fmla="*/ 1602052 h 2084191"/>
              <a:gd name="connsiteX163" fmla="*/ 738488 w 2051041"/>
              <a:gd name="connsiteY163" fmla="*/ 1594978 h 2084191"/>
              <a:gd name="connsiteX164" fmla="*/ 744474 w 2051041"/>
              <a:gd name="connsiteY164" fmla="*/ 1588992 h 2084191"/>
              <a:gd name="connsiteX165" fmla="*/ 907183 w 2051041"/>
              <a:gd name="connsiteY165" fmla="*/ 1579741 h 2084191"/>
              <a:gd name="connsiteX166" fmla="*/ 923508 w 2051041"/>
              <a:gd name="connsiteY166" fmla="*/ 1594978 h 2084191"/>
              <a:gd name="connsiteX167" fmla="*/ 908815 w 2051041"/>
              <a:gd name="connsiteY167" fmla="*/ 1610759 h 2084191"/>
              <a:gd name="connsiteX168" fmla="*/ 892490 w 2051041"/>
              <a:gd name="connsiteY168" fmla="*/ 1595522 h 2084191"/>
              <a:gd name="connsiteX169" fmla="*/ 907183 w 2051041"/>
              <a:gd name="connsiteY169" fmla="*/ 1579741 h 2084191"/>
              <a:gd name="connsiteX170" fmla="*/ 1071524 w 2051041"/>
              <a:gd name="connsiteY170" fmla="*/ 1574843 h 2084191"/>
              <a:gd name="connsiteX171" fmla="*/ 1091114 w 2051041"/>
              <a:gd name="connsiteY171" fmla="*/ 1595522 h 2084191"/>
              <a:gd name="connsiteX172" fmla="*/ 1070980 w 2051041"/>
              <a:gd name="connsiteY172" fmla="*/ 1615656 h 2084191"/>
              <a:gd name="connsiteX173" fmla="*/ 1050301 w 2051041"/>
              <a:gd name="connsiteY173" fmla="*/ 1595522 h 2084191"/>
              <a:gd name="connsiteX174" fmla="*/ 1071524 w 2051041"/>
              <a:gd name="connsiteY174" fmla="*/ 1574843 h 2084191"/>
              <a:gd name="connsiteX175" fmla="*/ 1233688 w 2051041"/>
              <a:gd name="connsiteY175" fmla="*/ 1573210 h 2084191"/>
              <a:gd name="connsiteX176" fmla="*/ 1256544 w 2051041"/>
              <a:gd name="connsiteY176" fmla="*/ 1595522 h 2084191"/>
              <a:gd name="connsiteX177" fmla="*/ 1233688 w 2051041"/>
              <a:gd name="connsiteY177" fmla="*/ 1618377 h 2084191"/>
              <a:gd name="connsiteX178" fmla="*/ 1211377 w 2051041"/>
              <a:gd name="connsiteY178" fmla="*/ 1596610 h 2084191"/>
              <a:gd name="connsiteX179" fmla="*/ 1233688 w 2051041"/>
              <a:gd name="connsiteY179" fmla="*/ 1573210 h 2084191"/>
              <a:gd name="connsiteX180" fmla="*/ 1398030 w 2051041"/>
              <a:gd name="connsiteY180" fmla="*/ 1569402 h 2084191"/>
              <a:gd name="connsiteX181" fmla="*/ 1423062 w 2051041"/>
              <a:gd name="connsiteY181" fmla="*/ 1595522 h 2084191"/>
              <a:gd name="connsiteX182" fmla="*/ 1397485 w 2051041"/>
              <a:gd name="connsiteY182" fmla="*/ 1621099 h 2084191"/>
              <a:gd name="connsiteX183" fmla="*/ 1371365 w 2051041"/>
              <a:gd name="connsiteY183" fmla="*/ 1595522 h 2084191"/>
              <a:gd name="connsiteX184" fmla="*/ 1398030 w 2051041"/>
              <a:gd name="connsiteY184" fmla="*/ 1569402 h 2084191"/>
              <a:gd name="connsiteX185" fmla="*/ 1560194 w 2051041"/>
              <a:gd name="connsiteY185" fmla="*/ 1568313 h 2084191"/>
              <a:gd name="connsiteX186" fmla="*/ 1587947 w 2051041"/>
              <a:gd name="connsiteY186" fmla="*/ 1594433 h 2084191"/>
              <a:gd name="connsiteX187" fmla="*/ 1560194 w 2051041"/>
              <a:gd name="connsiteY187" fmla="*/ 1622730 h 2084191"/>
              <a:gd name="connsiteX188" fmla="*/ 1532985 w 2051041"/>
              <a:gd name="connsiteY188" fmla="*/ 1594977 h 2084191"/>
              <a:gd name="connsiteX189" fmla="*/ 1560194 w 2051041"/>
              <a:gd name="connsiteY189" fmla="*/ 1568313 h 2084191"/>
              <a:gd name="connsiteX190" fmla="*/ 1887244 w 2051041"/>
              <a:gd name="connsiteY190" fmla="*/ 1567225 h 2084191"/>
              <a:gd name="connsiteX191" fmla="*/ 1915541 w 2051041"/>
              <a:gd name="connsiteY191" fmla="*/ 1594978 h 2084191"/>
              <a:gd name="connsiteX192" fmla="*/ 1886699 w 2051041"/>
              <a:gd name="connsiteY192" fmla="*/ 1623819 h 2084191"/>
              <a:gd name="connsiteX193" fmla="*/ 1858947 w 2051041"/>
              <a:gd name="connsiteY193" fmla="*/ 1594978 h 2084191"/>
              <a:gd name="connsiteX194" fmla="*/ 1887244 w 2051041"/>
              <a:gd name="connsiteY194" fmla="*/ 1567225 h 2084191"/>
              <a:gd name="connsiteX195" fmla="*/ 1724535 w 2051041"/>
              <a:gd name="connsiteY195" fmla="*/ 1567225 h 2084191"/>
              <a:gd name="connsiteX196" fmla="*/ 1752288 w 2051041"/>
              <a:gd name="connsiteY196" fmla="*/ 1594978 h 2084191"/>
              <a:gd name="connsiteX197" fmla="*/ 1724535 w 2051041"/>
              <a:gd name="connsiteY197" fmla="*/ 1623275 h 2084191"/>
              <a:gd name="connsiteX198" fmla="*/ 1696238 w 2051041"/>
              <a:gd name="connsiteY198" fmla="*/ 1594978 h 2084191"/>
              <a:gd name="connsiteX199" fmla="*/ 1724535 w 2051041"/>
              <a:gd name="connsiteY199" fmla="*/ 1567225 h 2084191"/>
              <a:gd name="connsiteX200" fmla="*/ 2050496 w 2051041"/>
              <a:gd name="connsiteY200" fmla="*/ 1566680 h 2084191"/>
              <a:gd name="connsiteX201" fmla="*/ 2051041 w 2051041"/>
              <a:gd name="connsiteY201" fmla="*/ 1566888 h 2084191"/>
              <a:gd name="connsiteX202" fmla="*/ 2051041 w 2051041"/>
              <a:gd name="connsiteY202" fmla="*/ 1623794 h 2084191"/>
              <a:gd name="connsiteX203" fmla="*/ 2049408 w 2051041"/>
              <a:gd name="connsiteY203" fmla="*/ 1624363 h 2084191"/>
              <a:gd name="connsiteX204" fmla="*/ 2021655 w 2051041"/>
              <a:gd name="connsiteY204" fmla="*/ 1594977 h 2084191"/>
              <a:gd name="connsiteX205" fmla="*/ 2050496 w 2051041"/>
              <a:gd name="connsiteY205" fmla="*/ 1566680 h 2084191"/>
              <a:gd name="connsiteX206" fmla="*/ 663392 w 2051041"/>
              <a:gd name="connsiteY206" fmla="*/ 1505188 h 2084191"/>
              <a:gd name="connsiteX207" fmla="*/ 674819 w 2051041"/>
              <a:gd name="connsiteY207" fmla="*/ 1513895 h 2084191"/>
              <a:gd name="connsiteX208" fmla="*/ 662848 w 2051041"/>
              <a:gd name="connsiteY208" fmla="*/ 1522058 h 2084191"/>
              <a:gd name="connsiteX209" fmla="*/ 654685 w 2051041"/>
              <a:gd name="connsiteY209" fmla="*/ 1513351 h 2084191"/>
              <a:gd name="connsiteX210" fmla="*/ 663392 w 2051041"/>
              <a:gd name="connsiteY210" fmla="*/ 1505188 h 2084191"/>
              <a:gd name="connsiteX211" fmla="*/ 826101 w 2051041"/>
              <a:gd name="connsiteY211" fmla="*/ 1497570 h 2084191"/>
              <a:gd name="connsiteX212" fmla="*/ 842970 w 2051041"/>
              <a:gd name="connsiteY212" fmla="*/ 1513351 h 2084191"/>
              <a:gd name="connsiteX213" fmla="*/ 826645 w 2051041"/>
              <a:gd name="connsiteY213" fmla="*/ 1529676 h 2084191"/>
              <a:gd name="connsiteX214" fmla="*/ 810319 w 2051041"/>
              <a:gd name="connsiteY214" fmla="*/ 1514983 h 2084191"/>
              <a:gd name="connsiteX215" fmla="*/ 826101 w 2051041"/>
              <a:gd name="connsiteY215" fmla="*/ 1497570 h 2084191"/>
              <a:gd name="connsiteX216" fmla="*/ 988265 w 2051041"/>
              <a:gd name="connsiteY216" fmla="*/ 1492128 h 2084191"/>
              <a:gd name="connsiteX217" fmla="*/ 1010577 w 2051041"/>
              <a:gd name="connsiteY217" fmla="*/ 1513351 h 2084191"/>
              <a:gd name="connsiteX218" fmla="*/ 989354 w 2051041"/>
              <a:gd name="connsiteY218" fmla="*/ 1534574 h 2084191"/>
              <a:gd name="connsiteX219" fmla="*/ 968131 w 2051041"/>
              <a:gd name="connsiteY219" fmla="*/ 1513895 h 2084191"/>
              <a:gd name="connsiteX220" fmla="*/ 988265 w 2051041"/>
              <a:gd name="connsiteY220" fmla="*/ 1492128 h 2084191"/>
              <a:gd name="connsiteX221" fmla="*/ 1152606 w 2051041"/>
              <a:gd name="connsiteY221" fmla="*/ 1490496 h 2084191"/>
              <a:gd name="connsiteX222" fmla="*/ 1176006 w 2051041"/>
              <a:gd name="connsiteY222" fmla="*/ 1513351 h 2084191"/>
              <a:gd name="connsiteX223" fmla="*/ 1152606 w 2051041"/>
              <a:gd name="connsiteY223" fmla="*/ 1537839 h 2084191"/>
              <a:gd name="connsiteX224" fmla="*/ 1129207 w 2051041"/>
              <a:gd name="connsiteY224" fmla="*/ 1514984 h 2084191"/>
              <a:gd name="connsiteX225" fmla="*/ 1152606 w 2051041"/>
              <a:gd name="connsiteY225" fmla="*/ 1490496 h 2084191"/>
              <a:gd name="connsiteX226" fmla="*/ 1316403 w 2051041"/>
              <a:gd name="connsiteY226" fmla="*/ 1487231 h 2084191"/>
              <a:gd name="connsiteX227" fmla="*/ 1342523 w 2051041"/>
              <a:gd name="connsiteY227" fmla="*/ 1513896 h 2084191"/>
              <a:gd name="connsiteX228" fmla="*/ 1315314 w 2051041"/>
              <a:gd name="connsiteY228" fmla="*/ 1540560 h 2084191"/>
              <a:gd name="connsiteX229" fmla="*/ 1288650 w 2051041"/>
              <a:gd name="connsiteY229" fmla="*/ 1513896 h 2084191"/>
              <a:gd name="connsiteX230" fmla="*/ 1316403 w 2051041"/>
              <a:gd name="connsiteY230" fmla="*/ 1487231 h 2084191"/>
              <a:gd name="connsiteX231" fmla="*/ 1479656 w 2051041"/>
              <a:gd name="connsiteY231" fmla="*/ 1485054 h 2084191"/>
              <a:gd name="connsiteX232" fmla="*/ 1507409 w 2051041"/>
              <a:gd name="connsiteY232" fmla="*/ 1513895 h 2084191"/>
              <a:gd name="connsiteX233" fmla="*/ 1479112 w 2051041"/>
              <a:gd name="connsiteY233" fmla="*/ 1541648 h 2084191"/>
              <a:gd name="connsiteX234" fmla="*/ 1451359 w 2051041"/>
              <a:gd name="connsiteY234" fmla="*/ 1513351 h 2084191"/>
              <a:gd name="connsiteX235" fmla="*/ 1479656 w 2051041"/>
              <a:gd name="connsiteY235" fmla="*/ 1485054 h 2084191"/>
              <a:gd name="connsiteX236" fmla="*/ 1641820 w 2051041"/>
              <a:gd name="connsiteY236" fmla="*/ 1482334 h 2084191"/>
              <a:gd name="connsiteX237" fmla="*/ 1673382 w 2051041"/>
              <a:gd name="connsiteY237" fmla="*/ 1512807 h 2084191"/>
              <a:gd name="connsiteX238" fmla="*/ 1642909 w 2051041"/>
              <a:gd name="connsiteY238" fmla="*/ 1544370 h 2084191"/>
              <a:gd name="connsiteX239" fmla="*/ 1612435 w 2051041"/>
              <a:gd name="connsiteY239" fmla="*/ 1513351 h 2084191"/>
              <a:gd name="connsiteX240" fmla="*/ 1641820 w 2051041"/>
              <a:gd name="connsiteY240" fmla="*/ 1482334 h 2084191"/>
              <a:gd name="connsiteX241" fmla="*/ 1804529 w 2051041"/>
              <a:gd name="connsiteY241" fmla="*/ 1481788 h 2084191"/>
              <a:gd name="connsiteX242" fmla="*/ 1837180 w 2051041"/>
              <a:gd name="connsiteY242" fmla="*/ 1513351 h 2084191"/>
              <a:gd name="connsiteX243" fmla="*/ 1805617 w 2051041"/>
              <a:gd name="connsiteY243" fmla="*/ 1545457 h 2084191"/>
              <a:gd name="connsiteX244" fmla="*/ 1773511 w 2051041"/>
              <a:gd name="connsiteY244" fmla="*/ 1514983 h 2084191"/>
              <a:gd name="connsiteX245" fmla="*/ 1804529 w 2051041"/>
              <a:gd name="connsiteY245" fmla="*/ 1481788 h 2084191"/>
              <a:gd name="connsiteX246" fmla="*/ 1968870 w 2051041"/>
              <a:gd name="connsiteY246" fmla="*/ 1480700 h 2084191"/>
              <a:gd name="connsiteX247" fmla="*/ 2000977 w 2051041"/>
              <a:gd name="connsiteY247" fmla="*/ 1513351 h 2084191"/>
              <a:gd name="connsiteX248" fmla="*/ 1968870 w 2051041"/>
              <a:gd name="connsiteY248" fmla="*/ 1545457 h 2084191"/>
              <a:gd name="connsiteX249" fmla="*/ 1936764 w 2051041"/>
              <a:gd name="connsiteY249" fmla="*/ 1513351 h 2084191"/>
              <a:gd name="connsiteX250" fmla="*/ 1968870 w 2051041"/>
              <a:gd name="connsiteY250" fmla="*/ 1480700 h 2084191"/>
              <a:gd name="connsiteX251" fmla="*/ 581221 w 2051041"/>
              <a:gd name="connsiteY251" fmla="*/ 1423562 h 2084191"/>
              <a:gd name="connsiteX252" fmla="*/ 588840 w 2051041"/>
              <a:gd name="connsiteY252" fmla="*/ 1431725 h 2084191"/>
              <a:gd name="connsiteX253" fmla="*/ 581765 w 2051041"/>
              <a:gd name="connsiteY253" fmla="*/ 1443153 h 2084191"/>
              <a:gd name="connsiteX254" fmla="*/ 573059 w 2051041"/>
              <a:gd name="connsiteY254" fmla="*/ 1432813 h 2084191"/>
              <a:gd name="connsiteX255" fmla="*/ 581221 w 2051041"/>
              <a:gd name="connsiteY255" fmla="*/ 1423562 h 2084191"/>
              <a:gd name="connsiteX256" fmla="*/ 745562 w 2051041"/>
              <a:gd name="connsiteY256" fmla="*/ 1414855 h 2084191"/>
              <a:gd name="connsiteX257" fmla="*/ 761344 w 2051041"/>
              <a:gd name="connsiteY257" fmla="*/ 1432269 h 2084191"/>
              <a:gd name="connsiteX258" fmla="*/ 745018 w 2051041"/>
              <a:gd name="connsiteY258" fmla="*/ 1448050 h 2084191"/>
              <a:gd name="connsiteX259" fmla="*/ 728693 w 2051041"/>
              <a:gd name="connsiteY259" fmla="*/ 1431725 h 2084191"/>
              <a:gd name="connsiteX260" fmla="*/ 745562 w 2051041"/>
              <a:gd name="connsiteY260" fmla="*/ 1414855 h 2084191"/>
              <a:gd name="connsiteX261" fmla="*/ 908815 w 2051041"/>
              <a:gd name="connsiteY261" fmla="*/ 1409958 h 2084191"/>
              <a:gd name="connsiteX262" fmla="*/ 930038 w 2051041"/>
              <a:gd name="connsiteY262" fmla="*/ 1431725 h 2084191"/>
              <a:gd name="connsiteX263" fmla="*/ 907183 w 2051041"/>
              <a:gd name="connsiteY263" fmla="*/ 1453492 h 2084191"/>
              <a:gd name="connsiteX264" fmla="*/ 885960 w 2051041"/>
              <a:gd name="connsiteY264" fmla="*/ 1431725 h 2084191"/>
              <a:gd name="connsiteX265" fmla="*/ 908815 w 2051041"/>
              <a:gd name="connsiteY265" fmla="*/ 1409958 h 2084191"/>
              <a:gd name="connsiteX266" fmla="*/ 1070436 w 2051041"/>
              <a:gd name="connsiteY266" fmla="*/ 1406693 h 2084191"/>
              <a:gd name="connsiteX267" fmla="*/ 1096012 w 2051041"/>
              <a:gd name="connsiteY267" fmla="*/ 1432269 h 2084191"/>
              <a:gd name="connsiteX268" fmla="*/ 1070436 w 2051041"/>
              <a:gd name="connsiteY268" fmla="*/ 1457846 h 2084191"/>
              <a:gd name="connsiteX269" fmla="*/ 1045404 w 2051041"/>
              <a:gd name="connsiteY269" fmla="*/ 1431181 h 2084191"/>
              <a:gd name="connsiteX270" fmla="*/ 1070436 w 2051041"/>
              <a:gd name="connsiteY270" fmla="*/ 1406693 h 2084191"/>
              <a:gd name="connsiteX271" fmla="*/ 1235865 w 2051041"/>
              <a:gd name="connsiteY271" fmla="*/ 1404516 h 2084191"/>
              <a:gd name="connsiteX272" fmla="*/ 1261986 w 2051041"/>
              <a:gd name="connsiteY272" fmla="*/ 1433358 h 2084191"/>
              <a:gd name="connsiteX273" fmla="*/ 1233689 w 2051041"/>
              <a:gd name="connsiteY273" fmla="*/ 1459478 h 2084191"/>
              <a:gd name="connsiteX274" fmla="*/ 1206480 w 2051041"/>
              <a:gd name="connsiteY274" fmla="*/ 1432269 h 2084191"/>
              <a:gd name="connsiteX275" fmla="*/ 1235865 w 2051041"/>
              <a:gd name="connsiteY275" fmla="*/ 1404516 h 2084191"/>
              <a:gd name="connsiteX276" fmla="*/ 1397485 w 2051041"/>
              <a:gd name="connsiteY276" fmla="*/ 1400162 h 2084191"/>
              <a:gd name="connsiteX277" fmla="*/ 1427959 w 2051041"/>
              <a:gd name="connsiteY277" fmla="*/ 1431724 h 2084191"/>
              <a:gd name="connsiteX278" fmla="*/ 1398029 w 2051041"/>
              <a:gd name="connsiteY278" fmla="*/ 1463287 h 2084191"/>
              <a:gd name="connsiteX279" fmla="*/ 1366467 w 2051041"/>
              <a:gd name="connsiteY279" fmla="*/ 1432813 h 2084191"/>
              <a:gd name="connsiteX280" fmla="*/ 1397485 w 2051041"/>
              <a:gd name="connsiteY280" fmla="*/ 1400162 h 2084191"/>
              <a:gd name="connsiteX281" fmla="*/ 1561282 w 2051041"/>
              <a:gd name="connsiteY281" fmla="*/ 1399618 h 2084191"/>
              <a:gd name="connsiteX282" fmla="*/ 1593388 w 2051041"/>
              <a:gd name="connsiteY282" fmla="*/ 1432269 h 2084191"/>
              <a:gd name="connsiteX283" fmla="*/ 1560738 w 2051041"/>
              <a:gd name="connsiteY283" fmla="*/ 1464375 h 2084191"/>
              <a:gd name="connsiteX284" fmla="*/ 1528631 w 2051041"/>
              <a:gd name="connsiteY284" fmla="*/ 1432813 h 2084191"/>
              <a:gd name="connsiteX285" fmla="*/ 1561282 w 2051041"/>
              <a:gd name="connsiteY285" fmla="*/ 1399618 h 2084191"/>
              <a:gd name="connsiteX286" fmla="*/ 1723446 w 2051041"/>
              <a:gd name="connsiteY286" fmla="*/ 1399074 h 2084191"/>
              <a:gd name="connsiteX287" fmla="*/ 1757185 w 2051041"/>
              <a:gd name="connsiteY287" fmla="*/ 1432269 h 2084191"/>
              <a:gd name="connsiteX288" fmla="*/ 1723991 w 2051041"/>
              <a:gd name="connsiteY288" fmla="*/ 1465464 h 2084191"/>
              <a:gd name="connsiteX289" fmla="*/ 1691340 w 2051041"/>
              <a:gd name="connsiteY289" fmla="*/ 1433357 h 2084191"/>
              <a:gd name="connsiteX290" fmla="*/ 1723446 w 2051041"/>
              <a:gd name="connsiteY290" fmla="*/ 1399074 h 2084191"/>
              <a:gd name="connsiteX291" fmla="*/ 1886700 w 2051041"/>
              <a:gd name="connsiteY291" fmla="*/ 1398530 h 2084191"/>
              <a:gd name="connsiteX292" fmla="*/ 1920439 w 2051041"/>
              <a:gd name="connsiteY292" fmla="*/ 1432269 h 2084191"/>
              <a:gd name="connsiteX293" fmla="*/ 1887788 w 2051041"/>
              <a:gd name="connsiteY293" fmla="*/ 1464920 h 2084191"/>
              <a:gd name="connsiteX294" fmla="*/ 1854049 w 2051041"/>
              <a:gd name="connsiteY294" fmla="*/ 1433358 h 2084191"/>
              <a:gd name="connsiteX295" fmla="*/ 1886700 w 2051041"/>
              <a:gd name="connsiteY295" fmla="*/ 1398530 h 2084191"/>
              <a:gd name="connsiteX296" fmla="*/ 2051041 w 2051041"/>
              <a:gd name="connsiteY296" fmla="*/ 1398217 h 2084191"/>
              <a:gd name="connsiteX297" fmla="*/ 2051041 w 2051041"/>
              <a:gd name="connsiteY297" fmla="*/ 1464535 h 2084191"/>
              <a:gd name="connsiteX298" fmla="*/ 2049953 w 2051041"/>
              <a:gd name="connsiteY298" fmla="*/ 1464920 h 2084191"/>
              <a:gd name="connsiteX299" fmla="*/ 2017302 w 2051041"/>
              <a:gd name="connsiteY299" fmla="*/ 1431725 h 2084191"/>
              <a:gd name="connsiteX300" fmla="*/ 2027709 w 2051041"/>
              <a:gd name="connsiteY300" fmla="*/ 1408121 h 2084191"/>
              <a:gd name="connsiteX301" fmla="*/ 500139 w 2051041"/>
              <a:gd name="connsiteY301" fmla="*/ 1341936 h 2084191"/>
              <a:gd name="connsiteX302" fmla="*/ 511023 w 2051041"/>
              <a:gd name="connsiteY302" fmla="*/ 1350643 h 2084191"/>
              <a:gd name="connsiteX303" fmla="*/ 499595 w 2051041"/>
              <a:gd name="connsiteY303" fmla="*/ 1358261 h 2084191"/>
              <a:gd name="connsiteX304" fmla="*/ 491432 w 2051041"/>
              <a:gd name="connsiteY304" fmla="*/ 1349010 h 2084191"/>
              <a:gd name="connsiteX305" fmla="*/ 500139 w 2051041"/>
              <a:gd name="connsiteY305" fmla="*/ 1341936 h 2084191"/>
              <a:gd name="connsiteX306" fmla="*/ 662848 w 2051041"/>
              <a:gd name="connsiteY306" fmla="*/ 1333773 h 2084191"/>
              <a:gd name="connsiteX307" fmla="*/ 679173 w 2051041"/>
              <a:gd name="connsiteY307" fmla="*/ 1350643 h 2084191"/>
              <a:gd name="connsiteX308" fmla="*/ 662848 w 2051041"/>
              <a:gd name="connsiteY308" fmla="*/ 1366424 h 2084191"/>
              <a:gd name="connsiteX309" fmla="*/ 647067 w 2051041"/>
              <a:gd name="connsiteY309" fmla="*/ 1350098 h 2084191"/>
              <a:gd name="connsiteX310" fmla="*/ 662848 w 2051041"/>
              <a:gd name="connsiteY310" fmla="*/ 1333773 h 2084191"/>
              <a:gd name="connsiteX311" fmla="*/ 826645 w 2051041"/>
              <a:gd name="connsiteY311" fmla="*/ 1328331 h 2084191"/>
              <a:gd name="connsiteX312" fmla="*/ 847868 w 2051041"/>
              <a:gd name="connsiteY312" fmla="*/ 1350642 h 2084191"/>
              <a:gd name="connsiteX313" fmla="*/ 825556 w 2051041"/>
              <a:gd name="connsiteY313" fmla="*/ 1372409 h 2084191"/>
              <a:gd name="connsiteX314" fmla="*/ 804334 w 2051041"/>
              <a:gd name="connsiteY314" fmla="*/ 1349554 h 2084191"/>
              <a:gd name="connsiteX315" fmla="*/ 826645 w 2051041"/>
              <a:gd name="connsiteY315" fmla="*/ 1328331 h 2084191"/>
              <a:gd name="connsiteX316" fmla="*/ 989353 w 2051041"/>
              <a:gd name="connsiteY316" fmla="*/ 1323978 h 2084191"/>
              <a:gd name="connsiteX317" fmla="*/ 1015473 w 2051041"/>
              <a:gd name="connsiteY317" fmla="*/ 1350098 h 2084191"/>
              <a:gd name="connsiteX318" fmla="*/ 989353 w 2051041"/>
              <a:gd name="connsiteY318" fmla="*/ 1376763 h 2084191"/>
              <a:gd name="connsiteX319" fmla="*/ 963777 w 2051041"/>
              <a:gd name="connsiteY319" fmla="*/ 1350642 h 2084191"/>
              <a:gd name="connsiteX320" fmla="*/ 989353 w 2051041"/>
              <a:gd name="connsiteY320" fmla="*/ 1323978 h 2084191"/>
              <a:gd name="connsiteX321" fmla="*/ 1152606 w 2051041"/>
              <a:gd name="connsiteY321" fmla="*/ 1322889 h 2084191"/>
              <a:gd name="connsiteX322" fmla="*/ 1181447 w 2051041"/>
              <a:gd name="connsiteY322" fmla="*/ 1350098 h 2084191"/>
              <a:gd name="connsiteX323" fmla="*/ 1152606 w 2051041"/>
              <a:gd name="connsiteY323" fmla="*/ 1379483 h 2084191"/>
              <a:gd name="connsiteX324" fmla="*/ 1124853 w 2051041"/>
              <a:gd name="connsiteY324" fmla="*/ 1350642 h 2084191"/>
              <a:gd name="connsiteX325" fmla="*/ 1152606 w 2051041"/>
              <a:gd name="connsiteY325" fmla="*/ 1322889 h 2084191"/>
              <a:gd name="connsiteX326" fmla="*/ 1315315 w 2051041"/>
              <a:gd name="connsiteY326" fmla="*/ 1318536 h 2084191"/>
              <a:gd name="connsiteX327" fmla="*/ 1347966 w 2051041"/>
              <a:gd name="connsiteY327" fmla="*/ 1350098 h 2084191"/>
              <a:gd name="connsiteX328" fmla="*/ 1315315 w 2051041"/>
              <a:gd name="connsiteY328" fmla="*/ 1381661 h 2084191"/>
              <a:gd name="connsiteX329" fmla="*/ 1284297 w 2051041"/>
              <a:gd name="connsiteY329" fmla="*/ 1350098 h 2084191"/>
              <a:gd name="connsiteX330" fmla="*/ 1315315 w 2051041"/>
              <a:gd name="connsiteY330" fmla="*/ 1318536 h 2084191"/>
              <a:gd name="connsiteX331" fmla="*/ 1480744 w 2051041"/>
              <a:gd name="connsiteY331" fmla="*/ 1317448 h 2084191"/>
              <a:gd name="connsiteX332" fmla="*/ 1512306 w 2051041"/>
              <a:gd name="connsiteY332" fmla="*/ 1351731 h 2084191"/>
              <a:gd name="connsiteX333" fmla="*/ 1477479 w 2051041"/>
              <a:gd name="connsiteY333" fmla="*/ 1383293 h 2084191"/>
              <a:gd name="connsiteX334" fmla="*/ 1446461 w 2051041"/>
              <a:gd name="connsiteY334" fmla="*/ 1349554 h 2084191"/>
              <a:gd name="connsiteX335" fmla="*/ 1480744 w 2051041"/>
              <a:gd name="connsiteY335" fmla="*/ 1317448 h 2084191"/>
              <a:gd name="connsiteX336" fmla="*/ 1642908 w 2051041"/>
              <a:gd name="connsiteY336" fmla="*/ 1315815 h 2084191"/>
              <a:gd name="connsiteX337" fmla="*/ 1676647 w 2051041"/>
              <a:gd name="connsiteY337" fmla="*/ 1351731 h 2084191"/>
              <a:gd name="connsiteX338" fmla="*/ 1640732 w 2051041"/>
              <a:gd name="connsiteY338" fmla="*/ 1383837 h 2084191"/>
              <a:gd name="connsiteX339" fmla="*/ 1608081 w 2051041"/>
              <a:gd name="connsiteY339" fmla="*/ 1349554 h 2084191"/>
              <a:gd name="connsiteX340" fmla="*/ 1642908 w 2051041"/>
              <a:gd name="connsiteY340" fmla="*/ 1315815 h 2084191"/>
              <a:gd name="connsiteX341" fmla="*/ 1968870 w 2051041"/>
              <a:gd name="connsiteY341" fmla="*/ 1314183 h 2084191"/>
              <a:gd name="connsiteX342" fmla="*/ 2005329 w 2051041"/>
              <a:gd name="connsiteY342" fmla="*/ 1351187 h 2084191"/>
              <a:gd name="connsiteX343" fmla="*/ 1967781 w 2051041"/>
              <a:gd name="connsiteY343" fmla="*/ 1388191 h 2084191"/>
              <a:gd name="connsiteX344" fmla="*/ 1931866 w 2051041"/>
              <a:gd name="connsiteY344" fmla="*/ 1350098 h 2084191"/>
              <a:gd name="connsiteX345" fmla="*/ 1968870 w 2051041"/>
              <a:gd name="connsiteY345" fmla="*/ 1314183 h 2084191"/>
              <a:gd name="connsiteX346" fmla="*/ 1806161 w 2051041"/>
              <a:gd name="connsiteY346" fmla="*/ 1313639 h 2084191"/>
              <a:gd name="connsiteX347" fmla="*/ 1841533 w 2051041"/>
              <a:gd name="connsiteY347" fmla="*/ 1351187 h 2084191"/>
              <a:gd name="connsiteX348" fmla="*/ 1830105 w 2051041"/>
              <a:gd name="connsiteY348" fmla="*/ 1376763 h 2084191"/>
              <a:gd name="connsiteX349" fmla="*/ 1803984 w 2051041"/>
              <a:gd name="connsiteY349" fmla="*/ 1387102 h 2084191"/>
              <a:gd name="connsiteX350" fmla="*/ 1768613 w 2051041"/>
              <a:gd name="connsiteY350" fmla="*/ 1350098 h 2084191"/>
              <a:gd name="connsiteX351" fmla="*/ 1806161 w 2051041"/>
              <a:gd name="connsiteY351" fmla="*/ 1313639 h 2084191"/>
              <a:gd name="connsiteX352" fmla="*/ 419057 w 2051041"/>
              <a:gd name="connsiteY352" fmla="*/ 1262486 h 2084191"/>
              <a:gd name="connsiteX353" fmla="*/ 424499 w 2051041"/>
              <a:gd name="connsiteY353" fmla="*/ 1269016 h 2084191"/>
              <a:gd name="connsiteX354" fmla="*/ 417969 w 2051041"/>
              <a:gd name="connsiteY354" fmla="*/ 1278811 h 2084191"/>
              <a:gd name="connsiteX355" fmla="*/ 411983 w 2051041"/>
              <a:gd name="connsiteY355" fmla="*/ 1269016 h 2084191"/>
              <a:gd name="connsiteX356" fmla="*/ 419057 w 2051041"/>
              <a:gd name="connsiteY356" fmla="*/ 1262486 h 2084191"/>
              <a:gd name="connsiteX357" fmla="*/ 581221 w 2051041"/>
              <a:gd name="connsiteY357" fmla="*/ 1252147 h 2084191"/>
              <a:gd name="connsiteX358" fmla="*/ 597547 w 2051041"/>
              <a:gd name="connsiteY358" fmla="*/ 1269017 h 2084191"/>
              <a:gd name="connsiteX359" fmla="*/ 580133 w 2051041"/>
              <a:gd name="connsiteY359" fmla="*/ 1284254 h 2084191"/>
              <a:gd name="connsiteX360" fmla="*/ 564896 w 2051041"/>
              <a:gd name="connsiteY360" fmla="*/ 1268472 h 2084191"/>
              <a:gd name="connsiteX361" fmla="*/ 581221 w 2051041"/>
              <a:gd name="connsiteY361" fmla="*/ 1252147 h 2084191"/>
              <a:gd name="connsiteX362" fmla="*/ 745018 w 2051041"/>
              <a:gd name="connsiteY362" fmla="*/ 1246705 h 2084191"/>
              <a:gd name="connsiteX363" fmla="*/ 766241 w 2051041"/>
              <a:gd name="connsiteY363" fmla="*/ 1269560 h 2084191"/>
              <a:gd name="connsiteX364" fmla="*/ 744474 w 2051041"/>
              <a:gd name="connsiteY364" fmla="*/ 1290783 h 2084191"/>
              <a:gd name="connsiteX365" fmla="*/ 722707 w 2051041"/>
              <a:gd name="connsiteY365" fmla="*/ 1267928 h 2084191"/>
              <a:gd name="connsiteX366" fmla="*/ 745018 w 2051041"/>
              <a:gd name="connsiteY366" fmla="*/ 1246705 h 2084191"/>
              <a:gd name="connsiteX367" fmla="*/ 907727 w 2051041"/>
              <a:gd name="connsiteY367" fmla="*/ 1241807 h 2084191"/>
              <a:gd name="connsiteX368" fmla="*/ 933847 w 2051041"/>
              <a:gd name="connsiteY368" fmla="*/ 1269016 h 2084191"/>
              <a:gd name="connsiteX369" fmla="*/ 907183 w 2051041"/>
              <a:gd name="connsiteY369" fmla="*/ 1295136 h 2084191"/>
              <a:gd name="connsiteX370" fmla="*/ 880518 w 2051041"/>
              <a:gd name="connsiteY370" fmla="*/ 1267927 h 2084191"/>
              <a:gd name="connsiteX371" fmla="*/ 907727 w 2051041"/>
              <a:gd name="connsiteY371" fmla="*/ 1241807 h 2084191"/>
              <a:gd name="connsiteX372" fmla="*/ 1070979 w 2051041"/>
              <a:gd name="connsiteY372" fmla="*/ 1240719 h 2084191"/>
              <a:gd name="connsiteX373" fmla="*/ 1099821 w 2051041"/>
              <a:gd name="connsiteY373" fmla="*/ 1268472 h 2084191"/>
              <a:gd name="connsiteX374" fmla="*/ 1070435 w 2051041"/>
              <a:gd name="connsiteY374" fmla="*/ 1297858 h 2084191"/>
              <a:gd name="connsiteX375" fmla="*/ 1042138 w 2051041"/>
              <a:gd name="connsiteY375" fmla="*/ 1269560 h 2084191"/>
              <a:gd name="connsiteX376" fmla="*/ 1070979 w 2051041"/>
              <a:gd name="connsiteY376" fmla="*/ 1240719 h 2084191"/>
              <a:gd name="connsiteX377" fmla="*/ 1234233 w 2051041"/>
              <a:gd name="connsiteY377" fmla="*/ 1235821 h 2084191"/>
              <a:gd name="connsiteX378" fmla="*/ 1266883 w 2051041"/>
              <a:gd name="connsiteY378" fmla="*/ 1269016 h 2084191"/>
              <a:gd name="connsiteX379" fmla="*/ 1234233 w 2051041"/>
              <a:gd name="connsiteY379" fmla="*/ 1300578 h 2084191"/>
              <a:gd name="connsiteX380" fmla="*/ 1201582 w 2051041"/>
              <a:gd name="connsiteY380" fmla="*/ 1267383 h 2084191"/>
              <a:gd name="connsiteX381" fmla="*/ 1234233 w 2051041"/>
              <a:gd name="connsiteY381" fmla="*/ 1235821 h 2084191"/>
              <a:gd name="connsiteX382" fmla="*/ 1396397 w 2051041"/>
              <a:gd name="connsiteY382" fmla="*/ 1234733 h 2084191"/>
              <a:gd name="connsiteX383" fmla="*/ 1431224 w 2051041"/>
              <a:gd name="connsiteY383" fmla="*/ 1268472 h 2084191"/>
              <a:gd name="connsiteX384" fmla="*/ 1396941 w 2051041"/>
              <a:gd name="connsiteY384" fmla="*/ 1302755 h 2084191"/>
              <a:gd name="connsiteX385" fmla="*/ 1363746 w 2051041"/>
              <a:gd name="connsiteY385" fmla="*/ 1269016 h 2084191"/>
              <a:gd name="connsiteX386" fmla="*/ 1396397 w 2051041"/>
              <a:gd name="connsiteY386" fmla="*/ 1234733 h 2084191"/>
              <a:gd name="connsiteX387" fmla="*/ 1559649 w 2051041"/>
              <a:gd name="connsiteY387" fmla="*/ 1232557 h 2084191"/>
              <a:gd name="connsiteX388" fmla="*/ 1597742 w 2051041"/>
              <a:gd name="connsiteY388" fmla="*/ 1268472 h 2084191"/>
              <a:gd name="connsiteX389" fmla="*/ 1561826 w 2051041"/>
              <a:gd name="connsiteY389" fmla="*/ 1305476 h 2084191"/>
              <a:gd name="connsiteX390" fmla="*/ 1523734 w 2051041"/>
              <a:gd name="connsiteY390" fmla="*/ 1269561 h 2084191"/>
              <a:gd name="connsiteX391" fmla="*/ 1559649 w 2051041"/>
              <a:gd name="connsiteY391" fmla="*/ 1232557 h 2084191"/>
              <a:gd name="connsiteX392" fmla="*/ 1723990 w 2051041"/>
              <a:gd name="connsiteY392" fmla="*/ 1231468 h 2084191"/>
              <a:gd name="connsiteX393" fmla="*/ 1762083 w 2051041"/>
              <a:gd name="connsiteY393" fmla="*/ 1268472 h 2084191"/>
              <a:gd name="connsiteX394" fmla="*/ 1724535 w 2051041"/>
              <a:gd name="connsiteY394" fmla="*/ 1307109 h 2084191"/>
              <a:gd name="connsiteX395" fmla="*/ 1686442 w 2051041"/>
              <a:gd name="connsiteY395" fmla="*/ 1270105 h 2084191"/>
              <a:gd name="connsiteX396" fmla="*/ 1723990 w 2051041"/>
              <a:gd name="connsiteY396" fmla="*/ 1231468 h 2084191"/>
              <a:gd name="connsiteX397" fmla="*/ 1888332 w 2051041"/>
              <a:gd name="connsiteY397" fmla="*/ 1230924 h 2084191"/>
              <a:gd name="connsiteX398" fmla="*/ 1925336 w 2051041"/>
              <a:gd name="connsiteY398" fmla="*/ 1269561 h 2084191"/>
              <a:gd name="connsiteX399" fmla="*/ 1887243 w 2051041"/>
              <a:gd name="connsiteY399" fmla="*/ 1307653 h 2084191"/>
              <a:gd name="connsiteX400" fmla="*/ 1849151 w 2051041"/>
              <a:gd name="connsiteY400" fmla="*/ 1267928 h 2084191"/>
              <a:gd name="connsiteX401" fmla="*/ 1888332 w 2051041"/>
              <a:gd name="connsiteY401" fmla="*/ 1230924 h 2084191"/>
              <a:gd name="connsiteX402" fmla="*/ 2049952 w 2051041"/>
              <a:gd name="connsiteY402" fmla="*/ 1230380 h 2084191"/>
              <a:gd name="connsiteX403" fmla="*/ 2051041 w 2051041"/>
              <a:gd name="connsiteY403" fmla="*/ 1230805 h 2084191"/>
              <a:gd name="connsiteX404" fmla="*/ 2051041 w 2051041"/>
              <a:gd name="connsiteY404" fmla="*/ 1307109 h 2084191"/>
              <a:gd name="connsiteX405" fmla="*/ 2012404 w 2051041"/>
              <a:gd name="connsiteY405" fmla="*/ 1268472 h 2084191"/>
              <a:gd name="connsiteX406" fmla="*/ 2049952 w 2051041"/>
              <a:gd name="connsiteY406" fmla="*/ 1230380 h 2084191"/>
              <a:gd name="connsiteX407" fmla="*/ 337431 w 2051041"/>
              <a:gd name="connsiteY407" fmla="*/ 1181404 h 2084191"/>
              <a:gd name="connsiteX408" fmla="*/ 345050 w 2051041"/>
              <a:gd name="connsiteY408" fmla="*/ 1187934 h 2084191"/>
              <a:gd name="connsiteX409" fmla="*/ 336343 w 2051041"/>
              <a:gd name="connsiteY409" fmla="*/ 1192288 h 2084191"/>
              <a:gd name="connsiteX410" fmla="*/ 330901 w 2051041"/>
              <a:gd name="connsiteY410" fmla="*/ 1185758 h 2084191"/>
              <a:gd name="connsiteX411" fmla="*/ 337431 w 2051041"/>
              <a:gd name="connsiteY411" fmla="*/ 1181404 h 2084191"/>
              <a:gd name="connsiteX412" fmla="*/ 499051 w 2051041"/>
              <a:gd name="connsiteY412" fmla="*/ 1171065 h 2084191"/>
              <a:gd name="connsiteX413" fmla="*/ 516465 w 2051041"/>
              <a:gd name="connsiteY413" fmla="*/ 1187390 h 2084191"/>
              <a:gd name="connsiteX414" fmla="*/ 500140 w 2051041"/>
              <a:gd name="connsiteY414" fmla="*/ 1202627 h 2084191"/>
              <a:gd name="connsiteX415" fmla="*/ 483814 w 2051041"/>
              <a:gd name="connsiteY415" fmla="*/ 1187390 h 2084191"/>
              <a:gd name="connsiteX416" fmla="*/ 499051 w 2051041"/>
              <a:gd name="connsiteY416" fmla="*/ 1171065 h 2084191"/>
              <a:gd name="connsiteX417" fmla="*/ 662848 w 2051041"/>
              <a:gd name="connsiteY417" fmla="*/ 1165623 h 2084191"/>
              <a:gd name="connsiteX418" fmla="*/ 684615 w 2051041"/>
              <a:gd name="connsiteY418" fmla="*/ 1187390 h 2084191"/>
              <a:gd name="connsiteX419" fmla="*/ 662848 w 2051041"/>
              <a:gd name="connsiteY419" fmla="*/ 1209157 h 2084191"/>
              <a:gd name="connsiteX420" fmla="*/ 641081 w 2051041"/>
              <a:gd name="connsiteY420" fmla="*/ 1186846 h 2084191"/>
              <a:gd name="connsiteX421" fmla="*/ 662848 w 2051041"/>
              <a:gd name="connsiteY421" fmla="*/ 1165623 h 2084191"/>
              <a:gd name="connsiteX422" fmla="*/ 825556 w 2051041"/>
              <a:gd name="connsiteY422" fmla="*/ 1160725 h 2084191"/>
              <a:gd name="connsiteX423" fmla="*/ 852765 w 2051041"/>
              <a:gd name="connsiteY423" fmla="*/ 1186846 h 2084191"/>
              <a:gd name="connsiteX424" fmla="*/ 826645 w 2051041"/>
              <a:gd name="connsiteY424" fmla="*/ 1213511 h 2084191"/>
              <a:gd name="connsiteX425" fmla="*/ 798892 w 2051041"/>
              <a:gd name="connsiteY425" fmla="*/ 1188479 h 2084191"/>
              <a:gd name="connsiteX426" fmla="*/ 825556 w 2051041"/>
              <a:gd name="connsiteY426" fmla="*/ 1160725 h 2084191"/>
              <a:gd name="connsiteX427" fmla="*/ 989353 w 2051041"/>
              <a:gd name="connsiteY427" fmla="*/ 1158004 h 2084191"/>
              <a:gd name="connsiteX428" fmla="*/ 1018195 w 2051041"/>
              <a:gd name="connsiteY428" fmla="*/ 1187934 h 2084191"/>
              <a:gd name="connsiteX429" fmla="*/ 988809 w 2051041"/>
              <a:gd name="connsiteY429" fmla="*/ 1216775 h 2084191"/>
              <a:gd name="connsiteX430" fmla="*/ 959968 w 2051041"/>
              <a:gd name="connsiteY430" fmla="*/ 1187934 h 2084191"/>
              <a:gd name="connsiteX431" fmla="*/ 989353 w 2051041"/>
              <a:gd name="connsiteY431" fmla="*/ 1158004 h 2084191"/>
              <a:gd name="connsiteX432" fmla="*/ 1152062 w 2051041"/>
              <a:gd name="connsiteY432" fmla="*/ 1153651 h 2084191"/>
              <a:gd name="connsiteX433" fmla="*/ 1185801 w 2051041"/>
              <a:gd name="connsiteY433" fmla="*/ 1186301 h 2084191"/>
              <a:gd name="connsiteX434" fmla="*/ 1153150 w 2051041"/>
              <a:gd name="connsiteY434" fmla="*/ 1219496 h 2084191"/>
              <a:gd name="connsiteX435" fmla="*/ 1119956 w 2051041"/>
              <a:gd name="connsiteY435" fmla="*/ 1187390 h 2084191"/>
              <a:gd name="connsiteX436" fmla="*/ 1152062 w 2051041"/>
              <a:gd name="connsiteY436" fmla="*/ 1153651 h 2084191"/>
              <a:gd name="connsiteX437" fmla="*/ 1315315 w 2051041"/>
              <a:gd name="connsiteY437" fmla="*/ 1152018 h 2084191"/>
              <a:gd name="connsiteX438" fmla="*/ 1351230 w 2051041"/>
              <a:gd name="connsiteY438" fmla="*/ 1186845 h 2084191"/>
              <a:gd name="connsiteX439" fmla="*/ 1315859 w 2051041"/>
              <a:gd name="connsiteY439" fmla="*/ 1221673 h 2084191"/>
              <a:gd name="connsiteX440" fmla="*/ 1281576 w 2051041"/>
              <a:gd name="connsiteY440" fmla="*/ 1187390 h 2084191"/>
              <a:gd name="connsiteX441" fmla="*/ 1315315 w 2051041"/>
              <a:gd name="connsiteY441" fmla="*/ 1152018 h 2084191"/>
              <a:gd name="connsiteX442" fmla="*/ 1479656 w 2051041"/>
              <a:gd name="connsiteY442" fmla="*/ 1149298 h 2084191"/>
              <a:gd name="connsiteX443" fmla="*/ 1516660 w 2051041"/>
              <a:gd name="connsiteY443" fmla="*/ 1188479 h 2084191"/>
              <a:gd name="connsiteX444" fmla="*/ 1478023 w 2051041"/>
              <a:gd name="connsiteY444" fmla="*/ 1224394 h 2084191"/>
              <a:gd name="connsiteX445" fmla="*/ 1441563 w 2051041"/>
              <a:gd name="connsiteY445" fmla="*/ 1185758 h 2084191"/>
              <a:gd name="connsiteX446" fmla="*/ 1479656 w 2051041"/>
              <a:gd name="connsiteY446" fmla="*/ 1149298 h 2084191"/>
              <a:gd name="connsiteX447" fmla="*/ 1642365 w 2051041"/>
              <a:gd name="connsiteY447" fmla="*/ 1148209 h 2084191"/>
              <a:gd name="connsiteX448" fmla="*/ 1681001 w 2051041"/>
              <a:gd name="connsiteY448" fmla="*/ 1187390 h 2084191"/>
              <a:gd name="connsiteX449" fmla="*/ 1641821 w 2051041"/>
              <a:gd name="connsiteY449" fmla="*/ 1226026 h 2084191"/>
              <a:gd name="connsiteX450" fmla="*/ 1603728 w 2051041"/>
              <a:gd name="connsiteY450" fmla="*/ 1186846 h 2084191"/>
              <a:gd name="connsiteX451" fmla="*/ 1642365 w 2051041"/>
              <a:gd name="connsiteY451" fmla="*/ 1148209 h 2084191"/>
              <a:gd name="connsiteX452" fmla="*/ 1969414 w 2051041"/>
              <a:gd name="connsiteY452" fmla="*/ 1147665 h 2084191"/>
              <a:gd name="connsiteX453" fmla="*/ 2009139 w 2051041"/>
              <a:gd name="connsiteY453" fmla="*/ 1187934 h 2084191"/>
              <a:gd name="connsiteX454" fmla="*/ 1968870 w 2051041"/>
              <a:gd name="connsiteY454" fmla="*/ 1227114 h 2084191"/>
              <a:gd name="connsiteX455" fmla="*/ 1929145 w 2051041"/>
              <a:gd name="connsiteY455" fmla="*/ 1186301 h 2084191"/>
              <a:gd name="connsiteX456" fmla="*/ 1969414 w 2051041"/>
              <a:gd name="connsiteY456" fmla="*/ 1147665 h 2084191"/>
              <a:gd name="connsiteX457" fmla="*/ 1805617 w 2051041"/>
              <a:gd name="connsiteY457" fmla="*/ 1147665 h 2084191"/>
              <a:gd name="connsiteX458" fmla="*/ 1844798 w 2051041"/>
              <a:gd name="connsiteY458" fmla="*/ 1187934 h 2084191"/>
              <a:gd name="connsiteX459" fmla="*/ 1805073 w 2051041"/>
              <a:gd name="connsiteY459" fmla="*/ 1226571 h 2084191"/>
              <a:gd name="connsiteX460" fmla="*/ 1766981 w 2051041"/>
              <a:gd name="connsiteY460" fmla="*/ 1186845 h 2084191"/>
              <a:gd name="connsiteX461" fmla="*/ 1805617 w 2051041"/>
              <a:gd name="connsiteY461" fmla="*/ 1147665 h 2084191"/>
              <a:gd name="connsiteX462" fmla="*/ 417425 w 2051041"/>
              <a:gd name="connsiteY462" fmla="*/ 1090527 h 2084191"/>
              <a:gd name="connsiteX463" fmla="*/ 432662 w 2051041"/>
              <a:gd name="connsiteY463" fmla="*/ 1105764 h 2084191"/>
              <a:gd name="connsiteX464" fmla="*/ 417969 w 2051041"/>
              <a:gd name="connsiteY464" fmla="*/ 1120457 h 2084191"/>
              <a:gd name="connsiteX465" fmla="*/ 402732 w 2051041"/>
              <a:gd name="connsiteY465" fmla="*/ 1105219 h 2084191"/>
              <a:gd name="connsiteX466" fmla="*/ 417425 w 2051041"/>
              <a:gd name="connsiteY466" fmla="*/ 1090527 h 2084191"/>
              <a:gd name="connsiteX467" fmla="*/ 580677 w 2051041"/>
              <a:gd name="connsiteY467" fmla="*/ 1083996 h 2084191"/>
              <a:gd name="connsiteX468" fmla="*/ 602444 w 2051041"/>
              <a:gd name="connsiteY468" fmla="*/ 1105219 h 2084191"/>
              <a:gd name="connsiteX469" fmla="*/ 581221 w 2051041"/>
              <a:gd name="connsiteY469" fmla="*/ 1127530 h 2084191"/>
              <a:gd name="connsiteX470" fmla="*/ 558910 w 2051041"/>
              <a:gd name="connsiteY470" fmla="*/ 1105219 h 2084191"/>
              <a:gd name="connsiteX471" fmla="*/ 580677 w 2051041"/>
              <a:gd name="connsiteY471" fmla="*/ 1083996 h 2084191"/>
              <a:gd name="connsiteX472" fmla="*/ 743386 w 2051041"/>
              <a:gd name="connsiteY472" fmla="*/ 1079099 h 2084191"/>
              <a:gd name="connsiteX473" fmla="*/ 770595 w 2051041"/>
              <a:gd name="connsiteY473" fmla="*/ 1105219 h 2084191"/>
              <a:gd name="connsiteX474" fmla="*/ 745019 w 2051041"/>
              <a:gd name="connsiteY474" fmla="*/ 1132428 h 2084191"/>
              <a:gd name="connsiteX475" fmla="*/ 717810 w 2051041"/>
              <a:gd name="connsiteY475" fmla="*/ 1106308 h 2084191"/>
              <a:gd name="connsiteX476" fmla="*/ 743386 w 2051041"/>
              <a:gd name="connsiteY476" fmla="*/ 1079099 h 2084191"/>
              <a:gd name="connsiteX477" fmla="*/ 907727 w 2051041"/>
              <a:gd name="connsiteY477" fmla="*/ 1076378 h 2084191"/>
              <a:gd name="connsiteX478" fmla="*/ 937112 w 2051041"/>
              <a:gd name="connsiteY478" fmla="*/ 1105219 h 2084191"/>
              <a:gd name="connsiteX479" fmla="*/ 908271 w 2051041"/>
              <a:gd name="connsiteY479" fmla="*/ 1134061 h 2084191"/>
              <a:gd name="connsiteX480" fmla="*/ 878885 w 2051041"/>
              <a:gd name="connsiteY480" fmla="*/ 1105764 h 2084191"/>
              <a:gd name="connsiteX481" fmla="*/ 907727 w 2051041"/>
              <a:gd name="connsiteY481" fmla="*/ 1076378 h 2084191"/>
              <a:gd name="connsiteX482" fmla="*/ 1071524 w 2051041"/>
              <a:gd name="connsiteY482" fmla="*/ 1072569 h 2084191"/>
              <a:gd name="connsiteX483" fmla="*/ 1104174 w 2051041"/>
              <a:gd name="connsiteY483" fmla="*/ 1105220 h 2084191"/>
              <a:gd name="connsiteX484" fmla="*/ 1070435 w 2051041"/>
              <a:gd name="connsiteY484" fmla="*/ 1137870 h 2084191"/>
              <a:gd name="connsiteX485" fmla="*/ 1038329 w 2051041"/>
              <a:gd name="connsiteY485" fmla="*/ 1105764 h 2084191"/>
              <a:gd name="connsiteX486" fmla="*/ 1071524 w 2051041"/>
              <a:gd name="connsiteY486" fmla="*/ 1072569 h 2084191"/>
              <a:gd name="connsiteX487" fmla="*/ 1235865 w 2051041"/>
              <a:gd name="connsiteY487" fmla="*/ 1068760 h 2084191"/>
              <a:gd name="connsiteX488" fmla="*/ 1271237 w 2051041"/>
              <a:gd name="connsiteY488" fmla="*/ 1106852 h 2084191"/>
              <a:gd name="connsiteX489" fmla="*/ 1234777 w 2051041"/>
              <a:gd name="connsiteY489" fmla="*/ 1142223 h 2084191"/>
              <a:gd name="connsiteX490" fmla="*/ 1198861 w 2051041"/>
              <a:gd name="connsiteY490" fmla="*/ 1105219 h 2084191"/>
              <a:gd name="connsiteX491" fmla="*/ 1235865 w 2051041"/>
              <a:gd name="connsiteY491" fmla="*/ 1068760 h 2084191"/>
              <a:gd name="connsiteX492" fmla="*/ 1396397 w 2051041"/>
              <a:gd name="connsiteY492" fmla="*/ 1067127 h 2084191"/>
              <a:gd name="connsiteX493" fmla="*/ 1435578 w 2051041"/>
              <a:gd name="connsiteY493" fmla="*/ 1105219 h 2084191"/>
              <a:gd name="connsiteX494" fmla="*/ 1396941 w 2051041"/>
              <a:gd name="connsiteY494" fmla="*/ 1143856 h 2084191"/>
              <a:gd name="connsiteX495" fmla="*/ 1358849 w 2051041"/>
              <a:gd name="connsiteY495" fmla="*/ 1105763 h 2084191"/>
              <a:gd name="connsiteX496" fmla="*/ 1396397 w 2051041"/>
              <a:gd name="connsiteY496" fmla="*/ 1067127 h 2084191"/>
              <a:gd name="connsiteX497" fmla="*/ 1560738 w 2051041"/>
              <a:gd name="connsiteY497" fmla="*/ 1066582 h 2084191"/>
              <a:gd name="connsiteX498" fmla="*/ 1599919 w 2051041"/>
              <a:gd name="connsiteY498" fmla="*/ 1105763 h 2084191"/>
              <a:gd name="connsiteX499" fmla="*/ 1560738 w 2051041"/>
              <a:gd name="connsiteY499" fmla="*/ 1144400 h 2084191"/>
              <a:gd name="connsiteX500" fmla="*/ 1521013 w 2051041"/>
              <a:gd name="connsiteY500" fmla="*/ 1105763 h 2084191"/>
              <a:gd name="connsiteX501" fmla="*/ 1560738 w 2051041"/>
              <a:gd name="connsiteY501" fmla="*/ 1066582 h 2084191"/>
              <a:gd name="connsiteX502" fmla="*/ 1723447 w 2051041"/>
              <a:gd name="connsiteY502" fmla="*/ 1064406 h 2084191"/>
              <a:gd name="connsiteX503" fmla="*/ 1764260 w 2051041"/>
              <a:gd name="connsiteY503" fmla="*/ 1104675 h 2084191"/>
              <a:gd name="connsiteX504" fmla="*/ 1724535 w 2051041"/>
              <a:gd name="connsiteY504" fmla="*/ 1146032 h 2084191"/>
              <a:gd name="connsiteX505" fmla="*/ 1683178 w 2051041"/>
              <a:gd name="connsiteY505" fmla="*/ 1105764 h 2084191"/>
              <a:gd name="connsiteX506" fmla="*/ 1723447 w 2051041"/>
              <a:gd name="connsiteY506" fmla="*/ 1064406 h 2084191"/>
              <a:gd name="connsiteX507" fmla="*/ 2051041 w 2051041"/>
              <a:gd name="connsiteY507" fmla="*/ 1063318 h 2084191"/>
              <a:gd name="connsiteX508" fmla="*/ 2051041 w 2051041"/>
              <a:gd name="connsiteY508" fmla="*/ 1147740 h 2084191"/>
              <a:gd name="connsiteX509" fmla="*/ 2049952 w 2051041"/>
              <a:gd name="connsiteY509" fmla="*/ 1148210 h 2084191"/>
              <a:gd name="connsiteX510" fmla="*/ 2008051 w 2051041"/>
              <a:gd name="connsiteY510" fmla="*/ 1105764 h 2084191"/>
              <a:gd name="connsiteX511" fmla="*/ 2051041 w 2051041"/>
              <a:gd name="connsiteY511" fmla="*/ 1063318 h 2084191"/>
              <a:gd name="connsiteX512" fmla="*/ 1887787 w 2051041"/>
              <a:gd name="connsiteY512" fmla="*/ 1062773 h 2084191"/>
              <a:gd name="connsiteX513" fmla="*/ 1929145 w 2051041"/>
              <a:gd name="connsiteY513" fmla="*/ 1105763 h 2084191"/>
              <a:gd name="connsiteX514" fmla="*/ 1886699 w 2051041"/>
              <a:gd name="connsiteY514" fmla="*/ 1147665 h 2084191"/>
              <a:gd name="connsiteX515" fmla="*/ 1844798 w 2051041"/>
              <a:gd name="connsiteY515" fmla="*/ 1105219 h 2084191"/>
              <a:gd name="connsiteX516" fmla="*/ 1887787 w 2051041"/>
              <a:gd name="connsiteY516" fmla="*/ 1062773 h 2084191"/>
              <a:gd name="connsiteX517" fmla="*/ 335798 w 2051041"/>
              <a:gd name="connsiteY517" fmla="*/ 1011621 h 2084191"/>
              <a:gd name="connsiteX518" fmla="*/ 348314 w 2051041"/>
              <a:gd name="connsiteY518" fmla="*/ 1023049 h 2084191"/>
              <a:gd name="connsiteX519" fmla="*/ 336886 w 2051041"/>
              <a:gd name="connsiteY519" fmla="*/ 1036109 h 2084191"/>
              <a:gd name="connsiteX520" fmla="*/ 324370 w 2051041"/>
              <a:gd name="connsiteY520" fmla="*/ 1024681 h 2084191"/>
              <a:gd name="connsiteX521" fmla="*/ 335798 w 2051041"/>
              <a:gd name="connsiteY521" fmla="*/ 1011621 h 2084191"/>
              <a:gd name="connsiteX522" fmla="*/ 499051 w 2051041"/>
              <a:gd name="connsiteY522" fmla="*/ 1002914 h 2084191"/>
              <a:gd name="connsiteX523" fmla="*/ 520818 w 2051041"/>
              <a:gd name="connsiteY523" fmla="*/ 1024137 h 2084191"/>
              <a:gd name="connsiteX524" fmla="*/ 499595 w 2051041"/>
              <a:gd name="connsiteY524" fmla="*/ 1045360 h 2084191"/>
              <a:gd name="connsiteX525" fmla="*/ 478372 w 2051041"/>
              <a:gd name="connsiteY525" fmla="*/ 1024137 h 2084191"/>
              <a:gd name="connsiteX526" fmla="*/ 499051 w 2051041"/>
              <a:gd name="connsiteY526" fmla="*/ 1002914 h 2084191"/>
              <a:gd name="connsiteX527" fmla="*/ 663392 w 2051041"/>
              <a:gd name="connsiteY527" fmla="*/ 997473 h 2084191"/>
              <a:gd name="connsiteX528" fmla="*/ 688424 w 2051041"/>
              <a:gd name="connsiteY528" fmla="*/ 1024138 h 2084191"/>
              <a:gd name="connsiteX529" fmla="*/ 661759 w 2051041"/>
              <a:gd name="connsiteY529" fmla="*/ 1050258 h 2084191"/>
              <a:gd name="connsiteX530" fmla="*/ 636727 w 2051041"/>
              <a:gd name="connsiteY530" fmla="*/ 1023593 h 2084191"/>
              <a:gd name="connsiteX531" fmla="*/ 663392 w 2051041"/>
              <a:gd name="connsiteY531" fmla="*/ 997473 h 2084191"/>
              <a:gd name="connsiteX532" fmla="*/ 826645 w 2051041"/>
              <a:gd name="connsiteY532" fmla="*/ 995840 h 2084191"/>
              <a:gd name="connsiteX533" fmla="*/ 854942 w 2051041"/>
              <a:gd name="connsiteY533" fmla="*/ 1024137 h 2084191"/>
              <a:gd name="connsiteX534" fmla="*/ 825557 w 2051041"/>
              <a:gd name="connsiteY534" fmla="*/ 1052978 h 2084191"/>
              <a:gd name="connsiteX535" fmla="*/ 797260 w 2051041"/>
              <a:gd name="connsiteY535" fmla="*/ 1023593 h 2084191"/>
              <a:gd name="connsiteX536" fmla="*/ 826645 w 2051041"/>
              <a:gd name="connsiteY536" fmla="*/ 995840 h 2084191"/>
              <a:gd name="connsiteX537" fmla="*/ 990441 w 2051041"/>
              <a:gd name="connsiteY537" fmla="*/ 990942 h 2084191"/>
              <a:gd name="connsiteX538" fmla="*/ 1022548 w 2051041"/>
              <a:gd name="connsiteY538" fmla="*/ 1025225 h 2084191"/>
              <a:gd name="connsiteX539" fmla="*/ 988809 w 2051041"/>
              <a:gd name="connsiteY539" fmla="*/ 1056787 h 2084191"/>
              <a:gd name="connsiteX540" fmla="*/ 956702 w 2051041"/>
              <a:gd name="connsiteY540" fmla="*/ 1023593 h 2084191"/>
              <a:gd name="connsiteX541" fmla="*/ 990441 w 2051041"/>
              <a:gd name="connsiteY541" fmla="*/ 990942 h 2084191"/>
              <a:gd name="connsiteX542" fmla="*/ 1150974 w 2051041"/>
              <a:gd name="connsiteY542" fmla="*/ 987678 h 2084191"/>
              <a:gd name="connsiteX543" fmla="*/ 1189610 w 2051041"/>
              <a:gd name="connsiteY543" fmla="*/ 1023593 h 2084191"/>
              <a:gd name="connsiteX544" fmla="*/ 1152062 w 2051041"/>
              <a:gd name="connsiteY544" fmla="*/ 1061685 h 2084191"/>
              <a:gd name="connsiteX545" fmla="*/ 1115058 w 2051041"/>
              <a:gd name="connsiteY545" fmla="*/ 1024682 h 2084191"/>
              <a:gd name="connsiteX546" fmla="*/ 1150974 w 2051041"/>
              <a:gd name="connsiteY546" fmla="*/ 987678 h 2084191"/>
              <a:gd name="connsiteX547" fmla="*/ 1315314 w 2051041"/>
              <a:gd name="connsiteY547" fmla="*/ 985501 h 2084191"/>
              <a:gd name="connsiteX548" fmla="*/ 1354495 w 2051041"/>
              <a:gd name="connsiteY548" fmla="*/ 1023593 h 2084191"/>
              <a:gd name="connsiteX549" fmla="*/ 1315858 w 2051041"/>
              <a:gd name="connsiteY549" fmla="*/ 1062230 h 2084191"/>
              <a:gd name="connsiteX550" fmla="*/ 1277222 w 2051041"/>
              <a:gd name="connsiteY550" fmla="*/ 1024137 h 2084191"/>
              <a:gd name="connsiteX551" fmla="*/ 1315314 w 2051041"/>
              <a:gd name="connsiteY551" fmla="*/ 985501 h 2084191"/>
              <a:gd name="connsiteX552" fmla="*/ 1479656 w 2051041"/>
              <a:gd name="connsiteY552" fmla="*/ 984412 h 2084191"/>
              <a:gd name="connsiteX553" fmla="*/ 1519380 w 2051041"/>
              <a:gd name="connsiteY553" fmla="*/ 1025225 h 2084191"/>
              <a:gd name="connsiteX554" fmla="*/ 1478567 w 2051041"/>
              <a:gd name="connsiteY554" fmla="*/ 1063318 h 2084191"/>
              <a:gd name="connsiteX555" fmla="*/ 1439387 w 2051041"/>
              <a:gd name="connsiteY555" fmla="*/ 1023593 h 2084191"/>
              <a:gd name="connsiteX556" fmla="*/ 1479656 w 2051041"/>
              <a:gd name="connsiteY556" fmla="*/ 984412 h 2084191"/>
              <a:gd name="connsiteX557" fmla="*/ 1641820 w 2051041"/>
              <a:gd name="connsiteY557" fmla="*/ 981691 h 2084191"/>
              <a:gd name="connsiteX558" fmla="*/ 1684810 w 2051041"/>
              <a:gd name="connsiteY558" fmla="*/ 1023592 h 2084191"/>
              <a:gd name="connsiteX559" fmla="*/ 1642909 w 2051041"/>
              <a:gd name="connsiteY559" fmla="*/ 1066038 h 2084191"/>
              <a:gd name="connsiteX560" fmla="*/ 1599919 w 2051041"/>
              <a:gd name="connsiteY560" fmla="*/ 1023592 h 2084191"/>
              <a:gd name="connsiteX561" fmla="*/ 1641820 w 2051041"/>
              <a:gd name="connsiteY561" fmla="*/ 981691 h 2084191"/>
              <a:gd name="connsiteX562" fmla="*/ 1806161 w 2051041"/>
              <a:gd name="connsiteY562" fmla="*/ 980603 h 2084191"/>
              <a:gd name="connsiteX563" fmla="*/ 1849151 w 2051041"/>
              <a:gd name="connsiteY563" fmla="*/ 1023592 h 2084191"/>
              <a:gd name="connsiteX564" fmla="*/ 1805617 w 2051041"/>
              <a:gd name="connsiteY564" fmla="*/ 1067127 h 2084191"/>
              <a:gd name="connsiteX565" fmla="*/ 1762083 w 2051041"/>
              <a:gd name="connsiteY565" fmla="*/ 1023592 h 2084191"/>
              <a:gd name="connsiteX566" fmla="*/ 1806161 w 2051041"/>
              <a:gd name="connsiteY566" fmla="*/ 980603 h 2084191"/>
              <a:gd name="connsiteX567" fmla="*/ 1969414 w 2051041"/>
              <a:gd name="connsiteY567" fmla="*/ 980059 h 2084191"/>
              <a:gd name="connsiteX568" fmla="*/ 2012404 w 2051041"/>
              <a:gd name="connsiteY568" fmla="*/ 1024137 h 2084191"/>
              <a:gd name="connsiteX569" fmla="*/ 1968870 w 2051041"/>
              <a:gd name="connsiteY569" fmla="*/ 1067127 h 2084191"/>
              <a:gd name="connsiteX570" fmla="*/ 1924792 w 2051041"/>
              <a:gd name="connsiteY570" fmla="*/ 1024137 h 2084191"/>
              <a:gd name="connsiteX571" fmla="*/ 1969414 w 2051041"/>
              <a:gd name="connsiteY571" fmla="*/ 980059 h 2084191"/>
              <a:gd name="connsiteX572" fmla="*/ 254171 w 2051041"/>
              <a:gd name="connsiteY572" fmla="*/ 931083 h 2084191"/>
              <a:gd name="connsiteX573" fmla="*/ 265599 w 2051041"/>
              <a:gd name="connsiteY573" fmla="*/ 941967 h 2084191"/>
              <a:gd name="connsiteX574" fmla="*/ 254171 w 2051041"/>
              <a:gd name="connsiteY574" fmla="*/ 952850 h 2084191"/>
              <a:gd name="connsiteX575" fmla="*/ 243832 w 2051041"/>
              <a:gd name="connsiteY575" fmla="*/ 941967 h 2084191"/>
              <a:gd name="connsiteX576" fmla="*/ 254171 w 2051041"/>
              <a:gd name="connsiteY576" fmla="*/ 931083 h 2084191"/>
              <a:gd name="connsiteX577" fmla="*/ 417968 w 2051041"/>
              <a:gd name="connsiteY577" fmla="*/ 922377 h 2084191"/>
              <a:gd name="connsiteX578" fmla="*/ 437559 w 2051041"/>
              <a:gd name="connsiteY578" fmla="*/ 942511 h 2084191"/>
              <a:gd name="connsiteX579" fmla="*/ 417968 w 2051041"/>
              <a:gd name="connsiteY579" fmla="*/ 961557 h 2084191"/>
              <a:gd name="connsiteX580" fmla="*/ 397834 w 2051041"/>
              <a:gd name="connsiteY580" fmla="*/ 941423 h 2084191"/>
              <a:gd name="connsiteX581" fmla="*/ 417968 w 2051041"/>
              <a:gd name="connsiteY581" fmla="*/ 922377 h 2084191"/>
              <a:gd name="connsiteX582" fmla="*/ 581222 w 2051041"/>
              <a:gd name="connsiteY582" fmla="*/ 916934 h 2084191"/>
              <a:gd name="connsiteX583" fmla="*/ 606798 w 2051041"/>
              <a:gd name="connsiteY583" fmla="*/ 943054 h 2084191"/>
              <a:gd name="connsiteX584" fmla="*/ 581222 w 2051041"/>
              <a:gd name="connsiteY584" fmla="*/ 967542 h 2084191"/>
              <a:gd name="connsiteX585" fmla="*/ 556190 w 2051041"/>
              <a:gd name="connsiteY585" fmla="*/ 943054 h 2084191"/>
              <a:gd name="connsiteX586" fmla="*/ 581222 w 2051041"/>
              <a:gd name="connsiteY586" fmla="*/ 916934 h 2084191"/>
              <a:gd name="connsiteX587" fmla="*/ 744474 w 2051041"/>
              <a:gd name="connsiteY587" fmla="*/ 913669 h 2084191"/>
              <a:gd name="connsiteX588" fmla="*/ 773315 w 2051041"/>
              <a:gd name="connsiteY588" fmla="*/ 942510 h 2084191"/>
              <a:gd name="connsiteX589" fmla="*/ 743930 w 2051041"/>
              <a:gd name="connsiteY589" fmla="*/ 970807 h 2084191"/>
              <a:gd name="connsiteX590" fmla="*/ 716177 w 2051041"/>
              <a:gd name="connsiteY590" fmla="*/ 941966 h 2084191"/>
              <a:gd name="connsiteX591" fmla="*/ 744474 w 2051041"/>
              <a:gd name="connsiteY591" fmla="*/ 913669 h 2084191"/>
              <a:gd name="connsiteX592" fmla="*/ 908271 w 2051041"/>
              <a:gd name="connsiteY592" fmla="*/ 908772 h 2084191"/>
              <a:gd name="connsiteX593" fmla="*/ 940377 w 2051041"/>
              <a:gd name="connsiteY593" fmla="*/ 944144 h 2084191"/>
              <a:gd name="connsiteX594" fmla="*/ 906094 w 2051041"/>
              <a:gd name="connsiteY594" fmla="*/ 975162 h 2084191"/>
              <a:gd name="connsiteX595" fmla="*/ 874532 w 2051041"/>
              <a:gd name="connsiteY595" fmla="*/ 940879 h 2084191"/>
              <a:gd name="connsiteX596" fmla="*/ 908271 w 2051041"/>
              <a:gd name="connsiteY596" fmla="*/ 908772 h 2084191"/>
              <a:gd name="connsiteX597" fmla="*/ 1072068 w 2051041"/>
              <a:gd name="connsiteY597" fmla="*/ 906051 h 2084191"/>
              <a:gd name="connsiteX598" fmla="*/ 1107984 w 2051041"/>
              <a:gd name="connsiteY598" fmla="*/ 942511 h 2084191"/>
              <a:gd name="connsiteX599" fmla="*/ 1070980 w 2051041"/>
              <a:gd name="connsiteY599" fmla="*/ 979515 h 2084191"/>
              <a:gd name="connsiteX600" fmla="*/ 1034520 w 2051041"/>
              <a:gd name="connsiteY600" fmla="*/ 942511 h 2084191"/>
              <a:gd name="connsiteX601" fmla="*/ 1072068 w 2051041"/>
              <a:gd name="connsiteY601" fmla="*/ 906051 h 2084191"/>
              <a:gd name="connsiteX602" fmla="*/ 1235321 w 2051041"/>
              <a:gd name="connsiteY602" fmla="*/ 903874 h 2084191"/>
              <a:gd name="connsiteX603" fmla="*/ 1272325 w 2051041"/>
              <a:gd name="connsiteY603" fmla="*/ 943054 h 2084191"/>
              <a:gd name="connsiteX604" fmla="*/ 1233688 w 2051041"/>
              <a:gd name="connsiteY604" fmla="*/ 981147 h 2084191"/>
              <a:gd name="connsiteX605" fmla="*/ 1195596 w 2051041"/>
              <a:gd name="connsiteY605" fmla="*/ 940878 h 2084191"/>
              <a:gd name="connsiteX606" fmla="*/ 1235321 w 2051041"/>
              <a:gd name="connsiteY606" fmla="*/ 903874 h 2084191"/>
              <a:gd name="connsiteX607" fmla="*/ 1397486 w 2051041"/>
              <a:gd name="connsiteY607" fmla="*/ 901153 h 2084191"/>
              <a:gd name="connsiteX608" fmla="*/ 1438299 w 2051041"/>
              <a:gd name="connsiteY608" fmla="*/ 942511 h 2084191"/>
              <a:gd name="connsiteX609" fmla="*/ 1396941 w 2051041"/>
              <a:gd name="connsiteY609" fmla="*/ 983324 h 2084191"/>
              <a:gd name="connsiteX610" fmla="*/ 1356128 w 2051041"/>
              <a:gd name="connsiteY610" fmla="*/ 941967 h 2084191"/>
              <a:gd name="connsiteX611" fmla="*/ 1397486 w 2051041"/>
              <a:gd name="connsiteY611" fmla="*/ 901153 h 2084191"/>
              <a:gd name="connsiteX612" fmla="*/ 1560738 w 2051041"/>
              <a:gd name="connsiteY612" fmla="*/ 898977 h 2084191"/>
              <a:gd name="connsiteX613" fmla="*/ 1603728 w 2051041"/>
              <a:gd name="connsiteY613" fmla="*/ 942511 h 2084191"/>
              <a:gd name="connsiteX614" fmla="*/ 1560738 w 2051041"/>
              <a:gd name="connsiteY614" fmla="*/ 985501 h 2084191"/>
              <a:gd name="connsiteX615" fmla="*/ 1517204 w 2051041"/>
              <a:gd name="connsiteY615" fmla="*/ 941423 h 2084191"/>
              <a:gd name="connsiteX616" fmla="*/ 1560738 w 2051041"/>
              <a:gd name="connsiteY616" fmla="*/ 898977 h 2084191"/>
              <a:gd name="connsiteX617" fmla="*/ 1723990 w 2051041"/>
              <a:gd name="connsiteY617" fmla="*/ 897888 h 2084191"/>
              <a:gd name="connsiteX618" fmla="*/ 1768069 w 2051041"/>
              <a:gd name="connsiteY618" fmla="*/ 942510 h 2084191"/>
              <a:gd name="connsiteX619" fmla="*/ 1723990 w 2051041"/>
              <a:gd name="connsiteY619" fmla="*/ 986589 h 2084191"/>
              <a:gd name="connsiteX620" fmla="*/ 1679912 w 2051041"/>
              <a:gd name="connsiteY620" fmla="*/ 941422 h 2084191"/>
              <a:gd name="connsiteX621" fmla="*/ 1723990 w 2051041"/>
              <a:gd name="connsiteY621" fmla="*/ 897888 h 2084191"/>
              <a:gd name="connsiteX622" fmla="*/ 2050497 w 2051041"/>
              <a:gd name="connsiteY622" fmla="*/ 897344 h 2084191"/>
              <a:gd name="connsiteX623" fmla="*/ 2051041 w 2051041"/>
              <a:gd name="connsiteY623" fmla="*/ 897453 h 2084191"/>
              <a:gd name="connsiteX624" fmla="*/ 2051041 w 2051041"/>
              <a:gd name="connsiteY624" fmla="*/ 986917 h 2084191"/>
              <a:gd name="connsiteX625" fmla="*/ 2049952 w 2051041"/>
              <a:gd name="connsiteY625" fmla="*/ 987133 h 2084191"/>
              <a:gd name="connsiteX626" fmla="*/ 2005330 w 2051041"/>
              <a:gd name="connsiteY626" fmla="*/ 941422 h 2084191"/>
              <a:gd name="connsiteX627" fmla="*/ 2050497 w 2051041"/>
              <a:gd name="connsiteY627" fmla="*/ 897344 h 2084191"/>
              <a:gd name="connsiteX628" fmla="*/ 1887243 w 2051041"/>
              <a:gd name="connsiteY628" fmla="*/ 897344 h 2084191"/>
              <a:gd name="connsiteX629" fmla="*/ 1931866 w 2051041"/>
              <a:gd name="connsiteY629" fmla="*/ 942511 h 2084191"/>
              <a:gd name="connsiteX630" fmla="*/ 1887243 w 2051041"/>
              <a:gd name="connsiteY630" fmla="*/ 986589 h 2084191"/>
              <a:gd name="connsiteX631" fmla="*/ 1843165 w 2051041"/>
              <a:gd name="connsiteY631" fmla="*/ 941422 h 2084191"/>
              <a:gd name="connsiteX632" fmla="*/ 1887243 w 2051041"/>
              <a:gd name="connsiteY632" fmla="*/ 897344 h 2084191"/>
              <a:gd name="connsiteX633" fmla="*/ 172545 w 2051041"/>
              <a:gd name="connsiteY633" fmla="*/ 854354 h 2084191"/>
              <a:gd name="connsiteX634" fmla="*/ 179619 w 2051041"/>
              <a:gd name="connsiteY634" fmla="*/ 860884 h 2084191"/>
              <a:gd name="connsiteX635" fmla="*/ 173634 w 2051041"/>
              <a:gd name="connsiteY635" fmla="*/ 866870 h 2084191"/>
              <a:gd name="connsiteX636" fmla="*/ 166015 w 2051041"/>
              <a:gd name="connsiteY636" fmla="*/ 861973 h 2084191"/>
              <a:gd name="connsiteX637" fmla="*/ 172545 w 2051041"/>
              <a:gd name="connsiteY637" fmla="*/ 854354 h 2084191"/>
              <a:gd name="connsiteX638" fmla="*/ 336342 w 2051041"/>
              <a:gd name="connsiteY638" fmla="*/ 843471 h 2084191"/>
              <a:gd name="connsiteX639" fmla="*/ 353211 w 2051041"/>
              <a:gd name="connsiteY639" fmla="*/ 860340 h 2084191"/>
              <a:gd name="connsiteX640" fmla="*/ 336886 w 2051041"/>
              <a:gd name="connsiteY640" fmla="*/ 877210 h 2084191"/>
              <a:gd name="connsiteX641" fmla="*/ 320017 w 2051041"/>
              <a:gd name="connsiteY641" fmla="*/ 860884 h 2084191"/>
              <a:gd name="connsiteX642" fmla="*/ 336342 w 2051041"/>
              <a:gd name="connsiteY642" fmla="*/ 843471 h 2084191"/>
              <a:gd name="connsiteX643" fmla="*/ 500139 w 2051041"/>
              <a:gd name="connsiteY643" fmla="*/ 837485 h 2084191"/>
              <a:gd name="connsiteX644" fmla="*/ 522994 w 2051041"/>
              <a:gd name="connsiteY644" fmla="*/ 861428 h 2084191"/>
              <a:gd name="connsiteX645" fmla="*/ 499595 w 2051041"/>
              <a:gd name="connsiteY645" fmla="*/ 884284 h 2084191"/>
              <a:gd name="connsiteX646" fmla="*/ 476739 w 2051041"/>
              <a:gd name="connsiteY646" fmla="*/ 860340 h 2084191"/>
              <a:gd name="connsiteX647" fmla="*/ 500139 w 2051041"/>
              <a:gd name="connsiteY647" fmla="*/ 837485 h 2084191"/>
              <a:gd name="connsiteX648" fmla="*/ 662848 w 2051041"/>
              <a:gd name="connsiteY648" fmla="*/ 832587 h 2084191"/>
              <a:gd name="connsiteX649" fmla="*/ 690057 w 2051041"/>
              <a:gd name="connsiteY649" fmla="*/ 860340 h 2084191"/>
              <a:gd name="connsiteX650" fmla="*/ 662848 w 2051041"/>
              <a:gd name="connsiteY650" fmla="*/ 888637 h 2084191"/>
              <a:gd name="connsiteX651" fmla="*/ 634551 w 2051041"/>
              <a:gd name="connsiteY651" fmla="*/ 861428 h 2084191"/>
              <a:gd name="connsiteX652" fmla="*/ 662848 w 2051041"/>
              <a:gd name="connsiteY652" fmla="*/ 832587 h 2084191"/>
              <a:gd name="connsiteX653" fmla="*/ 826101 w 2051041"/>
              <a:gd name="connsiteY653" fmla="*/ 827146 h 2084191"/>
              <a:gd name="connsiteX654" fmla="*/ 859295 w 2051041"/>
              <a:gd name="connsiteY654" fmla="*/ 860885 h 2084191"/>
              <a:gd name="connsiteX655" fmla="*/ 825556 w 2051041"/>
              <a:gd name="connsiteY655" fmla="*/ 892991 h 2084191"/>
              <a:gd name="connsiteX656" fmla="*/ 793450 w 2051041"/>
              <a:gd name="connsiteY656" fmla="*/ 860885 h 2084191"/>
              <a:gd name="connsiteX657" fmla="*/ 826101 w 2051041"/>
              <a:gd name="connsiteY657" fmla="*/ 827146 h 2084191"/>
              <a:gd name="connsiteX658" fmla="*/ 988809 w 2051041"/>
              <a:gd name="connsiteY658" fmla="*/ 824424 h 2084191"/>
              <a:gd name="connsiteX659" fmla="*/ 1025813 w 2051041"/>
              <a:gd name="connsiteY659" fmla="*/ 860339 h 2084191"/>
              <a:gd name="connsiteX660" fmla="*/ 989897 w 2051041"/>
              <a:gd name="connsiteY660" fmla="*/ 897344 h 2084191"/>
              <a:gd name="connsiteX661" fmla="*/ 953437 w 2051041"/>
              <a:gd name="connsiteY661" fmla="*/ 861972 h 2084191"/>
              <a:gd name="connsiteX662" fmla="*/ 988809 w 2051041"/>
              <a:gd name="connsiteY662" fmla="*/ 824424 h 2084191"/>
              <a:gd name="connsiteX663" fmla="*/ 1153695 w 2051041"/>
              <a:gd name="connsiteY663" fmla="*/ 821704 h 2084191"/>
              <a:gd name="connsiteX664" fmla="*/ 1191243 w 2051041"/>
              <a:gd name="connsiteY664" fmla="*/ 861429 h 2084191"/>
              <a:gd name="connsiteX665" fmla="*/ 1152606 w 2051041"/>
              <a:gd name="connsiteY665" fmla="*/ 899521 h 2084191"/>
              <a:gd name="connsiteX666" fmla="*/ 1114514 w 2051041"/>
              <a:gd name="connsiteY666" fmla="*/ 859252 h 2084191"/>
              <a:gd name="connsiteX667" fmla="*/ 1153695 w 2051041"/>
              <a:gd name="connsiteY667" fmla="*/ 821704 h 2084191"/>
              <a:gd name="connsiteX668" fmla="*/ 1316403 w 2051041"/>
              <a:gd name="connsiteY668" fmla="*/ 818982 h 2084191"/>
              <a:gd name="connsiteX669" fmla="*/ 1357216 w 2051041"/>
              <a:gd name="connsiteY669" fmla="*/ 860884 h 2084191"/>
              <a:gd name="connsiteX670" fmla="*/ 1315315 w 2051041"/>
              <a:gd name="connsiteY670" fmla="*/ 901697 h 2084191"/>
              <a:gd name="connsiteX671" fmla="*/ 1274501 w 2051041"/>
              <a:gd name="connsiteY671" fmla="*/ 860340 h 2084191"/>
              <a:gd name="connsiteX672" fmla="*/ 1316403 w 2051041"/>
              <a:gd name="connsiteY672" fmla="*/ 818982 h 2084191"/>
              <a:gd name="connsiteX673" fmla="*/ 1479112 w 2051041"/>
              <a:gd name="connsiteY673" fmla="*/ 816806 h 2084191"/>
              <a:gd name="connsiteX674" fmla="*/ 1522646 w 2051041"/>
              <a:gd name="connsiteY674" fmla="*/ 860340 h 2084191"/>
              <a:gd name="connsiteX675" fmla="*/ 1479656 w 2051041"/>
              <a:gd name="connsiteY675" fmla="*/ 904419 h 2084191"/>
              <a:gd name="connsiteX676" fmla="*/ 1435578 w 2051041"/>
              <a:gd name="connsiteY676" fmla="*/ 860884 h 2084191"/>
              <a:gd name="connsiteX677" fmla="*/ 1479112 w 2051041"/>
              <a:gd name="connsiteY677" fmla="*/ 816806 h 2084191"/>
              <a:gd name="connsiteX678" fmla="*/ 1642909 w 2051041"/>
              <a:gd name="connsiteY678" fmla="*/ 815718 h 2084191"/>
              <a:gd name="connsiteX679" fmla="*/ 1686987 w 2051041"/>
              <a:gd name="connsiteY679" fmla="*/ 860885 h 2084191"/>
              <a:gd name="connsiteX680" fmla="*/ 1641276 w 2051041"/>
              <a:gd name="connsiteY680" fmla="*/ 905507 h 2084191"/>
              <a:gd name="connsiteX681" fmla="*/ 1597742 w 2051041"/>
              <a:gd name="connsiteY681" fmla="*/ 860340 h 2084191"/>
              <a:gd name="connsiteX682" fmla="*/ 1642909 w 2051041"/>
              <a:gd name="connsiteY682" fmla="*/ 815718 h 2084191"/>
              <a:gd name="connsiteX683" fmla="*/ 1806161 w 2051041"/>
              <a:gd name="connsiteY683" fmla="*/ 815173 h 2084191"/>
              <a:gd name="connsiteX684" fmla="*/ 1852416 w 2051041"/>
              <a:gd name="connsiteY684" fmla="*/ 860884 h 2084191"/>
              <a:gd name="connsiteX685" fmla="*/ 1805617 w 2051041"/>
              <a:gd name="connsiteY685" fmla="*/ 906594 h 2084191"/>
              <a:gd name="connsiteX686" fmla="*/ 1759906 w 2051041"/>
              <a:gd name="connsiteY686" fmla="*/ 860884 h 2084191"/>
              <a:gd name="connsiteX687" fmla="*/ 1806161 w 2051041"/>
              <a:gd name="connsiteY687" fmla="*/ 815173 h 2084191"/>
              <a:gd name="connsiteX688" fmla="*/ 1968326 w 2051041"/>
              <a:gd name="connsiteY688" fmla="*/ 812453 h 2084191"/>
              <a:gd name="connsiteX689" fmla="*/ 2000977 w 2051041"/>
              <a:gd name="connsiteY689" fmla="*/ 826057 h 2084191"/>
              <a:gd name="connsiteX690" fmla="*/ 2015670 w 2051041"/>
              <a:gd name="connsiteY690" fmla="*/ 859796 h 2084191"/>
              <a:gd name="connsiteX691" fmla="*/ 1969415 w 2051041"/>
              <a:gd name="connsiteY691" fmla="*/ 907684 h 2084191"/>
              <a:gd name="connsiteX692" fmla="*/ 1922071 w 2051041"/>
              <a:gd name="connsiteY692" fmla="*/ 860885 h 2084191"/>
              <a:gd name="connsiteX693" fmla="*/ 1968326 w 2051041"/>
              <a:gd name="connsiteY693" fmla="*/ 812453 h 2084191"/>
              <a:gd name="connsiteX694" fmla="*/ 255260 w 2051041"/>
              <a:gd name="connsiteY694" fmla="*/ 762932 h 2084191"/>
              <a:gd name="connsiteX695" fmla="*/ 270497 w 2051041"/>
              <a:gd name="connsiteY695" fmla="*/ 779802 h 2084191"/>
              <a:gd name="connsiteX696" fmla="*/ 254172 w 2051041"/>
              <a:gd name="connsiteY696" fmla="*/ 795038 h 2084191"/>
              <a:gd name="connsiteX697" fmla="*/ 238935 w 2051041"/>
              <a:gd name="connsiteY697" fmla="*/ 778713 h 2084191"/>
              <a:gd name="connsiteX698" fmla="*/ 255260 w 2051041"/>
              <a:gd name="connsiteY698" fmla="*/ 762932 h 2084191"/>
              <a:gd name="connsiteX699" fmla="*/ 416881 w 2051041"/>
              <a:gd name="connsiteY699" fmla="*/ 756402 h 2084191"/>
              <a:gd name="connsiteX700" fmla="*/ 440280 w 2051041"/>
              <a:gd name="connsiteY700" fmla="*/ 778713 h 2084191"/>
              <a:gd name="connsiteX701" fmla="*/ 419057 w 2051041"/>
              <a:gd name="connsiteY701" fmla="*/ 801024 h 2084191"/>
              <a:gd name="connsiteX702" fmla="*/ 396202 w 2051041"/>
              <a:gd name="connsiteY702" fmla="*/ 779257 h 2084191"/>
              <a:gd name="connsiteX703" fmla="*/ 416881 w 2051041"/>
              <a:gd name="connsiteY703" fmla="*/ 756402 h 2084191"/>
              <a:gd name="connsiteX704" fmla="*/ 581766 w 2051041"/>
              <a:gd name="connsiteY704" fmla="*/ 751505 h 2084191"/>
              <a:gd name="connsiteX705" fmla="*/ 608975 w 2051041"/>
              <a:gd name="connsiteY705" fmla="*/ 779802 h 2084191"/>
              <a:gd name="connsiteX706" fmla="*/ 580678 w 2051041"/>
              <a:gd name="connsiteY706" fmla="*/ 806467 h 2084191"/>
              <a:gd name="connsiteX707" fmla="*/ 553469 w 2051041"/>
              <a:gd name="connsiteY707" fmla="*/ 778714 h 2084191"/>
              <a:gd name="connsiteX708" fmla="*/ 581766 w 2051041"/>
              <a:gd name="connsiteY708" fmla="*/ 751505 h 2084191"/>
              <a:gd name="connsiteX709" fmla="*/ 746107 w 2051041"/>
              <a:gd name="connsiteY709" fmla="*/ 746607 h 2084191"/>
              <a:gd name="connsiteX710" fmla="*/ 777125 w 2051041"/>
              <a:gd name="connsiteY710" fmla="*/ 780346 h 2084191"/>
              <a:gd name="connsiteX711" fmla="*/ 742842 w 2051041"/>
              <a:gd name="connsiteY711" fmla="*/ 811364 h 2084191"/>
              <a:gd name="connsiteX712" fmla="*/ 712368 w 2051041"/>
              <a:gd name="connsiteY712" fmla="*/ 778713 h 2084191"/>
              <a:gd name="connsiteX713" fmla="*/ 746107 w 2051041"/>
              <a:gd name="connsiteY713" fmla="*/ 746607 h 2084191"/>
              <a:gd name="connsiteX714" fmla="*/ 907727 w 2051041"/>
              <a:gd name="connsiteY714" fmla="*/ 741710 h 2084191"/>
              <a:gd name="connsiteX715" fmla="*/ 944187 w 2051041"/>
              <a:gd name="connsiteY715" fmla="*/ 778714 h 2084191"/>
              <a:gd name="connsiteX716" fmla="*/ 907727 w 2051041"/>
              <a:gd name="connsiteY716" fmla="*/ 815174 h 2084191"/>
              <a:gd name="connsiteX717" fmla="*/ 872355 w 2051041"/>
              <a:gd name="connsiteY717" fmla="*/ 779258 h 2084191"/>
              <a:gd name="connsiteX718" fmla="*/ 907727 w 2051041"/>
              <a:gd name="connsiteY718" fmla="*/ 741710 h 2084191"/>
              <a:gd name="connsiteX719" fmla="*/ 1070979 w 2051041"/>
              <a:gd name="connsiteY719" fmla="*/ 740621 h 2084191"/>
              <a:gd name="connsiteX720" fmla="*/ 1110160 w 2051041"/>
              <a:gd name="connsiteY720" fmla="*/ 779258 h 2084191"/>
              <a:gd name="connsiteX721" fmla="*/ 1070979 w 2051041"/>
              <a:gd name="connsiteY721" fmla="*/ 817894 h 2084191"/>
              <a:gd name="connsiteX722" fmla="*/ 1031799 w 2051041"/>
              <a:gd name="connsiteY722" fmla="*/ 778714 h 2084191"/>
              <a:gd name="connsiteX723" fmla="*/ 1070979 w 2051041"/>
              <a:gd name="connsiteY723" fmla="*/ 740621 h 2084191"/>
              <a:gd name="connsiteX724" fmla="*/ 1233688 w 2051041"/>
              <a:gd name="connsiteY724" fmla="*/ 736268 h 2084191"/>
              <a:gd name="connsiteX725" fmla="*/ 1276134 w 2051041"/>
              <a:gd name="connsiteY725" fmla="*/ 777625 h 2084191"/>
              <a:gd name="connsiteX726" fmla="*/ 1235320 w 2051041"/>
              <a:gd name="connsiteY726" fmla="*/ 820615 h 2084191"/>
              <a:gd name="connsiteX727" fmla="*/ 1192331 w 2051041"/>
              <a:gd name="connsiteY727" fmla="*/ 779258 h 2084191"/>
              <a:gd name="connsiteX728" fmla="*/ 1233688 w 2051041"/>
              <a:gd name="connsiteY728" fmla="*/ 736268 h 2084191"/>
              <a:gd name="connsiteX729" fmla="*/ 1397485 w 2051041"/>
              <a:gd name="connsiteY729" fmla="*/ 735724 h 2084191"/>
              <a:gd name="connsiteX730" fmla="*/ 1441019 w 2051041"/>
              <a:gd name="connsiteY730" fmla="*/ 779802 h 2084191"/>
              <a:gd name="connsiteX731" fmla="*/ 1396397 w 2051041"/>
              <a:gd name="connsiteY731" fmla="*/ 823336 h 2084191"/>
              <a:gd name="connsiteX732" fmla="*/ 1352863 w 2051041"/>
              <a:gd name="connsiteY732" fmla="*/ 779258 h 2084191"/>
              <a:gd name="connsiteX733" fmla="*/ 1397485 w 2051041"/>
              <a:gd name="connsiteY733" fmla="*/ 735724 h 2084191"/>
              <a:gd name="connsiteX734" fmla="*/ 1562371 w 2051041"/>
              <a:gd name="connsiteY734" fmla="*/ 734636 h 2084191"/>
              <a:gd name="connsiteX735" fmla="*/ 1605905 w 2051041"/>
              <a:gd name="connsiteY735" fmla="*/ 779802 h 2084191"/>
              <a:gd name="connsiteX736" fmla="*/ 1560194 w 2051041"/>
              <a:gd name="connsiteY736" fmla="*/ 823881 h 2084191"/>
              <a:gd name="connsiteX737" fmla="*/ 1515572 w 2051041"/>
              <a:gd name="connsiteY737" fmla="*/ 777626 h 2084191"/>
              <a:gd name="connsiteX738" fmla="*/ 1562371 w 2051041"/>
              <a:gd name="connsiteY738" fmla="*/ 734636 h 2084191"/>
              <a:gd name="connsiteX739" fmla="*/ 1724535 w 2051041"/>
              <a:gd name="connsiteY739" fmla="*/ 730827 h 2084191"/>
              <a:gd name="connsiteX740" fmla="*/ 1772422 w 2051041"/>
              <a:gd name="connsiteY740" fmla="*/ 779258 h 2084191"/>
              <a:gd name="connsiteX741" fmla="*/ 1723446 w 2051041"/>
              <a:gd name="connsiteY741" fmla="*/ 826602 h 2084191"/>
              <a:gd name="connsiteX742" fmla="*/ 1676647 w 2051041"/>
              <a:gd name="connsiteY742" fmla="*/ 778714 h 2084191"/>
              <a:gd name="connsiteX743" fmla="*/ 1724535 w 2051041"/>
              <a:gd name="connsiteY743" fmla="*/ 730827 h 2084191"/>
              <a:gd name="connsiteX744" fmla="*/ 1886699 w 2051041"/>
              <a:gd name="connsiteY744" fmla="*/ 730826 h 2084191"/>
              <a:gd name="connsiteX745" fmla="*/ 1935131 w 2051041"/>
              <a:gd name="connsiteY745" fmla="*/ 778713 h 2084191"/>
              <a:gd name="connsiteX746" fmla="*/ 1887244 w 2051041"/>
              <a:gd name="connsiteY746" fmla="*/ 827145 h 2084191"/>
              <a:gd name="connsiteX747" fmla="*/ 1838812 w 2051041"/>
              <a:gd name="connsiteY747" fmla="*/ 778713 h 2084191"/>
              <a:gd name="connsiteX748" fmla="*/ 1886699 w 2051041"/>
              <a:gd name="connsiteY748" fmla="*/ 730826 h 2084191"/>
              <a:gd name="connsiteX749" fmla="*/ 2050496 w 2051041"/>
              <a:gd name="connsiteY749" fmla="*/ 730282 h 2084191"/>
              <a:gd name="connsiteX750" fmla="*/ 2051041 w 2051041"/>
              <a:gd name="connsiteY750" fmla="*/ 730396 h 2084191"/>
              <a:gd name="connsiteX751" fmla="*/ 2051041 w 2051041"/>
              <a:gd name="connsiteY751" fmla="*/ 826942 h 2084191"/>
              <a:gd name="connsiteX752" fmla="*/ 2049952 w 2051041"/>
              <a:gd name="connsiteY752" fmla="*/ 827145 h 2084191"/>
              <a:gd name="connsiteX753" fmla="*/ 2002065 w 2051041"/>
              <a:gd name="connsiteY753" fmla="*/ 778169 h 2084191"/>
              <a:gd name="connsiteX754" fmla="*/ 2050496 w 2051041"/>
              <a:gd name="connsiteY754" fmla="*/ 730282 h 2084191"/>
              <a:gd name="connsiteX755" fmla="*/ 173634 w 2051041"/>
              <a:gd name="connsiteY755" fmla="*/ 685660 h 2084191"/>
              <a:gd name="connsiteX756" fmla="*/ 184518 w 2051041"/>
              <a:gd name="connsiteY756" fmla="*/ 698176 h 2084191"/>
              <a:gd name="connsiteX757" fmla="*/ 172546 w 2051041"/>
              <a:gd name="connsiteY757" fmla="*/ 709059 h 2084191"/>
              <a:gd name="connsiteX758" fmla="*/ 161118 w 2051041"/>
              <a:gd name="connsiteY758" fmla="*/ 697088 h 2084191"/>
              <a:gd name="connsiteX759" fmla="*/ 173634 w 2051041"/>
              <a:gd name="connsiteY759" fmla="*/ 685660 h 2084191"/>
              <a:gd name="connsiteX760" fmla="*/ 335798 w 2051041"/>
              <a:gd name="connsiteY760" fmla="*/ 675320 h 2084191"/>
              <a:gd name="connsiteX761" fmla="*/ 357565 w 2051041"/>
              <a:gd name="connsiteY761" fmla="*/ 696543 h 2084191"/>
              <a:gd name="connsiteX762" fmla="*/ 336342 w 2051041"/>
              <a:gd name="connsiteY762" fmla="*/ 718854 h 2084191"/>
              <a:gd name="connsiteX763" fmla="*/ 315120 w 2051041"/>
              <a:gd name="connsiteY763" fmla="*/ 697631 h 2084191"/>
              <a:gd name="connsiteX764" fmla="*/ 335798 w 2051041"/>
              <a:gd name="connsiteY764" fmla="*/ 675320 h 2084191"/>
              <a:gd name="connsiteX765" fmla="*/ 499051 w 2051041"/>
              <a:gd name="connsiteY765" fmla="*/ 670423 h 2084191"/>
              <a:gd name="connsiteX766" fmla="*/ 526804 w 2051041"/>
              <a:gd name="connsiteY766" fmla="*/ 697088 h 2084191"/>
              <a:gd name="connsiteX767" fmla="*/ 499595 w 2051041"/>
              <a:gd name="connsiteY767" fmla="*/ 724296 h 2084191"/>
              <a:gd name="connsiteX768" fmla="*/ 472930 w 2051041"/>
              <a:gd name="connsiteY768" fmla="*/ 697632 h 2084191"/>
              <a:gd name="connsiteX769" fmla="*/ 499051 w 2051041"/>
              <a:gd name="connsiteY769" fmla="*/ 670423 h 2084191"/>
              <a:gd name="connsiteX770" fmla="*/ 662848 w 2051041"/>
              <a:gd name="connsiteY770" fmla="*/ 665525 h 2084191"/>
              <a:gd name="connsiteX771" fmla="*/ 694954 w 2051041"/>
              <a:gd name="connsiteY771" fmla="*/ 697087 h 2084191"/>
              <a:gd name="connsiteX772" fmla="*/ 663392 w 2051041"/>
              <a:gd name="connsiteY772" fmla="*/ 729194 h 2084191"/>
              <a:gd name="connsiteX773" fmla="*/ 632374 w 2051041"/>
              <a:gd name="connsiteY773" fmla="*/ 698176 h 2084191"/>
              <a:gd name="connsiteX774" fmla="*/ 662848 w 2051041"/>
              <a:gd name="connsiteY774" fmla="*/ 665525 h 2084191"/>
              <a:gd name="connsiteX775" fmla="*/ 825013 w 2051041"/>
              <a:gd name="connsiteY775" fmla="*/ 663349 h 2084191"/>
              <a:gd name="connsiteX776" fmla="*/ 860384 w 2051041"/>
              <a:gd name="connsiteY776" fmla="*/ 697632 h 2084191"/>
              <a:gd name="connsiteX777" fmla="*/ 826101 w 2051041"/>
              <a:gd name="connsiteY777" fmla="*/ 731915 h 2084191"/>
              <a:gd name="connsiteX778" fmla="*/ 791818 w 2051041"/>
              <a:gd name="connsiteY778" fmla="*/ 698176 h 2084191"/>
              <a:gd name="connsiteX779" fmla="*/ 825013 w 2051041"/>
              <a:gd name="connsiteY779" fmla="*/ 663349 h 2084191"/>
              <a:gd name="connsiteX780" fmla="*/ 988809 w 2051041"/>
              <a:gd name="connsiteY780" fmla="*/ 658995 h 2084191"/>
              <a:gd name="connsiteX781" fmla="*/ 1027446 w 2051041"/>
              <a:gd name="connsiteY781" fmla="*/ 697087 h 2084191"/>
              <a:gd name="connsiteX782" fmla="*/ 989353 w 2051041"/>
              <a:gd name="connsiteY782" fmla="*/ 735723 h 2084191"/>
              <a:gd name="connsiteX783" fmla="*/ 950717 w 2051041"/>
              <a:gd name="connsiteY783" fmla="*/ 697631 h 2084191"/>
              <a:gd name="connsiteX784" fmla="*/ 988809 w 2051041"/>
              <a:gd name="connsiteY784" fmla="*/ 658995 h 2084191"/>
              <a:gd name="connsiteX785" fmla="*/ 1152607 w 2051041"/>
              <a:gd name="connsiteY785" fmla="*/ 655729 h 2084191"/>
              <a:gd name="connsiteX786" fmla="*/ 1195052 w 2051041"/>
              <a:gd name="connsiteY786" fmla="*/ 697087 h 2084191"/>
              <a:gd name="connsiteX787" fmla="*/ 1153151 w 2051041"/>
              <a:gd name="connsiteY787" fmla="*/ 739533 h 2084191"/>
              <a:gd name="connsiteX788" fmla="*/ 1110705 w 2051041"/>
              <a:gd name="connsiteY788" fmla="*/ 697631 h 2084191"/>
              <a:gd name="connsiteX789" fmla="*/ 1152607 w 2051041"/>
              <a:gd name="connsiteY789" fmla="*/ 655729 h 2084191"/>
              <a:gd name="connsiteX790" fmla="*/ 1316948 w 2051041"/>
              <a:gd name="connsiteY790" fmla="*/ 653554 h 2084191"/>
              <a:gd name="connsiteX791" fmla="*/ 1359937 w 2051041"/>
              <a:gd name="connsiteY791" fmla="*/ 697632 h 2084191"/>
              <a:gd name="connsiteX792" fmla="*/ 1315315 w 2051041"/>
              <a:gd name="connsiteY792" fmla="*/ 740622 h 2084191"/>
              <a:gd name="connsiteX793" fmla="*/ 1271781 w 2051041"/>
              <a:gd name="connsiteY793" fmla="*/ 696544 h 2084191"/>
              <a:gd name="connsiteX794" fmla="*/ 1316948 w 2051041"/>
              <a:gd name="connsiteY794" fmla="*/ 653554 h 2084191"/>
              <a:gd name="connsiteX795" fmla="*/ 1479112 w 2051041"/>
              <a:gd name="connsiteY795" fmla="*/ 651921 h 2084191"/>
              <a:gd name="connsiteX796" fmla="*/ 1524823 w 2051041"/>
              <a:gd name="connsiteY796" fmla="*/ 697088 h 2084191"/>
              <a:gd name="connsiteX797" fmla="*/ 1479112 w 2051041"/>
              <a:gd name="connsiteY797" fmla="*/ 742254 h 2084191"/>
              <a:gd name="connsiteX798" fmla="*/ 1433945 w 2051041"/>
              <a:gd name="connsiteY798" fmla="*/ 697088 h 2084191"/>
              <a:gd name="connsiteX799" fmla="*/ 1479112 w 2051041"/>
              <a:gd name="connsiteY799" fmla="*/ 651921 h 2084191"/>
              <a:gd name="connsiteX800" fmla="*/ 1642909 w 2051041"/>
              <a:gd name="connsiteY800" fmla="*/ 649744 h 2084191"/>
              <a:gd name="connsiteX801" fmla="*/ 1690796 w 2051041"/>
              <a:gd name="connsiteY801" fmla="*/ 697087 h 2084191"/>
              <a:gd name="connsiteX802" fmla="*/ 1642909 w 2051041"/>
              <a:gd name="connsiteY802" fmla="*/ 745519 h 2084191"/>
              <a:gd name="connsiteX803" fmla="*/ 1594477 w 2051041"/>
              <a:gd name="connsiteY803" fmla="*/ 697632 h 2084191"/>
              <a:gd name="connsiteX804" fmla="*/ 1642909 w 2051041"/>
              <a:gd name="connsiteY804" fmla="*/ 649744 h 2084191"/>
              <a:gd name="connsiteX805" fmla="*/ 1805617 w 2051041"/>
              <a:gd name="connsiteY805" fmla="*/ 648112 h 2084191"/>
              <a:gd name="connsiteX806" fmla="*/ 1854593 w 2051041"/>
              <a:gd name="connsiteY806" fmla="*/ 698176 h 2084191"/>
              <a:gd name="connsiteX807" fmla="*/ 1805073 w 2051041"/>
              <a:gd name="connsiteY807" fmla="*/ 746607 h 2084191"/>
              <a:gd name="connsiteX808" fmla="*/ 1756097 w 2051041"/>
              <a:gd name="connsiteY808" fmla="*/ 697087 h 2084191"/>
              <a:gd name="connsiteX809" fmla="*/ 1805617 w 2051041"/>
              <a:gd name="connsiteY809" fmla="*/ 648112 h 2084191"/>
              <a:gd name="connsiteX810" fmla="*/ 1969414 w 2051041"/>
              <a:gd name="connsiteY810" fmla="*/ 647023 h 2084191"/>
              <a:gd name="connsiteX811" fmla="*/ 2018934 w 2051041"/>
              <a:gd name="connsiteY811" fmla="*/ 698176 h 2084191"/>
              <a:gd name="connsiteX812" fmla="*/ 1968326 w 2051041"/>
              <a:gd name="connsiteY812" fmla="*/ 746063 h 2084191"/>
              <a:gd name="connsiteX813" fmla="*/ 1918806 w 2051041"/>
              <a:gd name="connsiteY813" fmla="*/ 697087 h 2084191"/>
              <a:gd name="connsiteX814" fmla="*/ 1969414 w 2051041"/>
              <a:gd name="connsiteY814" fmla="*/ 647023 h 2084191"/>
              <a:gd name="connsiteX815" fmla="*/ 90919 w 2051041"/>
              <a:gd name="connsiteY815" fmla="*/ 606754 h 2084191"/>
              <a:gd name="connsiteX816" fmla="*/ 99626 w 2051041"/>
              <a:gd name="connsiteY816" fmla="*/ 615460 h 2084191"/>
              <a:gd name="connsiteX817" fmla="*/ 92007 w 2051041"/>
              <a:gd name="connsiteY817" fmla="*/ 627976 h 2084191"/>
              <a:gd name="connsiteX818" fmla="*/ 82756 w 2051041"/>
              <a:gd name="connsiteY818" fmla="*/ 616005 h 2084191"/>
              <a:gd name="connsiteX819" fmla="*/ 90919 w 2051041"/>
              <a:gd name="connsiteY819" fmla="*/ 606754 h 2084191"/>
              <a:gd name="connsiteX820" fmla="*/ 254172 w 2051041"/>
              <a:gd name="connsiteY820" fmla="*/ 598047 h 2084191"/>
              <a:gd name="connsiteX821" fmla="*/ 272674 w 2051041"/>
              <a:gd name="connsiteY821" fmla="*/ 614917 h 2084191"/>
              <a:gd name="connsiteX822" fmla="*/ 255260 w 2051041"/>
              <a:gd name="connsiteY822" fmla="*/ 633419 h 2084191"/>
              <a:gd name="connsiteX823" fmla="*/ 236758 w 2051041"/>
              <a:gd name="connsiteY823" fmla="*/ 616005 h 2084191"/>
              <a:gd name="connsiteX824" fmla="*/ 254172 w 2051041"/>
              <a:gd name="connsiteY824" fmla="*/ 598047 h 2084191"/>
              <a:gd name="connsiteX825" fmla="*/ 418513 w 2051041"/>
              <a:gd name="connsiteY825" fmla="*/ 590429 h 2084191"/>
              <a:gd name="connsiteX826" fmla="*/ 443001 w 2051041"/>
              <a:gd name="connsiteY826" fmla="*/ 614917 h 2084191"/>
              <a:gd name="connsiteX827" fmla="*/ 419058 w 2051041"/>
              <a:gd name="connsiteY827" fmla="*/ 640493 h 2084191"/>
              <a:gd name="connsiteX828" fmla="*/ 392937 w 2051041"/>
              <a:gd name="connsiteY828" fmla="*/ 616005 h 2084191"/>
              <a:gd name="connsiteX829" fmla="*/ 418513 w 2051041"/>
              <a:gd name="connsiteY829" fmla="*/ 590429 h 2084191"/>
              <a:gd name="connsiteX830" fmla="*/ 581222 w 2051041"/>
              <a:gd name="connsiteY830" fmla="*/ 587163 h 2084191"/>
              <a:gd name="connsiteX831" fmla="*/ 610063 w 2051041"/>
              <a:gd name="connsiteY831" fmla="*/ 616549 h 2084191"/>
              <a:gd name="connsiteX832" fmla="*/ 580677 w 2051041"/>
              <a:gd name="connsiteY832" fmla="*/ 645390 h 2084191"/>
              <a:gd name="connsiteX833" fmla="*/ 551836 w 2051041"/>
              <a:gd name="connsiteY833" fmla="*/ 615461 h 2084191"/>
              <a:gd name="connsiteX834" fmla="*/ 581222 w 2051041"/>
              <a:gd name="connsiteY834" fmla="*/ 587163 h 2084191"/>
              <a:gd name="connsiteX835" fmla="*/ 743930 w 2051041"/>
              <a:gd name="connsiteY835" fmla="*/ 582266 h 2084191"/>
              <a:gd name="connsiteX836" fmla="*/ 779301 w 2051041"/>
              <a:gd name="connsiteY836" fmla="*/ 616005 h 2084191"/>
              <a:gd name="connsiteX837" fmla="*/ 745563 w 2051041"/>
              <a:gd name="connsiteY837" fmla="*/ 649744 h 2084191"/>
              <a:gd name="connsiteX838" fmla="*/ 711824 w 2051041"/>
              <a:gd name="connsiteY838" fmla="*/ 616549 h 2084191"/>
              <a:gd name="connsiteX839" fmla="*/ 743930 w 2051041"/>
              <a:gd name="connsiteY839" fmla="*/ 582266 h 2084191"/>
              <a:gd name="connsiteX840" fmla="*/ 907183 w 2051041"/>
              <a:gd name="connsiteY840" fmla="*/ 577913 h 2084191"/>
              <a:gd name="connsiteX841" fmla="*/ 945276 w 2051041"/>
              <a:gd name="connsiteY841" fmla="*/ 615461 h 2084191"/>
              <a:gd name="connsiteX842" fmla="*/ 907727 w 2051041"/>
              <a:gd name="connsiteY842" fmla="*/ 654098 h 2084191"/>
              <a:gd name="connsiteX843" fmla="*/ 869091 w 2051041"/>
              <a:gd name="connsiteY843" fmla="*/ 616006 h 2084191"/>
              <a:gd name="connsiteX844" fmla="*/ 907183 w 2051041"/>
              <a:gd name="connsiteY844" fmla="*/ 577913 h 2084191"/>
              <a:gd name="connsiteX845" fmla="*/ 1069891 w 2051041"/>
              <a:gd name="connsiteY845" fmla="*/ 574648 h 2084191"/>
              <a:gd name="connsiteX846" fmla="*/ 1111248 w 2051041"/>
              <a:gd name="connsiteY846" fmla="*/ 615461 h 2084191"/>
              <a:gd name="connsiteX847" fmla="*/ 1070435 w 2051041"/>
              <a:gd name="connsiteY847" fmla="*/ 656274 h 2084191"/>
              <a:gd name="connsiteX848" fmla="*/ 1029622 w 2051041"/>
              <a:gd name="connsiteY848" fmla="*/ 614917 h 2084191"/>
              <a:gd name="connsiteX849" fmla="*/ 1069891 w 2051041"/>
              <a:gd name="connsiteY849" fmla="*/ 574648 h 2084191"/>
              <a:gd name="connsiteX850" fmla="*/ 1235321 w 2051041"/>
              <a:gd name="connsiteY850" fmla="*/ 572472 h 2084191"/>
              <a:gd name="connsiteX851" fmla="*/ 1277222 w 2051041"/>
              <a:gd name="connsiteY851" fmla="*/ 616550 h 2084191"/>
              <a:gd name="connsiteX852" fmla="*/ 1233688 w 2051041"/>
              <a:gd name="connsiteY852" fmla="*/ 660084 h 2084191"/>
              <a:gd name="connsiteX853" fmla="*/ 1190154 w 2051041"/>
              <a:gd name="connsiteY853" fmla="*/ 614917 h 2084191"/>
              <a:gd name="connsiteX854" fmla="*/ 1235321 w 2051041"/>
              <a:gd name="connsiteY854" fmla="*/ 572472 h 2084191"/>
              <a:gd name="connsiteX855" fmla="*/ 1397485 w 2051041"/>
              <a:gd name="connsiteY855" fmla="*/ 569206 h 2084191"/>
              <a:gd name="connsiteX856" fmla="*/ 1443196 w 2051041"/>
              <a:gd name="connsiteY856" fmla="*/ 616005 h 2084191"/>
              <a:gd name="connsiteX857" fmla="*/ 1396941 w 2051041"/>
              <a:gd name="connsiteY857" fmla="*/ 661172 h 2084191"/>
              <a:gd name="connsiteX858" fmla="*/ 1351775 w 2051041"/>
              <a:gd name="connsiteY858" fmla="*/ 614373 h 2084191"/>
              <a:gd name="connsiteX859" fmla="*/ 1397485 w 2051041"/>
              <a:gd name="connsiteY859" fmla="*/ 569206 h 2084191"/>
              <a:gd name="connsiteX860" fmla="*/ 1560738 w 2051041"/>
              <a:gd name="connsiteY860" fmla="*/ 567029 h 2084191"/>
              <a:gd name="connsiteX861" fmla="*/ 1609714 w 2051041"/>
              <a:gd name="connsiteY861" fmla="*/ 615461 h 2084191"/>
              <a:gd name="connsiteX862" fmla="*/ 1561283 w 2051041"/>
              <a:gd name="connsiteY862" fmla="*/ 663892 h 2084191"/>
              <a:gd name="connsiteX863" fmla="*/ 1512851 w 2051041"/>
              <a:gd name="connsiteY863" fmla="*/ 616005 h 2084191"/>
              <a:gd name="connsiteX864" fmla="*/ 1560738 w 2051041"/>
              <a:gd name="connsiteY864" fmla="*/ 567029 h 2084191"/>
              <a:gd name="connsiteX865" fmla="*/ 1725624 w 2051041"/>
              <a:gd name="connsiteY865" fmla="*/ 565397 h 2084191"/>
              <a:gd name="connsiteX866" fmla="*/ 1774599 w 2051041"/>
              <a:gd name="connsiteY866" fmla="*/ 616005 h 2084191"/>
              <a:gd name="connsiteX867" fmla="*/ 1723447 w 2051041"/>
              <a:gd name="connsiteY867" fmla="*/ 664981 h 2084191"/>
              <a:gd name="connsiteX868" fmla="*/ 1674471 w 2051041"/>
              <a:gd name="connsiteY868" fmla="*/ 615461 h 2084191"/>
              <a:gd name="connsiteX869" fmla="*/ 1725624 w 2051041"/>
              <a:gd name="connsiteY869" fmla="*/ 565397 h 2084191"/>
              <a:gd name="connsiteX870" fmla="*/ 1886699 w 2051041"/>
              <a:gd name="connsiteY870" fmla="*/ 564853 h 2084191"/>
              <a:gd name="connsiteX871" fmla="*/ 1938396 w 2051041"/>
              <a:gd name="connsiteY871" fmla="*/ 614917 h 2084191"/>
              <a:gd name="connsiteX872" fmla="*/ 1887787 w 2051041"/>
              <a:gd name="connsiteY872" fmla="*/ 665525 h 2084191"/>
              <a:gd name="connsiteX873" fmla="*/ 1837179 w 2051041"/>
              <a:gd name="connsiteY873" fmla="*/ 615461 h 2084191"/>
              <a:gd name="connsiteX874" fmla="*/ 1886699 w 2051041"/>
              <a:gd name="connsiteY874" fmla="*/ 564853 h 2084191"/>
              <a:gd name="connsiteX875" fmla="*/ 2050496 w 2051041"/>
              <a:gd name="connsiteY875" fmla="*/ 564852 h 2084191"/>
              <a:gd name="connsiteX876" fmla="*/ 2051041 w 2051041"/>
              <a:gd name="connsiteY876" fmla="*/ 564962 h 2084191"/>
              <a:gd name="connsiteX877" fmla="*/ 2051041 w 2051041"/>
              <a:gd name="connsiteY877" fmla="*/ 665899 h 2084191"/>
              <a:gd name="connsiteX878" fmla="*/ 2049952 w 2051041"/>
              <a:gd name="connsiteY878" fmla="*/ 666069 h 2084191"/>
              <a:gd name="connsiteX879" fmla="*/ 1999344 w 2051041"/>
              <a:gd name="connsiteY879" fmla="*/ 615460 h 2084191"/>
              <a:gd name="connsiteX880" fmla="*/ 2050496 w 2051041"/>
              <a:gd name="connsiteY880" fmla="*/ 564852 h 2084191"/>
              <a:gd name="connsiteX881" fmla="*/ 173090 w 2051041"/>
              <a:gd name="connsiteY881" fmla="*/ 517509 h 2084191"/>
              <a:gd name="connsiteX882" fmla="*/ 189959 w 2051041"/>
              <a:gd name="connsiteY882" fmla="*/ 533834 h 2084191"/>
              <a:gd name="connsiteX883" fmla="*/ 173634 w 2051041"/>
              <a:gd name="connsiteY883" fmla="*/ 550160 h 2084191"/>
              <a:gd name="connsiteX884" fmla="*/ 157308 w 2051041"/>
              <a:gd name="connsiteY884" fmla="*/ 534923 h 2084191"/>
              <a:gd name="connsiteX885" fmla="*/ 173090 w 2051041"/>
              <a:gd name="connsiteY885" fmla="*/ 517509 h 2084191"/>
              <a:gd name="connsiteX886" fmla="*/ 335798 w 2051041"/>
              <a:gd name="connsiteY886" fmla="*/ 511523 h 2084191"/>
              <a:gd name="connsiteX887" fmla="*/ 358654 w 2051041"/>
              <a:gd name="connsiteY887" fmla="*/ 533834 h 2084191"/>
              <a:gd name="connsiteX888" fmla="*/ 336343 w 2051041"/>
              <a:gd name="connsiteY888" fmla="*/ 556689 h 2084191"/>
              <a:gd name="connsiteX889" fmla="*/ 312943 w 2051041"/>
              <a:gd name="connsiteY889" fmla="*/ 534378 h 2084191"/>
              <a:gd name="connsiteX890" fmla="*/ 335798 w 2051041"/>
              <a:gd name="connsiteY890" fmla="*/ 511523 h 2084191"/>
              <a:gd name="connsiteX891" fmla="*/ 500139 w 2051041"/>
              <a:gd name="connsiteY891" fmla="*/ 506626 h 2084191"/>
              <a:gd name="connsiteX892" fmla="*/ 527348 w 2051041"/>
              <a:gd name="connsiteY892" fmla="*/ 535467 h 2084191"/>
              <a:gd name="connsiteX893" fmla="*/ 497963 w 2051041"/>
              <a:gd name="connsiteY893" fmla="*/ 561587 h 2084191"/>
              <a:gd name="connsiteX894" fmla="*/ 471842 w 2051041"/>
              <a:gd name="connsiteY894" fmla="*/ 533290 h 2084191"/>
              <a:gd name="connsiteX895" fmla="*/ 500139 w 2051041"/>
              <a:gd name="connsiteY895" fmla="*/ 506626 h 2084191"/>
              <a:gd name="connsiteX896" fmla="*/ 662304 w 2051041"/>
              <a:gd name="connsiteY896" fmla="*/ 500639 h 2084191"/>
              <a:gd name="connsiteX897" fmla="*/ 696042 w 2051041"/>
              <a:gd name="connsiteY897" fmla="*/ 533290 h 2084191"/>
              <a:gd name="connsiteX898" fmla="*/ 663392 w 2051041"/>
              <a:gd name="connsiteY898" fmla="*/ 566485 h 2084191"/>
              <a:gd name="connsiteX899" fmla="*/ 630197 w 2051041"/>
              <a:gd name="connsiteY899" fmla="*/ 534378 h 2084191"/>
              <a:gd name="connsiteX900" fmla="*/ 662304 w 2051041"/>
              <a:gd name="connsiteY900" fmla="*/ 500639 h 2084191"/>
              <a:gd name="connsiteX901" fmla="*/ 825557 w 2051041"/>
              <a:gd name="connsiteY901" fmla="*/ 496830 h 2084191"/>
              <a:gd name="connsiteX902" fmla="*/ 863649 w 2051041"/>
              <a:gd name="connsiteY902" fmla="*/ 534923 h 2084191"/>
              <a:gd name="connsiteX903" fmla="*/ 825557 w 2051041"/>
              <a:gd name="connsiteY903" fmla="*/ 571383 h 2084191"/>
              <a:gd name="connsiteX904" fmla="*/ 788553 w 2051041"/>
              <a:gd name="connsiteY904" fmla="*/ 534379 h 2084191"/>
              <a:gd name="connsiteX905" fmla="*/ 825557 w 2051041"/>
              <a:gd name="connsiteY905" fmla="*/ 496830 h 2084191"/>
              <a:gd name="connsiteX906" fmla="*/ 989898 w 2051041"/>
              <a:gd name="connsiteY906" fmla="*/ 494110 h 2084191"/>
              <a:gd name="connsiteX907" fmla="*/ 1029078 w 2051041"/>
              <a:gd name="connsiteY907" fmla="*/ 534923 h 2084191"/>
              <a:gd name="connsiteX908" fmla="*/ 989353 w 2051041"/>
              <a:gd name="connsiteY908" fmla="*/ 574104 h 2084191"/>
              <a:gd name="connsiteX909" fmla="*/ 949629 w 2051041"/>
              <a:gd name="connsiteY909" fmla="*/ 533835 h 2084191"/>
              <a:gd name="connsiteX910" fmla="*/ 989898 w 2051041"/>
              <a:gd name="connsiteY910" fmla="*/ 494110 h 2084191"/>
              <a:gd name="connsiteX911" fmla="*/ 1152062 w 2051041"/>
              <a:gd name="connsiteY911" fmla="*/ 490301 h 2084191"/>
              <a:gd name="connsiteX912" fmla="*/ 1196140 w 2051041"/>
              <a:gd name="connsiteY912" fmla="*/ 533835 h 2084191"/>
              <a:gd name="connsiteX913" fmla="*/ 1152606 w 2051041"/>
              <a:gd name="connsiteY913" fmla="*/ 577369 h 2084191"/>
              <a:gd name="connsiteX914" fmla="*/ 1109072 w 2051041"/>
              <a:gd name="connsiteY914" fmla="*/ 534379 h 2084191"/>
              <a:gd name="connsiteX915" fmla="*/ 1152062 w 2051041"/>
              <a:gd name="connsiteY915" fmla="*/ 490301 h 2084191"/>
              <a:gd name="connsiteX916" fmla="*/ 1316947 w 2051041"/>
              <a:gd name="connsiteY916" fmla="*/ 489212 h 2084191"/>
              <a:gd name="connsiteX917" fmla="*/ 1361570 w 2051041"/>
              <a:gd name="connsiteY917" fmla="*/ 534923 h 2084191"/>
              <a:gd name="connsiteX918" fmla="*/ 1315859 w 2051041"/>
              <a:gd name="connsiteY918" fmla="*/ 580090 h 2084191"/>
              <a:gd name="connsiteX919" fmla="*/ 1270693 w 2051041"/>
              <a:gd name="connsiteY919" fmla="*/ 533835 h 2084191"/>
              <a:gd name="connsiteX920" fmla="*/ 1316947 w 2051041"/>
              <a:gd name="connsiteY920" fmla="*/ 489212 h 2084191"/>
              <a:gd name="connsiteX921" fmla="*/ 1479112 w 2051041"/>
              <a:gd name="connsiteY921" fmla="*/ 484315 h 2084191"/>
              <a:gd name="connsiteX922" fmla="*/ 1528087 w 2051041"/>
              <a:gd name="connsiteY922" fmla="*/ 533835 h 2084191"/>
              <a:gd name="connsiteX923" fmla="*/ 1479656 w 2051041"/>
              <a:gd name="connsiteY923" fmla="*/ 582267 h 2084191"/>
              <a:gd name="connsiteX924" fmla="*/ 1431224 w 2051041"/>
              <a:gd name="connsiteY924" fmla="*/ 533835 h 2084191"/>
              <a:gd name="connsiteX925" fmla="*/ 1479112 w 2051041"/>
              <a:gd name="connsiteY925" fmla="*/ 484315 h 2084191"/>
              <a:gd name="connsiteX926" fmla="*/ 1643452 w 2051041"/>
              <a:gd name="connsiteY926" fmla="*/ 484314 h 2084191"/>
              <a:gd name="connsiteX927" fmla="*/ 1692973 w 2051041"/>
              <a:gd name="connsiteY927" fmla="*/ 534923 h 2084191"/>
              <a:gd name="connsiteX928" fmla="*/ 1641276 w 2051041"/>
              <a:gd name="connsiteY928" fmla="*/ 583898 h 2084191"/>
              <a:gd name="connsiteX929" fmla="*/ 1592300 w 2051041"/>
              <a:gd name="connsiteY929" fmla="*/ 532202 h 2084191"/>
              <a:gd name="connsiteX930" fmla="*/ 1643452 w 2051041"/>
              <a:gd name="connsiteY930" fmla="*/ 484314 h 2084191"/>
              <a:gd name="connsiteX931" fmla="*/ 1806162 w 2051041"/>
              <a:gd name="connsiteY931" fmla="*/ 481594 h 2084191"/>
              <a:gd name="connsiteX932" fmla="*/ 1857858 w 2051041"/>
              <a:gd name="connsiteY932" fmla="*/ 536011 h 2084191"/>
              <a:gd name="connsiteX933" fmla="*/ 1803441 w 2051041"/>
              <a:gd name="connsiteY933" fmla="*/ 586075 h 2084191"/>
              <a:gd name="connsiteX934" fmla="*/ 1753377 w 2051041"/>
              <a:gd name="connsiteY934" fmla="*/ 533290 h 2084191"/>
              <a:gd name="connsiteX935" fmla="*/ 1806162 w 2051041"/>
              <a:gd name="connsiteY935" fmla="*/ 481594 h 2084191"/>
              <a:gd name="connsiteX936" fmla="*/ 1968326 w 2051041"/>
              <a:gd name="connsiteY936" fmla="*/ 480505 h 2084191"/>
              <a:gd name="connsiteX937" fmla="*/ 2022200 w 2051041"/>
              <a:gd name="connsiteY937" fmla="*/ 534379 h 2084191"/>
              <a:gd name="connsiteX938" fmla="*/ 1969415 w 2051041"/>
              <a:gd name="connsiteY938" fmla="*/ 588252 h 2084191"/>
              <a:gd name="connsiteX939" fmla="*/ 1915541 w 2051041"/>
              <a:gd name="connsiteY939" fmla="*/ 534923 h 2084191"/>
              <a:gd name="connsiteX940" fmla="*/ 1968326 w 2051041"/>
              <a:gd name="connsiteY940" fmla="*/ 480505 h 2084191"/>
              <a:gd name="connsiteX941" fmla="*/ 91464 w 2051041"/>
              <a:gd name="connsiteY941" fmla="*/ 440780 h 2084191"/>
              <a:gd name="connsiteX942" fmla="*/ 102891 w 2051041"/>
              <a:gd name="connsiteY942" fmla="*/ 451664 h 2084191"/>
              <a:gd name="connsiteX943" fmla="*/ 92008 w 2051041"/>
              <a:gd name="connsiteY943" fmla="*/ 464179 h 2084191"/>
              <a:gd name="connsiteX944" fmla="*/ 80036 w 2051041"/>
              <a:gd name="connsiteY944" fmla="*/ 452752 h 2084191"/>
              <a:gd name="connsiteX945" fmla="*/ 91464 w 2051041"/>
              <a:gd name="connsiteY945" fmla="*/ 440780 h 2084191"/>
              <a:gd name="connsiteX946" fmla="*/ 254172 w 2051041"/>
              <a:gd name="connsiteY946" fmla="*/ 430441 h 2084191"/>
              <a:gd name="connsiteX947" fmla="*/ 275939 w 2051041"/>
              <a:gd name="connsiteY947" fmla="*/ 452208 h 2084191"/>
              <a:gd name="connsiteX948" fmla="*/ 254716 w 2051041"/>
              <a:gd name="connsiteY948" fmla="*/ 473975 h 2084191"/>
              <a:gd name="connsiteX949" fmla="*/ 232405 w 2051041"/>
              <a:gd name="connsiteY949" fmla="*/ 452752 h 2084191"/>
              <a:gd name="connsiteX950" fmla="*/ 254172 w 2051041"/>
              <a:gd name="connsiteY950" fmla="*/ 430441 h 2084191"/>
              <a:gd name="connsiteX951" fmla="*/ 417969 w 2051041"/>
              <a:gd name="connsiteY951" fmla="*/ 424999 h 2084191"/>
              <a:gd name="connsiteX952" fmla="*/ 444634 w 2051041"/>
              <a:gd name="connsiteY952" fmla="*/ 452752 h 2084191"/>
              <a:gd name="connsiteX953" fmla="*/ 417425 w 2051041"/>
              <a:gd name="connsiteY953" fmla="*/ 479417 h 2084191"/>
              <a:gd name="connsiteX954" fmla="*/ 390760 w 2051041"/>
              <a:gd name="connsiteY954" fmla="*/ 452208 h 2084191"/>
              <a:gd name="connsiteX955" fmla="*/ 417969 w 2051041"/>
              <a:gd name="connsiteY955" fmla="*/ 424999 h 2084191"/>
              <a:gd name="connsiteX956" fmla="*/ 580677 w 2051041"/>
              <a:gd name="connsiteY956" fmla="*/ 419558 h 2084191"/>
              <a:gd name="connsiteX957" fmla="*/ 612783 w 2051041"/>
              <a:gd name="connsiteY957" fmla="*/ 452208 h 2084191"/>
              <a:gd name="connsiteX958" fmla="*/ 581221 w 2051041"/>
              <a:gd name="connsiteY958" fmla="*/ 484315 h 2084191"/>
              <a:gd name="connsiteX959" fmla="*/ 549115 w 2051041"/>
              <a:gd name="connsiteY959" fmla="*/ 452208 h 2084191"/>
              <a:gd name="connsiteX960" fmla="*/ 580677 w 2051041"/>
              <a:gd name="connsiteY960" fmla="*/ 419558 h 2084191"/>
              <a:gd name="connsiteX961" fmla="*/ 743931 w 2051041"/>
              <a:gd name="connsiteY961" fmla="*/ 415748 h 2084191"/>
              <a:gd name="connsiteX962" fmla="*/ 780390 w 2051041"/>
              <a:gd name="connsiteY962" fmla="*/ 452208 h 2084191"/>
              <a:gd name="connsiteX963" fmla="*/ 744475 w 2051041"/>
              <a:gd name="connsiteY963" fmla="*/ 489212 h 2084191"/>
              <a:gd name="connsiteX964" fmla="*/ 708559 w 2051041"/>
              <a:gd name="connsiteY964" fmla="*/ 453840 h 2084191"/>
              <a:gd name="connsiteX965" fmla="*/ 743931 w 2051041"/>
              <a:gd name="connsiteY965" fmla="*/ 415748 h 2084191"/>
              <a:gd name="connsiteX966" fmla="*/ 908271 w 2051041"/>
              <a:gd name="connsiteY966" fmla="*/ 414116 h 2084191"/>
              <a:gd name="connsiteX967" fmla="*/ 946363 w 2051041"/>
              <a:gd name="connsiteY967" fmla="*/ 453296 h 2084191"/>
              <a:gd name="connsiteX968" fmla="*/ 906638 w 2051041"/>
              <a:gd name="connsiteY968" fmla="*/ 491933 h 2084191"/>
              <a:gd name="connsiteX969" fmla="*/ 868546 w 2051041"/>
              <a:gd name="connsiteY969" fmla="*/ 452208 h 2084191"/>
              <a:gd name="connsiteX970" fmla="*/ 908271 w 2051041"/>
              <a:gd name="connsiteY970" fmla="*/ 414116 h 2084191"/>
              <a:gd name="connsiteX971" fmla="*/ 1072068 w 2051041"/>
              <a:gd name="connsiteY971" fmla="*/ 409218 h 2084191"/>
              <a:gd name="connsiteX972" fmla="*/ 1113970 w 2051041"/>
              <a:gd name="connsiteY972" fmla="*/ 452752 h 2084191"/>
              <a:gd name="connsiteX973" fmla="*/ 1070436 w 2051041"/>
              <a:gd name="connsiteY973" fmla="*/ 495198 h 2084191"/>
              <a:gd name="connsiteX974" fmla="*/ 1028534 w 2051041"/>
              <a:gd name="connsiteY974" fmla="*/ 451120 h 2084191"/>
              <a:gd name="connsiteX975" fmla="*/ 1072068 w 2051041"/>
              <a:gd name="connsiteY975" fmla="*/ 409218 h 2084191"/>
              <a:gd name="connsiteX976" fmla="*/ 1235865 w 2051041"/>
              <a:gd name="connsiteY976" fmla="*/ 408130 h 2084191"/>
              <a:gd name="connsiteX977" fmla="*/ 1279400 w 2051041"/>
              <a:gd name="connsiteY977" fmla="*/ 453296 h 2084191"/>
              <a:gd name="connsiteX978" fmla="*/ 1233689 w 2051041"/>
              <a:gd name="connsiteY978" fmla="*/ 497374 h 2084191"/>
              <a:gd name="connsiteX979" fmla="*/ 1189611 w 2051041"/>
              <a:gd name="connsiteY979" fmla="*/ 451664 h 2084191"/>
              <a:gd name="connsiteX980" fmla="*/ 1235865 w 2051041"/>
              <a:gd name="connsiteY980" fmla="*/ 408130 h 2084191"/>
              <a:gd name="connsiteX981" fmla="*/ 1396941 w 2051041"/>
              <a:gd name="connsiteY981" fmla="*/ 403776 h 2084191"/>
              <a:gd name="connsiteX982" fmla="*/ 1446461 w 2051041"/>
              <a:gd name="connsiteY982" fmla="*/ 450575 h 2084191"/>
              <a:gd name="connsiteX983" fmla="*/ 1399118 w 2051041"/>
              <a:gd name="connsiteY983" fmla="*/ 500640 h 2084191"/>
              <a:gd name="connsiteX984" fmla="*/ 1349598 w 2051041"/>
              <a:gd name="connsiteY984" fmla="*/ 453296 h 2084191"/>
              <a:gd name="connsiteX985" fmla="*/ 1396941 w 2051041"/>
              <a:gd name="connsiteY985" fmla="*/ 403776 h 2084191"/>
              <a:gd name="connsiteX986" fmla="*/ 1560738 w 2051041"/>
              <a:gd name="connsiteY986" fmla="*/ 402144 h 2084191"/>
              <a:gd name="connsiteX987" fmla="*/ 1611347 w 2051041"/>
              <a:gd name="connsiteY987" fmla="*/ 453297 h 2084191"/>
              <a:gd name="connsiteX988" fmla="*/ 1560194 w 2051041"/>
              <a:gd name="connsiteY988" fmla="*/ 502272 h 2084191"/>
              <a:gd name="connsiteX989" fmla="*/ 1511218 w 2051041"/>
              <a:gd name="connsiteY989" fmla="*/ 451664 h 2084191"/>
              <a:gd name="connsiteX990" fmla="*/ 1560738 w 2051041"/>
              <a:gd name="connsiteY990" fmla="*/ 402144 h 2084191"/>
              <a:gd name="connsiteX991" fmla="*/ 1723991 w 2051041"/>
              <a:gd name="connsiteY991" fmla="*/ 399423 h 2084191"/>
              <a:gd name="connsiteX992" fmla="*/ 1776776 w 2051041"/>
              <a:gd name="connsiteY992" fmla="*/ 452752 h 2084191"/>
              <a:gd name="connsiteX993" fmla="*/ 1725079 w 2051041"/>
              <a:gd name="connsiteY993" fmla="*/ 504993 h 2084191"/>
              <a:gd name="connsiteX994" fmla="*/ 1671750 w 2051041"/>
              <a:gd name="connsiteY994" fmla="*/ 452752 h 2084191"/>
              <a:gd name="connsiteX995" fmla="*/ 1723991 w 2051041"/>
              <a:gd name="connsiteY995" fmla="*/ 399423 h 2084191"/>
              <a:gd name="connsiteX996" fmla="*/ 2051040 w 2051041"/>
              <a:gd name="connsiteY996" fmla="*/ 398335 h 2084191"/>
              <a:gd name="connsiteX997" fmla="*/ 2051041 w 2051041"/>
              <a:gd name="connsiteY997" fmla="*/ 398335 h 2084191"/>
              <a:gd name="connsiteX998" fmla="*/ 2051041 w 2051041"/>
              <a:gd name="connsiteY998" fmla="*/ 506936 h 2084191"/>
              <a:gd name="connsiteX999" fmla="*/ 2049952 w 2051041"/>
              <a:gd name="connsiteY999" fmla="*/ 507170 h 2084191"/>
              <a:gd name="connsiteX1000" fmla="*/ 1995534 w 2051041"/>
              <a:gd name="connsiteY1000" fmla="*/ 452208 h 2084191"/>
              <a:gd name="connsiteX1001" fmla="*/ 2051040 w 2051041"/>
              <a:gd name="connsiteY1001" fmla="*/ 398335 h 2084191"/>
              <a:gd name="connsiteX1002" fmla="*/ 1888332 w 2051041"/>
              <a:gd name="connsiteY1002" fmla="*/ 398335 h 2084191"/>
              <a:gd name="connsiteX1003" fmla="*/ 1941661 w 2051041"/>
              <a:gd name="connsiteY1003" fmla="*/ 452208 h 2084191"/>
              <a:gd name="connsiteX1004" fmla="*/ 1886699 w 2051041"/>
              <a:gd name="connsiteY1004" fmla="*/ 506082 h 2084191"/>
              <a:gd name="connsiteX1005" fmla="*/ 1833370 w 2051041"/>
              <a:gd name="connsiteY1005" fmla="*/ 452208 h 2084191"/>
              <a:gd name="connsiteX1006" fmla="*/ 1888332 w 2051041"/>
              <a:gd name="connsiteY1006" fmla="*/ 398335 h 2084191"/>
              <a:gd name="connsiteX1007" fmla="*/ 12014 w 2051041"/>
              <a:gd name="connsiteY1007" fmla="*/ 364052 h 2084191"/>
              <a:gd name="connsiteX1008" fmla="*/ 15823 w 2051041"/>
              <a:gd name="connsiteY1008" fmla="*/ 370038 h 2084191"/>
              <a:gd name="connsiteX1009" fmla="*/ 9293 w 2051041"/>
              <a:gd name="connsiteY1009" fmla="*/ 377656 h 2084191"/>
              <a:gd name="connsiteX1010" fmla="*/ 3307 w 2051041"/>
              <a:gd name="connsiteY1010" fmla="*/ 371126 h 2084191"/>
              <a:gd name="connsiteX1011" fmla="*/ 12014 w 2051041"/>
              <a:gd name="connsiteY1011" fmla="*/ 364052 h 2084191"/>
              <a:gd name="connsiteX1012" fmla="*/ 172545 w 2051041"/>
              <a:gd name="connsiteY1012" fmla="*/ 353713 h 2084191"/>
              <a:gd name="connsiteX1013" fmla="*/ 190503 w 2051041"/>
              <a:gd name="connsiteY1013" fmla="*/ 370582 h 2084191"/>
              <a:gd name="connsiteX1014" fmla="*/ 173090 w 2051041"/>
              <a:gd name="connsiteY1014" fmla="*/ 387996 h 2084191"/>
              <a:gd name="connsiteX1015" fmla="*/ 155676 w 2051041"/>
              <a:gd name="connsiteY1015" fmla="*/ 371126 h 2084191"/>
              <a:gd name="connsiteX1016" fmla="*/ 172545 w 2051041"/>
              <a:gd name="connsiteY1016" fmla="*/ 353713 h 2084191"/>
              <a:gd name="connsiteX1017" fmla="*/ 336886 w 2051041"/>
              <a:gd name="connsiteY1017" fmla="*/ 345550 h 2084191"/>
              <a:gd name="connsiteX1018" fmla="*/ 361374 w 2051041"/>
              <a:gd name="connsiteY1018" fmla="*/ 371670 h 2084191"/>
              <a:gd name="connsiteX1019" fmla="*/ 335798 w 2051041"/>
              <a:gd name="connsiteY1019" fmla="*/ 395070 h 2084191"/>
              <a:gd name="connsiteX1020" fmla="*/ 311854 w 2051041"/>
              <a:gd name="connsiteY1020" fmla="*/ 370038 h 2084191"/>
              <a:gd name="connsiteX1021" fmla="*/ 336886 w 2051041"/>
              <a:gd name="connsiteY1021" fmla="*/ 345550 h 2084191"/>
              <a:gd name="connsiteX1022" fmla="*/ 499596 w 2051041"/>
              <a:gd name="connsiteY1022" fmla="*/ 342284 h 2084191"/>
              <a:gd name="connsiteX1023" fmla="*/ 528437 w 2051041"/>
              <a:gd name="connsiteY1023" fmla="*/ 370582 h 2084191"/>
              <a:gd name="connsiteX1024" fmla="*/ 499051 w 2051041"/>
              <a:gd name="connsiteY1024" fmla="*/ 399423 h 2084191"/>
              <a:gd name="connsiteX1025" fmla="*/ 470210 w 2051041"/>
              <a:gd name="connsiteY1025" fmla="*/ 370037 h 2084191"/>
              <a:gd name="connsiteX1026" fmla="*/ 499596 w 2051041"/>
              <a:gd name="connsiteY1026" fmla="*/ 342284 h 2084191"/>
              <a:gd name="connsiteX1027" fmla="*/ 663392 w 2051041"/>
              <a:gd name="connsiteY1027" fmla="*/ 337387 h 2084191"/>
              <a:gd name="connsiteX1028" fmla="*/ 697131 w 2051041"/>
              <a:gd name="connsiteY1028" fmla="*/ 371126 h 2084191"/>
              <a:gd name="connsiteX1029" fmla="*/ 662304 w 2051041"/>
              <a:gd name="connsiteY1029" fmla="*/ 404321 h 2084191"/>
              <a:gd name="connsiteX1030" fmla="*/ 629109 w 2051041"/>
              <a:gd name="connsiteY1030" fmla="*/ 371126 h 2084191"/>
              <a:gd name="connsiteX1031" fmla="*/ 663392 w 2051041"/>
              <a:gd name="connsiteY1031" fmla="*/ 337387 h 2084191"/>
              <a:gd name="connsiteX1032" fmla="*/ 825556 w 2051041"/>
              <a:gd name="connsiteY1032" fmla="*/ 332489 h 2084191"/>
              <a:gd name="connsiteX1033" fmla="*/ 864737 w 2051041"/>
              <a:gd name="connsiteY1033" fmla="*/ 370037 h 2084191"/>
              <a:gd name="connsiteX1034" fmla="*/ 826645 w 2051041"/>
              <a:gd name="connsiteY1034" fmla="*/ 409218 h 2084191"/>
              <a:gd name="connsiteX1035" fmla="*/ 787464 w 2051041"/>
              <a:gd name="connsiteY1035" fmla="*/ 371126 h 2084191"/>
              <a:gd name="connsiteX1036" fmla="*/ 825556 w 2051041"/>
              <a:gd name="connsiteY1036" fmla="*/ 332489 h 2084191"/>
              <a:gd name="connsiteX1037" fmla="*/ 989898 w 2051041"/>
              <a:gd name="connsiteY1037" fmla="*/ 328680 h 2084191"/>
              <a:gd name="connsiteX1038" fmla="*/ 1031255 w 2051041"/>
              <a:gd name="connsiteY1038" fmla="*/ 371126 h 2084191"/>
              <a:gd name="connsiteX1039" fmla="*/ 989354 w 2051041"/>
              <a:gd name="connsiteY1039" fmla="*/ 413027 h 2084191"/>
              <a:gd name="connsiteX1040" fmla="*/ 947452 w 2051041"/>
              <a:gd name="connsiteY1040" fmla="*/ 370037 h 2084191"/>
              <a:gd name="connsiteX1041" fmla="*/ 989898 w 2051041"/>
              <a:gd name="connsiteY1041" fmla="*/ 328680 h 2084191"/>
              <a:gd name="connsiteX1042" fmla="*/ 1153150 w 2051041"/>
              <a:gd name="connsiteY1042" fmla="*/ 326504 h 2084191"/>
              <a:gd name="connsiteX1043" fmla="*/ 1197228 w 2051041"/>
              <a:gd name="connsiteY1043" fmla="*/ 370582 h 2084191"/>
              <a:gd name="connsiteX1044" fmla="*/ 1152606 w 2051041"/>
              <a:gd name="connsiteY1044" fmla="*/ 414661 h 2084191"/>
              <a:gd name="connsiteX1045" fmla="*/ 1108528 w 2051041"/>
              <a:gd name="connsiteY1045" fmla="*/ 370038 h 2084191"/>
              <a:gd name="connsiteX1046" fmla="*/ 1153150 w 2051041"/>
              <a:gd name="connsiteY1046" fmla="*/ 326504 h 2084191"/>
              <a:gd name="connsiteX1047" fmla="*/ 1317492 w 2051041"/>
              <a:gd name="connsiteY1047" fmla="*/ 323239 h 2084191"/>
              <a:gd name="connsiteX1048" fmla="*/ 1364835 w 2051041"/>
              <a:gd name="connsiteY1048" fmla="*/ 372215 h 2084191"/>
              <a:gd name="connsiteX1049" fmla="*/ 1314771 w 2051041"/>
              <a:gd name="connsiteY1049" fmla="*/ 419014 h 2084191"/>
              <a:gd name="connsiteX1050" fmla="*/ 1268516 w 2051041"/>
              <a:gd name="connsiteY1050" fmla="*/ 370582 h 2084191"/>
              <a:gd name="connsiteX1051" fmla="*/ 1317492 w 2051041"/>
              <a:gd name="connsiteY1051" fmla="*/ 323239 h 2084191"/>
              <a:gd name="connsiteX1052" fmla="*/ 1479112 w 2051041"/>
              <a:gd name="connsiteY1052" fmla="*/ 320517 h 2084191"/>
              <a:gd name="connsiteX1053" fmla="*/ 1529720 w 2051041"/>
              <a:gd name="connsiteY1053" fmla="*/ 371670 h 2084191"/>
              <a:gd name="connsiteX1054" fmla="*/ 1478568 w 2051041"/>
              <a:gd name="connsiteY1054" fmla="*/ 420101 h 2084191"/>
              <a:gd name="connsiteX1055" fmla="*/ 1429592 w 2051041"/>
              <a:gd name="connsiteY1055" fmla="*/ 370037 h 2084191"/>
              <a:gd name="connsiteX1056" fmla="*/ 1479112 w 2051041"/>
              <a:gd name="connsiteY1056" fmla="*/ 320517 h 2084191"/>
              <a:gd name="connsiteX1057" fmla="*/ 1642364 w 2051041"/>
              <a:gd name="connsiteY1057" fmla="*/ 318341 h 2084191"/>
              <a:gd name="connsiteX1058" fmla="*/ 1695694 w 2051041"/>
              <a:gd name="connsiteY1058" fmla="*/ 370582 h 2084191"/>
              <a:gd name="connsiteX1059" fmla="*/ 1643453 w 2051041"/>
              <a:gd name="connsiteY1059" fmla="*/ 424455 h 2084191"/>
              <a:gd name="connsiteX1060" fmla="*/ 1589035 w 2051041"/>
              <a:gd name="connsiteY1060" fmla="*/ 371670 h 2084191"/>
              <a:gd name="connsiteX1061" fmla="*/ 1642364 w 2051041"/>
              <a:gd name="connsiteY1061" fmla="*/ 318341 h 2084191"/>
              <a:gd name="connsiteX1062" fmla="*/ 90919 w 2051041"/>
              <a:gd name="connsiteY1062" fmla="*/ 273718 h 2084191"/>
              <a:gd name="connsiteX1063" fmla="*/ 106700 w 2051041"/>
              <a:gd name="connsiteY1063" fmla="*/ 288411 h 2084191"/>
              <a:gd name="connsiteX1064" fmla="*/ 91463 w 2051041"/>
              <a:gd name="connsiteY1064" fmla="*/ 303648 h 2084191"/>
              <a:gd name="connsiteX1065" fmla="*/ 76770 w 2051041"/>
              <a:gd name="connsiteY1065" fmla="*/ 288411 h 2084191"/>
              <a:gd name="connsiteX1066" fmla="*/ 90919 w 2051041"/>
              <a:gd name="connsiteY1066" fmla="*/ 273718 h 2084191"/>
              <a:gd name="connsiteX1067" fmla="*/ 254716 w 2051041"/>
              <a:gd name="connsiteY1067" fmla="*/ 267733 h 2084191"/>
              <a:gd name="connsiteX1068" fmla="*/ 276483 w 2051041"/>
              <a:gd name="connsiteY1068" fmla="*/ 288956 h 2084191"/>
              <a:gd name="connsiteX1069" fmla="*/ 254172 w 2051041"/>
              <a:gd name="connsiteY1069" fmla="*/ 311811 h 2084191"/>
              <a:gd name="connsiteX1070" fmla="*/ 232405 w 2051041"/>
              <a:gd name="connsiteY1070" fmla="*/ 289500 h 2084191"/>
              <a:gd name="connsiteX1071" fmla="*/ 254716 w 2051041"/>
              <a:gd name="connsiteY1071" fmla="*/ 267733 h 2084191"/>
              <a:gd name="connsiteX1072" fmla="*/ 1941117 w 2051041"/>
              <a:gd name="connsiteY1072" fmla="*/ 263202 h 2084191"/>
              <a:gd name="connsiteX1073" fmla="*/ 1936219 w 2051041"/>
              <a:gd name="connsiteY1073" fmla="*/ 266467 h 2084191"/>
              <a:gd name="connsiteX1074" fmla="*/ 1938396 w 2051041"/>
              <a:gd name="connsiteY1074" fmla="*/ 272453 h 2084191"/>
              <a:gd name="connsiteX1075" fmla="*/ 1932954 w 2051041"/>
              <a:gd name="connsiteY1075" fmla="*/ 325782 h 2084191"/>
              <a:gd name="connsiteX1076" fmla="*/ 1930777 w 2051041"/>
              <a:gd name="connsiteY1076" fmla="*/ 331224 h 2084191"/>
              <a:gd name="connsiteX1077" fmla="*/ 1936219 w 2051041"/>
              <a:gd name="connsiteY1077" fmla="*/ 330136 h 2084191"/>
              <a:gd name="connsiteX1078" fmla="*/ 1966693 w 2051041"/>
              <a:gd name="connsiteY1078" fmla="*/ 320340 h 2084191"/>
              <a:gd name="connsiteX1079" fmla="*/ 1998799 w 2051041"/>
              <a:gd name="connsiteY1079" fmla="*/ 328503 h 2084191"/>
              <a:gd name="connsiteX1080" fmla="*/ 2003153 w 2051041"/>
              <a:gd name="connsiteY1080" fmla="*/ 330136 h 2084191"/>
              <a:gd name="connsiteX1081" fmla="*/ 2001520 w 2051041"/>
              <a:gd name="connsiteY1081" fmla="*/ 324694 h 2084191"/>
              <a:gd name="connsiteX1082" fmla="*/ 1994446 w 2051041"/>
              <a:gd name="connsiteY1082" fmla="*/ 309457 h 2084191"/>
              <a:gd name="connsiteX1083" fmla="*/ 1998255 w 2051041"/>
              <a:gd name="connsiteY1083" fmla="*/ 267555 h 2084191"/>
              <a:gd name="connsiteX1084" fmla="*/ 2000976 w 2051041"/>
              <a:gd name="connsiteY1084" fmla="*/ 263746 h 2084191"/>
              <a:gd name="connsiteX1085" fmla="*/ 1995534 w 2051041"/>
              <a:gd name="connsiteY1085" fmla="*/ 263746 h 2084191"/>
              <a:gd name="connsiteX1086" fmla="*/ 1941117 w 2051041"/>
              <a:gd name="connsiteY1086" fmla="*/ 263202 h 2084191"/>
              <a:gd name="connsiteX1087" fmla="*/ 417425 w 2051041"/>
              <a:gd name="connsiteY1087" fmla="*/ 262291 h 2084191"/>
              <a:gd name="connsiteX1088" fmla="*/ 445178 w 2051041"/>
              <a:gd name="connsiteY1088" fmla="*/ 288956 h 2084191"/>
              <a:gd name="connsiteX1089" fmla="*/ 417969 w 2051041"/>
              <a:gd name="connsiteY1089" fmla="*/ 317253 h 2084191"/>
              <a:gd name="connsiteX1090" fmla="*/ 390216 w 2051041"/>
              <a:gd name="connsiteY1090" fmla="*/ 290044 h 2084191"/>
              <a:gd name="connsiteX1091" fmla="*/ 417425 w 2051041"/>
              <a:gd name="connsiteY1091" fmla="*/ 262291 h 2084191"/>
              <a:gd name="connsiteX1092" fmla="*/ 580678 w 2051041"/>
              <a:gd name="connsiteY1092" fmla="*/ 256304 h 2084191"/>
              <a:gd name="connsiteX1093" fmla="*/ 613872 w 2051041"/>
              <a:gd name="connsiteY1093" fmla="*/ 288955 h 2084191"/>
              <a:gd name="connsiteX1094" fmla="*/ 581222 w 2051041"/>
              <a:gd name="connsiteY1094" fmla="*/ 322150 h 2084191"/>
              <a:gd name="connsiteX1095" fmla="*/ 548027 w 2051041"/>
              <a:gd name="connsiteY1095" fmla="*/ 289499 h 2084191"/>
              <a:gd name="connsiteX1096" fmla="*/ 580678 w 2051041"/>
              <a:gd name="connsiteY1096" fmla="*/ 256304 h 2084191"/>
              <a:gd name="connsiteX1097" fmla="*/ 743930 w 2051041"/>
              <a:gd name="connsiteY1097" fmla="*/ 251951 h 2084191"/>
              <a:gd name="connsiteX1098" fmla="*/ 782022 w 2051041"/>
              <a:gd name="connsiteY1098" fmla="*/ 289499 h 2084191"/>
              <a:gd name="connsiteX1099" fmla="*/ 744474 w 2051041"/>
              <a:gd name="connsiteY1099" fmla="*/ 326503 h 2084191"/>
              <a:gd name="connsiteX1100" fmla="*/ 707470 w 2051041"/>
              <a:gd name="connsiteY1100" fmla="*/ 289499 h 2084191"/>
              <a:gd name="connsiteX1101" fmla="*/ 743930 w 2051041"/>
              <a:gd name="connsiteY1101" fmla="*/ 251951 h 2084191"/>
              <a:gd name="connsiteX1102" fmla="*/ 907183 w 2051041"/>
              <a:gd name="connsiteY1102" fmla="*/ 249775 h 2084191"/>
              <a:gd name="connsiteX1103" fmla="*/ 947452 w 2051041"/>
              <a:gd name="connsiteY1103" fmla="*/ 289500 h 2084191"/>
              <a:gd name="connsiteX1104" fmla="*/ 908271 w 2051041"/>
              <a:gd name="connsiteY1104" fmla="*/ 329225 h 2084191"/>
              <a:gd name="connsiteX1105" fmla="*/ 867458 w 2051041"/>
              <a:gd name="connsiteY1105" fmla="*/ 290044 h 2084191"/>
              <a:gd name="connsiteX1106" fmla="*/ 907183 w 2051041"/>
              <a:gd name="connsiteY1106" fmla="*/ 249775 h 2084191"/>
              <a:gd name="connsiteX1107" fmla="*/ 1070435 w 2051041"/>
              <a:gd name="connsiteY1107" fmla="*/ 245965 h 2084191"/>
              <a:gd name="connsiteX1108" fmla="*/ 1114513 w 2051041"/>
              <a:gd name="connsiteY1108" fmla="*/ 290043 h 2084191"/>
              <a:gd name="connsiteX1109" fmla="*/ 1069347 w 2051041"/>
              <a:gd name="connsiteY1109" fmla="*/ 333578 h 2084191"/>
              <a:gd name="connsiteX1110" fmla="*/ 1026357 w 2051041"/>
              <a:gd name="connsiteY1110" fmla="*/ 288955 h 2084191"/>
              <a:gd name="connsiteX1111" fmla="*/ 1070435 w 2051041"/>
              <a:gd name="connsiteY1111" fmla="*/ 245965 h 2084191"/>
              <a:gd name="connsiteX1112" fmla="*/ 1233689 w 2051041"/>
              <a:gd name="connsiteY1112" fmla="*/ 241613 h 2084191"/>
              <a:gd name="connsiteX1113" fmla="*/ 1282120 w 2051041"/>
              <a:gd name="connsiteY1113" fmla="*/ 288412 h 2084191"/>
              <a:gd name="connsiteX1114" fmla="*/ 1235321 w 2051041"/>
              <a:gd name="connsiteY1114" fmla="*/ 335755 h 2084191"/>
              <a:gd name="connsiteX1115" fmla="*/ 1187434 w 2051041"/>
              <a:gd name="connsiteY1115" fmla="*/ 289500 h 2084191"/>
              <a:gd name="connsiteX1116" fmla="*/ 1233689 w 2051041"/>
              <a:gd name="connsiteY1116" fmla="*/ 241613 h 2084191"/>
              <a:gd name="connsiteX1117" fmla="*/ 1397485 w 2051041"/>
              <a:gd name="connsiteY1117" fmla="*/ 238891 h 2084191"/>
              <a:gd name="connsiteX1118" fmla="*/ 1448094 w 2051041"/>
              <a:gd name="connsiteY1118" fmla="*/ 288955 h 2084191"/>
              <a:gd name="connsiteX1119" fmla="*/ 1398029 w 2051041"/>
              <a:gd name="connsiteY1119" fmla="*/ 338475 h 2084191"/>
              <a:gd name="connsiteX1120" fmla="*/ 1348509 w 2051041"/>
              <a:gd name="connsiteY1120" fmla="*/ 289499 h 2084191"/>
              <a:gd name="connsiteX1121" fmla="*/ 1397485 w 2051041"/>
              <a:gd name="connsiteY1121" fmla="*/ 238891 h 2084191"/>
              <a:gd name="connsiteX1122" fmla="*/ 1559650 w 2051041"/>
              <a:gd name="connsiteY1122" fmla="*/ 237258 h 2084191"/>
              <a:gd name="connsiteX1123" fmla="*/ 1613523 w 2051041"/>
              <a:gd name="connsiteY1123" fmla="*/ 288955 h 2084191"/>
              <a:gd name="connsiteX1124" fmla="*/ 1560738 w 2051041"/>
              <a:gd name="connsiteY1124" fmla="*/ 342829 h 2084191"/>
              <a:gd name="connsiteX1125" fmla="*/ 1507953 w 2051041"/>
              <a:gd name="connsiteY1125" fmla="*/ 289499 h 2084191"/>
              <a:gd name="connsiteX1126" fmla="*/ 1559650 w 2051041"/>
              <a:gd name="connsiteY1126" fmla="*/ 237258 h 2084191"/>
              <a:gd name="connsiteX1127" fmla="*/ 9837 w 2051041"/>
              <a:gd name="connsiteY1127" fmla="*/ 198078 h 2084191"/>
              <a:gd name="connsiteX1128" fmla="*/ 19632 w 2051041"/>
              <a:gd name="connsiteY1128" fmla="*/ 207873 h 2084191"/>
              <a:gd name="connsiteX1129" fmla="*/ 10381 w 2051041"/>
              <a:gd name="connsiteY1129" fmla="*/ 218213 h 2084191"/>
              <a:gd name="connsiteX1130" fmla="*/ 42 w 2051041"/>
              <a:gd name="connsiteY1130" fmla="*/ 207873 h 2084191"/>
              <a:gd name="connsiteX1131" fmla="*/ 9837 w 2051041"/>
              <a:gd name="connsiteY1131" fmla="*/ 198078 h 2084191"/>
              <a:gd name="connsiteX1132" fmla="*/ 173090 w 2051041"/>
              <a:gd name="connsiteY1132" fmla="*/ 187739 h 2084191"/>
              <a:gd name="connsiteX1133" fmla="*/ 192136 w 2051041"/>
              <a:gd name="connsiteY1133" fmla="*/ 207329 h 2084191"/>
              <a:gd name="connsiteX1134" fmla="*/ 172546 w 2051041"/>
              <a:gd name="connsiteY1134" fmla="*/ 227464 h 2084191"/>
              <a:gd name="connsiteX1135" fmla="*/ 154044 w 2051041"/>
              <a:gd name="connsiteY1135" fmla="*/ 208418 h 2084191"/>
              <a:gd name="connsiteX1136" fmla="*/ 173090 w 2051041"/>
              <a:gd name="connsiteY1136" fmla="*/ 187739 h 2084191"/>
              <a:gd name="connsiteX1137" fmla="*/ 336887 w 2051041"/>
              <a:gd name="connsiteY1137" fmla="*/ 182297 h 2084191"/>
              <a:gd name="connsiteX1138" fmla="*/ 363007 w 2051041"/>
              <a:gd name="connsiteY1138" fmla="*/ 207329 h 2084191"/>
              <a:gd name="connsiteX1139" fmla="*/ 336887 w 2051041"/>
              <a:gd name="connsiteY1139" fmla="*/ 233994 h 2084191"/>
              <a:gd name="connsiteX1140" fmla="*/ 310766 w 2051041"/>
              <a:gd name="connsiteY1140" fmla="*/ 208961 h 2084191"/>
              <a:gd name="connsiteX1141" fmla="*/ 336887 w 2051041"/>
              <a:gd name="connsiteY1141" fmla="*/ 182297 h 2084191"/>
              <a:gd name="connsiteX1142" fmla="*/ 1856225 w 2051041"/>
              <a:gd name="connsiteY1142" fmla="*/ 180487 h 2084191"/>
              <a:gd name="connsiteX1143" fmla="*/ 1855681 w 2051041"/>
              <a:gd name="connsiteY1143" fmla="*/ 185929 h 2084191"/>
              <a:gd name="connsiteX1144" fmla="*/ 1851872 w 2051041"/>
              <a:gd name="connsiteY1144" fmla="*/ 244700 h 2084191"/>
              <a:gd name="connsiteX1145" fmla="*/ 1851328 w 2051041"/>
              <a:gd name="connsiteY1145" fmla="*/ 247965 h 2084191"/>
              <a:gd name="connsiteX1146" fmla="*/ 1854593 w 2051041"/>
              <a:gd name="connsiteY1146" fmla="*/ 247421 h 2084191"/>
              <a:gd name="connsiteX1147" fmla="*/ 1899215 w 2051041"/>
              <a:gd name="connsiteY1147" fmla="*/ 238714 h 2084191"/>
              <a:gd name="connsiteX1148" fmla="*/ 1913908 w 2051041"/>
              <a:gd name="connsiteY1148" fmla="*/ 243067 h 2084191"/>
              <a:gd name="connsiteX1149" fmla="*/ 1918806 w 2051041"/>
              <a:gd name="connsiteY1149" fmla="*/ 242523 h 2084191"/>
              <a:gd name="connsiteX1150" fmla="*/ 1918261 w 2051041"/>
              <a:gd name="connsiteY1150" fmla="*/ 238170 h 2084191"/>
              <a:gd name="connsiteX1151" fmla="*/ 1917173 w 2051041"/>
              <a:gd name="connsiteY1151" fmla="*/ 185929 h 2084191"/>
              <a:gd name="connsiteX1152" fmla="*/ 1918261 w 2051041"/>
              <a:gd name="connsiteY1152" fmla="*/ 181576 h 2084191"/>
              <a:gd name="connsiteX1153" fmla="*/ 1913908 w 2051041"/>
              <a:gd name="connsiteY1153" fmla="*/ 182664 h 2084191"/>
              <a:gd name="connsiteX1154" fmla="*/ 1860579 w 2051041"/>
              <a:gd name="connsiteY1154" fmla="*/ 180487 h 2084191"/>
              <a:gd name="connsiteX1155" fmla="*/ 1856225 w 2051041"/>
              <a:gd name="connsiteY1155" fmla="*/ 180487 h 2084191"/>
              <a:gd name="connsiteX1156" fmla="*/ 499595 w 2051041"/>
              <a:gd name="connsiteY1156" fmla="*/ 175767 h 2084191"/>
              <a:gd name="connsiteX1157" fmla="*/ 531158 w 2051041"/>
              <a:gd name="connsiteY1157" fmla="*/ 207874 h 2084191"/>
              <a:gd name="connsiteX1158" fmla="*/ 498507 w 2051041"/>
              <a:gd name="connsiteY1158" fmla="*/ 238347 h 2084191"/>
              <a:gd name="connsiteX1159" fmla="*/ 468033 w 2051041"/>
              <a:gd name="connsiteY1159" fmla="*/ 207329 h 2084191"/>
              <a:gd name="connsiteX1160" fmla="*/ 499595 w 2051041"/>
              <a:gd name="connsiteY1160" fmla="*/ 175767 h 2084191"/>
              <a:gd name="connsiteX1161" fmla="*/ 662304 w 2051041"/>
              <a:gd name="connsiteY1161" fmla="*/ 173046 h 2084191"/>
              <a:gd name="connsiteX1162" fmla="*/ 697676 w 2051041"/>
              <a:gd name="connsiteY1162" fmla="*/ 207873 h 2084191"/>
              <a:gd name="connsiteX1163" fmla="*/ 662304 w 2051041"/>
              <a:gd name="connsiteY1163" fmla="*/ 242156 h 2084191"/>
              <a:gd name="connsiteX1164" fmla="*/ 628021 w 2051041"/>
              <a:gd name="connsiteY1164" fmla="*/ 207873 h 2084191"/>
              <a:gd name="connsiteX1165" fmla="*/ 662304 w 2051041"/>
              <a:gd name="connsiteY1165" fmla="*/ 173046 h 2084191"/>
              <a:gd name="connsiteX1166" fmla="*/ 826645 w 2051041"/>
              <a:gd name="connsiteY1166" fmla="*/ 168148 h 2084191"/>
              <a:gd name="connsiteX1167" fmla="*/ 864737 w 2051041"/>
              <a:gd name="connsiteY1167" fmla="*/ 207329 h 2084191"/>
              <a:gd name="connsiteX1168" fmla="*/ 826100 w 2051041"/>
              <a:gd name="connsiteY1168" fmla="*/ 247054 h 2084191"/>
              <a:gd name="connsiteX1169" fmla="*/ 787464 w 2051041"/>
              <a:gd name="connsiteY1169" fmla="*/ 207873 h 2084191"/>
              <a:gd name="connsiteX1170" fmla="*/ 826645 w 2051041"/>
              <a:gd name="connsiteY1170" fmla="*/ 168148 h 2084191"/>
              <a:gd name="connsiteX1171" fmla="*/ 987721 w 2051041"/>
              <a:gd name="connsiteY1171" fmla="*/ 164883 h 2084191"/>
              <a:gd name="connsiteX1172" fmla="*/ 1031799 w 2051041"/>
              <a:gd name="connsiteY1172" fmla="*/ 207329 h 2084191"/>
              <a:gd name="connsiteX1173" fmla="*/ 988809 w 2051041"/>
              <a:gd name="connsiteY1173" fmla="*/ 250319 h 2084191"/>
              <a:gd name="connsiteX1174" fmla="*/ 945819 w 2051041"/>
              <a:gd name="connsiteY1174" fmla="*/ 208417 h 2084191"/>
              <a:gd name="connsiteX1175" fmla="*/ 987721 w 2051041"/>
              <a:gd name="connsiteY1175" fmla="*/ 164883 h 2084191"/>
              <a:gd name="connsiteX1176" fmla="*/ 1153150 w 2051041"/>
              <a:gd name="connsiteY1176" fmla="*/ 162707 h 2084191"/>
              <a:gd name="connsiteX1177" fmla="*/ 1197772 w 2051041"/>
              <a:gd name="connsiteY1177" fmla="*/ 207874 h 2084191"/>
              <a:gd name="connsiteX1178" fmla="*/ 1151517 w 2051041"/>
              <a:gd name="connsiteY1178" fmla="*/ 253584 h 2084191"/>
              <a:gd name="connsiteX1179" fmla="*/ 1107439 w 2051041"/>
              <a:gd name="connsiteY1179" fmla="*/ 207329 h 2084191"/>
              <a:gd name="connsiteX1180" fmla="*/ 1153150 w 2051041"/>
              <a:gd name="connsiteY1180" fmla="*/ 162707 h 2084191"/>
              <a:gd name="connsiteX1181" fmla="*/ 1315315 w 2051041"/>
              <a:gd name="connsiteY1181" fmla="*/ 158353 h 2084191"/>
              <a:gd name="connsiteX1182" fmla="*/ 1365379 w 2051041"/>
              <a:gd name="connsiteY1182" fmla="*/ 206785 h 2084191"/>
              <a:gd name="connsiteX1183" fmla="*/ 1315859 w 2051041"/>
              <a:gd name="connsiteY1183" fmla="*/ 256305 h 2084191"/>
              <a:gd name="connsiteX1184" fmla="*/ 1266883 w 2051041"/>
              <a:gd name="connsiteY1184" fmla="*/ 207873 h 2084191"/>
              <a:gd name="connsiteX1185" fmla="*/ 1315315 w 2051041"/>
              <a:gd name="connsiteY1185" fmla="*/ 158353 h 2084191"/>
              <a:gd name="connsiteX1186" fmla="*/ 1478567 w 2051041"/>
              <a:gd name="connsiteY1186" fmla="*/ 156721 h 2084191"/>
              <a:gd name="connsiteX1187" fmla="*/ 1529720 w 2051041"/>
              <a:gd name="connsiteY1187" fmla="*/ 207329 h 2084191"/>
              <a:gd name="connsiteX1188" fmla="*/ 1478567 w 2051041"/>
              <a:gd name="connsiteY1188" fmla="*/ 258482 h 2084191"/>
              <a:gd name="connsiteX1189" fmla="*/ 1427959 w 2051041"/>
              <a:gd name="connsiteY1189" fmla="*/ 207874 h 2084191"/>
              <a:gd name="connsiteX1190" fmla="*/ 1478567 w 2051041"/>
              <a:gd name="connsiteY1190" fmla="*/ 156721 h 2084191"/>
              <a:gd name="connsiteX1191" fmla="*/ 1644541 w 2051041"/>
              <a:gd name="connsiteY1191" fmla="*/ 153456 h 2084191"/>
              <a:gd name="connsiteX1192" fmla="*/ 1697326 w 2051041"/>
              <a:gd name="connsiteY1192" fmla="*/ 209506 h 2084191"/>
              <a:gd name="connsiteX1193" fmla="*/ 1641276 w 2051041"/>
              <a:gd name="connsiteY1193" fmla="*/ 262835 h 2084191"/>
              <a:gd name="connsiteX1194" fmla="*/ 1587947 w 2051041"/>
              <a:gd name="connsiteY1194" fmla="*/ 206785 h 2084191"/>
              <a:gd name="connsiteX1195" fmla="*/ 1644541 w 2051041"/>
              <a:gd name="connsiteY1195" fmla="*/ 153456 h 2084191"/>
              <a:gd name="connsiteX1196" fmla="*/ 91463 w 2051041"/>
              <a:gd name="connsiteY1196" fmla="*/ 109922 h 2084191"/>
              <a:gd name="connsiteX1197" fmla="*/ 107244 w 2051041"/>
              <a:gd name="connsiteY1197" fmla="*/ 126247 h 2084191"/>
              <a:gd name="connsiteX1198" fmla="*/ 91463 w 2051041"/>
              <a:gd name="connsiteY1198" fmla="*/ 142028 h 2084191"/>
              <a:gd name="connsiteX1199" fmla="*/ 75682 w 2051041"/>
              <a:gd name="connsiteY1199" fmla="*/ 126247 h 2084191"/>
              <a:gd name="connsiteX1200" fmla="*/ 91463 w 2051041"/>
              <a:gd name="connsiteY1200" fmla="*/ 109922 h 2084191"/>
              <a:gd name="connsiteX1201" fmla="*/ 1942341 w 2051041"/>
              <a:gd name="connsiteY1201" fmla="*/ 104915 h 2084191"/>
              <a:gd name="connsiteX1202" fmla="*/ 1942205 w 2051041"/>
              <a:gd name="connsiteY1202" fmla="*/ 111377 h 2084191"/>
              <a:gd name="connsiteX1203" fmla="*/ 1946559 w 2051041"/>
              <a:gd name="connsiteY1203" fmla="*/ 131511 h 2084191"/>
              <a:gd name="connsiteX1204" fmla="*/ 1939484 w 2051041"/>
              <a:gd name="connsiteY1204" fmla="*/ 157088 h 2084191"/>
              <a:gd name="connsiteX1205" fmla="*/ 1941117 w 2051041"/>
              <a:gd name="connsiteY1205" fmla="*/ 160353 h 2084191"/>
              <a:gd name="connsiteX1206" fmla="*/ 1986828 w 2051041"/>
              <a:gd name="connsiteY1206" fmla="*/ 157088 h 2084191"/>
              <a:gd name="connsiteX1207" fmla="*/ 1987916 w 2051041"/>
              <a:gd name="connsiteY1207" fmla="*/ 157088 h 2084191"/>
              <a:gd name="connsiteX1208" fmla="*/ 1993902 w 2051041"/>
              <a:gd name="connsiteY1208" fmla="*/ 150013 h 2084191"/>
              <a:gd name="connsiteX1209" fmla="*/ 1993902 w 2051041"/>
              <a:gd name="connsiteY1209" fmla="*/ 109744 h 2084191"/>
              <a:gd name="connsiteX1210" fmla="*/ 1989004 w 2051041"/>
              <a:gd name="connsiteY1210" fmla="*/ 105391 h 2084191"/>
              <a:gd name="connsiteX1211" fmla="*/ 1948191 w 2051041"/>
              <a:gd name="connsiteY1211" fmla="*/ 105391 h 2084191"/>
              <a:gd name="connsiteX1212" fmla="*/ 1942341 w 2051041"/>
              <a:gd name="connsiteY1212" fmla="*/ 104915 h 2084191"/>
              <a:gd name="connsiteX1213" fmla="*/ 255804 w 2051041"/>
              <a:gd name="connsiteY1213" fmla="*/ 103392 h 2084191"/>
              <a:gd name="connsiteX1214" fmla="*/ 277571 w 2051041"/>
              <a:gd name="connsiteY1214" fmla="*/ 126791 h 2084191"/>
              <a:gd name="connsiteX1215" fmla="*/ 254172 w 2051041"/>
              <a:gd name="connsiteY1215" fmla="*/ 148014 h 2084191"/>
              <a:gd name="connsiteX1216" fmla="*/ 232405 w 2051041"/>
              <a:gd name="connsiteY1216" fmla="*/ 125159 h 2084191"/>
              <a:gd name="connsiteX1217" fmla="*/ 255804 w 2051041"/>
              <a:gd name="connsiteY1217" fmla="*/ 103392 h 2084191"/>
              <a:gd name="connsiteX1218" fmla="*/ 1773511 w 2051041"/>
              <a:gd name="connsiteY1218" fmla="*/ 99405 h 2084191"/>
              <a:gd name="connsiteX1219" fmla="*/ 1773511 w 2051041"/>
              <a:gd name="connsiteY1219" fmla="*/ 107023 h 2084191"/>
              <a:gd name="connsiteX1220" fmla="*/ 1780585 w 2051041"/>
              <a:gd name="connsiteY1220" fmla="*/ 130423 h 2084191"/>
              <a:gd name="connsiteX1221" fmla="*/ 1773511 w 2051041"/>
              <a:gd name="connsiteY1221" fmla="*/ 155999 h 2084191"/>
              <a:gd name="connsiteX1222" fmla="*/ 1774055 w 2051041"/>
              <a:gd name="connsiteY1222" fmla="*/ 161985 h 2084191"/>
              <a:gd name="connsiteX1223" fmla="*/ 1780041 w 2051041"/>
              <a:gd name="connsiteY1223" fmla="*/ 162529 h 2084191"/>
              <a:gd name="connsiteX1224" fmla="*/ 1811059 w 2051041"/>
              <a:gd name="connsiteY1224" fmla="*/ 157632 h 2084191"/>
              <a:gd name="connsiteX1225" fmla="*/ 1829561 w 2051041"/>
              <a:gd name="connsiteY1225" fmla="*/ 161985 h 2084191"/>
              <a:gd name="connsiteX1226" fmla="*/ 1836635 w 2051041"/>
              <a:gd name="connsiteY1226" fmla="*/ 161985 h 2084191"/>
              <a:gd name="connsiteX1227" fmla="*/ 1833914 w 2051041"/>
              <a:gd name="connsiteY1227" fmla="*/ 157088 h 2084191"/>
              <a:gd name="connsiteX1228" fmla="*/ 1834458 w 2051041"/>
              <a:gd name="connsiteY1228" fmla="*/ 104303 h 2084191"/>
              <a:gd name="connsiteX1229" fmla="*/ 1835547 w 2051041"/>
              <a:gd name="connsiteY1229" fmla="*/ 99405 h 2084191"/>
              <a:gd name="connsiteX1230" fmla="*/ 1831193 w 2051041"/>
              <a:gd name="connsiteY1230" fmla="*/ 101038 h 2084191"/>
              <a:gd name="connsiteX1231" fmla="*/ 1780041 w 2051041"/>
              <a:gd name="connsiteY1231" fmla="*/ 101582 h 2084191"/>
              <a:gd name="connsiteX1232" fmla="*/ 1773511 w 2051041"/>
              <a:gd name="connsiteY1232" fmla="*/ 99405 h 2084191"/>
              <a:gd name="connsiteX1233" fmla="*/ 417424 w 2051041"/>
              <a:gd name="connsiteY1233" fmla="*/ 97950 h 2084191"/>
              <a:gd name="connsiteX1234" fmla="*/ 445721 w 2051041"/>
              <a:gd name="connsiteY1234" fmla="*/ 126247 h 2084191"/>
              <a:gd name="connsiteX1235" fmla="*/ 417424 w 2051041"/>
              <a:gd name="connsiteY1235" fmla="*/ 153456 h 2084191"/>
              <a:gd name="connsiteX1236" fmla="*/ 390215 w 2051041"/>
              <a:gd name="connsiteY1236" fmla="*/ 125159 h 2084191"/>
              <a:gd name="connsiteX1237" fmla="*/ 417424 w 2051041"/>
              <a:gd name="connsiteY1237" fmla="*/ 97950 h 2084191"/>
              <a:gd name="connsiteX1238" fmla="*/ 580677 w 2051041"/>
              <a:gd name="connsiteY1238" fmla="*/ 92508 h 2084191"/>
              <a:gd name="connsiteX1239" fmla="*/ 614960 w 2051041"/>
              <a:gd name="connsiteY1239" fmla="*/ 125159 h 2084191"/>
              <a:gd name="connsiteX1240" fmla="*/ 581766 w 2051041"/>
              <a:gd name="connsiteY1240" fmla="*/ 158353 h 2084191"/>
              <a:gd name="connsiteX1241" fmla="*/ 548571 w 2051041"/>
              <a:gd name="connsiteY1241" fmla="*/ 125703 h 2084191"/>
              <a:gd name="connsiteX1242" fmla="*/ 580677 w 2051041"/>
              <a:gd name="connsiteY1242" fmla="*/ 92508 h 2084191"/>
              <a:gd name="connsiteX1243" fmla="*/ 745019 w 2051041"/>
              <a:gd name="connsiteY1243" fmla="*/ 88154 h 2084191"/>
              <a:gd name="connsiteX1244" fmla="*/ 782567 w 2051041"/>
              <a:gd name="connsiteY1244" fmla="*/ 126791 h 2084191"/>
              <a:gd name="connsiteX1245" fmla="*/ 743930 w 2051041"/>
              <a:gd name="connsiteY1245" fmla="*/ 164339 h 2084191"/>
              <a:gd name="connsiteX1246" fmla="*/ 706382 w 2051041"/>
              <a:gd name="connsiteY1246" fmla="*/ 125702 h 2084191"/>
              <a:gd name="connsiteX1247" fmla="*/ 745019 w 2051041"/>
              <a:gd name="connsiteY1247" fmla="*/ 88154 h 2084191"/>
              <a:gd name="connsiteX1248" fmla="*/ 1685898 w 2051041"/>
              <a:gd name="connsiteY1248" fmla="*/ 84712 h 2084191"/>
              <a:gd name="connsiteX1249" fmla="*/ 1685681 w 2051041"/>
              <a:gd name="connsiteY1249" fmla="*/ 85147 h 2084191"/>
              <a:gd name="connsiteX1250" fmla="*/ 1685354 w 2051041"/>
              <a:gd name="connsiteY1250" fmla="*/ 85256 h 2084191"/>
              <a:gd name="connsiteX1251" fmla="*/ 1685898 w 2051041"/>
              <a:gd name="connsiteY1251" fmla="*/ 84712 h 2084191"/>
              <a:gd name="connsiteX1252" fmla="*/ 907183 w 2051041"/>
              <a:gd name="connsiteY1252" fmla="*/ 84345 h 2084191"/>
              <a:gd name="connsiteX1253" fmla="*/ 934935 w 2051041"/>
              <a:gd name="connsiteY1253" fmla="*/ 95228 h 2084191"/>
              <a:gd name="connsiteX1254" fmla="*/ 949628 w 2051041"/>
              <a:gd name="connsiteY1254" fmla="*/ 125158 h 2084191"/>
              <a:gd name="connsiteX1255" fmla="*/ 908271 w 2051041"/>
              <a:gd name="connsiteY1255" fmla="*/ 167060 h 2084191"/>
              <a:gd name="connsiteX1256" fmla="*/ 866369 w 2051041"/>
              <a:gd name="connsiteY1256" fmla="*/ 125702 h 2084191"/>
              <a:gd name="connsiteX1257" fmla="*/ 907183 w 2051041"/>
              <a:gd name="connsiteY1257" fmla="*/ 84345 h 2084191"/>
              <a:gd name="connsiteX1258" fmla="*/ 1070979 w 2051041"/>
              <a:gd name="connsiteY1258" fmla="*/ 82169 h 2084191"/>
              <a:gd name="connsiteX1259" fmla="*/ 1115602 w 2051041"/>
              <a:gd name="connsiteY1259" fmla="*/ 126247 h 2084191"/>
              <a:gd name="connsiteX1260" fmla="*/ 1071524 w 2051041"/>
              <a:gd name="connsiteY1260" fmla="*/ 170325 h 2084191"/>
              <a:gd name="connsiteX1261" fmla="*/ 1026357 w 2051041"/>
              <a:gd name="connsiteY1261" fmla="*/ 125703 h 2084191"/>
              <a:gd name="connsiteX1262" fmla="*/ 1070979 w 2051041"/>
              <a:gd name="connsiteY1262" fmla="*/ 82169 h 2084191"/>
              <a:gd name="connsiteX1263" fmla="*/ 1684811 w 2051041"/>
              <a:gd name="connsiteY1263" fmla="*/ 82168 h 2084191"/>
              <a:gd name="connsiteX1264" fmla="*/ 1684266 w 2051041"/>
              <a:gd name="connsiteY1264" fmla="*/ 82713 h 2084191"/>
              <a:gd name="connsiteX1265" fmla="*/ 1684469 w 2051041"/>
              <a:gd name="connsiteY1265" fmla="*/ 82365 h 2084191"/>
              <a:gd name="connsiteX1266" fmla="*/ 1234777 w 2051041"/>
              <a:gd name="connsiteY1266" fmla="*/ 78360 h 2084191"/>
              <a:gd name="connsiteX1267" fmla="*/ 1282664 w 2051041"/>
              <a:gd name="connsiteY1267" fmla="*/ 126791 h 2084191"/>
              <a:gd name="connsiteX1268" fmla="*/ 1234232 w 2051041"/>
              <a:gd name="connsiteY1268" fmla="*/ 174135 h 2084191"/>
              <a:gd name="connsiteX1269" fmla="*/ 1186889 w 2051041"/>
              <a:gd name="connsiteY1269" fmla="*/ 126791 h 2084191"/>
              <a:gd name="connsiteX1270" fmla="*/ 1234777 w 2051041"/>
              <a:gd name="connsiteY1270" fmla="*/ 78360 h 2084191"/>
              <a:gd name="connsiteX1271" fmla="*/ 1398574 w 2051041"/>
              <a:gd name="connsiteY1271" fmla="*/ 76182 h 2084191"/>
              <a:gd name="connsiteX1272" fmla="*/ 1448094 w 2051041"/>
              <a:gd name="connsiteY1272" fmla="*/ 127335 h 2084191"/>
              <a:gd name="connsiteX1273" fmla="*/ 1396941 w 2051041"/>
              <a:gd name="connsiteY1273" fmla="*/ 175766 h 2084191"/>
              <a:gd name="connsiteX1274" fmla="*/ 1347421 w 2051041"/>
              <a:gd name="connsiteY1274" fmla="*/ 125702 h 2084191"/>
              <a:gd name="connsiteX1275" fmla="*/ 1398574 w 2051041"/>
              <a:gd name="connsiteY1275" fmla="*/ 76182 h 2084191"/>
              <a:gd name="connsiteX1276" fmla="*/ 1561282 w 2051041"/>
              <a:gd name="connsiteY1276" fmla="*/ 72373 h 2084191"/>
              <a:gd name="connsiteX1277" fmla="*/ 1614611 w 2051041"/>
              <a:gd name="connsiteY1277" fmla="*/ 126247 h 2084191"/>
              <a:gd name="connsiteX1278" fmla="*/ 1560738 w 2051041"/>
              <a:gd name="connsiteY1278" fmla="*/ 179576 h 2084191"/>
              <a:gd name="connsiteX1279" fmla="*/ 1507409 w 2051041"/>
              <a:gd name="connsiteY1279" fmla="*/ 126247 h 2084191"/>
              <a:gd name="connsiteX1280" fmla="*/ 1561282 w 2051041"/>
              <a:gd name="connsiteY1280" fmla="*/ 72373 h 2084191"/>
              <a:gd name="connsiteX1281" fmla="*/ 10381 w 2051041"/>
              <a:gd name="connsiteY1281" fmla="*/ 33737 h 2084191"/>
              <a:gd name="connsiteX1282" fmla="*/ 20720 w 2051041"/>
              <a:gd name="connsiteY1282" fmla="*/ 45165 h 2084191"/>
              <a:gd name="connsiteX1283" fmla="*/ 9292 w 2051041"/>
              <a:gd name="connsiteY1283" fmla="*/ 54960 h 2084191"/>
              <a:gd name="connsiteX1284" fmla="*/ 41 w 2051041"/>
              <a:gd name="connsiteY1284" fmla="*/ 44621 h 2084191"/>
              <a:gd name="connsiteX1285" fmla="*/ 10381 w 2051041"/>
              <a:gd name="connsiteY1285" fmla="*/ 33737 h 2084191"/>
              <a:gd name="connsiteX1286" fmla="*/ 172546 w 2051041"/>
              <a:gd name="connsiteY1286" fmla="*/ 23942 h 2084191"/>
              <a:gd name="connsiteX1287" fmla="*/ 193224 w 2051041"/>
              <a:gd name="connsiteY1287" fmla="*/ 44621 h 2084191"/>
              <a:gd name="connsiteX1288" fmla="*/ 173090 w 2051041"/>
              <a:gd name="connsiteY1288" fmla="*/ 64755 h 2084191"/>
              <a:gd name="connsiteX1289" fmla="*/ 152411 w 2051041"/>
              <a:gd name="connsiteY1289" fmla="*/ 44621 h 2084191"/>
              <a:gd name="connsiteX1290" fmla="*/ 172546 w 2051041"/>
              <a:gd name="connsiteY1290" fmla="*/ 23942 h 2084191"/>
              <a:gd name="connsiteX1291" fmla="*/ 1861123 w 2051041"/>
              <a:gd name="connsiteY1291" fmla="*/ 22132 h 2084191"/>
              <a:gd name="connsiteX1292" fmla="*/ 1861123 w 2051041"/>
              <a:gd name="connsiteY1292" fmla="*/ 35737 h 2084191"/>
              <a:gd name="connsiteX1293" fmla="*/ 1861123 w 2051041"/>
              <a:gd name="connsiteY1293" fmla="*/ 61313 h 2084191"/>
              <a:gd name="connsiteX1294" fmla="*/ 1858946 w 2051041"/>
              <a:gd name="connsiteY1294" fmla="*/ 72740 h 2084191"/>
              <a:gd name="connsiteX1295" fmla="*/ 1866021 w 2051041"/>
              <a:gd name="connsiteY1295" fmla="*/ 76550 h 2084191"/>
              <a:gd name="connsiteX1296" fmla="*/ 1873639 w 2051041"/>
              <a:gd name="connsiteY1296" fmla="*/ 74917 h 2084191"/>
              <a:gd name="connsiteX1297" fmla="*/ 1900304 w 2051041"/>
              <a:gd name="connsiteY1297" fmla="*/ 74373 h 2084191"/>
              <a:gd name="connsiteX1298" fmla="*/ 1907922 w 2051041"/>
              <a:gd name="connsiteY1298" fmla="*/ 76006 h 2084191"/>
              <a:gd name="connsiteX1299" fmla="*/ 1912820 w 2051041"/>
              <a:gd name="connsiteY1299" fmla="*/ 70020 h 2084191"/>
              <a:gd name="connsiteX1300" fmla="*/ 1912820 w 2051041"/>
              <a:gd name="connsiteY1300" fmla="*/ 27030 h 2084191"/>
              <a:gd name="connsiteX1301" fmla="*/ 1908466 w 2051041"/>
              <a:gd name="connsiteY1301" fmla="*/ 22132 h 2084191"/>
              <a:gd name="connsiteX1302" fmla="*/ 1902480 w 2051041"/>
              <a:gd name="connsiteY1302" fmla="*/ 24309 h 2084191"/>
              <a:gd name="connsiteX1303" fmla="*/ 1873095 w 2051041"/>
              <a:gd name="connsiteY1303" fmla="*/ 24309 h 2084191"/>
              <a:gd name="connsiteX1304" fmla="*/ 1861123 w 2051041"/>
              <a:gd name="connsiteY1304" fmla="*/ 22132 h 2084191"/>
              <a:gd name="connsiteX1305" fmla="*/ 336886 w 2051041"/>
              <a:gd name="connsiteY1305" fmla="*/ 17412 h 2084191"/>
              <a:gd name="connsiteX1306" fmla="*/ 363007 w 2051041"/>
              <a:gd name="connsiteY1306" fmla="*/ 44077 h 2084191"/>
              <a:gd name="connsiteX1307" fmla="*/ 337431 w 2051041"/>
              <a:gd name="connsiteY1307" fmla="*/ 71285 h 2084191"/>
              <a:gd name="connsiteX1308" fmla="*/ 310222 w 2051041"/>
              <a:gd name="connsiteY1308" fmla="*/ 45165 h 2084191"/>
              <a:gd name="connsiteX1309" fmla="*/ 336886 w 2051041"/>
              <a:gd name="connsiteY1309" fmla="*/ 17412 h 2084191"/>
              <a:gd name="connsiteX1310" fmla="*/ 498507 w 2051041"/>
              <a:gd name="connsiteY1310" fmla="*/ 13059 h 2084191"/>
              <a:gd name="connsiteX1311" fmla="*/ 531702 w 2051041"/>
              <a:gd name="connsiteY1311" fmla="*/ 44621 h 2084191"/>
              <a:gd name="connsiteX1312" fmla="*/ 499595 w 2051041"/>
              <a:gd name="connsiteY1312" fmla="*/ 76727 h 2084191"/>
              <a:gd name="connsiteX1313" fmla="*/ 467489 w 2051041"/>
              <a:gd name="connsiteY1313" fmla="*/ 45165 h 2084191"/>
              <a:gd name="connsiteX1314" fmla="*/ 498507 w 2051041"/>
              <a:gd name="connsiteY1314" fmla="*/ 13059 h 2084191"/>
              <a:gd name="connsiteX1315" fmla="*/ 662303 w 2051041"/>
              <a:gd name="connsiteY1315" fmla="*/ 7616 h 2084191"/>
              <a:gd name="connsiteX1316" fmla="*/ 698763 w 2051041"/>
              <a:gd name="connsiteY1316" fmla="*/ 44076 h 2084191"/>
              <a:gd name="connsiteX1317" fmla="*/ 662303 w 2051041"/>
              <a:gd name="connsiteY1317" fmla="*/ 81080 h 2084191"/>
              <a:gd name="connsiteX1318" fmla="*/ 626932 w 2051041"/>
              <a:gd name="connsiteY1318" fmla="*/ 44076 h 2084191"/>
              <a:gd name="connsiteX1319" fmla="*/ 662303 w 2051041"/>
              <a:gd name="connsiteY1319" fmla="*/ 7616 h 2084191"/>
              <a:gd name="connsiteX1320" fmla="*/ 825557 w 2051041"/>
              <a:gd name="connsiteY1320" fmla="*/ 5440 h 2084191"/>
              <a:gd name="connsiteX1321" fmla="*/ 865281 w 2051041"/>
              <a:gd name="connsiteY1321" fmla="*/ 44621 h 2084191"/>
              <a:gd name="connsiteX1322" fmla="*/ 826101 w 2051041"/>
              <a:gd name="connsiteY1322" fmla="*/ 83257 h 2084191"/>
              <a:gd name="connsiteX1323" fmla="*/ 786920 w 2051041"/>
              <a:gd name="connsiteY1323" fmla="*/ 44621 h 2084191"/>
              <a:gd name="connsiteX1324" fmla="*/ 825557 w 2051041"/>
              <a:gd name="connsiteY1324" fmla="*/ 5440 h 2084191"/>
              <a:gd name="connsiteX1325" fmla="*/ 989353 w 2051041"/>
              <a:gd name="connsiteY1325" fmla="*/ 1086 h 2084191"/>
              <a:gd name="connsiteX1326" fmla="*/ 1032343 w 2051041"/>
              <a:gd name="connsiteY1326" fmla="*/ 43532 h 2084191"/>
              <a:gd name="connsiteX1327" fmla="*/ 989897 w 2051041"/>
              <a:gd name="connsiteY1327" fmla="*/ 87610 h 2084191"/>
              <a:gd name="connsiteX1328" fmla="*/ 945819 w 2051041"/>
              <a:gd name="connsiteY1328" fmla="*/ 44620 h 2084191"/>
              <a:gd name="connsiteX1329" fmla="*/ 989353 w 2051041"/>
              <a:gd name="connsiteY1329" fmla="*/ 1086 h 2084191"/>
              <a:gd name="connsiteX1330" fmla="*/ 1614056 w 2051041"/>
              <a:gd name="connsiteY1330" fmla="*/ 0 h 2084191"/>
              <a:gd name="connsiteX1331" fmla="*/ 1675529 w 2051041"/>
              <a:gd name="connsiteY1331" fmla="*/ 0 h 2084191"/>
              <a:gd name="connsiteX1332" fmla="*/ 1682905 w 2051041"/>
              <a:gd name="connsiteY1332" fmla="*/ 4720 h 2084191"/>
              <a:gd name="connsiteX1333" fmla="*/ 1933639 w 2051041"/>
              <a:gd name="connsiteY1333" fmla="*/ 4720 h 2084191"/>
              <a:gd name="connsiteX1334" fmla="*/ 2016655 w 2051041"/>
              <a:gd name="connsiteY1334" fmla="*/ 39107 h 2084191"/>
              <a:gd name="connsiteX1335" fmla="*/ 2028934 w 2051041"/>
              <a:gd name="connsiteY1335" fmla="*/ 57318 h 2084191"/>
              <a:gd name="connsiteX1336" fmla="*/ 2026008 w 2051041"/>
              <a:gd name="connsiteY1336" fmla="*/ 71108 h 2084191"/>
              <a:gd name="connsiteX1337" fmla="*/ 2030906 w 2051041"/>
              <a:gd name="connsiteY1337" fmla="*/ 75461 h 2084191"/>
              <a:gd name="connsiteX1338" fmla="*/ 2039929 w 2051041"/>
              <a:gd name="connsiteY1338" fmla="*/ 73627 h 2084191"/>
              <a:gd name="connsiteX1339" fmla="*/ 2041815 w 2051041"/>
              <a:gd name="connsiteY1339" fmla="*/ 76424 h 2084191"/>
              <a:gd name="connsiteX1340" fmla="*/ 2051041 w 2051041"/>
              <a:gd name="connsiteY1340" fmla="*/ 122122 h 2084191"/>
              <a:gd name="connsiteX1341" fmla="*/ 2051041 w 2051041"/>
              <a:gd name="connsiteY1341" fmla="*/ 186473 h 2084191"/>
              <a:gd name="connsiteX1342" fmla="*/ 2029818 w 2051041"/>
              <a:gd name="connsiteY1342" fmla="*/ 186473 h 2084191"/>
              <a:gd name="connsiteX1343" fmla="*/ 2023287 w 2051041"/>
              <a:gd name="connsiteY1343" fmla="*/ 192459 h 2084191"/>
              <a:gd name="connsiteX1344" fmla="*/ 2023832 w 2051041"/>
              <a:gd name="connsiteY1344" fmla="*/ 196268 h 2084191"/>
              <a:gd name="connsiteX1345" fmla="*/ 2019478 w 2051041"/>
              <a:gd name="connsiteY1345" fmla="*/ 239258 h 2084191"/>
              <a:gd name="connsiteX1346" fmla="*/ 2020022 w 2051041"/>
              <a:gd name="connsiteY1346" fmla="*/ 242523 h 2084191"/>
              <a:gd name="connsiteX1347" fmla="*/ 2023287 w 2051041"/>
              <a:gd name="connsiteY1347" fmla="*/ 243067 h 2084191"/>
              <a:gd name="connsiteX1348" fmla="*/ 2050224 w 2051041"/>
              <a:gd name="connsiteY1348" fmla="*/ 237150 h 2084191"/>
              <a:gd name="connsiteX1349" fmla="*/ 2051041 w 2051041"/>
              <a:gd name="connsiteY1349" fmla="*/ 237329 h 2084191"/>
              <a:gd name="connsiteX1350" fmla="*/ 2051041 w 2051041"/>
              <a:gd name="connsiteY1350" fmla="*/ 348996 h 2084191"/>
              <a:gd name="connsiteX1351" fmla="*/ 2036552 w 2051041"/>
              <a:gd name="connsiteY1351" fmla="*/ 347754 h 2084191"/>
              <a:gd name="connsiteX1352" fmla="*/ 2021111 w 2051041"/>
              <a:gd name="connsiteY1352" fmla="*/ 341019 h 2084191"/>
              <a:gd name="connsiteX1353" fmla="*/ 2016757 w 2051041"/>
              <a:gd name="connsiteY1353" fmla="*/ 338842 h 2084191"/>
              <a:gd name="connsiteX1354" fmla="*/ 2017301 w 2051041"/>
              <a:gd name="connsiteY1354" fmla="*/ 344284 h 2084191"/>
              <a:gd name="connsiteX1355" fmla="*/ 2025464 w 2051041"/>
              <a:gd name="connsiteY1355" fmla="*/ 376391 h 2084191"/>
              <a:gd name="connsiteX1356" fmla="*/ 1994446 w 2051041"/>
              <a:gd name="connsiteY1356" fmla="*/ 424278 h 2084191"/>
              <a:gd name="connsiteX1357" fmla="*/ 1933498 w 2051041"/>
              <a:gd name="connsiteY1357" fmla="*/ 416115 h 2084191"/>
              <a:gd name="connsiteX1358" fmla="*/ 1920438 w 2051041"/>
              <a:gd name="connsiteY1358" fmla="*/ 352447 h 2084191"/>
              <a:gd name="connsiteX1359" fmla="*/ 1925336 w 2051041"/>
              <a:gd name="connsiteY1359" fmla="*/ 338298 h 2084191"/>
              <a:gd name="connsiteX1360" fmla="*/ 1911731 w 2051041"/>
              <a:gd name="connsiteY1360" fmla="*/ 343196 h 2084191"/>
              <a:gd name="connsiteX1361" fmla="*/ 1898671 w 2051041"/>
              <a:gd name="connsiteY1361" fmla="*/ 347005 h 2084191"/>
              <a:gd name="connsiteX1362" fmla="*/ 1854593 w 2051041"/>
              <a:gd name="connsiteY1362" fmla="*/ 336666 h 2084191"/>
              <a:gd name="connsiteX1363" fmla="*/ 1847690 w 2051041"/>
              <a:gd name="connsiteY1363" fmla="*/ 333480 h 2084191"/>
              <a:gd name="connsiteX1364" fmla="*/ 1852961 w 2051041"/>
              <a:gd name="connsiteY1364" fmla="*/ 344461 h 2084191"/>
              <a:gd name="connsiteX1365" fmla="*/ 1826840 w 2051041"/>
              <a:gd name="connsiteY1365" fmla="*/ 420646 h 2084191"/>
              <a:gd name="connsiteX1366" fmla="*/ 1765893 w 2051041"/>
              <a:gd name="connsiteY1366" fmla="*/ 408130 h 2084191"/>
              <a:gd name="connsiteX1367" fmla="*/ 1759362 w 2051041"/>
              <a:gd name="connsiteY1367" fmla="*/ 342829 h 2084191"/>
              <a:gd name="connsiteX1368" fmla="*/ 1815991 w 2051041"/>
              <a:gd name="connsiteY1368" fmla="*/ 317193 h 2084191"/>
              <a:gd name="connsiteX1369" fmla="*/ 1834459 w 2051041"/>
              <a:gd name="connsiteY1369" fmla="*/ 325415 h 2084191"/>
              <a:gd name="connsiteX1370" fmla="*/ 1845023 w 2051041"/>
              <a:gd name="connsiteY1370" fmla="*/ 330169 h 2084191"/>
              <a:gd name="connsiteX1371" fmla="*/ 1840444 w 2051041"/>
              <a:gd name="connsiteY1371" fmla="*/ 321429 h 2084191"/>
              <a:gd name="connsiteX1372" fmla="*/ 1834458 w 2051041"/>
              <a:gd name="connsiteY1372" fmla="*/ 275174 h 2084191"/>
              <a:gd name="connsiteX1373" fmla="*/ 1840988 w 2051041"/>
              <a:gd name="connsiteY1373" fmla="*/ 259937 h 2084191"/>
              <a:gd name="connsiteX1374" fmla="*/ 1842077 w 2051041"/>
              <a:gd name="connsiteY1374" fmla="*/ 255584 h 2084191"/>
              <a:gd name="connsiteX1375" fmla="*/ 1837723 w 2051041"/>
              <a:gd name="connsiteY1375" fmla="*/ 257216 h 2084191"/>
              <a:gd name="connsiteX1376" fmla="*/ 1817589 w 2051041"/>
              <a:gd name="connsiteY1376" fmla="*/ 264834 h 2084191"/>
              <a:gd name="connsiteX1377" fmla="*/ 1768069 w 2051041"/>
              <a:gd name="connsiteY1377" fmla="*/ 251774 h 2084191"/>
              <a:gd name="connsiteX1378" fmla="*/ 1764740 w 2051041"/>
              <a:gd name="connsiteY1378" fmla="*/ 250110 h 2084191"/>
              <a:gd name="connsiteX1379" fmla="*/ 1773510 w 2051041"/>
              <a:gd name="connsiteY1379" fmla="*/ 267189 h 2084191"/>
              <a:gd name="connsiteX1380" fmla="*/ 1750655 w 2051041"/>
              <a:gd name="connsiteY1380" fmla="*/ 336843 h 2084191"/>
              <a:gd name="connsiteX1381" fmla="*/ 1673926 w 2051041"/>
              <a:gd name="connsiteY1381" fmla="*/ 310723 h 2084191"/>
              <a:gd name="connsiteX1382" fmla="*/ 1681545 w 2051041"/>
              <a:gd name="connsiteY1382" fmla="*/ 254673 h 2084191"/>
              <a:gd name="connsiteX1383" fmla="*/ 1733786 w 2051041"/>
              <a:gd name="connsiteY1383" fmla="*/ 235083 h 2084191"/>
              <a:gd name="connsiteX1384" fmla="*/ 1751743 w 2051041"/>
              <a:gd name="connsiteY1384" fmla="*/ 242157 h 2084191"/>
              <a:gd name="connsiteX1385" fmla="*/ 1762506 w 2051041"/>
              <a:gd name="connsiteY1385" fmla="*/ 246769 h 2084191"/>
              <a:gd name="connsiteX1386" fmla="*/ 1757185 w 2051041"/>
              <a:gd name="connsiteY1386" fmla="*/ 236537 h 2084191"/>
              <a:gd name="connsiteX1387" fmla="*/ 1756097 w 2051041"/>
              <a:gd name="connsiteY1387" fmla="*/ 185929 h 2084191"/>
              <a:gd name="connsiteX1388" fmla="*/ 1757185 w 2051041"/>
              <a:gd name="connsiteY1388" fmla="*/ 177766 h 2084191"/>
              <a:gd name="connsiteX1389" fmla="*/ 1749023 w 2051041"/>
              <a:gd name="connsiteY1389" fmla="*/ 178311 h 2084191"/>
              <a:gd name="connsiteX1390" fmla="*/ 1676103 w 2051041"/>
              <a:gd name="connsiteY1390" fmla="*/ 154911 h 2084191"/>
              <a:gd name="connsiteX1391" fmla="*/ 1681001 w 2051041"/>
              <a:gd name="connsiteY1391" fmla="*/ 94507 h 2084191"/>
              <a:gd name="connsiteX1392" fmla="*/ 1685681 w 2051041"/>
              <a:gd name="connsiteY1392" fmla="*/ 85147 h 2084191"/>
              <a:gd name="connsiteX1393" fmla="*/ 1693517 w 2051041"/>
              <a:gd name="connsiteY1393" fmla="*/ 82536 h 2084191"/>
              <a:gd name="connsiteX1394" fmla="*/ 1747934 w 2051041"/>
              <a:gd name="connsiteY1394" fmla="*/ 77638 h 2084191"/>
              <a:gd name="connsiteX1395" fmla="*/ 1756641 w 2051041"/>
              <a:gd name="connsiteY1395" fmla="*/ 79271 h 2084191"/>
              <a:gd name="connsiteX1396" fmla="*/ 1754464 w 2051041"/>
              <a:gd name="connsiteY1396" fmla="*/ 71652 h 2084191"/>
              <a:gd name="connsiteX1397" fmla="*/ 1752832 w 2051041"/>
              <a:gd name="connsiteY1397" fmla="*/ 68387 h 2084191"/>
              <a:gd name="connsiteX1398" fmla="*/ 1756097 w 2051041"/>
              <a:gd name="connsiteY1398" fmla="*/ 20500 h 2084191"/>
              <a:gd name="connsiteX1399" fmla="*/ 1756641 w 2051041"/>
              <a:gd name="connsiteY1399" fmla="*/ 16146 h 2084191"/>
              <a:gd name="connsiteX1400" fmla="*/ 1751744 w 2051041"/>
              <a:gd name="connsiteY1400" fmla="*/ 15058 h 2084191"/>
              <a:gd name="connsiteX1401" fmla="*/ 1741404 w 2051041"/>
              <a:gd name="connsiteY1401" fmla="*/ 19955 h 2084191"/>
              <a:gd name="connsiteX1402" fmla="*/ 1691884 w 2051041"/>
              <a:gd name="connsiteY1402" fmla="*/ 11249 h 2084191"/>
              <a:gd name="connsiteX1403" fmla="*/ 1685645 w 2051041"/>
              <a:gd name="connsiteY1403" fmla="*/ 8369 h 2084191"/>
              <a:gd name="connsiteX1404" fmla="*/ 1688620 w 2051041"/>
              <a:gd name="connsiteY1404" fmla="*/ 14691 h 2084191"/>
              <a:gd name="connsiteX1405" fmla="*/ 1691885 w 2051041"/>
              <a:gd name="connsiteY1405" fmla="*/ 69652 h 2084191"/>
              <a:gd name="connsiteX1406" fmla="*/ 1684469 w 2051041"/>
              <a:gd name="connsiteY1406" fmla="*/ 82365 h 2084191"/>
              <a:gd name="connsiteX1407" fmla="*/ 1663044 w 2051041"/>
              <a:gd name="connsiteY1407" fmla="*/ 94684 h 2084191"/>
              <a:gd name="connsiteX1408" fmla="*/ 1626584 w 2051041"/>
              <a:gd name="connsiteY1408" fmla="*/ 96861 h 2084191"/>
              <a:gd name="connsiteX1409" fmla="*/ 1590124 w 2051041"/>
              <a:gd name="connsiteY1409" fmla="*/ 60401 h 2084191"/>
              <a:gd name="connsiteX1410" fmla="*/ 1591757 w 2051041"/>
              <a:gd name="connsiteY1410" fmla="*/ 25030 h 2084191"/>
              <a:gd name="connsiteX1411" fmla="*/ 1460066 w 2051041"/>
              <a:gd name="connsiteY1411" fmla="*/ 0 h 2084191"/>
              <a:gd name="connsiteX1412" fmla="*/ 1498513 w 2051041"/>
              <a:gd name="connsiteY1412" fmla="*/ 0 h 2084191"/>
              <a:gd name="connsiteX1413" fmla="*/ 1517204 w 2051041"/>
              <a:gd name="connsiteY1413" fmla="*/ 8092 h 2084191"/>
              <a:gd name="connsiteX1414" fmla="*/ 1531896 w 2051041"/>
              <a:gd name="connsiteY1414" fmla="*/ 45164 h 2084191"/>
              <a:gd name="connsiteX1415" fmla="*/ 1479111 w 2051041"/>
              <a:gd name="connsiteY1415" fmla="*/ 97949 h 2084191"/>
              <a:gd name="connsiteX1416" fmla="*/ 1426870 w 2051041"/>
              <a:gd name="connsiteY1416" fmla="*/ 45164 h 2084191"/>
              <a:gd name="connsiteX1417" fmla="*/ 1441631 w 2051041"/>
              <a:gd name="connsiteY1417" fmla="*/ 7684 h 2084191"/>
              <a:gd name="connsiteX1418" fmla="*/ 1296749 w 2051041"/>
              <a:gd name="connsiteY1418" fmla="*/ 0 h 2084191"/>
              <a:gd name="connsiteX1419" fmla="*/ 1335755 w 2051041"/>
              <a:gd name="connsiteY1419" fmla="*/ 0 h 2084191"/>
              <a:gd name="connsiteX1420" fmla="*/ 1350278 w 2051041"/>
              <a:gd name="connsiteY1420" fmla="*/ 10270 h 2084191"/>
              <a:gd name="connsiteX1421" fmla="*/ 1365923 w 2051041"/>
              <a:gd name="connsiteY1421" fmla="*/ 45165 h 2084191"/>
              <a:gd name="connsiteX1422" fmla="*/ 1315315 w 2051041"/>
              <a:gd name="connsiteY1422" fmla="*/ 93052 h 2084191"/>
              <a:gd name="connsiteX1423" fmla="*/ 1266339 w 2051041"/>
              <a:gd name="connsiteY1423" fmla="*/ 44076 h 2084191"/>
              <a:gd name="connsiteX1424" fmla="*/ 1282732 w 2051041"/>
              <a:gd name="connsiteY1424" fmla="*/ 9317 h 2084191"/>
              <a:gd name="connsiteX1425" fmla="*/ 1148085 w 2051041"/>
              <a:gd name="connsiteY1425" fmla="*/ 0 h 2084191"/>
              <a:gd name="connsiteX1426" fmla="*/ 1161802 w 2051041"/>
              <a:gd name="connsiteY1426" fmla="*/ 0 h 2084191"/>
              <a:gd name="connsiteX1427" fmla="*/ 1169637 w 2051041"/>
              <a:gd name="connsiteY1427" fmla="*/ 1315 h 2084191"/>
              <a:gd name="connsiteX1428" fmla="*/ 1199405 w 2051041"/>
              <a:gd name="connsiteY1428" fmla="*/ 45164 h 2084191"/>
              <a:gd name="connsiteX1429" fmla="*/ 1151518 w 2051041"/>
              <a:gd name="connsiteY1429" fmla="*/ 91419 h 2084191"/>
              <a:gd name="connsiteX1430" fmla="*/ 1105807 w 2051041"/>
              <a:gd name="connsiteY1430" fmla="*/ 44620 h 2084191"/>
              <a:gd name="connsiteX1431" fmla="*/ 1119139 w 2051041"/>
              <a:gd name="connsiteY1431" fmla="*/ 11902 h 20841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Lst>
            <a:rect l="l" t="t" r="r" b="b"/>
            <a:pathLst>
              <a:path w="2051041" h="2084191">
                <a:moveTo>
                  <a:pt x="2051041" y="2080382"/>
                </a:moveTo>
                <a:lnTo>
                  <a:pt x="2051041" y="2083967"/>
                </a:lnTo>
                <a:lnTo>
                  <a:pt x="2047231" y="2084191"/>
                </a:lnTo>
                <a:cubicBezTo>
                  <a:pt x="2046687" y="2084191"/>
                  <a:pt x="2046143" y="2082559"/>
                  <a:pt x="2045599" y="2081470"/>
                </a:cubicBezTo>
                <a:close/>
                <a:moveTo>
                  <a:pt x="1478568" y="1997668"/>
                </a:moveTo>
                <a:cubicBezTo>
                  <a:pt x="1484010" y="1997668"/>
                  <a:pt x="1485642" y="2000933"/>
                  <a:pt x="1484554" y="2004743"/>
                </a:cubicBezTo>
                <a:cubicBezTo>
                  <a:pt x="1484010" y="2006919"/>
                  <a:pt x="1480745" y="2008551"/>
                  <a:pt x="1478568" y="2009096"/>
                </a:cubicBezTo>
                <a:cubicBezTo>
                  <a:pt x="1474759" y="2009640"/>
                  <a:pt x="1473126" y="2007463"/>
                  <a:pt x="1473126" y="2003654"/>
                </a:cubicBezTo>
                <a:cubicBezTo>
                  <a:pt x="1473126" y="1998756"/>
                  <a:pt x="1475303" y="1997124"/>
                  <a:pt x="1478568" y="1997668"/>
                </a:cubicBezTo>
                <a:close/>
                <a:moveTo>
                  <a:pt x="1641820" y="1993859"/>
                </a:moveTo>
                <a:cubicBezTo>
                  <a:pt x="1646718" y="1993314"/>
                  <a:pt x="1652160" y="1999300"/>
                  <a:pt x="1652160" y="2003654"/>
                </a:cubicBezTo>
                <a:cubicBezTo>
                  <a:pt x="1652160" y="2008551"/>
                  <a:pt x="1646718" y="2013449"/>
                  <a:pt x="1641820" y="2013449"/>
                </a:cubicBezTo>
                <a:cubicBezTo>
                  <a:pt x="1636923" y="2013449"/>
                  <a:pt x="1632025" y="2008007"/>
                  <a:pt x="1632025" y="2003654"/>
                </a:cubicBezTo>
                <a:cubicBezTo>
                  <a:pt x="1632025" y="1999300"/>
                  <a:pt x="1638011" y="1993859"/>
                  <a:pt x="1641820" y="1993859"/>
                </a:cubicBezTo>
                <a:close/>
                <a:moveTo>
                  <a:pt x="1969414" y="1992226"/>
                </a:moveTo>
                <a:cubicBezTo>
                  <a:pt x="1976488" y="1992226"/>
                  <a:pt x="1979753" y="1996035"/>
                  <a:pt x="1979753" y="2003654"/>
                </a:cubicBezTo>
                <a:cubicBezTo>
                  <a:pt x="1979753" y="2011272"/>
                  <a:pt x="1975944" y="2014537"/>
                  <a:pt x="1968325" y="2014537"/>
                </a:cubicBezTo>
                <a:cubicBezTo>
                  <a:pt x="1960707" y="2014537"/>
                  <a:pt x="1957442" y="2010728"/>
                  <a:pt x="1957986" y="2003110"/>
                </a:cubicBezTo>
                <a:cubicBezTo>
                  <a:pt x="1957986" y="1994947"/>
                  <a:pt x="1961251" y="1992226"/>
                  <a:pt x="1969414" y="1992226"/>
                </a:cubicBezTo>
                <a:close/>
                <a:moveTo>
                  <a:pt x="1805073" y="1992226"/>
                </a:moveTo>
                <a:cubicBezTo>
                  <a:pt x="1811058" y="1992226"/>
                  <a:pt x="1815956" y="1996035"/>
                  <a:pt x="1815956" y="2002565"/>
                </a:cubicBezTo>
                <a:cubicBezTo>
                  <a:pt x="1816500" y="2009096"/>
                  <a:pt x="1812147" y="2014537"/>
                  <a:pt x="1805073" y="2014537"/>
                </a:cubicBezTo>
                <a:cubicBezTo>
                  <a:pt x="1799087" y="2014537"/>
                  <a:pt x="1794189" y="2010184"/>
                  <a:pt x="1794189" y="2004198"/>
                </a:cubicBezTo>
                <a:cubicBezTo>
                  <a:pt x="1794189" y="1997668"/>
                  <a:pt x="1799087" y="1992770"/>
                  <a:pt x="1805073" y="1992226"/>
                </a:cubicBezTo>
                <a:close/>
                <a:moveTo>
                  <a:pt x="1234233" y="1916042"/>
                </a:moveTo>
                <a:cubicBezTo>
                  <a:pt x="1238586" y="1915497"/>
                  <a:pt x="1240763" y="1917674"/>
                  <a:pt x="1240219" y="1923660"/>
                </a:cubicBezTo>
                <a:cubicBezTo>
                  <a:pt x="1239674" y="1924204"/>
                  <a:pt x="1237498" y="1926381"/>
                  <a:pt x="1236953" y="1926381"/>
                </a:cubicBezTo>
                <a:cubicBezTo>
                  <a:pt x="1234233" y="1924204"/>
                  <a:pt x="1231512" y="1921483"/>
                  <a:pt x="1229335" y="1918762"/>
                </a:cubicBezTo>
                <a:cubicBezTo>
                  <a:pt x="1230968" y="1917674"/>
                  <a:pt x="1232600" y="1916586"/>
                  <a:pt x="1234233" y="1916042"/>
                </a:cubicBezTo>
                <a:close/>
                <a:moveTo>
                  <a:pt x="1397486" y="1911144"/>
                </a:moveTo>
                <a:cubicBezTo>
                  <a:pt x="1402927" y="1911144"/>
                  <a:pt x="1408369" y="1916041"/>
                  <a:pt x="1408369" y="1921483"/>
                </a:cubicBezTo>
                <a:cubicBezTo>
                  <a:pt x="1408369" y="1926925"/>
                  <a:pt x="1404016" y="1931279"/>
                  <a:pt x="1399118" y="1931823"/>
                </a:cubicBezTo>
                <a:cubicBezTo>
                  <a:pt x="1392588" y="1932367"/>
                  <a:pt x="1387146" y="1928013"/>
                  <a:pt x="1387146" y="1922028"/>
                </a:cubicBezTo>
                <a:cubicBezTo>
                  <a:pt x="1386602" y="1916586"/>
                  <a:pt x="1391500" y="1911144"/>
                  <a:pt x="1397486" y="1911144"/>
                </a:cubicBezTo>
                <a:close/>
                <a:moveTo>
                  <a:pt x="1560194" y="1906790"/>
                </a:moveTo>
                <a:cubicBezTo>
                  <a:pt x="1566180" y="1906790"/>
                  <a:pt x="1574342" y="1914953"/>
                  <a:pt x="1574342" y="1921482"/>
                </a:cubicBezTo>
                <a:cubicBezTo>
                  <a:pt x="1574342" y="1928013"/>
                  <a:pt x="1566724" y="1936175"/>
                  <a:pt x="1560738" y="1935631"/>
                </a:cubicBezTo>
                <a:cubicBezTo>
                  <a:pt x="1554752" y="1935631"/>
                  <a:pt x="1547678" y="1928557"/>
                  <a:pt x="1547134" y="1922027"/>
                </a:cubicBezTo>
                <a:cubicBezTo>
                  <a:pt x="1546589" y="1915497"/>
                  <a:pt x="1554208" y="1907334"/>
                  <a:pt x="1560194" y="1906790"/>
                </a:cubicBezTo>
                <a:close/>
                <a:moveTo>
                  <a:pt x="2049952" y="1905702"/>
                </a:moveTo>
                <a:lnTo>
                  <a:pt x="2051041" y="1906027"/>
                </a:lnTo>
                <a:lnTo>
                  <a:pt x="2051041" y="1938133"/>
                </a:lnTo>
                <a:lnTo>
                  <a:pt x="2050496" y="1938353"/>
                </a:lnTo>
                <a:cubicBezTo>
                  <a:pt x="2039613" y="1937808"/>
                  <a:pt x="2034715" y="1933455"/>
                  <a:pt x="2034171" y="1922572"/>
                </a:cubicBezTo>
                <a:cubicBezTo>
                  <a:pt x="2034171" y="1911144"/>
                  <a:pt x="2039069" y="1905702"/>
                  <a:pt x="2049952" y="1905702"/>
                </a:cubicBezTo>
                <a:close/>
                <a:moveTo>
                  <a:pt x="1723447" y="1905702"/>
                </a:moveTo>
                <a:cubicBezTo>
                  <a:pt x="1730521" y="1905702"/>
                  <a:pt x="1739772" y="1914409"/>
                  <a:pt x="1739772" y="1920939"/>
                </a:cubicBezTo>
                <a:cubicBezTo>
                  <a:pt x="1740316" y="1929101"/>
                  <a:pt x="1732698" y="1936720"/>
                  <a:pt x="1724535" y="1937264"/>
                </a:cubicBezTo>
                <a:cubicBezTo>
                  <a:pt x="1716373" y="1937264"/>
                  <a:pt x="1708754" y="1930190"/>
                  <a:pt x="1708210" y="1922027"/>
                </a:cubicBezTo>
                <a:cubicBezTo>
                  <a:pt x="1708210" y="1914953"/>
                  <a:pt x="1716373" y="1905702"/>
                  <a:pt x="1723447" y="1905702"/>
                </a:cubicBezTo>
                <a:close/>
                <a:moveTo>
                  <a:pt x="1887787" y="1905158"/>
                </a:moveTo>
                <a:cubicBezTo>
                  <a:pt x="1898671" y="1905158"/>
                  <a:pt x="1904113" y="1911144"/>
                  <a:pt x="1904113" y="1922028"/>
                </a:cubicBezTo>
                <a:cubicBezTo>
                  <a:pt x="1904113" y="1932367"/>
                  <a:pt x="1898127" y="1937809"/>
                  <a:pt x="1886699" y="1937809"/>
                </a:cubicBezTo>
                <a:cubicBezTo>
                  <a:pt x="1876360" y="1937809"/>
                  <a:pt x="1870918" y="1931823"/>
                  <a:pt x="1870918" y="1921483"/>
                </a:cubicBezTo>
                <a:cubicBezTo>
                  <a:pt x="1870918" y="1910600"/>
                  <a:pt x="1876904" y="1904614"/>
                  <a:pt x="1887787" y="1905158"/>
                </a:cubicBezTo>
                <a:close/>
                <a:moveTo>
                  <a:pt x="1152606" y="1831693"/>
                </a:moveTo>
                <a:cubicBezTo>
                  <a:pt x="1155871" y="1832782"/>
                  <a:pt x="1160769" y="1836591"/>
                  <a:pt x="1161313" y="1839312"/>
                </a:cubicBezTo>
                <a:cubicBezTo>
                  <a:pt x="1160769" y="1843121"/>
                  <a:pt x="1156959" y="1846931"/>
                  <a:pt x="1153694" y="1852916"/>
                </a:cubicBezTo>
                <a:cubicBezTo>
                  <a:pt x="1149341" y="1847475"/>
                  <a:pt x="1146076" y="1844754"/>
                  <a:pt x="1144988" y="1841489"/>
                </a:cubicBezTo>
                <a:cubicBezTo>
                  <a:pt x="1143355" y="1837135"/>
                  <a:pt x="1148797" y="1830605"/>
                  <a:pt x="1152606" y="1831693"/>
                </a:cubicBezTo>
                <a:close/>
                <a:moveTo>
                  <a:pt x="1315315" y="1825708"/>
                </a:moveTo>
                <a:cubicBezTo>
                  <a:pt x="1321301" y="1825164"/>
                  <a:pt x="1331096" y="1834415"/>
                  <a:pt x="1330552" y="1840401"/>
                </a:cubicBezTo>
                <a:cubicBezTo>
                  <a:pt x="1330552" y="1845298"/>
                  <a:pt x="1321301" y="1854549"/>
                  <a:pt x="1316404" y="1854549"/>
                </a:cubicBezTo>
                <a:cubicBezTo>
                  <a:pt x="1310962" y="1855094"/>
                  <a:pt x="1302255" y="1846387"/>
                  <a:pt x="1301711" y="1840945"/>
                </a:cubicBezTo>
                <a:cubicBezTo>
                  <a:pt x="1301167" y="1834959"/>
                  <a:pt x="1309329" y="1826252"/>
                  <a:pt x="1315315" y="1825708"/>
                </a:cubicBezTo>
                <a:close/>
                <a:moveTo>
                  <a:pt x="1479656" y="1822987"/>
                </a:moveTo>
                <a:cubicBezTo>
                  <a:pt x="1489995" y="1823531"/>
                  <a:pt x="1495981" y="1830061"/>
                  <a:pt x="1495981" y="1840401"/>
                </a:cubicBezTo>
                <a:cubicBezTo>
                  <a:pt x="1495981" y="1851284"/>
                  <a:pt x="1490539" y="1856726"/>
                  <a:pt x="1478567" y="1856182"/>
                </a:cubicBezTo>
                <a:cubicBezTo>
                  <a:pt x="1467140" y="1856182"/>
                  <a:pt x="1462242" y="1850740"/>
                  <a:pt x="1462242" y="1839312"/>
                </a:cubicBezTo>
                <a:cubicBezTo>
                  <a:pt x="1462242" y="1828429"/>
                  <a:pt x="1468772" y="1822443"/>
                  <a:pt x="1479656" y="1822987"/>
                </a:cubicBezTo>
                <a:close/>
                <a:moveTo>
                  <a:pt x="1642365" y="1821355"/>
                </a:moveTo>
                <a:cubicBezTo>
                  <a:pt x="1653248" y="1821355"/>
                  <a:pt x="1661955" y="1829518"/>
                  <a:pt x="1660867" y="1840401"/>
                </a:cubicBezTo>
                <a:cubicBezTo>
                  <a:pt x="1659778" y="1853461"/>
                  <a:pt x="1653792" y="1857270"/>
                  <a:pt x="1642365" y="1857270"/>
                </a:cubicBezTo>
                <a:cubicBezTo>
                  <a:pt x="1630937" y="1857270"/>
                  <a:pt x="1624407" y="1850740"/>
                  <a:pt x="1624407" y="1839857"/>
                </a:cubicBezTo>
                <a:cubicBezTo>
                  <a:pt x="1624407" y="1828973"/>
                  <a:pt x="1632025" y="1821355"/>
                  <a:pt x="1642365" y="1821355"/>
                </a:cubicBezTo>
                <a:close/>
                <a:moveTo>
                  <a:pt x="1806162" y="1819723"/>
                </a:moveTo>
                <a:cubicBezTo>
                  <a:pt x="1816501" y="1819723"/>
                  <a:pt x="1827385" y="1831150"/>
                  <a:pt x="1826840" y="1840945"/>
                </a:cubicBezTo>
                <a:cubicBezTo>
                  <a:pt x="1826296" y="1850740"/>
                  <a:pt x="1813780" y="1862168"/>
                  <a:pt x="1804529" y="1861080"/>
                </a:cubicBezTo>
                <a:cubicBezTo>
                  <a:pt x="1795278" y="1860536"/>
                  <a:pt x="1783851" y="1847476"/>
                  <a:pt x="1784395" y="1839313"/>
                </a:cubicBezTo>
                <a:cubicBezTo>
                  <a:pt x="1784939" y="1828973"/>
                  <a:pt x="1796367" y="1819178"/>
                  <a:pt x="1806162" y="1819723"/>
                </a:cubicBezTo>
                <a:close/>
                <a:moveTo>
                  <a:pt x="1968870" y="1819178"/>
                </a:moveTo>
                <a:cubicBezTo>
                  <a:pt x="1980298" y="1819178"/>
                  <a:pt x="1990093" y="1828973"/>
                  <a:pt x="1990093" y="1840401"/>
                </a:cubicBezTo>
                <a:cubicBezTo>
                  <a:pt x="1990093" y="1851285"/>
                  <a:pt x="1980298" y="1861624"/>
                  <a:pt x="1968870" y="1861624"/>
                </a:cubicBezTo>
                <a:cubicBezTo>
                  <a:pt x="1957986" y="1861624"/>
                  <a:pt x="1947647" y="1851285"/>
                  <a:pt x="1947647" y="1840401"/>
                </a:cubicBezTo>
                <a:cubicBezTo>
                  <a:pt x="1947647" y="1828973"/>
                  <a:pt x="1957986" y="1819178"/>
                  <a:pt x="1968870" y="1819178"/>
                </a:cubicBezTo>
                <a:close/>
                <a:moveTo>
                  <a:pt x="1070436" y="1747347"/>
                </a:moveTo>
                <a:cubicBezTo>
                  <a:pt x="1078598" y="1747347"/>
                  <a:pt x="1081863" y="1750612"/>
                  <a:pt x="1081863" y="1758231"/>
                </a:cubicBezTo>
                <a:cubicBezTo>
                  <a:pt x="1081863" y="1766393"/>
                  <a:pt x="1078598" y="1769658"/>
                  <a:pt x="1070980" y="1769658"/>
                </a:cubicBezTo>
                <a:cubicBezTo>
                  <a:pt x="1063361" y="1769658"/>
                  <a:pt x="1060096" y="1766393"/>
                  <a:pt x="1059552" y="1758775"/>
                </a:cubicBezTo>
                <a:cubicBezTo>
                  <a:pt x="1059552" y="1751156"/>
                  <a:pt x="1062817" y="1747347"/>
                  <a:pt x="1070436" y="1747347"/>
                </a:cubicBezTo>
                <a:close/>
                <a:moveTo>
                  <a:pt x="1233688" y="1742449"/>
                </a:moveTo>
                <a:cubicBezTo>
                  <a:pt x="1242939" y="1741904"/>
                  <a:pt x="1250558" y="1750067"/>
                  <a:pt x="1250558" y="1758774"/>
                </a:cubicBezTo>
                <a:cubicBezTo>
                  <a:pt x="1250558" y="1767481"/>
                  <a:pt x="1242939" y="1775099"/>
                  <a:pt x="1233688" y="1775099"/>
                </a:cubicBezTo>
                <a:cubicBezTo>
                  <a:pt x="1224981" y="1775099"/>
                  <a:pt x="1218451" y="1768025"/>
                  <a:pt x="1217907" y="1759318"/>
                </a:cubicBezTo>
                <a:cubicBezTo>
                  <a:pt x="1217907" y="1750067"/>
                  <a:pt x="1224981" y="1742449"/>
                  <a:pt x="1233688" y="1742449"/>
                </a:cubicBezTo>
                <a:close/>
                <a:moveTo>
                  <a:pt x="1399662" y="1739728"/>
                </a:moveTo>
                <a:cubicBezTo>
                  <a:pt x="1410002" y="1740817"/>
                  <a:pt x="1418164" y="1750068"/>
                  <a:pt x="1417076" y="1760407"/>
                </a:cubicBezTo>
                <a:cubicBezTo>
                  <a:pt x="1415988" y="1769114"/>
                  <a:pt x="1404560" y="1779997"/>
                  <a:pt x="1396941" y="1779453"/>
                </a:cubicBezTo>
                <a:cubicBezTo>
                  <a:pt x="1388779" y="1778909"/>
                  <a:pt x="1376807" y="1765305"/>
                  <a:pt x="1377895" y="1757686"/>
                </a:cubicBezTo>
                <a:cubicBezTo>
                  <a:pt x="1379528" y="1746803"/>
                  <a:pt x="1389867" y="1738640"/>
                  <a:pt x="1399662" y="1739728"/>
                </a:cubicBezTo>
                <a:close/>
                <a:moveTo>
                  <a:pt x="1723991" y="1735919"/>
                </a:moveTo>
                <a:cubicBezTo>
                  <a:pt x="1738140" y="1735919"/>
                  <a:pt x="1746847" y="1744626"/>
                  <a:pt x="1746847" y="1758774"/>
                </a:cubicBezTo>
                <a:cubicBezTo>
                  <a:pt x="1746847" y="1772379"/>
                  <a:pt x="1738140" y="1781086"/>
                  <a:pt x="1723991" y="1781086"/>
                </a:cubicBezTo>
                <a:cubicBezTo>
                  <a:pt x="1709299" y="1781086"/>
                  <a:pt x="1701680" y="1773467"/>
                  <a:pt x="1701680" y="1758774"/>
                </a:cubicBezTo>
                <a:cubicBezTo>
                  <a:pt x="1701680" y="1744626"/>
                  <a:pt x="1709843" y="1735919"/>
                  <a:pt x="1723991" y="1735919"/>
                </a:cubicBezTo>
                <a:close/>
                <a:moveTo>
                  <a:pt x="1560194" y="1735919"/>
                </a:moveTo>
                <a:cubicBezTo>
                  <a:pt x="1572710" y="1736463"/>
                  <a:pt x="1582505" y="1746258"/>
                  <a:pt x="1582505" y="1758230"/>
                </a:cubicBezTo>
                <a:cubicBezTo>
                  <a:pt x="1582505" y="1770202"/>
                  <a:pt x="1572710" y="1779997"/>
                  <a:pt x="1560738" y="1779997"/>
                </a:cubicBezTo>
                <a:cubicBezTo>
                  <a:pt x="1549855" y="1779997"/>
                  <a:pt x="1538427" y="1769114"/>
                  <a:pt x="1538427" y="1758230"/>
                </a:cubicBezTo>
                <a:cubicBezTo>
                  <a:pt x="1538427" y="1746803"/>
                  <a:pt x="1548766" y="1735919"/>
                  <a:pt x="1560194" y="1735919"/>
                </a:cubicBezTo>
                <a:close/>
                <a:moveTo>
                  <a:pt x="2051041" y="1734831"/>
                </a:moveTo>
                <a:lnTo>
                  <a:pt x="2051041" y="1781438"/>
                </a:lnTo>
                <a:lnTo>
                  <a:pt x="2050496" y="1781630"/>
                </a:lnTo>
                <a:cubicBezTo>
                  <a:pt x="2033627" y="1782174"/>
                  <a:pt x="2027097" y="1772379"/>
                  <a:pt x="2027097" y="1758775"/>
                </a:cubicBezTo>
                <a:cubicBezTo>
                  <a:pt x="2027097" y="1744082"/>
                  <a:pt x="2033627" y="1734831"/>
                  <a:pt x="2051041" y="1734831"/>
                </a:cubicBezTo>
                <a:close/>
                <a:moveTo>
                  <a:pt x="1887788" y="1734831"/>
                </a:moveTo>
                <a:cubicBezTo>
                  <a:pt x="1902481" y="1735375"/>
                  <a:pt x="1910099" y="1742994"/>
                  <a:pt x="1910099" y="1758775"/>
                </a:cubicBezTo>
                <a:cubicBezTo>
                  <a:pt x="1910099" y="1771835"/>
                  <a:pt x="1903025" y="1782718"/>
                  <a:pt x="1886699" y="1781086"/>
                </a:cubicBezTo>
                <a:cubicBezTo>
                  <a:pt x="1872551" y="1782174"/>
                  <a:pt x="1863844" y="1770203"/>
                  <a:pt x="1863844" y="1757687"/>
                </a:cubicBezTo>
                <a:cubicBezTo>
                  <a:pt x="1863844" y="1742994"/>
                  <a:pt x="1874728" y="1734287"/>
                  <a:pt x="1887788" y="1734831"/>
                </a:cubicBezTo>
                <a:close/>
                <a:moveTo>
                  <a:pt x="826100" y="1671706"/>
                </a:moveTo>
                <a:cubicBezTo>
                  <a:pt x="830454" y="1670618"/>
                  <a:pt x="832086" y="1673338"/>
                  <a:pt x="832086" y="1677692"/>
                </a:cubicBezTo>
                <a:cubicBezTo>
                  <a:pt x="832086" y="1681501"/>
                  <a:pt x="829365" y="1683134"/>
                  <a:pt x="825556" y="1683134"/>
                </a:cubicBezTo>
                <a:cubicBezTo>
                  <a:pt x="821203" y="1683134"/>
                  <a:pt x="819570" y="1679869"/>
                  <a:pt x="820658" y="1676603"/>
                </a:cubicBezTo>
                <a:cubicBezTo>
                  <a:pt x="821203" y="1674427"/>
                  <a:pt x="823924" y="1672250"/>
                  <a:pt x="826100" y="1671706"/>
                </a:cubicBezTo>
                <a:close/>
                <a:moveTo>
                  <a:pt x="989354" y="1661912"/>
                </a:moveTo>
                <a:cubicBezTo>
                  <a:pt x="994251" y="1661912"/>
                  <a:pt x="1004046" y="1671707"/>
                  <a:pt x="1004046" y="1676604"/>
                </a:cubicBezTo>
                <a:cubicBezTo>
                  <a:pt x="1004046" y="1682590"/>
                  <a:pt x="996428" y="1690209"/>
                  <a:pt x="989354" y="1690209"/>
                </a:cubicBezTo>
                <a:cubicBezTo>
                  <a:pt x="982823" y="1690209"/>
                  <a:pt x="975749" y="1683679"/>
                  <a:pt x="975205" y="1677693"/>
                </a:cubicBezTo>
                <a:cubicBezTo>
                  <a:pt x="974661" y="1671707"/>
                  <a:pt x="983912" y="1661367"/>
                  <a:pt x="989354" y="1661912"/>
                </a:cubicBezTo>
                <a:close/>
                <a:moveTo>
                  <a:pt x="1153151" y="1659734"/>
                </a:moveTo>
                <a:cubicBezTo>
                  <a:pt x="1162946" y="1658646"/>
                  <a:pt x="1171108" y="1667353"/>
                  <a:pt x="1170564" y="1677692"/>
                </a:cubicBezTo>
                <a:cubicBezTo>
                  <a:pt x="1170020" y="1688575"/>
                  <a:pt x="1162946" y="1694562"/>
                  <a:pt x="1152062" y="1694562"/>
                </a:cubicBezTo>
                <a:cubicBezTo>
                  <a:pt x="1141179" y="1694017"/>
                  <a:pt x="1135737" y="1688031"/>
                  <a:pt x="1135737" y="1677148"/>
                </a:cubicBezTo>
                <a:cubicBezTo>
                  <a:pt x="1135737" y="1664632"/>
                  <a:pt x="1141179" y="1659190"/>
                  <a:pt x="1153151" y="1659734"/>
                </a:cubicBezTo>
                <a:close/>
                <a:moveTo>
                  <a:pt x="1315315" y="1655381"/>
                </a:moveTo>
                <a:cubicBezTo>
                  <a:pt x="1327287" y="1654836"/>
                  <a:pt x="1337082" y="1664088"/>
                  <a:pt x="1337082" y="1676603"/>
                </a:cubicBezTo>
                <a:cubicBezTo>
                  <a:pt x="1337082" y="1688575"/>
                  <a:pt x="1326743" y="1698915"/>
                  <a:pt x="1315315" y="1698915"/>
                </a:cubicBezTo>
                <a:cubicBezTo>
                  <a:pt x="1304976" y="1698915"/>
                  <a:pt x="1294092" y="1687487"/>
                  <a:pt x="1294092" y="1677148"/>
                </a:cubicBezTo>
                <a:cubicBezTo>
                  <a:pt x="1294092" y="1666264"/>
                  <a:pt x="1304431" y="1655925"/>
                  <a:pt x="1315315" y="1655381"/>
                </a:cubicBezTo>
                <a:close/>
                <a:moveTo>
                  <a:pt x="1479111" y="1654293"/>
                </a:moveTo>
                <a:cubicBezTo>
                  <a:pt x="1495437" y="1653204"/>
                  <a:pt x="1501967" y="1664632"/>
                  <a:pt x="1501967" y="1677692"/>
                </a:cubicBezTo>
                <a:cubicBezTo>
                  <a:pt x="1501967" y="1689664"/>
                  <a:pt x="1492716" y="1700548"/>
                  <a:pt x="1479111" y="1700548"/>
                </a:cubicBezTo>
                <a:cubicBezTo>
                  <a:pt x="1466596" y="1700548"/>
                  <a:pt x="1455712" y="1690208"/>
                  <a:pt x="1455712" y="1676604"/>
                </a:cubicBezTo>
                <a:cubicBezTo>
                  <a:pt x="1456256" y="1663544"/>
                  <a:pt x="1464963" y="1653204"/>
                  <a:pt x="1479111" y="1654293"/>
                </a:cubicBezTo>
                <a:close/>
                <a:moveTo>
                  <a:pt x="1643452" y="1650483"/>
                </a:moveTo>
                <a:cubicBezTo>
                  <a:pt x="1654880" y="1651027"/>
                  <a:pt x="1667940" y="1664087"/>
                  <a:pt x="1668484" y="1676603"/>
                </a:cubicBezTo>
                <a:cubicBezTo>
                  <a:pt x="1669029" y="1689120"/>
                  <a:pt x="1655968" y="1702724"/>
                  <a:pt x="1643452" y="1703268"/>
                </a:cubicBezTo>
                <a:cubicBezTo>
                  <a:pt x="1631480" y="1703812"/>
                  <a:pt x="1617332" y="1690208"/>
                  <a:pt x="1617332" y="1677692"/>
                </a:cubicBezTo>
                <a:cubicBezTo>
                  <a:pt x="1616788" y="1664632"/>
                  <a:pt x="1630392" y="1650483"/>
                  <a:pt x="1643452" y="1650483"/>
                </a:cubicBezTo>
                <a:close/>
                <a:moveTo>
                  <a:pt x="1968326" y="1649940"/>
                </a:moveTo>
                <a:cubicBezTo>
                  <a:pt x="1983019" y="1649395"/>
                  <a:pt x="1997167" y="1664088"/>
                  <a:pt x="1995535" y="1676604"/>
                </a:cubicBezTo>
                <a:cubicBezTo>
                  <a:pt x="1997167" y="1689664"/>
                  <a:pt x="1982474" y="1704901"/>
                  <a:pt x="1968870" y="1704357"/>
                </a:cubicBezTo>
                <a:cubicBezTo>
                  <a:pt x="1954177" y="1703813"/>
                  <a:pt x="1942205" y="1691841"/>
                  <a:pt x="1941661" y="1677148"/>
                </a:cubicBezTo>
                <a:cubicBezTo>
                  <a:pt x="1941117" y="1662456"/>
                  <a:pt x="1956354" y="1649940"/>
                  <a:pt x="1968326" y="1649940"/>
                </a:cubicBezTo>
                <a:close/>
                <a:moveTo>
                  <a:pt x="1805617" y="1649939"/>
                </a:moveTo>
                <a:cubicBezTo>
                  <a:pt x="1819222" y="1648851"/>
                  <a:pt x="1832826" y="1664088"/>
                  <a:pt x="1832826" y="1677148"/>
                </a:cubicBezTo>
                <a:cubicBezTo>
                  <a:pt x="1832282" y="1690752"/>
                  <a:pt x="1819222" y="1703812"/>
                  <a:pt x="1805073" y="1704357"/>
                </a:cubicBezTo>
                <a:cubicBezTo>
                  <a:pt x="1792557" y="1704901"/>
                  <a:pt x="1777864" y="1688031"/>
                  <a:pt x="1778409" y="1677148"/>
                </a:cubicBezTo>
                <a:cubicBezTo>
                  <a:pt x="1779497" y="1662999"/>
                  <a:pt x="1791469" y="1649939"/>
                  <a:pt x="1805617" y="1649939"/>
                </a:cubicBezTo>
                <a:close/>
                <a:moveTo>
                  <a:pt x="744474" y="1588992"/>
                </a:moveTo>
                <a:cubicBezTo>
                  <a:pt x="748827" y="1588992"/>
                  <a:pt x="751004" y="1590624"/>
                  <a:pt x="751004" y="1594978"/>
                </a:cubicBezTo>
                <a:cubicBezTo>
                  <a:pt x="751004" y="1598787"/>
                  <a:pt x="749916" y="1601508"/>
                  <a:pt x="745562" y="1602052"/>
                </a:cubicBezTo>
                <a:cubicBezTo>
                  <a:pt x="740665" y="1602052"/>
                  <a:pt x="738488" y="1600420"/>
                  <a:pt x="738488" y="1594978"/>
                </a:cubicBezTo>
                <a:cubicBezTo>
                  <a:pt x="737944" y="1590624"/>
                  <a:pt x="740121" y="1588992"/>
                  <a:pt x="744474" y="1588992"/>
                </a:cubicBezTo>
                <a:close/>
                <a:moveTo>
                  <a:pt x="907183" y="1579741"/>
                </a:moveTo>
                <a:cubicBezTo>
                  <a:pt x="913169" y="1579197"/>
                  <a:pt x="923508" y="1588992"/>
                  <a:pt x="923508" y="1594978"/>
                </a:cubicBezTo>
                <a:cubicBezTo>
                  <a:pt x="923508" y="1600964"/>
                  <a:pt x="915345" y="1610215"/>
                  <a:pt x="908815" y="1610759"/>
                </a:cubicBezTo>
                <a:cubicBezTo>
                  <a:pt x="901197" y="1611303"/>
                  <a:pt x="892490" y="1603685"/>
                  <a:pt x="892490" y="1595522"/>
                </a:cubicBezTo>
                <a:cubicBezTo>
                  <a:pt x="892490" y="1588448"/>
                  <a:pt x="900653" y="1579741"/>
                  <a:pt x="907183" y="1579741"/>
                </a:cubicBezTo>
                <a:close/>
                <a:moveTo>
                  <a:pt x="1071524" y="1574843"/>
                </a:moveTo>
                <a:cubicBezTo>
                  <a:pt x="1081319" y="1575387"/>
                  <a:pt x="1091114" y="1585726"/>
                  <a:pt x="1091114" y="1595522"/>
                </a:cubicBezTo>
                <a:cubicBezTo>
                  <a:pt x="1091114" y="1605317"/>
                  <a:pt x="1080231" y="1615656"/>
                  <a:pt x="1070980" y="1615656"/>
                </a:cubicBezTo>
                <a:cubicBezTo>
                  <a:pt x="1062273" y="1615656"/>
                  <a:pt x="1050845" y="1604228"/>
                  <a:pt x="1050301" y="1595522"/>
                </a:cubicBezTo>
                <a:cubicBezTo>
                  <a:pt x="1050301" y="1586270"/>
                  <a:pt x="1062273" y="1574299"/>
                  <a:pt x="1071524" y="1574843"/>
                </a:cubicBezTo>
                <a:close/>
                <a:moveTo>
                  <a:pt x="1233688" y="1573210"/>
                </a:moveTo>
                <a:cubicBezTo>
                  <a:pt x="1247837" y="1573210"/>
                  <a:pt x="1256544" y="1581373"/>
                  <a:pt x="1256544" y="1595522"/>
                </a:cubicBezTo>
                <a:cubicBezTo>
                  <a:pt x="1256544" y="1609670"/>
                  <a:pt x="1247837" y="1618377"/>
                  <a:pt x="1233688" y="1618377"/>
                </a:cubicBezTo>
                <a:cubicBezTo>
                  <a:pt x="1221172" y="1618377"/>
                  <a:pt x="1212465" y="1608582"/>
                  <a:pt x="1211377" y="1596610"/>
                </a:cubicBezTo>
                <a:cubicBezTo>
                  <a:pt x="1210289" y="1584638"/>
                  <a:pt x="1222261" y="1571034"/>
                  <a:pt x="1233688" y="1573210"/>
                </a:cubicBezTo>
                <a:close/>
                <a:moveTo>
                  <a:pt x="1398030" y="1569402"/>
                </a:moveTo>
                <a:cubicBezTo>
                  <a:pt x="1411634" y="1569946"/>
                  <a:pt x="1423606" y="1582462"/>
                  <a:pt x="1423062" y="1595522"/>
                </a:cubicBezTo>
                <a:cubicBezTo>
                  <a:pt x="1423062" y="1608582"/>
                  <a:pt x="1410546" y="1621099"/>
                  <a:pt x="1397485" y="1621099"/>
                </a:cubicBezTo>
                <a:cubicBezTo>
                  <a:pt x="1384969" y="1621099"/>
                  <a:pt x="1371365" y="1608038"/>
                  <a:pt x="1371365" y="1595522"/>
                </a:cubicBezTo>
                <a:cubicBezTo>
                  <a:pt x="1371365" y="1582462"/>
                  <a:pt x="1384969" y="1568857"/>
                  <a:pt x="1398030" y="1569402"/>
                </a:cubicBezTo>
                <a:close/>
                <a:moveTo>
                  <a:pt x="1560194" y="1568313"/>
                </a:moveTo>
                <a:cubicBezTo>
                  <a:pt x="1574342" y="1566680"/>
                  <a:pt x="1587403" y="1581373"/>
                  <a:pt x="1587947" y="1594433"/>
                </a:cubicBezTo>
                <a:cubicBezTo>
                  <a:pt x="1588491" y="1608582"/>
                  <a:pt x="1574887" y="1622730"/>
                  <a:pt x="1560194" y="1622730"/>
                </a:cubicBezTo>
                <a:cubicBezTo>
                  <a:pt x="1547134" y="1622730"/>
                  <a:pt x="1532985" y="1608582"/>
                  <a:pt x="1532985" y="1594977"/>
                </a:cubicBezTo>
                <a:cubicBezTo>
                  <a:pt x="1532985" y="1581917"/>
                  <a:pt x="1547134" y="1566680"/>
                  <a:pt x="1560194" y="1568313"/>
                </a:cubicBezTo>
                <a:close/>
                <a:moveTo>
                  <a:pt x="1887244" y="1567225"/>
                </a:moveTo>
                <a:cubicBezTo>
                  <a:pt x="1905202" y="1567225"/>
                  <a:pt x="1915541" y="1578109"/>
                  <a:pt x="1915541" y="1594978"/>
                </a:cubicBezTo>
                <a:cubicBezTo>
                  <a:pt x="1915541" y="1612392"/>
                  <a:pt x="1903569" y="1624363"/>
                  <a:pt x="1886699" y="1623819"/>
                </a:cubicBezTo>
                <a:cubicBezTo>
                  <a:pt x="1872551" y="1623819"/>
                  <a:pt x="1857314" y="1613480"/>
                  <a:pt x="1858947" y="1594978"/>
                </a:cubicBezTo>
                <a:cubicBezTo>
                  <a:pt x="1857858" y="1577564"/>
                  <a:pt x="1870918" y="1567225"/>
                  <a:pt x="1887244" y="1567225"/>
                </a:cubicBezTo>
                <a:close/>
                <a:moveTo>
                  <a:pt x="1724535" y="1567225"/>
                </a:moveTo>
                <a:cubicBezTo>
                  <a:pt x="1743037" y="1567225"/>
                  <a:pt x="1752288" y="1581373"/>
                  <a:pt x="1752288" y="1594978"/>
                </a:cubicBezTo>
                <a:cubicBezTo>
                  <a:pt x="1752288" y="1609127"/>
                  <a:pt x="1741949" y="1623275"/>
                  <a:pt x="1724535" y="1623275"/>
                </a:cubicBezTo>
                <a:cubicBezTo>
                  <a:pt x="1710930" y="1623819"/>
                  <a:pt x="1694605" y="1613480"/>
                  <a:pt x="1696238" y="1594978"/>
                </a:cubicBezTo>
                <a:cubicBezTo>
                  <a:pt x="1694605" y="1577564"/>
                  <a:pt x="1708754" y="1567225"/>
                  <a:pt x="1724535" y="1567225"/>
                </a:cubicBezTo>
                <a:close/>
                <a:moveTo>
                  <a:pt x="2050496" y="1566680"/>
                </a:moveTo>
                <a:lnTo>
                  <a:pt x="2051041" y="1566888"/>
                </a:lnTo>
                <a:lnTo>
                  <a:pt x="2051041" y="1623794"/>
                </a:lnTo>
                <a:lnTo>
                  <a:pt x="2049408" y="1624363"/>
                </a:lnTo>
                <a:cubicBezTo>
                  <a:pt x="2033083" y="1623818"/>
                  <a:pt x="2021111" y="1611302"/>
                  <a:pt x="2021655" y="1594977"/>
                </a:cubicBezTo>
                <a:cubicBezTo>
                  <a:pt x="2022199" y="1575931"/>
                  <a:pt x="2033627" y="1567224"/>
                  <a:pt x="2050496" y="1566680"/>
                </a:cubicBezTo>
                <a:close/>
                <a:moveTo>
                  <a:pt x="663392" y="1505188"/>
                </a:moveTo>
                <a:cubicBezTo>
                  <a:pt x="666113" y="1505188"/>
                  <a:pt x="669922" y="1510086"/>
                  <a:pt x="674819" y="1513895"/>
                </a:cubicBezTo>
                <a:cubicBezTo>
                  <a:pt x="669378" y="1517704"/>
                  <a:pt x="665569" y="1522602"/>
                  <a:pt x="662848" y="1522058"/>
                </a:cubicBezTo>
                <a:cubicBezTo>
                  <a:pt x="659583" y="1521513"/>
                  <a:pt x="654685" y="1516072"/>
                  <a:pt x="654685" y="1513351"/>
                </a:cubicBezTo>
                <a:cubicBezTo>
                  <a:pt x="654685" y="1510086"/>
                  <a:pt x="660127" y="1505188"/>
                  <a:pt x="663392" y="1505188"/>
                </a:cubicBezTo>
                <a:close/>
                <a:moveTo>
                  <a:pt x="826101" y="1497570"/>
                </a:moveTo>
                <a:cubicBezTo>
                  <a:pt x="834263" y="1497025"/>
                  <a:pt x="842426" y="1505188"/>
                  <a:pt x="842970" y="1513351"/>
                </a:cubicBezTo>
                <a:cubicBezTo>
                  <a:pt x="842970" y="1522058"/>
                  <a:pt x="835352" y="1529676"/>
                  <a:pt x="826645" y="1529676"/>
                </a:cubicBezTo>
                <a:cubicBezTo>
                  <a:pt x="818482" y="1529676"/>
                  <a:pt x="810864" y="1523146"/>
                  <a:pt x="810319" y="1514983"/>
                </a:cubicBezTo>
                <a:cubicBezTo>
                  <a:pt x="809775" y="1506276"/>
                  <a:pt x="817394" y="1498114"/>
                  <a:pt x="826101" y="1497570"/>
                </a:cubicBezTo>
                <a:close/>
                <a:moveTo>
                  <a:pt x="988265" y="1492128"/>
                </a:moveTo>
                <a:cubicBezTo>
                  <a:pt x="998605" y="1492128"/>
                  <a:pt x="1010577" y="1501379"/>
                  <a:pt x="1010577" y="1513351"/>
                </a:cubicBezTo>
                <a:cubicBezTo>
                  <a:pt x="1010577" y="1524234"/>
                  <a:pt x="1000237" y="1534574"/>
                  <a:pt x="989354" y="1534574"/>
                </a:cubicBezTo>
                <a:cubicBezTo>
                  <a:pt x="979559" y="1534574"/>
                  <a:pt x="968675" y="1523690"/>
                  <a:pt x="968131" y="1513895"/>
                </a:cubicBezTo>
                <a:cubicBezTo>
                  <a:pt x="968131" y="1503556"/>
                  <a:pt x="977926" y="1492672"/>
                  <a:pt x="988265" y="1492128"/>
                </a:cubicBezTo>
                <a:close/>
                <a:moveTo>
                  <a:pt x="1152606" y="1490496"/>
                </a:moveTo>
                <a:cubicBezTo>
                  <a:pt x="1167299" y="1489407"/>
                  <a:pt x="1176006" y="1498658"/>
                  <a:pt x="1176006" y="1513351"/>
                </a:cubicBezTo>
                <a:cubicBezTo>
                  <a:pt x="1176006" y="1530764"/>
                  <a:pt x="1166755" y="1537295"/>
                  <a:pt x="1152606" y="1537839"/>
                </a:cubicBezTo>
                <a:cubicBezTo>
                  <a:pt x="1139546" y="1537839"/>
                  <a:pt x="1129207" y="1530764"/>
                  <a:pt x="1129207" y="1514984"/>
                </a:cubicBezTo>
                <a:cubicBezTo>
                  <a:pt x="1129207" y="1498114"/>
                  <a:pt x="1138458" y="1491040"/>
                  <a:pt x="1152606" y="1490496"/>
                </a:cubicBezTo>
                <a:close/>
                <a:moveTo>
                  <a:pt x="1316403" y="1487231"/>
                </a:moveTo>
                <a:cubicBezTo>
                  <a:pt x="1331095" y="1487775"/>
                  <a:pt x="1342523" y="1499203"/>
                  <a:pt x="1342523" y="1513896"/>
                </a:cubicBezTo>
                <a:cubicBezTo>
                  <a:pt x="1342523" y="1528588"/>
                  <a:pt x="1330551" y="1540560"/>
                  <a:pt x="1315314" y="1540560"/>
                </a:cubicBezTo>
                <a:cubicBezTo>
                  <a:pt x="1303887" y="1542193"/>
                  <a:pt x="1288106" y="1527500"/>
                  <a:pt x="1288650" y="1513896"/>
                </a:cubicBezTo>
                <a:cubicBezTo>
                  <a:pt x="1289194" y="1498659"/>
                  <a:pt x="1301166" y="1486687"/>
                  <a:pt x="1316403" y="1487231"/>
                </a:cubicBezTo>
                <a:close/>
                <a:moveTo>
                  <a:pt x="1479656" y="1485054"/>
                </a:moveTo>
                <a:cubicBezTo>
                  <a:pt x="1495437" y="1485598"/>
                  <a:pt x="1508497" y="1496482"/>
                  <a:pt x="1507409" y="1513895"/>
                </a:cubicBezTo>
                <a:cubicBezTo>
                  <a:pt x="1508497" y="1527500"/>
                  <a:pt x="1498158" y="1542192"/>
                  <a:pt x="1479112" y="1541648"/>
                </a:cubicBezTo>
                <a:cubicBezTo>
                  <a:pt x="1462787" y="1541648"/>
                  <a:pt x="1451359" y="1529676"/>
                  <a:pt x="1451359" y="1513351"/>
                </a:cubicBezTo>
                <a:cubicBezTo>
                  <a:pt x="1451359" y="1493761"/>
                  <a:pt x="1466596" y="1485054"/>
                  <a:pt x="1479656" y="1485054"/>
                </a:cubicBezTo>
                <a:close/>
                <a:moveTo>
                  <a:pt x="1641820" y="1482334"/>
                </a:moveTo>
                <a:cubicBezTo>
                  <a:pt x="1657057" y="1481789"/>
                  <a:pt x="1672838" y="1496482"/>
                  <a:pt x="1673382" y="1512807"/>
                </a:cubicBezTo>
                <a:cubicBezTo>
                  <a:pt x="1673927" y="1528044"/>
                  <a:pt x="1658145" y="1544370"/>
                  <a:pt x="1642909" y="1544370"/>
                </a:cubicBezTo>
                <a:cubicBezTo>
                  <a:pt x="1626039" y="1542193"/>
                  <a:pt x="1612979" y="1532942"/>
                  <a:pt x="1612435" y="1513351"/>
                </a:cubicBezTo>
                <a:cubicBezTo>
                  <a:pt x="1611890" y="1497571"/>
                  <a:pt x="1626583" y="1483422"/>
                  <a:pt x="1641820" y="1482334"/>
                </a:cubicBezTo>
                <a:close/>
                <a:moveTo>
                  <a:pt x="1804529" y="1481788"/>
                </a:moveTo>
                <a:cubicBezTo>
                  <a:pt x="1820855" y="1481244"/>
                  <a:pt x="1836091" y="1494304"/>
                  <a:pt x="1837180" y="1513351"/>
                </a:cubicBezTo>
                <a:cubicBezTo>
                  <a:pt x="1838812" y="1528043"/>
                  <a:pt x="1825208" y="1544913"/>
                  <a:pt x="1805617" y="1545457"/>
                </a:cubicBezTo>
                <a:cubicBezTo>
                  <a:pt x="1787660" y="1544913"/>
                  <a:pt x="1774055" y="1532397"/>
                  <a:pt x="1773511" y="1514983"/>
                </a:cubicBezTo>
                <a:cubicBezTo>
                  <a:pt x="1772967" y="1494849"/>
                  <a:pt x="1788204" y="1482333"/>
                  <a:pt x="1804529" y="1481788"/>
                </a:cubicBezTo>
                <a:close/>
                <a:moveTo>
                  <a:pt x="1968870" y="1480700"/>
                </a:moveTo>
                <a:cubicBezTo>
                  <a:pt x="1984651" y="1480700"/>
                  <a:pt x="2000977" y="1495937"/>
                  <a:pt x="2000977" y="1513351"/>
                </a:cubicBezTo>
                <a:cubicBezTo>
                  <a:pt x="2001521" y="1529132"/>
                  <a:pt x="1987916" y="1546001"/>
                  <a:pt x="1968870" y="1545457"/>
                </a:cubicBezTo>
                <a:cubicBezTo>
                  <a:pt x="1949824" y="1545457"/>
                  <a:pt x="1936764" y="1530764"/>
                  <a:pt x="1936764" y="1513351"/>
                </a:cubicBezTo>
                <a:cubicBezTo>
                  <a:pt x="1936764" y="1493760"/>
                  <a:pt x="1953633" y="1480700"/>
                  <a:pt x="1968870" y="1480700"/>
                </a:cubicBezTo>
                <a:close/>
                <a:moveTo>
                  <a:pt x="581221" y="1423562"/>
                </a:moveTo>
                <a:cubicBezTo>
                  <a:pt x="586663" y="1423562"/>
                  <a:pt x="589384" y="1427371"/>
                  <a:pt x="588840" y="1431725"/>
                </a:cubicBezTo>
                <a:cubicBezTo>
                  <a:pt x="588840" y="1434990"/>
                  <a:pt x="585030" y="1438255"/>
                  <a:pt x="581765" y="1443153"/>
                </a:cubicBezTo>
                <a:cubicBezTo>
                  <a:pt x="577412" y="1438255"/>
                  <a:pt x="574147" y="1436078"/>
                  <a:pt x="573059" y="1432813"/>
                </a:cubicBezTo>
                <a:cubicBezTo>
                  <a:pt x="571426" y="1429004"/>
                  <a:pt x="576868" y="1423562"/>
                  <a:pt x="581221" y="1423562"/>
                </a:cubicBezTo>
                <a:close/>
                <a:moveTo>
                  <a:pt x="745562" y="1414855"/>
                </a:moveTo>
                <a:cubicBezTo>
                  <a:pt x="754269" y="1415399"/>
                  <a:pt x="761344" y="1423018"/>
                  <a:pt x="761344" y="1432269"/>
                </a:cubicBezTo>
                <a:cubicBezTo>
                  <a:pt x="761344" y="1442064"/>
                  <a:pt x="754813" y="1448050"/>
                  <a:pt x="745018" y="1448050"/>
                </a:cubicBezTo>
                <a:cubicBezTo>
                  <a:pt x="734679" y="1448050"/>
                  <a:pt x="728693" y="1442064"/>
                  <a:pt x="728693" y="1431725"/>
                </a:cubicBezTo>
                <a:cubicBezTo>
                  <a:pt x="728693" y="1421386"/>
                  <a:pt x="735223" y="1414311"/>
                  <a:pt x="745562" y="1414855"/>
                </a:cubicBezTo>
                <a:close/>
                <a:moveTo>
                  <a:pt x="908815" y="1409958"/>
                </a:moveTo>
                <a:cubicBezTo>
                  <a:pt x="920243" y="1410502"/>
                  <a:pt x="930038" y="1420297"/>
                  <a:pt x="930038" y="1431725"/>
                </a:cubicBezTo>
                <a:cubicBezTo>
                  <a:pt x="929494" y="1443697"/>
                  <a:pt x="919155" y="1454036"/>
                  <a:pt x="907183" y="1453492"/>
                </a:cubicBezTo>
                <a:cubicBezTo>
                  <a:pt x="896844" y="1453492"/>
                  <a:pt x="885960" y="1442064"/>
                  <a:pt x="885960" y="1431725"/>
                </a:cubicBezTo>
                <a:cubicBezTo>
                  <a:pt x="885960" y="1420297"/>
                  <a:pt x="897388" y="1409414"/>
                  <a:pt x="908815" y="1409958"/>
                </a:cubicBezTo>
                <a:close/>
                <a:moveTo>
                  <a:pt x="1070436" y="1406693"/>
                </a:moveTo>
                <a:cubicBezTo>
                  <a:pt x="1084584" y="1406693"/>
                  <a:pt x="1096012" y="1418121"/>
                  <a:pt x="1096012" y="1432269"/>
                </a:cubicBezTo>
                <a:cubicBezTo>
                  <a:pt x="1096012" y="1445329"/>
                  <a:pt x="1082952" y="1458390"/>
                  <a:pt x="1070436" y="1457846"/>
                </a:cubicBezTo>
                <a:cubicBezTo>
                  <a:pt x="1058464" y="1457301"/>
                  <a:pt x="1044860" y="1443153"/>
                  <a:pt x="1045404" y="1431181"/>
                </a:cubicBezTo>
                <a:cubicBezTo>
                  <a:pt x="1045948" y="1418665"/>
                  <a:pt x="1057920" y="1406693"/>
                  <a:pt x="1070436" y="1406693"/>
                </a:cubicBezTo>
                <a:close/>
                <a:moveTo>
                  <a:pt x="1235865" y="1404516"/>
                </a:moveTo>
                <a:cubicBezTo>
                  <a:pt x="1252191" y="1405605"/>
                  <a:pt x="1262530" y="1415944"/>
                  <a:pt x="1261986" y="1433358"/>
                </a:cubicBezTo>
                <a:cubicBezTo>
                  <a:pt x="1261442" y="1449683"/>
                  <a:pt x="1251102" y="1459478"/>
                  <a:pt x="1233689" y="1459478"/>
                </a:cubicBezTo>
                <a:cubicBezTo>
                  <a:pt x="1218452" y="1461655"/>
                  <a:pt x="1206480" y="1445329"/>
                  <a:pt x="1206480" y="1432269"/>
                </a:cubicBezTo>
                <a:cubicBezTo>
                  <a:pt x="1206480" y="1417032"/>
                  <a:pt x="1220084" y="1403428"/>
                  <a:pt x="1235865" y="1404516"/>
                </a:cubicBezTo>
                <a:close/>
                <a:moveTo>
                  <a:pt x="1397485" y="1400162"/>
                </a:moveTo>
                <a:cubicBezTo>
                  <a:pt x="1412178" y="1400162"/>
                  <a:pt x="1427959" y="1416487"/>
                  <a:pt x="1427959" y="1431724"/>
                </a:cubicBezTo>
                <a:cubicBezTo>
                  <a:pt x="1428503" y="1446961"/>
                  <a:pt x="1413810" y="1462198"/>
                  <a:pt x="1398029" y="1463287"/>
                </a:cubicBezTo>
                <a:cubicBezTo>
                  <a:pt x="1384425" y="1464375"/>
                  <a:pt x="1367555" y="1448049"/>
                  <a:pt x="1366467" y="1432813"/>
                </a:cubicBezTo>
                <a:cubicBezTo>
                  <a:pt x="1365923" y="1418120"/>
                  <a:pt x="1382792" y="1400162"/>
                  <a:pt x="1397485" y="1400162"/>
                </a:cubicBezTo>
                <a:close/>
                <a:moveTo>
                  <a:pt x="1561282" y="1399618"/>
                </a:moveTo>
                <a:cubicBezTo>
                  <a:pt x="1575975" y="1399618"/>
                  <a:pt x="1593388" y="1415943"/>
                  <a:pt x="1593388" y="1432269"/>
                </a:cubicBezTo>
                <a:cubicBezTo>
                  <a:pt x="1593388" y="1446961"/>
                  <a:pt x="1578696" y="1464919"/>
                  <a:pt x="1560738" y="1464375"/>
                </a:cubicBezTo>
                <a:cubicBezTo>
                  <a:pt x="1542236" y="1463831"/>
                  <a:pt x="1529176" y="1450226"/>
                  <a:pt x="1528631" y="1432813"/>
                </a:cubicBezTo>
                <a:cubicBezTo>
                  <a:pt x="1528087" y="1414311"/>
                  <a:pt x="1545501" y="1399618"/>
                  <a:pt x="1561282" y="1399618"/>
                </a:cubicBezTo>
                <a:close/>
                <a:moveTo>
                  <a:pt x="1723446" y="1399074"/>
                </a:moveTo>
                <a:cubicBezTo>
                  <a:pt x="1741948" y="1399074"/>
                  <a:pt x="1757185" y="1413767"/>
                  <a:pt x="1757185" y="1432269"/>
                </a:cubicBezTo>
                <a:cubicBezTo>
                  <a:pt x="1757185" y="1451315"/>
                  <a:pt x="1743037" y="1463831"/>
                  <a:pt x="1723991" y="1465464"/>
                </a:cubicBezTo>
                <a:cubicBezTo>
                  <a:pt x="1707121" y="1466552"/>
                  <a:pt x="1690252" y="1448594"/>
                  <a:pt x="1691340" y="1433357"/>
                </a:cubicBezTo>
                <a:cubicBezTo>
                  <a:pt x="1692428" y="1412678"/>
                  <a:pt x="1704400" y="1399074"/>
                  <a:pt x="1723446" y="1399074"/>
                </a:cubicBezTo>
                <a:close/>
                <a:moveTo>
                  <a:pt x="1886700" y="1398530"/>
                </a:moveTo>
                <a:cubicBezTo>
                  <a:pt x="1904113" y="1396898"/>
                  <a:pt x="1922071" y="1415944"/>
                  <a:pt x="1920439" y="1432269"/>
                </a:cubicBezTo>
                <a:cubicBezTo>
                  <a:pt x="1919350" y="1451315"/>
                  <a:pt x="1907378" y="1464920"/>
                  <a:pt x="1887788" y="1464920"/>
                </a:cubicBezTo>
                <a:cubicBezTo>
                  <a:pt x="1867109" y="1464920"/>
                  <a:pt x="1854049" y="1452948"/>
                  <a:pt x="1854049" y="1433358"/>
                </a:cubicBezTo>
                <a:cubicBezTo>
                  <a:pt x="1854049" y="1412679"/>
                  <a:pt x="1867109" y="1400163"/>
                  <a:pt x="1886700" y="1398530"/>
                </a:cubicBezTo>
                <a:close/>
                <a:moveTo>
                  <a:pt x="2051041" y="1398217"/>
                </a:moveTo>
                <a:lnTo>
                  <a:pt x="2051041" y="1464535"/>
                </a:lnTo>
                <a:lnTo>
                  <a:pt x="2049953" y="1464920"/>
                </a:lnTo>
                <a:cubicBezTo>
                  <a:pt x="2032539" y="1467096"/>
                  <a:pt x="2017302" y="1450771"/>
                  <a:pt x="2017302" y="1431725"/>
                </a:cubicBezTo>
                <a:cubicBezTo>
                  <a:pt x="2017302" y="1422746"/>
                  <a:pt x="2021383" y="1414311"/>
                  <a:pt x="2027709" y="1408121"/>
                </a:cubicBezTo>
                <a:close/>
                <a:moveTo>
                  <a:pt x="500139" y="1341936"/>
                </a:moveTo>
                <a:cubicBezTo>
                  <a:pt x="503404" y="1343568"/>
                  <a:pt x="506125" y="1346833"/>
                  <a:pt x="511023" y="1350643"/>
                </a:cubicBezTo>
                <a:cubicBezTo>
                  <a:pt x="506125" y="1354452"/>
                  <a:pt x="502860" y="1357717"/>
                  <a:pt x="499595" y="1358261"/>
                </a:cubicBezTo>
                <a:cubicBezTo>
                  <a:pt x="495241" y="1359349"/>
                  <a:pt x="490888" y="1353908"/>
                  <a:pt x="491432" y="1349010"/>
                </a:cubicBezTo>
                <a:cubicBezTo>
                  <a:pt x="491976" y="1344112"/>
                  <a:pt x="495241" y="1340848"/>
                  <a:pt x="500139" y="1341936"/>
                </a:cubicBezTo>
                <a:close/>
                <a:moveTo>
                  <a:pt x="662848" y="1333773"/>
                </a:moveTo>
                <a:cubicBezTo>
                  <a:pt x="673187" y="1333773"/>
                  <a:pt x="679173" y="1340303"/>
                  <a:pt x="679173" y="1350643"/>
                </a:cubicBezTo>
                <a:cubicBezTo>
                  <a:pt x="679173" y="1359894"/>
                  <a:pt x="672099" y="1366424"/>
                  <a:pt x="662848" y="1366424"/>
                </a:cubicBezTo>
                <a:cubicBezTo>
                  <a:pt x="653053" y="1366424"/>
                  <a:pt x="647067" y="1359894"/>
                  <a:pt x="647067" y="1350098"/>
                </a:cubicBezTo>
                <a:cubicBezTo>
                  <a:pt x="647067" y="1339759"/>
                  <a:pt x="653053" y="1333773"/>
                  <a:pt x="662848" y="1333773"/>
                </a:cubicBezTo>
                <a:close/>
                <a:moveTo>
                  <a:pt x="826645" y="1328331"/>
                </a:moveTo>
                <a:cubicBezTo>
                  <a:pt x="838617" y="1328331"/>
                  <a:pt x="848412" y="1338670"/>
                  <a:pt x="847868" y="1350642"/>
                </a:cubicBezTo>
                <a:cubicBezTo>
                  <a:pt x="847868" y="1362070"/>
                  <a:pt x="836984" y="1372409"/>
                  <a:pt x="825556" y="1372409"/>
                </a:cubicBezTo>
                <a:cubicBezTo>
                  <a:pt x="814673" y="1372409"/>
                  <a:pt x="803789" y="1360982"/>
                  <a:pt x="804334" y="1349554"/>
                </a:cubicBezTo>
                <a:cubicBezTo>
                  <a:pt x="804334" y="1337582"/>
                  <a:pt x="814673" y="1328331"/>
                  <a:pt x="826645" y="1328331"/>
                </a:cubicBezTo>
                <a:close/>
                <a:moveTo>
                  <a:pt x="989353" y="1323978"/>
                </a:moveTo>
                <a:cubicBezTo>
                  <a:pt x="1002957" y="1324522"/>
                  <a:pt x="1014385" y="1334861"/>
                  <a:pt x="1015473" y="1350098"/>
                </a:cubicBezTo>
                <a:cubicBezTo>
                  <a:pt x="1014929" y="1363702"/>
                  <a:pt x="1004046" y="1376219"/>
                  <a:pt x="989353" y="1376763"/>
                </a:cubicBezTo>
                <a:cubicBezTo>
                  <a:pt x="976293" y="1376763"/>
                  <a:pt x="963777" y="1364791"/>
                  <a:pt x="963777" y="1350642"/>
                </a:cubicBezTo>
                <a:cubicBezTo>
                  <a:pt x="963233" y="1334861"/>
                  <a:pt x="977925" y="1323434"/>
                  <a:pt x="989353" y="1323978"/>
                </a:cubicBezTo>
                <a:close/>
                <a:moveTo>
                  <a:pt x="1152606" y="1322889"/>
                </a:moveTo>
                <a:cubicBezTo>
                  <a:pt x="1170564" y="1320712"/>
                  <a:pt x="1180903" y="1335405"/>
                  <a:pt x="1181447" y="1350098"/>
                </a:cubicBezTo>
                <a:cubicBezTo>
                  <a:pt x="1181447" y="1364791"/>
                  <a:pt x="1171108" y="1379483"/>
                  <a:pt x="1152606" y="1379483"/>
                </a:cubicBezTo>
                <a:cubicBezTo>
                  <a:pt x="1137913" y="1379483"/>
                  <a:pt x="1124853" y="1367511"/>
                  <a:pt x="1124853" y="1350642"/>
                </a:cubicBezTo>
                <a:cubicBezTo>
                  <a:pt x="1124309" y="1333228"/>
                  <a:pt x="1137913" y="1320712"/>
                  <a:pt x="1152606" y="1322889"/>
                </a:cubicBezTo>
                <a:close/>
                <a:moveTo>
                  <a:pt x="1315315" y="1318536"/>
                </a:moveTo>
                <a:cubicBezTo>
                  <a:pt x="1334361" y="1318536"/>
                  <a:pt x="1345789" y="1331596"/>
                  <a:pt x="1347966" y="1350098"/>
                </a:cubicBezTo>
                <a:cubicBezTo>
                  <a:pt x="1345245" y="1369144"/>
                  <a:pt x="1334905" y="1382205"/>
                  <a:pt x="1315315" y="1381661"/>
                </a:cubicBezTo>
                <a:cubicBezTo>
                  <a:pt x="1296813" y="1381116"/>
                  <a:pt x="1284841" y="1369144"/>
                  <a:pt x="1284297" y="1350098"/>
                </a:cubicBezTo>
                <a:cubicBezTo>
                  <a:pt x="1284297" y="1331052"/>
                  <a:pt x="1297357" y="1319080"/>
                  <a:pt x="1315315" y="1318536"/>
                </a:cubicBezTo>
                <a:close/>
                <a:moveTo>
                  <a:pt x="1480744" y="1317448"/>
                </a:moveTo>
                <a:cubicBezTo>
                  <a:pt x="1499246" y="1317992"/>
                  <a:pt x="1512851" y="1332140"/>
                  <a:pt x="1512306" y="1351731"/>
                </a:cubicBezTo>
                <a:cubicBezTo>
                  <a:pt x="1511762" y="1370233"/>
                  <a:pt x="1497070" y="1383837"/>
                  <a:pt x="1477479" y="1383293"/>
                </a:cubicBezTo>
                <a:cubicBezTo>
                  <a:pt x="1458977" y="1382749"/>
                  <a:pt x="1447550" y="1368600"/>
                  <a:pt x="1446461" y="1349554"/>
                </a:cubicBezTo>
                <a:cubicBezTo>
                  <a:pt x="1445373" y="1333773"/>
                  <a:pt x="1463331" y="1314727"/>
                  <a:pt x="1480744" y="1317448"/>
                </a:cubicBezTo>
                <a:close/>
                <a:moveTo>
                  <a:pt x="1642908" y="1315815"/>
                </a:moveTo>
                <a:cubicBezTo>
                  <a:pt x="1663043" y="1315815"/>
                  <a:pt x="1677735" y="1333229"/>
                  <a:pt x="1676647" y="1351731"/>
                </a:cubicBezTo>
                <a:cubicBezTo>
                  <a:pt x="1675559" y="1371865"/>
                  <a:pt x="1661954" y="1384381"/>
                  <a:pt x="1640732" y="1383837"/>
                </a:cubicBezTo>
                <a:cubicBezTo>
                  <a:pt x="1620597" y="1384381"/>
                  <a:pt x="1608081" y="1368056"/>
                  <a:pt x="1608081" y="1349554"/>
                </a:cubicBezTo>
                <a:cubicBezTo>
                  <a:pt x="1608081" y="1329964"/>
                  <a:pt x="1623318" y="1315815"/>
                  <a:pt x="1642908" y="1315815"/>
                </a:cubicBezTo>
                <a:close/>
                <a:moveTo>
                  <a:pt x="1968870" y="1314183"/>
                </a:moveTo>
                <a:cubicBezTo>
                  <a:pt x="1989548" y="1314727"/>
                  <a:pt x="2004785" y="1329420"/>
                  <a:pt x="2005329" y="1351187"/>
                </a:cubicBezTo>
                <a:cubicBezTo>
                  <a:pt x="2004785" y="1370233"/>
                  <a:pt x="1985739" y="1388735"/>
                  <a:pt x="1967781" y="1388191"/>
                </a:cubicBezTo>
                <a:cubicBezTo>
                  <a:pt x="1949823" y="1387647"/>
                  <a:pt x="1931322" y="1367512"/>
                  <a:pt x="1931866" y="1350098"/>
                </a:cubicBezTo>
                <a:cubicBezTo>
                  <a:pt x="1932410" y="1331596"/>
                  <a:pt x="1950912" y="1313094"/>
                  <a:pt x="1968870" y="1314183"/>
                </a:cubicBezTo>
                <a:close/>
                <a:moveTo>
                  <a:pt x="1806161" y="1313639"/>
                </a:moveTo>
                <a:cubicBezTo>
                  <a:pt x="1825207" y="1314183"/>
                  <a:pt x="1843165" y="1332141"/>
                  <a:pt x="1841533" y="1351187"/>
                </a:cubicBezTo>
                <a:cubicBezTo>
                  <a:pt x="1840988" y="1360438"/>
                  <a:pt x="1838267" y="1370233"/>
                  <a:pt x="1830105" y="1376763"/>
                </a:cubicBezTo>
                <a:cubicBezTo>
                  <a:pt x="1822486" y="1383293"/>
                  <a:pt x="1813235" y="1387102"/>
                  <a:pt x="1803984" y="1387102"/>
                </a:cubicBezTo>
                <a:cubicBezTo>
                  <a:pt x="1786027" y="1387102"/>
                  <a:pt x="1768613" y="1367512"/>
                  <a:pt x="1768613" y="1350098"/>
                </a:cubicBezTo>
                <a:cubicBezTo>
                  <a:pt x="1769157" y="1331596"/>
                  <a:pt x="1788203" y="1313094"/>
                  <a:pt x="1806161" y="1313639"/>
                </a:cubicBezTo>
                <a:close/>
                <a:moveTo>
                  <a:pt x="419057" y="1262486"/>
                </a:moveTo>
                <a:cubicBezTo>
                  <a:pt x="423410" y="1262486"/>
                  <a:pt x="425587" y="1265207"/>
                  <a:pt x="424499" y="1269016"/>
                </a:cubicBezTo>
                <a:cubicBezTo>
                  <a:pt x="423410" y="1271737"/>
                  <a:pt x="421234" y="1273914"/>
                  <a:pt x="417969" y="1278811"/>
                </a:cubicBezTo>
                <a:cubicBezTo>
                  <a:pt x="414704" y="1273914"/>
                  <a:pt x="412527" y="1271737"/>
                  <a:pt x="411983" y="1269016"/>
                </a:cubicBezTo>
                <a:cubicBezTo>
                  <a:pt x="410894" y="1264118"/>
                  <a:pt x="414159" y="1262486"/>
                  <a:pt x="419057" y="1262486"/>
                </a:cubicBezTo>
                <a:close/>
                <a:moveTo>
                  <a:pt x="581221" y="1252147"/>
                </a:moveTo>
                <a:cubicBezTo>
                  <a:pt x="591016" y="1252691"/>
                  <a:pt x="598091" y="1260310"/>
                  <a:pt x="597547" y="1269017"/>
                </a:cubicBezTo>
                <a:cubicBezTo>
                  <a:pt x="597547" y="1278268"/>
                  <a:pt x="589928" y="1284798"/>
                  <a:pt x="580133" y="1284254"/>
                </a:cubicBezTo>
                <a:cubicBezTo>
                  <a:pt x="570882" y="1283709"/>
                  <a:pt x="564896" y="1277179"/>
                  <a:pt x="564896" y="1268472"/>
                </a:cubicBezTo>
                <a:cubicBezTo>
                  <a:pt x="564896" y="1259222"/>
                  <a:pt x="571970" y="1252147"/>
                  <a:pt x="581221" y="1252147"/>
                </a:cubicBezTo>
                <a:close/>
                <a:moveTo>
                  <a:pt x="745018" y="1246705"/>
                </a:moveTo>
                <a:cubicBezTo>
                  <a:pt x="757534" y="1246705"/>
                  <a:pt x="766785" y="1257044"/>
                  <a:pt x="766241" y="1269560"/>
                </a:cubicBezTo>
                <a:cubicBezTo>
                  <a:pt x="765697" y="1280988"/>
                  <a:pt x="755358" y="1290783"/>
                  <a:pt x="744474" y="1290783"/>
                </a:cubicBezTo>
                <a:cubicBezTo>
                  <a:pt x="733046" y="1290783"/>
                  <a:pt x="722707" y="1279900"/>
                  <a:pt x="722707" y="1267928"/>
                </a:cubicBezTo>
                <a:cubicBezTo>
                  <a:pt x="722707" y="1255956"/>
                  <a:pt x="733046" y="1246705"/>
                  <a:pt x="745018" y="1246705"/>
                </a:cubicBezTo>
                <a:close/>
                <a:moveTo>
                  <a:pt x="907727" y="1241807"/>
                </a:moveTo>
                <a:cubicBezTo>
                  <a:pt x="921331" y="1241807"/>
                  <a:pt x="934391" y="1257044"/>
                  <a:pt x="933847" y="1269016"/>
                </a:cubicBezTo>
                <a:cubicBezTo>
                  <a:pt x="933847" y="1282620"/>
                  <a:pt x="920787" y="1295680"/>
                  <a:pt x="907183" y="1295136"/>
                </a:cubicBezTo>
                <a:cubicBezTo>
                  <a:pt x="893578" y="1294592"/>
                  <a:pt x="880518" y="1280988"/>
                  <a:pt x="880518" y="1267927"/>
                </a:cubicBezTo>
                <a:cubicBezTo>
                  <a:pt x="881062" y="1254323"/>
                  <a:pt x="894122" y="1242351"/>
                  <a:pt x="907727" y="1241807"/>
                </a:cubicBezTo>
                <a:close/>
                <a:moveTo>
                  <a:pt x="1070979" y="1240719"/>
                </a:moveTo>
                <a:cubicBezTo>
                  <a:pt x="1091114" y="1240175"/>
                  <a:pt x="1099276" y="1252691"/>
                  <a:pt x="1099821" y="1268472"/>
                </a:cubicBezTo>
                <a:cubicBezTo>
                  <a:pt x="1099821" y="1285886"/>
                  <a:pt x="1088393" y="1297858"/>
                  <a:pt x="1070435" y="1297858"/>
                </a:cubicBezTo>
                <a:cubicBezTo>
                  <a:pt x="1053566" y="1297858"/>
                  <a:pt x="1042138" y="1286430"/>
                  <a:pt x="1042138" y="1269560"/>
                </a:cubicBezTo>
                <a:cubicBezTo>
                  <a:pt x="1042138" y="1250514"/>
                  <a:pt x="1053566" y="1240719"/>
                  <a:pt x="1070979" y="1240719"/>
                </a:cubicBezTo>
                <a:close/>
                <a:moveTo>
                  <a:pt x="1234233" y="1235821"/>
                </a:moveTo>
                <a:cubicBezTo>
                  <a:pt x="1250558" y="1235821"/>
                  <a:pt x="1267972" y="1252691"/>
                  <a:pt x="1266883" y="1269016"/>
                </a:cubicBezTo>
                <a:cubicBezTo>
                  <a:pt x="1266339" y="1285885"/>
                  <a:pt x="1251646" y="1301122"/>
                  <a:pt x="1234233" y="1300578"/>
                </a:cubicBezTo>
                <a:cubicBezTo>
                  <a:pt x="1216275" y="1300578"/>
                  <a:pt x="1201582" y="1286430"/>
                  <a:pt x="1201582" y="1267383"/>
                </a:cubicBezTo>
                <a:cubicBezTo>
                  <a:pt x="1201582" y="1249425"/>
                  <a:pt x="1217907" y="1235821"/>
                  <a:pt x="1234233" y="1235821"/>
                </a:cubicBezTo>
                <a:close/>
                <a:moveTo>
                  <a:pt x="1396397" y="1234733"/>
                </a:moveTo>
                <a:cubicBezTo>
                  <a:pt x="1413810" y="1233645"/>
                  <a:pt x="1433945" y="1250514"/>
                  <a:pt x="1431224" y="1268472"/>
                </a:cubicBezTo>
                <a:cubicBezTo>
                  <a:pt x="1433401" y="1286430"/>
                  <a:pt x="1415443" y="1303299"/>
                  <a:pt x="1396941" y="1302755"/>
                </a:cubicBezTo>
                <a:cubicBezTo>
                  <a:pt x="1381160" y="1302211"/>
                  <a:pt x="1363202" y="1290783"/>
                  <a:pt x="1363746" y="1269016"/>
                </a:cubicBezTo>
                <a:cubicBezTo>
                  <a:pt x="1364290" y="1248881"/>
                  <a:pt x="1376806" y="1235821"/>
                  <a:pt x="1396397" y="1234733"/>
                </a:cubicBezTo>
                <a:close/>
                <a:moveTo>
                  <a:pt x="1559649" y="1232557"/>
                </a:moveTo>
                <a:cubicBezTo>
                  <a:pt x="1580328" y="1232013"/>
                  <a:pt x="1595021" y="1246705"/>
                  <a:pt x="1597742" y="1268472"/>
                </a:cubicBezTo>
                <a:cubicBezTo>
                  <a:pt x="1598286" y="1286974"/>
                  <a:pt x="1580872" y="1304932"/>
                  <a:pt x="1561826" y="1305476"/>
                </a:cubicBezTo>
                <a:cubicBezTo>
                  <a:pt x="1543868" y="1306564"/>
                  <a:pt x="1524822" y="1288063"/>
                  <a:pt x="1523734" y="1269561"/>
                </a:cubicBezTo>
                <a:cubicBezTo>
                  <a:pt x="1522645" y="1252147"/>
                  <a:pt x="1541147" y="1232557"/>
                  <a:pt x="1559649" y="1232557"/>
                </a:cubicBezTo>
                <a:close/>
                <a:moveTo>
                  <a:pt x="1723990" y="1231468"/>
                </a:moveTo>
                <a:cubicBezTo>
                  <a:pt x="1743037" y="1231468"/>
                  <a:pt x="1761539" y="1249426"/>
                  <a:pt x="1762083" y="1268472"/>
                </a:cubicBezTo>
                <a:cubicBezTo>
                  <a:pt x="1762627" y="1290239"/>
                  <a:pt x="1741404" y="1306020"/>
                  <a:pt x="1724535" y="1307109"/>
                </a:cubicBezTo>
                <a:cubicBezTo>
                  <a:pt x="1706033" y="1306564"/>
                  <a:pt x="1687531" y="1290239"/>
                  <a:pt x="1686442" y="1270105"/>
                </a:cubicBezTo>
                <a:cubicBezTo>
                  <a:pt x="1685354" y="1254323"/>
                  <a:pt x="1701679" y="1231468"/>
                  <a:pt x="1723990" y="1231468"/>
                </a:cubicBezTo>
                <a:close/>
                <a:moveTo>
                  <a:pt x="1888332" y="1230924"/>
                </a:moveTo>
                <a:cubicBezTo>
                  <a:pt x="1905745" y="1229836"/>
                  <a:pt x="1928056" y="1250514"/>
                  <a:pt x="1925336" y="1269561"/>
                </a:cubicBezTo>
                <a:cubicBezTo>
                  <a:pt x="1925336" y="1289695"/>
                  <a:pt x="1907378" y="1306564"/>
                  <a:pt x="1887243" y="1307653"/>
                </a:cubicBezTo>
                <a:cubicBezTo>
                  <a:pt x="1870918" y="1308197"/>
                  <a:pt x="1847519" y="1288063"/>
                  <a:pt x="1849151" y="1267928"/>
                </a:cubicBezTo>
                <a:cubicBezTo>
                  <a:pt x="1850239" y="1247794"/>
                  <a:pt x="1867653" y="1231468"/>
                  <a:pt x="1888332" y="1230924"/>
                </a:cubicBezTo>
                <a:close/>
                <a:moveTo>
                  <a:pt x="2049952" y="1230380"/>
                </a:moveTo>
                <a:lnTo>
                  <a:pt x="2051041" y="1230805"/>
                </a:lnTo>
                <a:lnTo>
                  <a:pt x="2051041" y="1307109"/>
                </a:lnTo>
                <a:cubicBezTo>
                  <a:pt x="2033627" y="1309830"/>
                  <a:pt x="2011316" y="1286974"/>
                  <a:pt x="2012404" y="1268472"/>
                </a:cubicBezTo>
                <a:cubicBezTo>
                  <a:pt x="2013493" y="1247794"/>
                  <a:pt x="2029274" y="1230380"/>
                  <a:pt x="2049952" y="1230380"/>
                </a:cubicBezTo>
                <a:close/>
                <a:moveTo>
                  <a:pt x="337431" y="1181404"/>
                </a:moveTo>
                <a:cubicBezTo>
                  <a:pt x="339608" y="1182493"/>
                  <a:pt x="341240" y="1184669"/>
                  <a:pt x="345050" y="1187934"/>
                </a:cubicBezTo>
                <a:cubicBezTo>
                  <a:pt x="340696" y="1190111"/>
                  <a:pt x="338519" y="1192288"/>
                  <a:pt x="336343" y="1192288"/>
                </a:cubicBezTo>
                <a:cubicBezTo>
                  <a:pt x="331445" y="1192832"/>
                  <a:pt x="330901" y="1189567"/>
                  <a:pt x="330901" y="1185758"/>
                </a:cubicBezTo>
                <a:cubicBezTo>
                  <a:pt x="330901" y="1181404"/>
                  <a:pt x="334166" y="1180860"/>
                  <a:pt x="337431" y="1181404"/>
                </a:cubicBezTo>
                <a:close/>
                <a:moveTo>
                  <a:pt x="499051" y="1171065"/>
                </a:moveTo>
                <a:cubicBezTo>
                  <a:pt x="506125" y="1170521"/>
                  <a:pt x="516465" y="1179772"/>
                  <a:pt x="516465" y="1187390"/>
                </a:cubicBezTo>
                <a:cubicBezTo>
                  <a:pt x="515921" y="1193920"/>
                  <a:pt x="507214" y="1202627"/>
                  <a:pt x="500140" y="1202627"/>
                </a:cubicBezTo>
                <a:cubicBezTo>
                  <a:pt x="493065" y="1202627"/>
                  <a:pt x="484358" y="1195008"/>
                  <a:pt x="483814" y="1187390"/>
                </a:cubicBezTo>
                <a:cubicBezTo>
                  <a:pt x="483270" y="1180316"/>
                  <a:pt x="491977" y="1171065"/>
                  <a:pt x="499051" y="1171065"/>
                </a:cubicBezTo>
                <a:close/>
                <a:moveTo>
                  <a:pt x="662848" y="1165623"/>
                </a:moveTo>
                <a:cubicBezTo>
                  <a:pt x="675364" y="1165623"/>
                  <a:pt x="684615" y="1174874"/>
                  <a:pt x="684615" y="1187390"/>
                </a:cubicBezTo>
                <a:cubicBezTo>
                  <a:pt x="684615" y="1199362"/>
                  <a:pt x="674820" y="1209157"/>
                  <a:pt x="662848" y="1209157"/>
                </a:cubicBezTo>
                <a:cubicBezTo>
                  <a:pt x="651420" y="1209157"/>
                  <a:pt x="641081" y="1198274"/>
                  <a:pt x="641081" y="1186846"/>
                </a:cubicBezTo>
                <a:cubicBezTo>
                  <a:pt x="641081" y="1175418"/>
                  <a:pt x="651420" y="1165623"/>
                  <a:pt x="662848" y="1165623"/>
                </a:cubicBezTo>
                <a:close/>
                <a:moveTo>
                  <a:pt x="825556" y="1160725"/>
                </a:moveTo>
                <a:cubicBezTo>
                  <a:pt x="840249" y="1161270"/>
                  <a:pt x="851677" y="1171609"/>
                  <a:pt x="852765" y="1186846"/>
                </a:cubicBezTo>
                <a:cubicBezTo>
                  <a:pt x="853309" y="1199906"/>
                  <a:pt x="840249" y="1213511"/>
                  <a:pt x="826645" y="1213511"/>
                </a:cubicBezTo>
                <a:cubicBezTo>
                  <a:pt x="813585" y="1214055"/>
                  <a:pt x="799980" y="1200995"/>
                  <a:pt x="798892" y="1188479"/>
                </a:cubicBezTo>
                <a:cubicBezTo>
                  <a:pt x="797803" y="1173241"/>
                  <a:pt x="814129" y="1160181"/>
                  <a:pt x="825556" y="1160725"/>
                </a:cubicBezTo>
                <a:close/>
                <a:moveTo>
                  <a:pt x="989353" y="1158004"/>
                </a:moveTo>
                <a:cubicBezTo>
                  <a:pt x="1007855" y="1159092"/>
                  <a:pt x="1018739" y="1168888"/>
                  <a:pt x="1018195" y="1187934"/>
                </a:cubicBezTo>
                <a:cubicBezTo>
                  <a:pt x="1017651" y="1206436"/>
                  <a:pt x="1007311" y="1216231"/>
                  <a:pt x="988809" y="1216775"/>
                </a:cubicBezTo>
                <a:cubicBezTo>
                  <a:pt x="972484" y="1217319"/>
                  <a:pt x="960512" y="1203715"/>
                  <a:pt x="959968" y="1187934"/>
                </a:cubicBezTo>
                <a:cubicBezTo>
                  <a:pt x="959968" y="1170520"/>
                  <a:pt x="972484" y="1158004"/>
                  <a:pt x="989353" y="1158004"/>
                </a:cubicBezTo>
                <a:close/>
                <a:moveTo>
                  <a:pt x="1152062" y="1153651"/>
                </a:moveTo>
                <a:cubicBezTo>
                  <a:pt x="1166755" y="1152562"/>
                  <a:pt x="1186345" y="1171065"/>
                  <a:pt x="1185801" y="1186301"/>
                </a:cubicBezTo>
                <a:cubicBezTo>
                  <a:pt x="1184713" y="1205348"/>
                  <a:pt x="1171652" y="1218952"/>
                  <a:pt x="1153150" y="1219496"/>
                </a:cubicBezTo>
                <a:cubicBezTo>
                  <a:pt x="1135193" y="1221129"/>
                  <a:pt x="1119412" y="1204259"/>
                  <a:pt x="1119956" y="1187390"/>
                </a:cubicBezTo>
                <a:cubicBezTo>
                  <a:pt x="1120500" y="1168888"/>
                  <a:pt x="1134648" y="1154739"/>
                  <a:pt x="1152062" y="1153651"/>
                </a:cubicBezTo>
                <a:close/>
                <a:moveTo>
                  <a:pt x="1315315" y="1152018"/>
                </a:moveTo>
                <a:cubicBezTo>
                  <a:pt x="1336537" y="1151474"/>
                  <a:pt x="1351230" y="1169432"/>
                  <a:pt x="1351230" y="1186845"/>
                </a:cubicBezTo>
                <a:cubicBezTo>
                  <a:pt x="1350686" y="1205891"/>
                  <a:pt x="1338714" y="1222217"/>
                  <a:pt x="1315859" y="1221673"/>
                </a:cubicBezTo>
                <a:cubicBezTo>
                  <a:pt x="1294092" y="1221128"/>
                  <a:pt x="1282120" y="1209157"/>
                  <a:pt x="1281576" y="1187390"/>
                </a:cubicBezTo>
                <a:cubicBezTo>
                  <a:pt x="1281031" y="1167255"/>
                  <a:pt x="1295724" y="1152562"/>
                  <a:pt x="1315315" y="1152018"/>
                </a:cubicBezTo>
                <a:close/>
                <a:moveTo>
                  <a:pt x="1479656" y="1149298"/>
                </a:moveTo>
                <a:cubicBezTo>
                  <a:pt x="1500878" y="1149842"/>
                  <a:pt x="1517204" y="1168888"/>
                  <a:pt x="1516660" y="1188479"/>
                </a:cubicBezTo>
                <a:cubicBezTo>
                  <a:pt x="1515027" y="1210246"/>
                  <a:pt x="1495981" y="1224938"/>
                  <a:pt x="1478023" y="1224394"/>
                </a:cubicBezTo>
                <a:cubicBezTo>
                  <a:pt x="1457889" y="1223850"/>
                  <a:pt x="1439931" y="1205892"/>
                  <a:pt x="1441563" y="1185758"/>
                </a:cubicBezTo>
                <a:cubicBezTo>
                  <a:pt x="1442652" y="1166167"/>
                  <a:pt x="1458977" y="1149298"/>
                  <a:pt x="1479656" y="1149298"/>
                </a:cubicBezTo>
                <a:close/>
                <a:moveTo>
                  <a:pt x="1642365" y="1148209"/>
                </a:moveTo>
                <a:cubicBezTo>
                  <a:pt x="1659779" y="1147121"/>
                  <a:pt x="1681001" y="1166711"/>
                  <a:pt x="1681001" y="1187390"/>
                </a:cubicBezTo>
                <a:cubicBezTo>
                  <a:pt x="1681001" y="1208613"/>
                  <a:pt x="1658690" y="1226026"/>
                  <a:pt x="1641821" y="1226026"/>
                </a:cubicBezTo>
                <a:cubicBezTo>
                  <a:pt x="1624407" y="1226026"/>
                  <a:pt x="1601007" y="1205348"/>
                  <a:pt x="1603728" y="1186846"/>
                </a:cubicBezTo>
                <a:cubicBezTo>
                  <a:pt x="1603728" y="1165623"/>
                  <a:pt x="1621686" y="1149298"/>
                  <a:pt x="1642365" y="1148209"/>
                </a:cubicBezTo>
                <a:close/>
                <a:moveTo>
                  <a:pt x="1969414" y="1147665"/>
                </a:moveTo>
                <a:cubicBezTo>
                  <a:pt x="1991725" y="1146032"/>
                  <a:pt x="2009139" y="1165623"/>
                  <a:pt x="2009139" y="1187934"/>
                </a:cubicBezTo>
                <a:cubicBezTo>
                  <a:pt x="2008595" y="1209157"/>
                  <a:pt x="1990093" y="1227114"/>
                  <a:pt x="1968870" y="1227114"/>
                </a:cubicBezTo>
                <a:cubicBezTo>
                  <a:pt x="1949824" y="1227114"/>
                  <a:pt x="1928601" y="1209701"/>
                  <a:pt x="1929145" y="1186301"/>
                </a:cubicBezTo>
                <a:cubicBezTo>
                  <a:pt x="1929145" y="1165623"/>
                  <a:pt x="1948191" y="1145488"/>
                  <a:pt x="1969414" y="1147665"/>
                </a:cubicBezTo>
                <a:close/>
                <a:moveTo>
                  <a:pt x="1805617" y="1147665"/>
                </a:moveTo>
                <a:cubicBezTo>
                  <a:pt x="1825752" y="1147665"/>
                  <a:pt x="1845342" y="1165078"/>
                  <a:pt x="1844798" y="1187934"/>
                </a:cubicBezTo>
                <a:cubicBezTo>
                  <a:pt x="1844254" y="1208612"/>
                  <a:pt x="1824664" y="1227115"/>
                  <a:pt x="1805073" y="1226571"/>
                </a:cubicBezTo>
                <a:cubicBezTo>
                  <a:pt x="1787115" y="1226571"/>
                  <a:pt x="1764260" y="1209701"/>
                  <a:pt x="1766981" y="1186845"/>
                </a:cubicBezTo>
                <a:cubicBezTo>
                  <a:pt x="1764804" y="1165623"/>
                  <a:pt x="1786027" y="1147665"/>
                  <a:pt x="1805617" y="1147665"/>
                </a:cubicBezTo>
                <a:close/>
                <a:moveTo>
                  <a:pt x="417425" y="1090527"/>
                </a:moveTo>
                <a:cubicBezTo>
                  <a:pt x="423955" y="1090527"/>
                  <a:pt x="433206" y="1099234"/>
                  <a:pt x="432662" y="1105764"/>
                </a:cubicBezTo>
                <a:cubicBezTo>
                  <a:pt x="432662" y="1111206"/>
                  <a:pt x="423955" y="1119912"/>
                  <a:pt x="417969" y="1120457"/>
                </a:cubicBezTo>
                <a:cubicBezTo>
                  <a:pt x="411439" y="1121001"/>
                  <a:pt x="402188" y="1111750"/>
                  <a:pt x="402732" y="1105219"/>
                </a:cubicBezTo>
                <a:cubicBezTo>
                  <a:pt x="402732" y="1099234"/>
                  <a:pt x="411439" y="1090527"/>
                  <a:pt x="417425" y="1090527"/>
                </a:cubicBezTo>
                <a:close/>
                <a:moveTo>
                  <a:pt x="580677" y="1083996"/>
                </a:moveTo>
                <a:cubicBezTo>
                  <a:pt x="592105" y="1083996"/>
                  <a:pt x="601900" y="1093791"/>
                  <a:pt x="602444" y="1105219"/>
                </a:cubicBezTo>
                <a:cubicBezTo>
                  <a:pt x="602988" y="1116647"/>
                  <a:pt x="593193" y="1126986"/>
                  <a:pt x="581221" y="1127530"/>
                </a:cubicBezTo>
                <a:cubicBezTo>
                  <a:pt x="570338" y="1127530"/>
                  <a:pt x="558910" y="1116102"/>
                  <a:pt x="558910" y="1105219"/>
                </a:cubicBezTo>
                <a:cubicBezTo>
                  <a:pt x="558910" y="1094880"/>
                  <a:pt x="570338" y="1083996"/>
                  <a:pt x="580677" y="1083996"/>
                </a:cubicBezTo>
                <a:close/>
                <a:moveTo>
                  <a:pt x="743386" y="1079099"/>
                </a:moveTo>
                <a:cubicBezTo>
                  <a:pt x="756991" y="1079099"/>
                  <a:pt x="769507" y="1088894"/>
                  <a:pt x="770595" y="1105219"/>
                </a:cubicBezTo>
                <a:cubicBezTo>
                  <a:pt x="771683" y="1116103"/>
                  <a:pt x="760800" y="1131340"/>
                  <a:pt x="745019" y="1132428"/>
                </a:cubicBezTo>
                <a:cubicBezTo>
                  <a:pt x="734135" y="1134061"/>
                  <a:pt x="717810" y="1118280"/>
                  <a:pt x="717810" y="1106308"/>
                </a:cubicBezTo>
                <a:cubicBezTo>
                  <a:pt x="717810" y="1091071"/>
                  <a:pt x="731414" y="1079099"/>
                  <a:pt x="743386" y="1079099"/>
                </a:cubicBezTo>
                <a:close/>
                <a:moveTo>
                  <a:pt x="907727" y="1076378"/>
                </a:moveTo>
                <a:cubicBezTo>
                  <a:pt x="926773" y="1076378"/>
                  <a:pt x="937112" y="1087262"/>
                  <a:pt x="937112" y="1105219"/>
                </a:cubicBezTo>
                <a:cubicBezTo>
                  <a:pt x="937112" y="1121545"/>
                  <a:pt x="928950" y="1134061"/>
                  <a:pt x="908271" y="1134061"/>
                </a:cubicBezTo>
                <a:cubicBezTo>
                  <a:pt x="888681" y="1134605"/>
                  <a:pt x="878341" y="1122633"/>
                  <a:pt x="878885" y="1105764"/>
                </a:cubicBezTo>
                <a:cubicBezTo>
                  <a:pt x="878341" y="1086173"/>
                  <a:pt x="892490" y="1076378"/>
                  <a:pt x="907727" y="1076378"/>
                </a:cubicBezTo>
                <a:close/>
                <a:moveTo>
                  <a:pt x="1071524" y="1072569"/>
                </a:moveTo>
                <a:cubicBezTo>
                  <a:pt x="1089482" y="1072569"/>
                  <a:pt x="1104174" y="1087806"/>
                  <a:pt x="1104174" y="1105220"/>
                </a:cubicBezTo>
                <a:cubicBezTo>
                  <a:pt x="1104174" y="1123722"/>
                  <a:pt x="1090026" y="1137870"/>
                  <a:pt x="1070435" y="1137870"/>
                </a:cubicBezTo>
                <a:cubicBezTo>
                  <a:pt x="1054110" y="1140047"/>
                  <a:pt x="1037241" y="1121545"/>
                  <a:pt x="1038329" y="1105764"/>
                </a:cubicBezTo>
                <a:cubicBezTo>
                  <a:pt x="1039417" y="1086173"/>
                  <a:pt x="1052478" y="1072569"/>
                  <a:pt x="1071524" y="1072569"/>
                </a:cubicBezTo>
                <a:close/>
                <a:moveTo>
                  <a:pt x="1235865" y="1068760"/>
                </a:moveTo>
                <a:cubicBezTo>
                  <a:pt x="1254912" y="1070392"/>
                  <a:pt x="1272325" y="1088894"/>
                  <a:pt x="1271237" y="1106852"/>
                </a:cubicBezTo>
                <a:cubicBezTo>
                  <a:pt x="1270149" y="1124810"/>
                  <a:pt x="1252735" y="1142223"/>
                  <a:pt x="1234777" y="1142223"/>
                </a:cubicBezTo>
                <a:cubicBezTo>
                  <a:pt x="1215187" y="1142223"/>
                  <a:pt x="1197773" y="1124265"/>
                  <a:pt x="1198861" y="1105219"/>
                </a:cubicBezTo>
                <a:cubicBezTo>
                  <a:pt x="1199406" y="1085629"/>
                  <a:pt x="1217908" y="1067127"/>
                  <a:pt x="1235865" y="1068760"/>
                </a:cubicBezTo>
                <a:close/>
                <a:moveTo>
                  <a:pt x="1396397" y="1067127"/>
                </a:moveTo>
                <a:cubicBezTo>
                  <a:pt x="1416532" y="1065494"/>
                  <a:pt x="1437755" y="1087806"/>
                  <a:pt x="1435578" y="1105219"/>
                </a:cubicBezTo>
                <a:cubicBezTo>
                  <a:pt x="1437210" y="1125898"/>
                  <a:pt x="1413267" y="1144400"/>
                  <a:pt x="1396941" y="1143856"/>
                </a:cubicBezTo>
                <a:cubicBezTo>
                  <a:pt x="1377895" y="1143856"/>
                  <a:pt x="1358305" y="1122633"/>
                  <a:pt x="1358849" y="1105763"/>
                </a:cubicBezTo>
                <a:cubicBezTo>
                  <a:pt x="1359393" y="1085629"/>
                  <a:pt x="1376807" y="1068759"/>
                  <a:pt x="1396397" y="1067127"/>
                </a:cubicBezTo>
                <a:close/>
                <a:moveTo>
                  <a:pt x="1560738" y="1066582"/>
                </a:moveTo>
                <a:cubicBezTo>
                  <a:pt x="1581961" y="1063862"/>
                  <a:pt x="1599919" y="1083452"/>
                  <a:pt x="1599919" y="1105763"/>
                </a:cubicBezTo>
                <a:cubicBezTo>
                  <a:pt x="1599919" y="1127530"/>
                  <a:pt x="1581417" y="1144400"/>
                  <a:pt x="1560738" y="1144400"/>
                </a:cubicBezTo>
                <a:cubicBezTo>
                  <a:pt x="1538971" y="1144400"/>
                  <a:pt x="1521557" y="1125898"/>
                  <a:pt x="1521013" y="1105763"/>
                </a:cubicBezTo>
                <a:cubicBezTo>
                  <a:pt x="1521013" y="1085629"/>
                  <a:pt x="1538971" y="1063862"/>
                  <a:pt x="1560738" y="1066582"/>
                </a:cubicBezTo>
                <a:close/>
                <a:moveTo>
                  <a:pt x="1723447" y="1064406"/>
                </a:moveTo>
                <a:cubicBezTo>
                  <a:pt x="1744126" y="1063862"/>
                  <a:pt x="1763716" y="1076378"/>
                  <a:pt x="1764260" y="1104675"/>
                </a:cubicBezTo>
                <a:cubicBezTo>
                  <a:pt x="1764804" y="1130796"/>
                  <a:pt x="1745758" y="1145488"/>
                  <a:pt x="1724535" y="1146032"/>
                </a:cubicBezTo>
                <a:cubicBezTo>
                  <a:pt x="1703313" y="1147121"/>
                  <a:pt x="1683722" y="1130796"/>
                  <a:pt x="1683178" y="1105764"/>
                </a:cubicBezTo>
                <a:cubicBezTo>
                  <a:pt x="1684266" y="1082364"/>
                  <a:pt x="1698415" y="1064950"/>
                  <a:pt x="1723447" y="1064406"/>
                </a:cubicBezTo>
                <a:close/>
                <a:moveTo>
                  <a:pt x="2051041" y="1063318"/>
                </a:moveTo>
                <a:lnTo>
                  <a:pt x="2051041" y="1147740"/>
                </a:lnTo>
                <a:lnTo>
                  <a:pt x="2049952" y="1148210"/>
                </a:lnTo>
                <a:cubicBezTo>
                  <a:pt x="2028730" y="1147121"/>
                  <a:pt x="2008051" y="1128619"/>
                  <a:pt x="2008051" y="1105764"/>
                </a:cubicBezTo>
                <a:cubicBezTo>
                  <a:pt x="2008595" y="1081276"/>
                  <a:pt x="2027641" y="1063862"/>
                  <a:pt x="2051041" y="1063318"/>
                </a:cubicBezTo>
                <a:close/>
                <a:moveTo>
                  <a:pt x="1887787" y="1062773"/>
                </a:moveTo>
                <a:cubicBezTo>
                  <a:pt x="1909554" y="1063862"/>
                  <a:pt x="1930233" y="1084540"/>
                  <a:pt x="1929145" y="1105763"/>
                </a:cubicBezTo>
                <a:cubicBezTo>
                  <a:pt x="1928056" y="1130251"/>
                  <a:pt x="1908466" y="1147121"/>
                  <a:pt x="1886699" y="1147665"/>
                </a:cubicBezTo>
                <a:cubicBezTo>
                  <a:pt x="1862755" y="1145488"/>
                  <a:pt x="1845886" y="1127530"/>
                  <a:pt x="1844798" y="1105219"/>
                </a:cubicBezTo>
                <a:cubicBezTo>
                  <a:pt x="1844253" y="1083996"/>
                  <a:pt x="1867109" y="1061685"/>
                  <a:pt x="1887787" y="1062773"/>
                </a:cubicBezTo>
                <a:close/>
                <a:moveTo>
                  <a:pt x="335798" y="1011621"/>
                </a:moveTo>
                <a:cubicBezTo>
                  <a:pt x="343960" y="1011621"/>
                  <a:pt x="347770" y="1014886"/>
                  <a:pt x="348314" y="1023049"/>
                </a:cubicBezTo>
                <a:cubicBezTo>
                  <a:pt x="348314" y="1031755"/>
                  <a:pt x="344505" y="1036109"/>
                  <a:pt x="336886" y="1036109"/>
                </a:cubicBezTo>
                <a:cubicBezTo>
                  <a:pt x="329268" y="1036109"/>
                  <a:pt x="324914" y="1032300"/>
                  <a:pt x="324370" y="1024681"/>
                </a:cubicBezTo>
                <a:cubicBezTo>
                  <a:pt x="323826" y="1015974"/>
                  <a:pt x="327635" y="1011621"/>
                  <a:pt x="335798" y="1011621"/>
                </a:cubicBezTo>
                <a:close/>
                <a:moveTo>
                  <a:pt x="499051" y="1002914"/>
                </a:moveTo>
                <a:cubicBezTo>
                  <a:pt x="508846" y="1002370"/>
                  <a:pt x="520818" y="1014342"/>
                  <a:pt x="520818" y="1024137"/>
                </a:cubicBezTo>
                <a:cubicBezTo>
                  <a:pt x="520818" y="1032844"/>
                  <a:pt x="508846" y="1045360"/>
                  <a:pt x="499595" y="1045360"/>
                </a:cubicBezTo>
                <a:cubicBezTo>
                  <a:pt x="490888" y="1045360"/>
                  <a:pt x="478372" y="1032844"/>
                  <a:pt x="478372" y="1024137"/>
                </a:cubicBezTo>
                <a:cubicBezTo>
                  <a:pt x="478372" y="1014886"/>
                  <a:pt x="489800" y="1002914"/>
                  <a:pt x="499051" y="1002914"/>
                </a:cubicBezTo>
                <a:close/>
                <a:moveTo>
                  <a:pt x="663392" y="997473"/>
                </a:moveTo>
                <a:cubicBezTo>
                  <a:pt x="675908" y="998561"/>
                  <a:pt x="688968" y="1011622"/>
                  <a:pt x="688424" y="1024138"/>
                </a:cubicBezTo>
                <a:cubicBezTo>
                  <a:pt x="687880" y="1039374"/>
                  <a:pt x="676452" y="1050802"/>
                  <a:pt x="661759" y="1050258"/>
                </a:cubicBezTo>
                <a:cubicBezTo>
                  <a:pt x="647066" y="1049170"/>
                  <a:pt x="637271" y="1036109"/>
                  <a:pt x="636727" y="1023593"/>
                </a:cubicBezTo>
                <a:cubicBezTo>
                  <a:pt x="637271" y="1010533"/>
                  <a:pt x="651420" y="996929"/>
                  <a:pt x="663392" y="997473"/>
                </a:cubicBezTo>
                <a:close/>
                <a:moveTo>
                  <a:pt x="826645" y="995840"/>
                </a:moveTo>
                <a:cubicBezTo>
                  <a:pt x="845147" y="995296"/>
                  <a:pt x="855486" y="1007267"/>
                  <a:pt x="854942" y="1024137"/>
                </a:cubicBezTo>
                <a:cubicBezTo>
                  <a:pt x="855486" y="1039374"/>
                  <a:pt x="845147" y="1052978"/>
                  <a:pt x="825557" y="1052978"/>
                </a:cubicBezTo>
                <a:cubicBezTo>
                  <a:pt x="808143" y="1052434"/>
                  <a:pt x="796715" y="1041006"/>
                  <a:pt x="797260" y="1023593"/>
                </a:cubicBezTo>
                <a:cubicBezTo>
                  <a:pt x="797260" y="1005635"/>
                  <a:pt x="808687" y="995840"/>
                  <a:pt x="826645" y="995840"/>
                </a:cubicBezTo>
                <a:close/>
                <a:moveTo>
                  <a:pt x="990441" y="990942"/>
                </a:moveTo>
                <a:cubicBezTo>
                  <a:pt x="1008943" y="990942"/>
                  <a:pt x="1023092" y="1006179"/>
                  <a:pt x="1022548" y="1025225"/>
                </a:cubicBezTo>
                <a:cubicBezTo>
                  <a:pt x="1022004" y="1043183"/>
                  <a:pt x="1007311" y="1056243"/>
                  <a:pt x="988809" y="1056787"/>
                </a:cubicBezTo>
                <a:cubicBezTo>
                  <a:pt x="973028" y="1057332"/>
                  <a:pt x="956702" y="1041551"/>
                  <a:pt x="956702" y="1023593"/>
                </a:cubicBezTo>
                <a:cubicBezTo>
                  <a:pt x="956158" y="1006723"/>
                  <a:pt x="973572" y="988221"/>
                  <a:pt x="990441" y="990942"/>
                </a:cubicBezTo>
                <a:close/>
                <a:moveTo>
                  <a:pt x="1150974" y="987678"/>
                </a:moveTo>
                <a:cubicBezTo>
                  <a:pt x="1170020" y="986045"/>
                  <a:pt x="1189066" y="1004547"/>
                  <a:pt x="1189610" y="1023593"/>
                </a:cubicBezTo>
                <a:cubicBezTo>
                  <a:pt x="1190154" y="1042095"/>
                  <a:pt x="1170564" y="1061685"/>
                  <a:pt x="1152062" y="1061685"/>
                </a:cubicBezTo>
                <a:cubicBezTo>
                  <a:pt x="1134104" y="1061685"/>
                  <a:pt x="1115602" y="1042639"/>
                  <a:pt x="1115058" y="1024682"/>
                </a:cubicBezTo>
                <a:cubicBezTo>
                  <a:pt x="1115058" y="1006724"/>
                  <a:pt x="1133016" y="988222"/>
                  <a:pt x="1150974" y="987678"/>
                </a:cubicBezTo>
                <a:close/>
                <a:moveTo>
                  <a:pt x="1315314" y="985501"/>
                </a:moveTo>
                <a:cubicBezTo>
                  <a:pt x="1335993" y="983868"/>
                  <a:pt x="1354495" y="1005635"/>
                  <a:pt x="1354495" y="1023593"/>
                </a:cubicBezTo>
                <a:cubicBezTo>
                  <a:pt x="1355039" y="1042639"/>
                  <a:pt x="1333816" y="1065495"/>
                  <a:pt x="1315858" y="1062230"/>
                </a:cubicBezTo>
                <a:cubicBezTo>
                  <a:pt x="1294636" y="1062230"/>
                  <a:pt x="1277222" y="1045360"/>
                  <a:pt x="1277222" y="1024137"/>
                </a:cubicBezTo>
                <a:cubicBezTo>
                  <a:pt x="1277222" y="1002914"/>
                  <a:pt x="1294091" y="986589"/>
                  <a:pt x="1315314" y="985501"/>
                </a:cubicBezTo>
                <a:close/>
                <a:moveTo>
                  <a:pt x="1479656" y="984412"/>
                </a:moveTo>
                <a:cubicBezTo>
                  <a:pt x="1503055" y="984412"/>
                  <a:pt x="1519925" y="1000737"/>
                  <a:pt x="1519380" y="1025225"/>
                </a:cubicBezTo>
                <a:cubicBezTo>
                  <a:pt x="1518836" y="1045904"/>
                  <a:pt x="1502511" y="1065494"/>
                  <a:pt x="1478567" y="1063318"/>
                </a:cubicBezTo>
                <a:cubicBezTo>
                  <a:pt x="1454624" y="1064950"/>
                  <a:pt x="1438842" y="1044816"/>
                  <a:pt x="1439387" y="1023593"/>
                </a:cubicBezTo>
                <a:cubicBezTo>
                  <a:pt x="1439931" y="1000193"/>
                  <a:pt x="1455712" y="983868"/>
                  <a:pt x="1479656" y="984412"/>
                </a:cubicBezTo>
                <a:close/>
                <a:moveTo>
                  <a:pt x="1641820" y="981691"/>
                </a:moveTo>
                <a:cubicBezTo>
                  <a:pt x="1665220" y="981691"/>
                  <a:pt x="1683178" y="999649"/>
                  <a:pt x="1684810" y="1023592"/>
                </a:cubicBezTo>
                <a:cubicBezTo>
                  <a:pt x="1683722" y="1048625"/>
                  <a:pt x="1665220" y="1066038"/>
                  <a:pt x="1642909" y="1066038"/>
                </a:cubicBezTo>
                <a:cubicBezTo>
                  <a:pt x="1618421" y="1066038"/>
                  <a:pt x="1599919" y="1047536"/>
                  <a:pt x="1599919" y="1023592"/>
                </a:cubicBezTo>
                <a:cubicBezTo>
                  <a:pt x="1599919" y="1001281"/>
                  <a:pt x="1616788" y="982235"/>
                  <a:pt x="1641820" y="981691"/>
                </a:cubicBezTo>
                <a:close/>
                <a:moveTo>
                  <a:pt x="1806161" y="980603"/>
                </a:moveTo>
                <a:cubicBezTo>
                  <a:pt x="1829561" y="980603"/>
                  <a:pt x="1848607" y="1000737"/>
                  <a:pt x="1849151" y="1023592"/>
                </a:cubicBezTo>
                <a:cubicBezTo>
                  <a:pt x="1849151" y="1046992"/>
                  <a:pt x="1827928" y="1068215"/>
                  <a:pt x="1805617" y="1067127"/>
                </a:cubicBezTo>
                <a:cubicBezTo>
                  <a:pt x="1781673" y="1068215"/>
                  <a:pt x="1762083" y="1044815"/>
                  <a:pt x="1762083" y="1023592"/>
                </a:cubicBezTo>
                <a:cubicBezTo>
                  <a:pt x="1762083" y="1002370"/>
                  <a:pt x="1781673" y="980058"/>
                  <a:pt x="1806161" y="980603"/>
                </a:cubicBezTo>
                <a:close/>
                <a:moveTo>
                  <a:pt x="1969414" y="980059"/>
                </a:moveTo>
                <a:cubicBezTo>
                  <a:pt x="1993358" y="980603"/>
                  <a:pt x="2012404" y="1001282"/>
                  <a:pt x="2012404" y="1024137"/>
                </a:cubicBezTo>
                <a:cubicBezTo>
                  <a:pt x="2012404" y="1046449"/>
                  <a:pt x="1991726" y="1069304"/>
                  <a:pt x="1968870" y="1067127"/>
                </a:cubicBezTo>
                <a:cubicBezTo>
                  <a:pt x="1946015" y="1068760"/>
                  <a:pt x="1925336" y="1044272"/>
                  <a:pt x="1924792" y="1024137"/>
                </a:cubicBezTo>
                <a:cubicBezTo>
                  <a:pt x="1924792" y="1002914"/>
                  <a:pt x="1944382" y="980059"/>
                  <a:pt x="1969414" y="980059"/>
                </a:cubicBezTo>
                <a:close/>
                <a:moveTo>
                  <a:pt x="254171" y="931083"/>
                </a:moveTo>
                <a:cubicBezTo>
                  <a:pt x="260701" y="931083"/>
                  <a:pt x="265599" y="935437"/>
                  <a:pt x="265599" y="941967"/>
                </a:cubicBezTo>
                <a:cubicBezTo>
                  <a:pt x="265599" y="948497"/>
                  <a:pt x="260701" y="952850"/>
                  <a:pt x="254171" y="952850"/>
                </a:cubicBezTo>
                <a:cubicBezTo>
                  <a:pt x="247641" y="952850"/>
                  <a:pt x="243832" y="948497"/>
                  <a:pt x="243832" y="941967"/>
                </a:cubicBezTo>
                <a:cubicBezTo>
                  <a:pt x="243832" y="935437"/>
                  <a:pt x="247641" y="931627"/>
                  <a:pt x="254171" y="931083"/>
                </a:cubicBezTo>
                <a:close/>
                <a:moveTo>
                  <a:pt x="417968" y="922377"/>
                </a:moveTo>
                <a:cubicBezTo>
                  <a:pt x="427219" y="921833"/>
                  <a:pt x="437559" y="932716"/>
                  <a:pt x="437559" y="942511"/>
                </a:cubicBezTo>
                <a:cubicBezTo>
                  <a:pt x="437559" y="951762"/>
                  <a:pt x="427219" y="961557"/>
                  <a:pt x="417968" y="961557"/>
                </a:cubicBezTo>
                <a:cubicBezTo>
                  <a:pt x="409262" y="961557"/>
                  <a:pt x="397290" y="949585"/>
                  <a:pt x="397834" y="941423"/>
                </a:cubicBezTo>
                <a:cubicBezTo>
                  <a:pt x="398378" y="933260"/>
                  <a:pt x="409806" y="922377"/>
                  <a:pt x="417968" y="922377"/>
                </a:cubicBezTo>
                <a:close/>
                <a:moveTo>
                  <a:pt x="581222" y="916934"/>
                </a:moveTo>
                <a:cubicBezTo>
                  <a:pt x="593738" y="916934"/>
                  <a:pt x="607342" y="931082"/>
                  <a:pt x="606798" y="943054"/>
                </a:cubicBezTo>
                <a:cubicBezTo>
                  <a:pt x="606254" y="955570"/>
                  <a:pt x="593738" y="967542"/>
                  <a:pt x="581222" y="967542"/>
                </a:cubicBezTo>
                <a:cubicBezTo>
                  <a:pt x="567617" y="966454"/>
                  <a:pt x="557278" y="958291"/>
                  <a:pt x="556190" y="943054"/>
                </a:cubicBezTo>
                <a:cubicBezTo>
                  <a:pt x="555101" y="929994"/>
                  <a:pt x="568161" y="916934"/>
                  <a:pt x="581222" y="916934"/>
                </a:cubicBezTo>
                <a:close/>
                <a:moveTo>
                  <a:pt x="744474" y="913669"/>
                </a:moveTo>
                <a:cubicBezTo>
                  <a:pt x="765153" y="913669"/>
                  <a:pt x="773860" y="927273"/>
                  <a:pt x="773315" y="942510"/>
                </a:cubicBezTo>
                <a:cubicBezTo>
                  <a:pt x="772771" y="959924"/>
                  <a:pt x="761344" y="971352"/>
                  <a:pt x="743930" y="970807"/>
                </a:cubicBezTo>
                <a:cubicBezTo>
                  <a:pt x="727061" y="970807"/>
                  <a:pt x="716177" y="959380"/>
                  <a:pt x="716177" y="941966"/>
                </a:cubicBezTo>
                <a:cubicBezTo>
                  <a:pt x="716177" y="923464"/>
                  <a:pt x="727605" y="914213"/>
                  <a:pt x="744474" y="913669"/>
                </a:cubicBezTo>
                <a:close/>
                <a:moveTo>
                  <a:pt x="908271" y="908772"/>
                </a:moveTo>
                <a:cubicBezTo>
                  <a:pt x="927317" y="910405"/>
                  <a:pt x="940922" y="924553"/>
                  <a:pt x="940377" y="944144"/>
                </a:cubicBezTo>
                <a:cubicBezTo>
                  <a:pt x="939833" y="962101"/>
                  <a:pt x="925141" y="975162"/>
                  <a:pt x="906094" y="975162"/>
                </a:cubicBezTo>
                <a:cubicBezTo>
                  <a:pt x="890313" y="975162"/>
                  <a:pt x="873988" y="959925"/>
                  <a:pt x="874532" y="940879"/>
                </a:cubicBezTo>
                <a:cubicBezTo>
                  <a:pt x="874532" y="925641"/>
                  <a:pt x="891402" y="907684"/>
                  <a:pt x="908271" y="908772"/>
                </a:cubicBezTo>
                <a:close/>
                <a:moveTo>
                  <a:pt x="1072068" y="906051"/>
                </a:moveTo>
                <a:cubicBezTo>
                  <a:pt x="1093291" y="907683"/>
                  <a:pt x="1105807" y="921832"/>
                  <a:pt x="1107984" y="942511"/>
                </a:cubicBezTo>
                <a:cubicBezTo>
                  <a:pt x="1107984" y="961013"/>
                  <a:pt x="1088938" y="979515"/>
                  <a:pt x="1070980" y="979515"/>
                </a:cubicBezTo>
                <a:cubicBezTo>
                  <a:pt x="1053022" y="979515"/>
                  <a:pt x="1034520" y="960469"/>
                  <a:pt x="1034520" y="942511"/>
                </a:cubicBezTo>
                <a:cubicBezTo>
                  <a:pt x="1034520" y="923465"/>
                  <a:pt x="1053566" y="904419"/>
                  <a:pt x="1072068" y="906051"/>
                </a:cubicBezTo>
                <a:close/>
                <a:moveTo>
                  <a:pt x="1235321" y="903874"/>
                </a:moveTo>
                <a:cubicBezTo>
                  <a:pt x="1257088" y="903874"/>
                  <a:pt x="1272325" y="920199"/>
                  <a:pt x="1272325" y="943054"/>
                </a:cubicBezTo>
                <a:cubicBezTo>
                  <a:pt x="1275045" y="962645"/>
                  <a:pt x="1251646" y="982779"/>
                  <a:pt x="1233688" y="981147"/>
                </a:cubicBezTo>
                <a:cubicBezTo>
                  <a:pt x="1211921" y="979514"/>
                  <a:pt x="1195052" y="963189"/>
                  <a:pt x="1195596" y="940878"/>
                </a:cubicBezTo>
                <a:cubicBezTo>
                  <a:pt x="1196140" y="919111"/>
                  <a:pt x="1212465" y="903330"/>
                  <a:pt x="1235321" y="903874"/>
                </a:cubicBezTo>
                <a:close/>
                <a:moveTo>
                  <a:pt x="1397486" y="901153"/>
                </a:moveTo>
                <a:cubicBezTo>
                  <a:pt x="1420885" y="901698"/>
                  <a:pt x="1437755" y="917479"/>
                  <a:pt x="1438299" y="942511"/>
                </a:cubicBezTo>
                <a:cubicBezTo>
                  <a:pt x="1437210" y="966999"/>
                  <a:pt x="1420341" y="983324"/>
                  <a:pt x="1396941" y="983324"/>
                </a:cubicBezTo>
                <a:cubicBezTo>
                  <a:pt x="1371909" y="983324"/>
                  <a:pt x="1355584" y="963190"/>
                  <a:pt x="1356128" y="941967"/>
                </a:cubicBezTo>
                <a:cubicBezTo>
                  <a:pt x="1356128" y="919655"/>
                  <a:pt x="1373542" y="900609"/>
                  <a:pt x="1397486" y="901153"/>
                </a:cubicBezTo>
                <a:close/>
                <a:moveTo>
                  <a:pt x="1560738" y="898977"/>
                </a:moveTo>
                <a:cubicBezTo>
                  <a:pt x="1584138" y="899521"/>
                  <a:pt x="1603728" y="917479"/>
                  <a:pt x="1603728" y="942511"/>
                </a:cubicBezTo>
                <a:cubicBezTo>
                  <a:pt x="1603728" y="966999"/>
                  <a:pt x="1581961" y="985501"/>
                  <a:pt x="1560738" y="985501"/>
                </a:cubicBezTo>
                <a:cubicBezTo>
                  <a:pt x="1537883" y="985501"/>
                  <a:pt x="1516660" y="963734"/>
                  <a:pt x="1517204" y="941423"/>
                </a:cubicBezTo>
                <a:cubicBezTo>
                  <a:pt x="1517748" y="919656"/>
                  <a:pt x="1535706" y="898977"/>
                  <a:pt x="1560738" y="898977"/>
                </a:cubicBezTo>
                <a:close/>
                <a:moveTo>
                  <a:pt x="1723990" y="897888"/>
                </a:moveTo>
                <a:cubicBezTo>
                  <a:pt x="1747934" y="897888"/>
                  <a:pt x="1769701" y="919111"/>
                  <a:pt x="1768069" y="942510"/>
                </a:cubicBezTo>
                <a:cubicBezTo>
                  <a:pt x="1770245" y="965366"/>
                  <a:pt x="1746302" y="987133"/>
                  <a:pt x="1723990" y="986589"/>
                </a:cubicBezTo>
                <a:cubicBezTo>
                  <a:pt x="1701679" y="986589"/>
                  <a:pt x="1679912" y="964278"/>
                  <a:pt x="1679912" y="941422"/>
                </a:cubicBezTo>
                <a:cubicBezTo>
                  <a:pt x="1680456" y="919655"/>
                  <a:pt x="1700047" y="897888"/>
                  <a:pt x="1723990" y="897888"/>
                </a:cubicBezTo>
                <a:close/>
                <a:moveTo>
                  <a:pt x="2050497" y="897344"/>
                </a:moveTo>
                <a:lnTo>
                  <a:pt x="2051041" y="897453"/>
                </a:lnTo>
                <a:lnTo>
                  <a:pt x="2051041" y="986917"/>
                </a:lnTo>
                <a:lnTo>
                  <a:pt x="2049952" y="987133"/>
                </a:lnTo>
                <a:cubicBezTo>
                  <a:pt x="2026553" y="987133"/>
                  <a:pt x="2004786" y="965366"/>
                  <a:pt x="2005330" y="941422"/>
                </a:cubicBezTo>
                <a:cubicBezTo>
                  <a:pt x="2005874" y="918023"/>
                  <a:pt x="2026009" y="897344"/>
                  <a:pt x="2050497" y="897344"/>
                </a:cubicBezTo>
                <a:close/>
                <a:moveTo>
                  <a:pt x="1887243" y="897344"/>
                </a:moveTo>
                <a:cubicBezTo>
                  <a:pt x="1910099" y="897344"/>
                  <a:pt x="1931866" y="916390"/>
                  <a:pt x="1931866" y="942511"/>
                </a:cubicBezTo>
                <a:cubicBezTo>
                  <a:pt x="1931866" y="965910"/>
                  <a:pt x="1910099" y="986589"/>
                  <a:pt x="1887243" y="986589"/>
                </a:cubicBezTo>
                <a:cubicBezTo>
                  <a:pt x="1864932" y="987133"/>
                  <a:pt x="1839900" y="965910"/>
                  <a:pt x="1843165" y="941422"/>
                </a:cubicBezTo>
                <a:cubicBezTo>
                  <a:pt x="1840444" y="918567"/>
                  <a:pt x="1863299" y="897344"/>
                  <a:pt x="1887243" y="897344"/>
                </a:cubicBezTo>
                <a:close/>
                <a:moveTo>
                  <a:pt x="172545" y="854354"/>
                </a:moveTo>
                <a:cubicBezTo>
                  <a:pt x="176899" y="854354"/>
                  <a:pt x="179619" y="855442"/>
                  <a:pt x="179619" y="860884"/>
                </a:cubicBezTo>
                <a:cubicBezTo>
                  <a:pt x="180164" y="864693"/>
                  <a:pt x="177987" y="866870"/>
                  <a:pt x="173634" y="866870"/>
                </a:cubicBezTo>
                <a:cubicBezTo>
                  <a:pt x="169824" y="866870"/>
                  <a:pt x="166559" y="866870"/>
                  <a:pt x="166015" y="861973"/>
                </a:cubicBezTo>
                <a:cubicBezTo>
                  <a:pt x="165471" y="857075"/>
                  <a:pt x="167103" y="854354"/>
                  <a:pt x="172545" y="854354"/>
                </a:cubicBezTo>
                <a:close/>
                <a:moveTo>
                  <a:pt x="336342" y="843471"/>
                </a:moveTo>
                <a:cubicBezTo>
                  <a:pt x="346681" y="844015"/>
                  <a:pt x="353211" y="849457"/>
                  <a:pt x="353211" y="860340"/>
                </a:cubicBezTo>
                <a:cubicBezTo>
                  <a:pt x="353211" y="872312"/>
                  <a:pt x="348858" y="876665"/>
                  <a:pt x="336886" y="877210"/>
                </a:cubicBezTo>
                <a:cubicBezTo>
                  <a:pt x="324370" y="877210"/>
                  <a:pt x="320561" y="872856"/>
                  <a:pt x="320017" y="860884"/>
                </a:cubicBezTo>
                <a:cubicBezTo>
                  <a:pt x="319473" y="851089"/>
                  <a:pt x="327635" y="842927"/>
                  <a:pt x="336342" y="843471"/>
                </a:cubicBezTo>
                <a:close/>
                <a:moveTo>
                  <a:pt x="500139" y="837485"/>
                </a:moveTo>
                <a:cubicBezTo>
                  <a:pt x="514832" y="837485"/>
                  <a:pt x="522994" y="846735"/>
                  <a:pt x="522994" y="861428"/>
                </a:cubicBezTo>
                <a:cubicBezTo>
                  <a:pt x="522994" y="876121"/>
                  <a:pt x="513743" y="884284"/>
                  <a:pt x="499595" y="884284"/>
                </a:cubicBezTo>
                <a:cubicBezTo>
                  <a:pt x="485446" y="883740"/>
                  <a:pt x="475651" y="875033"/>
                  <a:pt x="476739" y="860340"/>
                </a:cubicBezTo>
                <a:cubicBezTo>
                  <a:pt x="476195" y="842926"/>
                  <a:pt x="489256" y="836940"/>
                  <a:pt x="500139" y="837485"/>
                </a:cubicBezTo>
                <a:close/>
                <a:moveTo>
                  <a:pt x="662848" y="832587"/>
                </a:moveTo>
                <a:cubicBezTo>
                  <a:pt x="677541" y="832587"/>
                  <a:pt x="691689" y="842926"/>
                  <a:pt x="690057" y="860340"/>
                </a:cubicBezTo>
                <a:cubicBezTo>
                  <a:pt x="691689" y="876121"/>
                  <a:pt x="679718" y="888637"/>
                  <a:pt x="662848" y="888637"/>
                </a:cubicBezTo>
                <a:cubicBezTo>
                  <a:pt x="644890" y="888637"/>
                  <a:pt x="634551" y="874489"/>
                  <a:pt x="634551" y="861428"/>
                </a:cubicBezTo>
                <a:cubicBezTo>
                  <a:pt x="634551" y="842926"/>
                  <a:pt x="647611" y="832587"/>
                  <a:pt x="662848" y="832587"/>
                </a:cubicBezTo>
                <a:close/>
                <a:moveTo>
                  <a:pt x="826101" y="827146"/>
                </a:moveTo>
                <a:cubicBezTo>
                  <a:pt x="840249" y="826602"/>
                  <a:pt x="859840" y="843471"/>
                  <a:pt x="859295" y="860885"/>
                </a:cubicBezTo>
                <a:cubicBezTo>
                  <a:pt x="858751" y="875033"/>
                  <a:pt x="844603" y="894624"/>
                  <a:pt x="825556" y="892991"/>
                </a:cubicBezTo>
                <a:cubicBezTo>
                  <a:pt x="808687" y="894079"/>
                  <a:pt x="793450" y="877754"/>
                  <a:pt x="793450" y="860885"/>
                </a:cubicBezTo>
                <a:cubicBezTo>
                  <a:pt x="793994" y="842927"/>
                  <a:pt x="808143" y="828234"/>
                  <a:pt x="826101" y="827146"/>
                </a:cubicBezTo>
                <a:close/>
                <a:moveTo>
                  <a:pt x="988809" y="824424"/>
                </a:moveTo>
                <a:cubicBezTo>
                  <a:pt x="1010576" y="825512"/>
                  <a:pt x="1024180" y="839661"/>
                  <a:pt x="1025813" y="860339"/>
                </a:cubicBezTo>
                <a:cubicBezTo>
                  <a:pt x="1026901" y="878842"/>
                  <a:pt x="1008399" y="896799"/>
                  <a:pt x="989897" y="897344"/>
                </a:cubicBezTo>
                <a:cubicBezTo>
                  <a:pt x="971939" y="897344"/>
                  <a:pt x="953982" y="880474"/>
                  <a:pt x="953437" y="861972"/>
                </a:cubicBezTo>
                <a:cubicBezTo>
                  <a:pt x="951805" y="842926"/>
                  <a:pt x="969763" y="824968"/>
                  <a:pt x="988809" y="824424"/>
                </a:cubicBezTo>
                <a:close/>
                <a:moveTo>
                  <a:pt x="1153695" y="821704"/>
                </a:moveTo>
                <a:cubicBezTo>
                  <a:pt x="1175462" y="822248"/>
                  <a:pt x="1191243" y="839118"/>
                  <a:pt x="1191243" y="861429"/>
                </a:cubicBezTo>
                <a:cubicBezTo>
                  <a:pt x="1193964" y="882107"/>
                  <a:pt x="1169476" y="900610"/>
                  <a:pt x="1152606" y="899521"/>
                </a:cubicBezTo>
                <a:cubicBezTo>
                  <a:pt x="1130839" y="898433"/>
                  <a:pt x="1114514" y="882107"/>
                  <a:pt x="1114514" y="859252"/>
                </a:cubicBezTo>
                <a:cubicBezTo>
                  <a:pt x="1115058" y="837485"/>
                  <a:pt x="1131928" y="821704"/>
                  <a:pt x="1153695" y="821704"/>
                </a:cubicBezTo>
                <a:close/>
                <a:moveTo>
                  <a:pt x="1316403" y="818982"/>
                </a:moveTo>
                <a:cubicBezTo>
                  <a:pt x="1341979" y="820071"/>
                  <a:pt x="1356128" y="838573"/>
                  <a:pt x="1357216" y="860884"/>
                </a:cubicBezTo>
                <a:cubicBezTo>
                  <a:pt x="1356128" y="884828"/>
                  <a:pt x="1337626" y="901697"/>
                  <a:pt x="1315315" y="901697"/>
                </a:cubicBezTo>
                <a:cubicBezTo>
                  <a:pt x="1293003" y="901697"/>
                  <a:pt x="1273957" y="884284"/>
                  <a:pt x="1274501" y="860340"/>
                </a:cubicBezTo>
                <a:cubicBezTo>
                  <a:pt x="1275046" y="835852"/>
                  <a:pt x="1291915" y="818438"/>
                  <a:pt x="1316403" y="818982"/>
                </a:cubicBezTo>
                <a:close/>
                <a:moveTo>
                  <a:pt x="1479112" y="816806"/>
                </a:moveTo>
                <a:cubicBezTo>
                  <a:pt x="1501423" y="816806"/>
                  <a:pt x="1523190" y="835852"/>
                  <a:pt x="1522646" y="860340"/>
                </a:cubicBezTo>
                <a:cubicBezTo>
                  <a:pt x="1523735" y="885372"/>
                  <a:pt x="1499791" y="904419"/>
                  <a:pt x="1479656" y="904419"/>
                </a:cubicBezTo>
                <a:cubicBezTo>
                  <a:pt x="1457889" y="904419"/>
                  <a:pt x="1436122" y="883740"/>
                  <a:pt x="1435578" y="860884"/>
                </a:cubicBezTo>
                <a:cubicBezTo>
                  <a:pt x="1435578" y="838573"/>
                  <a:pt x="1455713" y="816806"/>
                  <a:pt x="1479112" y="816806"/>
                </a:cubicBezTo>
                <a:close/>
                <a:moveTo>
                  <a:pt x="1642909" y="815718"/>
                </a:moveTo>
                <a:cubicBezTo>
                  <a:pt x="1665764" y="816262"/>
                  <a:pt x="1686987" y="835852"/>
                  <a:pt x="1686987" y="860885"/>
                </a:cubicBezTo>
                <a:cubicBezTo>
                  <a:pt x="1686987" y="884284"/>
                  <a:pt x="1666308" y="906051"/>
                  <a:pt x="1641276" y="905507"/>
                </a:cubicBezTo>
                <a:cubicBezTo>
                  <a:pt x="1619509" y="905507"/>
                  <a:pt x="1595021" y="884284"/>
                  <a:pt x="1597742" y="860340"/>
                </a:cubicBezTo>
                <a:cubicBezTo>
                  <a:pt x="1595021" y="836941"/>
                  <a:pt x="1619509" y="815174"/>
                  <a:pt x="1642909" y="815718"/>
                </a:cubicBezTo>
                <a:close/>
                <a:moveTo>
                  <a:pt x="1806161" y="815173"/>
                </a:moveTo>
                <a:cubicBezTo>
                  <a:pt x="1832282" y="815717"/>
                  <a:pt x="1854593" y="836396"/>
                  <a:pt x="1852416" y="860884"/>
                </a:cubicBezTo>
                <a:cubicBezTo>
                  <a:pt x="1850240" y="885372"/>
                  <a:pt x="1837179" y="906050"/>
                  <a:pt x="1805617" y="906594"/>
                </a:cubicBezTo>
                <a:cubicBezTo>
                  <a:pt x="1776776" y="906594"/>
                  <a:pt x="1759362" y="885916"/>
                  <a:pt x="1759906" y="860884"/>
                </a:cubicBezTo>
                <a:cubicBezTo>
                  <a:pt x="1759906" y="834219"/>
                  <a:pt x="1776776" y="815717"/>
                  <a:pt x="1806161" y="815173"/>
                </a:cubicBezTo>
                <a:close/>
                <a:moveTo>
                  <a:pt x="1968326" y="812453"/>
                </a:moveTo>
                <a:cubicBezTo>
                  <a:pt x="1979754" y="812453"/>
                  <a:pt x="1991726" y="817351"/>
                  <a:pt x="2000977" y="826057"/>
                </a:cubicBezTo>
                <a:cubicBezTo>
                  <a:pt x="2010772" y="835308"/>
                  <a:pt x="2016214" y="847280"/>
                  <a:pt x="2015670" y="859796"/>
                </a:cubicBezTo>
                <a:cubicBezTo>
                  <a:pt x="2014581" y="884828"/>
                  <a:pt x="2000977" y="904963"/>
                  <a:pt x="1969415" y="907684"/>
                </a:cubicBezTo>
                <a:cubicBezTo>
                  <a:pt x="1942206" y="906051"/>
                  <a:pt x="1923704" y="890270"/>
                  <a:pt x="1922071" y="860885"/>
                </a:cubicBezTo>
                <a:cubicBezTo>
                  <a:pt x="1920983" y="836397"/>
                  <a:pt x="1943294" y="812453"/>
                  <a:pt x="1968326" y="812453"/>
                </a:cubicBezTo>
                <a:close/>
                <a:moveTo>
                  <a:pt x="255260" y="762932"/>
                </a:moveTo>
                <a:cubicBezTo>
                  <a:pt x="261790" y="763476"/>
                  <a:pt x="271041" y="773271"/>
                  <a:pt x="270497" y="779802"/>
                </a:cubicBezTo>
                <a:cubicBezTo>
                  <a:pt x="270497" y="786332"/>
                  <a:pt x="261246" y="795038"/>
                  <a:pt x="254172" y="795038"/>
                </a:cubicBezTo>
                <a:cubicBezTo>
                  <a:pt x="246553" y="795038"/>
                  <a:pt x="238391" y="786332"/>
                  <a:pt x="238935" y="778713"/>
                </a:cubicBezTo>
                <a:cubicBezTo>
                  <a:pt x="239479" y="771095"/>
                  <a:pt x="248186" y="762388"/>
                  <a:pt x="255260" y="762932"/>
                </a:cubicBezTo>
                <a:close/>
                <a:moveTo>
                  <a:pt x="416881" y="756402"/>
                </a:moveTo>
                <a:cubicBezTo>
                  <a:pt x="430485" y="756402"/>
                  <a:pt x="439736" y="765109"/>
                  <a:pt x="440280" y="778713"/>
                </a:cubicBezTo>
                <a:cubicBezTo>
                  <a:pt x="440280" y="791229"/>
                  <a:pt x="431573" y="801024"/>
                  <a:pt x="419057" y="801024"/>
                </a:cubicBezTo>
                <a:cubicBezTo>
                  <a:pt x="405997" y="801569"/>
                  <a:pt x="396202" y="792317"/>
                  <a:pt x="396202" y="779257"/>
                </a:cubicBezTo>
                <a:cubicBezTo>
                  <a:pt x="396202" y="766741"/>
                  <a:pt x="404909" y="756946"/>
                  <a:pt x="416881" y="756402"/>
                </a:cubicBezTo>
                <a:close/>
                <a:moveTo>
                  <a:pt x="581766" y="751505"/>
                </a:moveTo>
                <a:cubicBezTo>
                  <a:pt x="598091" y="752594"/>
                  <a:pt x="607887" y="762933"/>
                  <a:pt x="608975" y="779802"/>
                </a:cubicBezTo>
                <a:cubicBezTo>
                  <a:pt x="608975" y="792318"/>
                  <a:pt x="596459" y="808644"/>
                  <a:pt x="580678" y="806467"/>
                </a:cubicBezTo>
                <a:cubicBezTo>
                  <a:pt x="565985" y="808100"/>
                  <a:pt x="553469" y="792318"/>
                  <a:pt x="553469" y="778714"/>
                </a:cubicBezTo>
                <a:cubicBezTo>
                  <a:pt x="553469" y="764021"/>
                  <a:pt x="567618" y="750417"/>
                  <a:pt x="581766" y="751505"/>
                </a:cubicBezTo>
                <a:close/>
                <a:moveTo>
                  <a:pt x="746107" y="746607"/>
                </a:moveTo>
                <a:cubicBezTo>
                  <a:pt x="762432" y="747695"/>
                  <a:pt x="778213" y="765653"/>
                  <a:pt x="777125" y="780346"/>
                </a:cubicBezTo>
                <a:cubicBezTo>
                  <a:pt x="776581" y="795038"/>
                  <a:pt x="762432" y="811908"/>
                  <a:pt x="742842" y="811364"/>
                </a:cubicBezTo>
                <a:cubicBezTo>
                  <a:pt x="725428" y="810276"/>
                  <a:pt x="712368" y="795583"/>
                  <a:pt x="712368" y="778713"/>
                </a:cubicBezTo>
                <a:cubicBezTo>
                  <a:pt x="712368" y="760755"/>
                  <a:pt x="730870" y="745519"/>
                  <a:pt x="746107" y="746607"/>
                </a:cubicBezTo>
                <a:close/>
                <a:moveTo>
                  <a:pt x="907727" y="741710"/>
                </a:moveTo>
                <a:cubicBezTo>
                  <a:pt x="925684" y="741710"/>
                  <a:pt x="944187" y="760756"/>
                  <a:pt x="944187" y="778714"/>
                </a:cubicBezTo>
                <a:cubicBezTo>
                  <a:pt x="944187" y="796672"/>
                  <a:pt x="926229" y="815174"/>
                  <a:pt x="907727" y="815174"/>
                </a:cubicBezTo>
                <a:cubicBezTo>
                  <a:pt x="889225" y="815174"/>
                  <a:pt x="872899" y="798848"/>
                  <a:pt x="872355" y="779258"/>
                </a:cubicBezTo>
                <a:cubicBezTo>
                  <a:pt x="871811" y="759668"/>
                  <a:pt x="888136" y="742254"/>
                  <a:pt x="907727" y="741710"/>
                </a:cubicBezTo>
                <a:close/>
                <a:moveTo>
                  <a:pt x="1070979" y="740621"/>
                </a:moveTo>
                <a:cubicBezTo>
                  <a:pt x="1091114" y="737357"/>
                  <a:pt x="1110704" y="761300"/>
                  <a:pt x="1110160" y="779258"/>
                </a:cubicBezTo>
                <a:cubicBezTo>
                  <a:pt x="1110160" y="798304"/>
                  <a:pt x="1089481" y="817894"/>
                  <a:pt x="1070979" y="817894"/>
                </a:cubicBezTo>
                <a:cubicBezTo>
                  <a:pt x="1049757" y="817894"/>
                  <a:pt x="1031255" y="797216"/>
                  <a:pt x="1031799" y="778714"/>
                </a:cubicBezTo>
                <a:cubicBezTo>
                  <a:pt x="1033431" y="756947"/>
                  <a:pt x="1049212" y="740621"/>
                  <a:pt x="1070979" y="740621"/>
                </a:cubicBezTo>
                <a:close/>
                <a:moveTo>
                  <a:pt x="1233688" y="736268"/>
                </a:moveTo>
                <a:cubicBezTo>
                  <a:pt x="1254367" y="735723"/>
                  <a:pt x="1276134" y="756402"/>
                  <a:pt x="1276134" y="777625"/>
                </a:cubicBezTo>
                <a:cubicBezTo>
                  <a:pt x="1276134" y="801025"/>
                  <a:pt x="1258720" y="819526"/>
                  <a:pt x="1235320" y="820615"/>
                </a:cubicBezTo>
                <a:cubicBezTo>
                  <a:pt x="1211377" y="821159"/>
                  <a:pt x="1193419" y="802657"/>
                  <a:pt x="1192331" y="779258"/>
                </a:cubicBezTo>
                <a:cubicBezTo>
                  <a:pt x="1190698" y="758579"/>
                  <a:pt x="1213009" y="736812"/>
                  <a:pt x="1233688" y="736268"/>
                </a:cubicBezTo>
                <a:close/>
                <a:moveTo>
                  <a:pt x="1397485" y="735724"/>
                </a:moveTo>
                <a:cubicBezTo>
                  <a:pt x="1421973" y="734091"/>
                  <a:pt x="1441564" y="757491"/>
                  <a:pt x="1441019" y="779802"/>
                </a:cubicBezTo>
                <a:cubicBezTo>
                  <a:pt x="1441019" y="803746"/>
                  <a:pt x="1418708" y="823336"/>
                  <a:pt x="1396397" y="823336"/>
                </a:cubicBezTo>
                <a:cubicBezTo>
                  <a:pt x="1374630" y="823336"/>
                  <a:pt x="1352863" y="802113"/>
                  <a:pt x="1352863" y="779258"/>
                </a:cubicBezTo>
                <a:cubicBezTo>
                  <a:pt x="1353407" y="758579"/>
                  <a:pt x="1372453" y="733547"/>
                  <a:pt x="1397485" y="735724"/>
                </a:cubicBezTo>
                <a:close/>
                <a:moveTo>
                  <a:pt x="1562371" y="734636"/>
                </a:moveTo>
                <a:cubicBezTo>
                  <a:pt x="1586314" y="732459"/>
                  <a:pt x="1605905" y="754226"/>
                  <a:pt x="1605905" y="779802"/>
                </a:cubicBezTo>
                <a:cubicBezTo>
                  <a:pt x="1605361" y="805923"/>
                  <a:pt x="1585226" y="823881"/>
                  <a:pt x="1560194" y="823881"/>
                </a:cubicBezTo>
                <a:cubicBezTo>
                  <a:pt x="1535706" y="823881"/>
                  <a:pt x="1515027" y="803202"/>
                  <a:pt x="1515572" y="777626"/>
                </a:cubicBezTo>
                <a:cubicBezTo>
                  <a:pt x="1516116" y="755859"/>
                  <a:pt x="1535162" y="731371"/>
                  <a:pt x="1562371" y="734636"/>
                </a:cubicBezTo>
                <a:close/>
                <a:moveTo>
                  <a:pt x="1724535" y="730827"/>
                </a:moveTo>
                <a:cubicBezTo>
                  <a:pt x="1748478" y="731371"/>
                  <a:pt x="1772422" y="755314"/>
                  <a:pt x="1772422" y="779258"/>
                </a:cubicBezTo>
                <a:cubicBezTo>
                  <a:pt x="1771878" y="804290"/>
                  <a:pt x="1748478" y="826602"/>
                  <a:pt x="1723446" y="826602"/>
                </a:cubicBezTo>
                <a:cubicBezTo>
                  <a:pt x="1696238" y="823881"/>
                  <a:pt x="1677736" y="807011"/>
                  <a:pt x="1676647" y="778714"/>
                </a:cubicBezTo>
                <a:cubicBezTo>
                  <a:pt x="1676103" y="753138"/>
                  <a:pt x="1699503" y="730282"/>
                  <a:pt x="1724535" y="730827"/>
                </a:cubicBezTo>
                <a:close/>
                <a:moveTo>
                  <a:pt x="1886699" y="730826"/>
                </a:moveTo>
                <a:cubicBezTo>
                  <a:pt x="1914452" y="730826"/>
                  <a:pt x="1934587" y="749872"/>
                  <a:pt x="1935131" y="778713"/>
                </a:cubicBezTo>
                <a:cubicBezTo>
                  <a:pt x="1936219" y="804834"/>
                  <a:pt x="1916085" y="826601"/>
                  <a:pt x="1887244" y="827145"/>
                </a:cubicBezTo>
                <a:cubicBezTo>
                  <a:pt x="1860579" y="826601"/>
                  <a:pt x="1838812" y="805922"/>
                  <a:pt x="1838812" y="778713"/>
                </a:cubicBezTo>
                <a:cubicBezTo>
                  <a:pt x="1839356" y="750416"/>
                  <a:pt x="1860035" y="730282"/>
                  <a:pt x="1886699" y="730826"/>
                </a:cubicBezTo>
                <a:close/>
                <a:moveTo>
                  <a:pt x="2050496" y="730282"/>
                </a:moveTo>
                <a:lnTo>
                  <a:pt x="2051041" y="730396"/>
                </a:lnTo>
                <a:lnTo>
                  <a:pt x="2051041" y="826942"/>
                </a:lnTo>
                <a:lnTo>
                  <a:pt x="2049952" y="827145"/>
                </a:lnTo>
                <a:cubicBezTo>
                  <a:pt x="2023832" y="827145"/>
                  <a:pt x="2001521" y="804290"/>
                  <a:pt x="2002065" y="778169"/>
                </a:cubicBezTo>
                <a:cubicBezTo>
                  <a:pt x="2002609" y="751505"/>
                  <a:pt x="2024376" y="730282"/>
                  <a:pt x="2050496" y="730282"/>
                </a:cubicBezTo>
                <a:close/>
                <a:moveTo>
                  <a:pt x="173634" y="685660"/>
                </a:moveTo>
                <a:cubicBezTo>
                  <a:pt x="181253" y="685660"/>
                  <a:pt x="185062" y="690013"/>
                  <a:pt x="184518" y="698176"/>
                </a:cubicBezTo>
                <a:cubicBezTo>
                  <a:pt x="183973" y="705250"/>
                  <a:pt x="180164" y="709059"/>
                  <a:pt x="172546" y="709059"/>
                </a:cubicBezTo>
                <a:cubicBezTo>
                  <a:pt x="164383" y="709059"/>
                  <a:pt x="160574" y="705250"/>
                  <a:pt x="161118" y="697088"/>
                </a:cubicBezTo>
                <a:cubicBezTo>
                  <a:pt x="161662" y="688925"/>
                  <a:pt x="164927" y="685660"/>
                  <a:pt x="173634" y="685660"/>
                </a:cubicBezTo>
                <a:close/>
                <a:moveTo>
                  <a:pt x="335798" y="675320"/>
                </a:moveTo>
                <a:cubicBezTo>
                  <a:pt x="345593" y="675320"/>
                  <a:pt x="357565" y="685115"/>
                  <a:pt x="357565" y="696543"/>
                </a:cubicBezTo>
                <a:cubicBezTo>
                  <a:pt x="357565" y="707426"/>
                  <a:pt x="346682" y="718854"/>
                  <a:pt x="336342" y="718854"/>
                </a:cubicBezTo>
                <a:cubicBezTo>
                  <a:pt x="327091" y="718854"/>
                  <a:pt x="315664" y="707426"/>
                  <a:pt x="315120" y="697631"/>
                </a:cubicBezTo>
                <a:cubicBezTo>
                  <a:pt x="314575" y="687292"/>
                  <a:pt x="325459" y="675864"/>
                  <a:pt x="335798" y="675320"/>
                </a:cubicBezTo>
                <a:close/>
                <a:moveTo>
                  <a:pt x="499051" y="670423"/>
                </a:moveTo>
                <a:cubicBezTo>
                  <a:pt x="512111" y="669335"/>
                  <a:pt x="526804" y="684027"/>
                  <a:pt x="526804" y="697088"/>
                </a:cubicBezTo>
                <a:cubicBezTo>
                  <a:pt x="526804" y="711236"/>
                  <a:pt x="513744" y="724296"/>
                  <a:pt x="499595" y="724296"/>
                </a:cubicBezTo>
                <a:cubicBezTo>
                  <a:pt x="486535" y="724296"/>
                  <a:pt x="472930" y="711236"/>
                  <a:pt x="472930" y="697632"/>
                </a:cubicBezTo>
                <a:cubicBezTo>
                  <a:pt x="472386" y="684027"/>
                  <a:pt x="485446" y="670423"/>
                  <a:pt x="499051" y="670423"/>
                </a:cubicBezTo>
                <a:close/>
                <a:moveTo>
                  <a:pt x="662848" y="665525"/>
                </a:moveTo>
                <a:cubicBezTo>
                  <a:pt x="678629" y="665525"/>
                  <a:pt x="694410" y="681306"/>
                  <a:pt x="694954" y="697087"/>
                </a:cubicBezTo>
                <a:cubicBezTo>
                  <a:pt x="695499" y="712868"/>
                  <a:pt x="679173" y="729194"/>
                  <a:pt x="663392" y="729194"/>
                </a:cubicBezTo>
                <a:cubicBezTo>
                  <a:pt x="647611" y="729194"/>
                  <a:pt x="632374" y="713957"/>
                  <a:pt x="632374" y="698176"/>
                </a:cubicBezTo>
                <a:cubicBezTo>
                  <a:pt x="631286" y="681850"/>
                  <a:pt x="647067" y="665525"/>
                  <a:pt x="662848" y="665525"/>
                </a:cubicBezTo>
                <a:close/>
                <a:moveTo>
                  <a:pt x="825013" y="663349"/>
                </a:moveTo>
                <a:cubicBezTo>
                  <a:pt x="844603" y="662260"/>
                  <a:pt x="861472" y="676953"/>
                  <a:pt x="860384" y="697632"/>
                </a:cubicBezTo>
                <a:cubicBezTo>
                  <a:pt x="861472" y="716134"/>
                  <a:pt x="846780" y="731915"/>
                  <a:pt x="826101" y="731915"/>
                </a:cubicBezTo>
                <a:cubicBezTo>
                  <a:pt x="806511" y="731915"/>
                  <a:pt x="791818" y="719399"/>
                  <a:pt x="791818" y="698176"/>
                </a:cubicBezTo>
                <a:cubicBezTo>
                  <a:pt x="791818" y="676409"/>
                  <a:pt x="805967" y="663893"/>
                  <a:pt x="825013" y="663349"/>
                </a:cubicBezTo>
                <a:close/>
                <a:moveTo>
                  <a:pt x="988809" y="658995"/>
                </a:moveTo>
                <a:cubicBezTo>
                  <a:pt x="1008400" y="657362"/>
                  <a:pt x="1028534" y="679129"/>
                  <a:pt x="1027446" y="697087"/>
                </a:cubicBezTo>
                <a:cubicBezTo>
                  <a:pt x="1026902" y="718310"/>
                  <a:pt x="1010576" y="735723"/>
                  <a:pt x="989353" y="735723"/>
                </a:cubicBezTo>
                <a:cubicBezTo>
                  <a:pt x="968675" y="735723"/>
                  <a:pt x="950717" y="718310"/>
                  <a:pt x="950717" y="697631"/>
                </a:cubicBezTo>
                <a:cubicBezTo>
                  <a:pt x="950717" y="676408"/>
                  <a:pt x="968131" y="660627"/>
                  <a:pt x="988809" y="658995"/>
                </a:cubicBezTo>
                <a:close/>
                <a:moveTo>
                  <a:pt x="1152607" y="655729"/>
                </a:moveTo>
                <a:cubicBezTo>
                  <a:pt x="1173829" y="654097"/>
                  <a:pt x="1194508" y="675864"/>
                  <a:pt x="1195052" y="697087"/>
                </a:cubicBezTo>
                <a:cubicBezTo>
                  <a:pt x="1195596" y="717766"/>
                  <a:pt x="1173829" y="739533"/>
                  <a:pt x="1153151" y="739533"/>
                </a:cubicBezTo>
                <a:cubicBezTo>
                  <a:pt x="1132472" y="740077"/>
                  <a:pt x="1110705" y="718310"/>
                  <a:pt x="1110705" y="697631"/>
                </a:cubicBezTo>
                <a:cubicBezTo>
                  <a:pt x="1112882" y="674231"/>
                  <a:pt x="1127574" y="657362"/>
                  <a:pt x="1152607" y="655729"/>
                </a:cubicBezTo>
                <a:close/>
                <a:moveTo>
                  <a:pt x="1316948" y="653554"/>
                </a:moveTo>
                <a:cubicBezTo>
                  <a:pt x="1340347" y="654098"/>
                  <a:pt x="1359937" y="674777"/>
                  <a:pt x="1359937" y="697632"/>
                </a:cubicBezTo>
                <a:cubicBezTo>
                  <a:pt x="1359937" y="718855"/>
                  <a:pt x="1339803" y="743343"/>
                  <a:pt x="1315315" y="740622"/>
                </a:cubicBezTo>
                <a:cubicBezTo>
                  <a:pt x="1293004" y="742799"/>
                  <a:pt x="1271237" y="718311"/>
                  <a:pt x="1271781" y="696544"/>
                </a:cubicBezTo>
                <a:cubicBezTo>
                  <a:pt x="1271781" y="675321"/>
                  <a:pt x="1292460" y="653010"/>
                  <a:pt x="1316948" y="653554"/>
                </a:cubicBezTo>
                <a:close/>
                <a:moveTo>
                  <a:pt x="1479112" y="651921"/>
                </a:moveTo>
                <a:cubicBezTo>
                  <a:pt x="1506321" y="651377"/>
                  <a:pt x="1524823" y="669335"/>
                  <a:pt x="1524823" y="697088"/>
                </a:cubicBezTo>
                <a:cubicBezTo>
                  <a:pt x="1524823" y="722664"/>
                  <a:pt x="1506865" y="743343"/>
                  <a:pt x="1479112" y="742254"/>
                </a:cubicBezTo>
                <a:cubicBezTo>
                  <a:pt x="1450815" y="743343"/>
                  <a:pt x="1433401" y="721031"/>
                  <a:pt x="1433945" y="697088"/>
                </a:cubicBezTo>
                <a:cubicBezTo>
                  <a:pt x="1434490" y="670423"/>
                  <a:pt x="1451903" y="652465"/>
                  <a:pt x="1479112" y="651921"/>
                </a:cubicBezTo>
                <a:close/>
                <a:moveTo>
                  <a:pt x="1642909" y="649744"/>
                </a:moveTo>
                <a:cubicBezTo>
                  <a:pt x="1671750" y="650288"/>
                  <a:pt x="1690252" y="668790"/>
                  <a:pt x="1690796" y="697087"/>
                </a:cubicBezTo>
                <a:cubicBezTo>
                  <a:pt x="1691340" y="723752"/>
                  <a:pt x="1672294" y="743342"/>
                  <a:pt x="1642909" y="745519"/>
                </a:cubicBezTo>
                <a:cubicBezTo>
                  <a:pt x="1614067" y="743887"/>
                  <a:pt x="1594477" y="725384"/>
                  <a:pt x="1594477" y="697632"/>
                </a:cubicBezTo>
                <a:cubicBezTo>
                  <a:pt x="1594477" y="668790"/>
                  <a:pt x="1614611" y="649200"/>
                  <a:pt x="1642909" y="649744"/>
                </a:cubicBezTo>
                <a:close/>
                <a:moveTo>
                  <a:pt x="1805617" y="648112"/>
                </a:moveTo>
                <a:cubicBezTo>
                  <a:pt x="1829561" y="648112"/>
                  <a:pt x="1857314" y="672055"/>
                  <a:pt x="1854593" y="698176"/>
                </a:cubicBezTo>
                <a:cubicBezTo>
                  <a:pt x="1856770" y="719399"/>
                  <a:pt x="1832826" y="747151"/>
                  <a:pt x="1805073" y="746607"/>
                </a:cubicBezTo>
                <a:cubicBezTo>
                  <a:pt x="1779497" y="746063"/>
                  <a:pt x="1756097" y="721575"/>
                  <a:pt x="1756097" y="697087"/>
                </a:cubicBezTo>
                <a:cubicBezTo>
                  <a:pt x="1756097" y="670423"/>
                  <a:pt x="1782218" y="647567"/>
                  <a:pt x="1805617" y="648112"/>
                </a:cubicBezTo>
                <a:close/>
                <a:moveTo>
                  <a:pt x="1969414" y="647023"/>
                </a:moveTo>
                <a:cubicBezTo>
                  <a:pt x="1992814" y="647023"/>
                  <a:pt x="2020567" y="672055"/>
                  <a:pt x="2018934" y="698176"/>
                </a:cubicBezTo>
                <a:cubicBezTo>
                  <a:pt x="2017302" y="725384"/>
                  <a:pt x="1996623" y="746063"/>
                  <a:pt x="1968326" y="746063"/>
                </a:cubicBezTo>
                <a:cubicBezTo>
                  <a:pt x="1941661" y="748784"/>
                  <a:pt x="1919350" y="721031"/>
                  <a:pt x="1918806" y="697087"/>
                </a:cubicBezTo>
                <a:cubicBezTo>
                  <a:pt x="1918806" y="669878"/>
                  <a:pt x="1945471" y="647023"/>
                  <a:pt x="1969414" y="647023"/>
                </a:cubicBezTo>
                <a:close/>
                <a:moveTo>
                  <a:pt x="90919" y="606754"/>
                </a:moveTo>
                <a:cubicBezTo>
                  <a:pt x="94728" y="608386"/>
                  <a:pt x="99626" y="612195"/>
                  <a:pt x="99626" y="615460"/>
                </a:cubicBezTo>
                <a:cubicBezTo>
                  <a:pt x="100170" y="618181"/>
                  <a:pt x="95816" y="621990"/>
                  <a:pt x="92007" y="627976"/>
                </a:cubicBezTo>
                <a:cubicBezTo>
                  <a:pt x="87654" y="623079"/>
                  <a:pt x="84389" y="619814"/>
                  <a:pt x="82756" y="616005"/>
                </a:cubicBezTo>
                <a:cubicBezTo>
                  <a:pt x="81668" y="613284"/>
                  <a:pt x="88198" y="605665"/>
                  <a:pt x="90919" y="606754"/>
                </a:cubicBezTo>
                <a:close/>
                <a:moveTo>
                  <a:pt x="254172" y="598047"/>
                </a:moveTo>
                <a:cubicBezTo>
                  <a:pt x="265599" y="597503"/>
                  <a:pt x="273218" y="606210"/>
                  <a:pt x="272674" y="614917"/>
                </a:cubicBezTo>
                <a:cubicBezTo>
                  <a:pt x="272674" y="625800"/>
                  <a:pt x="266688" y="632874"/>
                  <a:pt x="255260" y="633419"/>
                </a:cubicBezTo>
                <a:cubicBezTo>
                  <a:pt x="244376" y="633963"/>
                  <a:pt x="237302" y="626889"/>
                  <a:pt x="236758" y="616005"/>
                </a:cubicBezTo>
                <a:cubicBezTo>
                  <a:pt x="236758" y="605122"/>
                  <a:pt x="243832" y="598047"/>
                  <a:pt x="254172" y="598047"/>
                </a:cubicBezTo>
                <a:close/>
                <a:moveTo>
                  <a:pt x="418513" y="590429"/>
                </a:moveTo>
                <a:cubicBezTo>
                  <a:pt x="431029" y="590429"/>
                  <a:pt x="442457" y="601857"/>
                  <a:pt x="443001" y="614917"/>
                </a:cubicBezTo>
                <a:cubicBezTo>
                  <a:pt x="443545" y="627977"/>
                  <a:pt x="432118" y="640493"/>
                  <a:pt x="419058" y="640493"/>
                </a:cubicBezTo>
                <a:cubicBezTo>
                  <a:pt x="404365" y="640493"/>
                  <a:pt x="394570" y="630698"/>
                  <a:pt x="392937" y="616005"/>
                </a:cubicBezTo>
                <a:cubicBezTo>
                  <a:pt x="391849" y="604033"/>
                  <a:pt x="405997" y="590429"/>
                  <a:pt x="418513" y="590429"/>
                </a:cubicBezTo>
                <a:close/>
                <a:moveTo>
                  <a:pt x="581222" y="587163"/>
                </a:moveTo>
                <a:cubicBezTo>
                  <a:pt x="600812" y="588252"/>
                  <a:pt x="610063" y="598047"/>
                  <a:pt x="610063" y="616549"/>
                </a:cubicBezTo>
                <a:cubicBezTo>
                  <a:pt x="610063" y="634507"/>
                  <a:pt x="599179" y="644846"/>
                  <a:pt x="580677" y="645390"/>
                </a:cubicBezTo>
                <a:cubicBezTo>
                  <a:pt x="565440" y="644846"/>
                  <a:pt x="551836" y="634507"/>
                  <a:pt x="551836" y="615461"/>
                </a:cubicBezTo>
                <a:cubicBezTo>
                  <a:pt x="551836" y="594782"/>
                  <a:pt x="567073" y="586075"/>
                  <a:pt x="581222" y="587163"/>
                </a:cubicBezTo>
                <a:close/>
                <a:moveTo>
                  <a:pt x="743930" y="582266"/>
                </a:moveTo>
                <a:cubicBezTo>
                  <a:pt x="761344" y="581178"/>
                  <a:pt x="779301" y="599136"/>
                  <a:pt x="779301" y="616005"/>
                </a:cubicBezTo>
                <a:cubicBezTo>
                  <a:pt x="779301" y="632874"/>
                  <a:pt x="762976" y="649744"/>
                  <a:pt x="745563" y="649744"/>
                </a:cubicBezTo>
                <a:cubicBezTo>
                  <a:pt x="728149" y="649200"/>
                  <a:pt x="710191" y="635595"/>
                  <a:pt x="711824" y="616549"/>
                </a:cubicBezTo>
                <a:cubicBezTo>
                  <a:pt x="711824" y="596415"/>
                  <a:pt x="724340" y="583355"/>
                  <a:pt x="743930" y="582266"/>
                </a:cubicBezTo>
                <a:close/>
                <a:moveTo>
                  <a:pt x="907183" y="577913"/>
                </a:moveTo>
                <a:cubicBezTo>
                  <a:pt x="927318" y="576825"/>
                  <a:pt x="947452" y="598592"/>
                  <a:pt x="945276" y="615461"/>
                </a:cubicBezTo>
                <a:cubicBezTo>
                  <a:pt x="945276" y="635596"/>
                  <a:pt x="927318" y="653554"/>
                  <a:pt x="907727" y="654098"/>
                </a:cubicBezTo>
                <a:cubicBezTo>
                  <a:pt x="890314" y="654642"/>
                  <a:pt x="869091" y="635052"/>
                  <a:pt x="869091" y="616006"/>
                </a:cubicBezTo>
                <a:cubicBezTo>
                  <a:pt x="869635" y="595871"/>
                  <a:pt x="887049" y="578457"/>
                  <a:pt x="907183" y="577913"/>
                </a:cubicBezTo>
                <a:close/>
                <a:moveTo>
                  <a:pt x="1069891" y="574648"/>
                </a:moveTo>
                <a:cubicBezTo>
                  <a:pt x="1092202" y="574648"/>
                  <a:pt x="1111793" y="589885"/>
                  <a:pt x="1111248" y="615461"/>
                </a:cubicBezTo>
                <a:cubicBezTo>
                  <a:pt x="1111793" y="639405"/>
                  <a:pt x="1093835" y="656274"/>
                  <a:pt x="1070435" y="656274"/>
                </a:cubicBezTo>
                <a:cubicBezTo>
                  <a:pt x="1045403" y="656274"/>
                  <a:pt x="1029622" y="635052"/>
                  <a:pt x="1029622" y="614917"/>
                </a:cubicBezTo>
                <a:cubicBezTo>
                  <a:pt x="1030166" y="593150"/>
                  <a:pt x="1046491" y="574648"/>
                  <a:pt x="1069891" y="574648"/>
                </a:cubicBezTo>
                <a:close/>
                <a:moveTo>
                  <a:pt x="1235321" y="572472"/>
                </a:moveTo>
                <a:cubicBezTo>
                  <a:pt x="1256543" y="572472"/>
                  <a:pt x="1279399" y="590973"/>
                  <a:pt x="1277222" y="616550"/>
                </a:cubicBezTo>
                <a:cubicBezTo>
                  <a:pt x="1278855" y="639949"/>
                  <a:pt x="1255455" y="660084"/>
                  <a:pt x="1233688" y="660084"/>
                </a:cubicBezTo>
                <a:cubicBezTo>
                  <a:pt x="1211377" y="660084"/>
                  <a:pt x="1189610" y="637773"/>
                  <a:pt x="1190154" y="614917"/>
                </a:cubicBezTo>
                <a:cubicBezTo>
                  <a:pt x="1190698" y="594783"/>
                  <a:pt x="1209200" y="571927"/>
                  <a:pt x="1235321" y="572472"/>
                </a:cubicBezTo>
                <a:close/>
                <a:moveTo>
                  <a:pt x="1397485" y="569206"/>
                </a:moveTo>
                <a:cubicBezTo>
                  <a:pt x="1423606" y="569750"/>
                  <a:pt x="1443196" y="587708"/>
                  <a:pt x="1443196" y="616005"/>
                </a:cubicBezTo>
                <a:cubicBezTo>
                  <a:pt x="1443196" y="642670"/>
                  <a:pt x="1424150" y="661716"/>
                  <a:pt x="1396941" y="661172"/>
                </a:cubicBezTo>
                <a:cubicBezTo>
                  <a:pt x="1369188" y="661172"/>
                  <a:pt x="1350686" y="638860"/>
                  <a:pt x="1351775" y="614373"/>
                </a:cubicBezTo>
                <a:cubicBezTo>
                  <a:pt x="1352319" y="587164"/>
                  <a:pt x="1371365" y="569206"/>
                  <a:pt x="1397485" y="569206"/>
                </a:cubicBezTo>
                <a:close/>
                <a:moveTo>
                  <a:pt x="1560738" y="567029"/>
                </a:moveTo>
                <a:cubicBezTo>
                  <a:pt x="1586859" y="567029"/>
                  <a:pt x="1608082" y="587708"/>
                  <a:pt x="1609714" y="615461"/>
                </a:cubicBezTo>
                <a:cubicBezTo>
                  <a:pt x="1608082" y="641581"/>
                  <a:pt x="1589580" y="663892"/>
                  <a:pt x="1561283" y="663892"/>
                </a:cubicBezTo>
                <a:cubicBezTo>
                  <a:pt x="1534074" y="663892"/>
                  <a:pt x="1512851" y="642669"/>
                  <a:pt x="1512851" y="616005"/>
                </a:cubicBezTo>
                <a:cubicBezTo>
                  <a:pt x="1512851" y="587163"/>
                  <a:pt x="1535706" y="567029"/>
                  <a:pt x="1560738" y="567029"/>
                </a:cubicBezTo>
                <a:close/>
                <a:moveTo>
                  <a:pt x="1725624" y="565397"/>
                </a:moveTo>
                <a:cubicBezTo>
                  <a:pt x="1747935" y="565941"/>
                  <a:pt x="1775144" y="590429"/>
                  <a:pt x="1774599" y="616005"/>
                </a:cubicBezTo>
                <a:cubicBezTo>
                  <a:pt x="1774055" y="638317"/>
                  <a:pt x="1751744" y="668246"/>
                  <a:pt x="1723447" y="664981"/>
                </a:cubicBezTo>
                <a:cubicBezTo>
                  <a:pt x="1700592" y="667158"/>
                  <a:pt x="1674471" y="643758"/>
                  <a:pt x="1674471" y="615461"/>
                </a:cubicBezTo>
                <a:cubicBezTo>
                  <a:pt x="1674471" y="588797"/>
                  <a:pt x="1700592" y="565397"/>
                  <a:pt x="1725624" y="565397"/>
                </a:cubicBezTo>
                <a:close/>
                <a:moveTo>
                  <a:pt x="1886699" y="564853"/>
                </a:moveTo>
                <a:cubicBezTo>
                  <a:pt x="1914996" y="564309"/>
                  <a:pt x="1938396" y="589341"/>
                  <a:pt x="1938396" y="614917"/>
                </a:cubicBezTo>
                <a:cubicBezTo>
                  <a:pt x="1938396" y="640493"/>
                  <a:pt x="1917717" y="667702"/>
                  <a:pt x="1887787" y="665525"/>
                </a:cubicBezTo>
                <a:cubicBezTo>
                  <a:pt x="1860034" y="667702"/>
                  <a:pt x="1837723" y="644302"/>
                  <a:pt x="1837179" y="615461"/>
                </a:cubicBezTo>
                <a:cubicBezTo>
                  <a:pt x="1837179" y="586620"/>
                  <a:pt x="1861667" y="565397"/>
                  <a:pt x="1886699" y="564853"/>
                </a:cubicBezTo>
                <a:close/>
                <a:moveTo>
                  <a:pt x="2050496" y="564852"/>
                </a:moveTo>
                <a:lnTo>
                  <a:pt x="2051041" y="564962"/>
                </a:lnTo>
                <a:lnTo>
                  <a:pt x="2051041" y="665899"/>
                </a:lnTo>
                <a:lnTo>
                  <a:pt x="2049952" y="666069"/>
                </a:lnTo>
                <a:cubicBezTo>
                  <a:pt x="2018934" y="667157"/>
                  <a:pt x="1999344" y="642669"/>
                  <a:pt x="1999344" y="615460"/>
                </a:cubicBezTo>
                <a:cubicBezTo>
                  <a:pt x="1999344" y="587163"/>
                  <a:pt x="2021655" y="564852"/>
                  <a:pt x="2050496" y="564852"/>
                </a:cubicBezTo>
                <a:close/>
                <a:moveTo>
                  <a:pt x="173090" y="517509"/>
                </a:moveTo>
                <a:cubicBezTo>
                  <a:pt x="181252" y="517509"/>
                  <a:pt x="189415" y="525672"/>
                  <a:pt x="189959" y="533834"/>
                </a:cubicBezTo>
                <a:cubicBezTo>
                  <a:pt x="189959" y="542541"/>
                  <a:pt x="182341" y="550160"/>
                  <a:pt x="173634" y="550160"/>
                </a:cubicBezTo>
                <a:cubicBezTo>
                  <a:pt x="165471" y="550160"/>
                  <a:pt x="157853" y="543085"/>
                  <a:pt x="157308" y="534923"/>
                </a:cubicBezTo>
                <a:cubicBezTo>
                  <a:pt x="156764" y="526216"/>
                  <a:pt x="164383" y="518053"/>
                  <a:pt x="173090" y="517509"/>
                </a:cubicBezTo>
                <a:close/>
                <a:moveTo>
                  <a:pt x="335798" y="511523"/>
                </a:moveTo>
                <a:cubicBezTo>
                  <a:pt x="349947" y="512067"/>
                  <a:pt x="357565" y="519686"/>
                  <a:pt x="358654" y="533834"/>
                </a:cubicBezTo>
                <a:cubicBezTo>
                  <a:pt x="359742" y="547439"/>
                  <a:pt x="348314" y="557778"/>
                  <a:pt x="336343" y="556689"/>
                </a:cubicBezTo>
                <a:cubicBezTo>
                  <a:pt x="324371" y="558322"/>
                  <a:pt x="312943" y="545806"/>
                  <a:pt x="312943" y="534378"/>
                </a:cubicBezTo>
                <a:cubicBezTo>
                  <a:pt x="312943" y="522951"/>
                  <a:pt x="322738" y="510979"/>
                  <a:pt x="335798" y="511523"/>
                </a:cubicBezTo>
                <a:close/>
                <a:moveTo>
                  <a:pt x="500139" y="506626"/>
                </a:moveTo>
                <a:cubicBezTo>
                  <a:pt x="517553" y="507170"/>
                  <a:pt x="527892" y="517509"/>
                  <a:pt x="527348" y="535467"/>
                </a:cubicBezTo>
                <a:cubicBezTo>
                  <a:pt x="526804" y="552880"/>
                  <a:pt x="515920" y="562131"/>
                  <a:pt x="497963" y="561587"/>
                </a:cubicBezTo>
                <a:cubicBezTo>
                  <a:pt x="481093" y="561043"/>
                  <a:pt x="472386" y="550704"/>
                  <a:pt x="471842" y="533290"/>
                </a:cubicBezTo>
                <a:cubicBezTo>
                  <a:pt x="471298" y="516965"/>
                  <a:pt x="485447" y="506081"/>
                  <a:pt x="500139" y="506626"/>
                </a:cubicBezTo>
                <a:close/>
                <a:moveTo>
                  <a:pt x="662304" y="500639"/>
                </a:moveTo>
                <a:cubicBezTo>
                  <a:pt x="677540" y="497919"/>
                  <a:pt x="696587" y="518597"/>
                  <a:pt x="696042" y="533290"/>
                </a:cubicBezTo>
                <a:cubicBezTo>
                  <a:pt x="694954" y="551792"/>
                  <a:pt x="681894" y="565396"/>
                  <a:pt x="663392" y="566485"/>
                </a:cubicBezTo>
                <a:cubicBezTo>
                  <a:pt x="643802" y="567573"/>
                  <a:pt x="629653" y="549615"/>
                  <a:pt x="630197" y="534378"/>
                </a:cubicBezTo>
                <a:cubicBezTo>
                  <a:pt x="630741" y="515876"/>
                  <a:pt x="644346" y="501184"/>
                  <a:pt x="662304" y="500639"/>
                </a:cubicBezTo>
                <a:close/>
                <a:moveTo>
                  <a:pt x="825557" y="496830"/>
                </a:moveTo>
                <a:cubicBezTo>
                  <a:pt x="846780" y="496286"/>
                  <a:pt x="862561" y="513700"/>
                  <a:pt x="863649" y="534923"/>
                </a:cubicBezTo>
                <a:cubicBezTo>
                  <a:pt x="862017" y="556690"/>
                  <a:pt x="845147" y="571927"/>
                  <a:pt x="825557" y="571383"/>
                </a:cubicBezTo>
                <a:cubicBezTo>
                  <a:pt x="805422" y="570838"/>
                  <a:pt x="788553" y="555057"/>
                  <a:pt x="788553" y="534379"/>
                </a:cubicBezTo>
                <a:cubicBezTo>
                  <a:pt x="788553" y="514244"/>
                  <a:pt x="804334" y="497375"/>
                  <a:pt x="825557" y="496830"/>
                </a:cubicBezTo>
                <a:close/>
                <a:moveTo>
                  <a:pt x="989898" y="494110"/>
                </a:moveTo>
                <a:cubicBezTo>
                  <a:pt x="1012209" y="494654"/>
                  <a:pt x="1029622" y="513156"/>
                  <a:pt x="1029078" y="534923"/>
                </a:cubicBezTo>
                <a:cubicBezTo>
                  <a:pt x="1028534" y="556146"/>
                  <a:pt x="1010576" y="574104"/>
                  <a:pt x="989353" y="574104"/>
                </a:cubicBezTo>
                <a:cubicBezTo>
                  <a:pt x="969763" y="574648"/>
                  <a:pt x="947452" y="556690"/>
                  <a:pt x="949629" y="533835"/>
                </a:cubicBezTo>
                <a:cubicBezTo>
                  <a:pt x="947996" y="512068"/>
                  <a:pt x="968675" y="494110"/>
                  <a:pt x="989898" y="494110"/>
                </a:cubicBezTo>
                <a:close/>
                <a:moveTo>
                  <a:pt x="1152062" y="490301"/>
                </a:moveTo>
                <a:cubicBezTo>
                  <a:pt x="1174917" y="490301"/>
                  <a:pt x="1196140" y="509347"/>
                  <a:pt x="1196140" y="533835"/>
                </a:cubicBezTo>
                <a:cubicBezTo>
                  <a:pt x="1197228" y="558867"/>
                  <a:pt x="1173829" y="577913"/>
                  <a:pt x="1152606" y="577369"/>
                </a:cubicBezTo>
                <a:cubicBezTo>
                  <a:pt x="1130839" y="577369"/>
                  <a:pt x="1109616" y="556690"/>
                  <a:pt x="1109072" y="534379"/>
                </a:cubicBezTo>
                <a:cubicBezTo>
                  <a:pt x="1108528" y="510980"/>
                  <a:pt x="1128662" y="490301"/>
                  <a:pt x="1152062" y="490301"/>
                </a:cubicBezTo>
                <a:close/>
                <a:moveTo>
                  <a:pt x="1316947" y="489212"/>
                </a:moveTo>
                <a:cubicBezTo>
                  <a:pt x="1343612" y="489756"/>
                  <a:pt x="1361570" y="510435"/>
                  <a:pt x="1361570" y="534923"/>
                </a:cubicBezTo>
                <a:cubicBezTo>
                  <a:pt x="1361570" y="560499"/>
                  <a:pt x="1341980" y="580090"/>
                  <a:pt x="1315859" y="580090"/>
                </a:cubicBezTo>
                <a:cubicBezTo>
                  <a:pt x="1291915" y="580090"/>
                  <a:pt x="1269060" y="560499"/>
                  <a:pt x="1270693" y="533835"/>
                </a:cubicBezTo>
                <a:cubicBezTo>
                  <a:pt x="1269604" y="508258"/>
                  <a:pt x="1291371" y="488124"/>
                  <a:pt x="1316947" y="489212"/>
                </a:cubicBezTo>
                <a:close/>
                <a:moveTo>
                  <a:pt x="1479112" y="484315"/>
                </a:moveTo>
                <a:cubicBezTo>
                  <a:pt x="1503599" y="484315"/>
                  <a:pt x="1528087" y="508259"/>
                  <a:pt x="1528087" y="533835"/>
                </a:cubicBezTo>
                <a:cubicBezTo>
                  <a:pt x="1528087" y="558867"/>
                  <a:pt x="1506865" y="582267"/>
                  <a:pt x="1479656" y="582267"/>
                </a:cubicBezTo>
                <a:cubicBezTo>
                  <a:pt x="1453535" y="582267"/>
                  <a:pt x="1431224" y="560500"/>
                  <a:pt x="1431224" y="533835"/>
                </a:cubicBezTo>
                <a:cubicBezTo>
                  <a:pt x="1430680" y="506626"/>
                  <a:pt x="1454624" y="485403"/>
                  <a:pt x="1479112" y="484315"/>
                </a:cubicBezTo>
                <a:close/>
                <a:moveTo>
                  <a:pt x="1643452" y="484314"/>
                </a:moveTo>
                <a:cubicBezTo>
                  <a:pt x="1667396" y="481049"/>
                  <a:pt x="1693517" y="509891"/>
                  <a:pt x="1692973" y="534923"/>
                </a:cubicBezTo>
                <a:cubicBezTo>
                  <a:pt x="1692428" y="558867"/>
                  <a:pt x="1669573" y="584987"/>
                  <a:pt x="1641276" y="583898"/>
                </a:cubicBezTo>
                <a:cubicBezTo>
                  <a:pt x="1616788" y="583354"/>
                  <a:pt x="1592300" y="562676"/>
                  <a:pt x="1592300" y="532202"/>
                </a:cubicBezTo>
                <a:cubicBezTo>
                  <a:pt x="1592300" y="509891"/>
                  <a:pt x="1615155" y="481049"/>
                  <a:pt x="1643452" y="484314"/>
                </a:cubicBezTo>
                <a:close/>
                <a:moveTo>
                  <a:pt x="1806162" y="481594"/>
                </a:moveTo>
                <a:cubicBezTo>
                  <a:pt x="1839901" y="484859"/>
                  <a:pt x="1858947" y="504993"/>
                  <a:pt x="1857858" y="536011"/>
                </a:cubicBezTo>
                <a:cubicBezTo>
                  <a:pt x="1855682" y="568662"/>
                  <a:pt x="1834459" y="584987"/>
                  <a:pt x="1803441" y="586075"/>
                </a:cubicBezTo>
                <a:cubicBezTo>
                  <a:pt x="1775144" y="584443"/>
                  <a:pt x="1751744" y="559955"/>
                  <a:pt x="1753377" y="533290"/>
                </a:cubicBezTo>
                <a:cubicBezTo>
                  <a:pt x="1755009" y="504993"/>
                  <a:pt x="1780041" y="479417"/>
                  <a:pt x="1806162" y="481594"/>
                </a:cubicBezTo>
                <a:close/>
                <a:moveTo>
                  <a:pt x="1968326" y="480505"/>
                </a:moveTo>
                <a:cubicBezTo>
                  <a:pt x="1998256" y="483226"/>
                  <a:pt x="2020023" y="501728"/>
                  <a:pt x="2022200" y="534379"/>
                </a:cubicBezTo>
                <a:cubicBezTo>
                  <a:pt x="2023832" y="560499"/>
                  <a:pt x="1996079" y="588252"/>
                  <a:pt x="1969415" y="588252"/>
                </a:cubicBezTo>
                <a:cubicBezTo>
                  <a:pt x="1943294" y="588796"/>
                  <a:pt x="1916085" y="561587"/>
                  <a:pt x="1915541" y="534923"/>
                </a:cubicBezTo>
                <a:cubicBezTo>
                  <a:pt x="1914453" y="508258"/>
                  <a:pt x="1941117" y="480505"/>
                  <a:pt x="1968326" y="480505"/>
                </a:cubicBezTo>
                <a:close/>
                <a:moveTo>
                  <a:pt x="91464" y="440780"/>
                </a:moveTo>
                <a:cubicBezTo>
                  <a:pt x="99082" y="440780"/>
                  <a:pt x="102347" y="443501"/>
                  <a:pt x="102891" y="451664"/>
                </a:cubicBezTo>
                <a:cubicBezTo>
                  <a:pt x="102891" y="460915"/>
                  <a:pt x="100171" y="464179"/>
                  <a:pt x="92008" y="464179"/>
                </a:cubicBezTo>
                <a:cubicBezTo>
                  <a:pt x="83301" y="464179"/>
                  <a:pt x="80036" y="461459"/>
                  <a:pt x="80036" y="452752"/>
                </a:cubicBezTo>
                <a:cubicBezTo>
                  <a:pt x="80036" y="444045"/>
                  <a:pt x="83301" y="440780"/>
                  <a:pt x="91464" y="440780"/>
                </a:cubicBezTo>
                <a:close/>
                <a:moveTo>
                  <a:pt x="254172" y="430441"/>
                </a:moveTo>
                <a:cubicBezTo>
                  <a:pt x="263967" y="430441"/>
                  <a:pt x="276483" y="440236"/>
                  <a:pt x="275939" y="452208"/>
                </a:cubicBezTo>
                <a:cubicBezTo>
                  <a:pt x="275939" y="463092"/>
                  <a:pt x="265600" y="473975"/>
                  <a:pt x="254716" y="473975"/>
                </a:cubicBezTo>
                <a:cubicBezTo>
                  <a:pt x="244377" y="473975"/>
                  <a:pt x="232949" y="463092"/>
                  <a:pt x="232405" y="452752"/>
                </a:cubicBezTo>
                <a:cubicBezTo>
                  <a:pt x="232405" y="442413"/>
                  <a:pt x="243833" y="430985"/>
                  <a:pt x="254172" y="430441"/>
                </a:cubicBezTo>
                <a:close/>
                <a:moveTo>
                  <a:pt x="417969" y="424999"/>
                </a:moveTo>
                <a:cubicBezTo>
                  <a:pt x="432118" y="424999"/>
                  <a:pt x="444634" y="438059"/>
                  <a:pt x="444634" y="452752"/>
                </a:cubicBezTo>
                <a:cubicBezTo>
                  <a:pt x="445178" y="464180"/>
                  <a:pt x="432662" y="481049"/>
                  <a:pt x="417425" y="479417"/>
                </a:cubicBezTo>
                <a:cubicBezTo>
                  <a:pt x="405453" y="481049"/>
                  <a:pt x="389672" y="465268"/>
                  <a:pt x="390760" y="452208"/>
                </a:cubicBezTo>
                <a:cubicBezTo>
                  <a:pt x="391849" y="437515"/>
                  <a:pt x="403276" y="424999"/>
                  <a:pt x="417969" y="424999"/>
                </a:cubicBezTo>
                <a:close/>
                <a:moveTo>
                  <a:pt x="580677" y="419558"/>
                </a:moveTo>
                <a:cubicBezTo>
                  <a:pt x="596458" y="419013"/>
                  <a:pt x="612783" y="434795"/>
                  <a:pt x="612783" y="452208"/>
                </a:cubicBezTo>
                <a:cubicBezTo>
                  <a:pt x="612783" y="469622"/>
                  <a:pt x="599723" y="483226"/>
                  <a:pt x="581221" y="484315"/>
                </a:cubicBezTo>
                <a:cubicBezTo>
                  <a:pt x="561087" y="482138"/>
                  <a:pt x="549659" y="470710"/>
                  <a:pt x="549115" y="452208"/>
                </a:cubicBezTo>
                <a:cubicBezTo>
                  <a:pt x="548571" y="433162"/>
                  <a:pt x="564352" y="420102"/>
                  <a:pt x="580677" y="419558"/>
                </a:cubicBezTo>
                <a:close/>
                <a:moveTo>
                  <a:pt x="743931" y="415748"/>
                </a:moveTo>
                <a:cubicBezTo>
                  <a:pt x="761888" y="414660"/>
                  <a:pt x="779846" y="432618"/>
                  <a:pt x="780390" y="452208"/>
                </a:cubicBezTo>
                <a:cubicBezTo>
                  <a:pt x="780934" y="471254"/>
                  <a:pt x="764065" y="488668"/>
                  <a:pt x="744475" y="489212"/>
                </a:cubicBezTo>
                <a:cubicBezTo>
                  <a:pt x="727061" y="489212"/>
                  <a:pt x="709103" y="472342"/>
                  <a:pt x="708559" y="453840"/>
                </a:cubicBezTo>
                <a:cubicBezTo>
                  <a:pt x="707471" y="435883"/>
                  <a:pt x="725428" y="416836"/>
                  <a:pt x="743931" y="415748"/>
                </a:cubicBezTo>
                <a:close/>
                <a:moveTo>
                  <a:pt x="908271" y="414116"/>
                </a:moveTo>
                <a:cubicBezTo>
                  <a:pt x="927861" y="411395"/>
                  <a:pt x="946907" y="431529"/>
                  <a:pt x="946363" y="453296"/>
                </a:cubicBezTo>
                <a:cubicBezTo>
                  <a:pt x="946363" y="473975"/>
                  <a:pt x="927317" y="491933"/>
                  <a:pt x="906638" y="491933"/>
                </a:cubicBezTo>
                <a:cubicBezTo>
                  <a:pt x="887048" y="491933"/>
                  <a:pt x="866913" y="473431"/>
                  <a:pt x="868546" y="452208"/>
                </a:cubicBezTo>
                <a:cubicBezTo>
                  <a:pt x="870179" y="428808"/>
                  <a:pt x="884871" y="413571"/>
                  <a:pt x="908271" y="414116"/>
                </a:cubicBezTo>
                <a:close/>
                <a:moveTo>
                  <a:pt x="1072068" y="409218"/>
                </a:moveTo>
                <a:cubicBezTo>
                  <a:pt x="1097100" y="410307"/>
                  <a:pt x="1113970" y="427720"/>
                  <a:pt x="1113970" y="452752"/>
                </a:cubicBezTo>
                <a:cubicBezTo>
                  <a:pt x="1113970" y="478329"/>
                  <a:pt x="1092203" y="495198"/>
                  <a:pt x="1070436" y="495198"/>
                </a:cubicBezTo>
                <a:cubicBezTo>
                  <a:pt x="1048124" y="494654"/>
                  <a:pt x="1027446" y="475063"/>
                  <a:pt x="1028534" y="451120"/>
                </a:cubicBezTo>
                <a:cubicBezTo>
                  <a:pt x="1029622" y="427720"/>
                  <a:pt x="1048669" y="408130"/>
                  <a:pt x="1072068" y="409218"/>
                </a:cubicBezTo>
                <a:close/>
                <a:moveTo>
                  <a:pt x="1235865" y="408130"/>
                </a:moveTo>
                <a:cubicBezTo>
                  <a:pt x="1258721" y="405953"/>
                  <a:pt x="1279400" y="427176"/>
                  <a:pt x="1279400" y="453296"/>
                </a:cubicBezTo>
                <a:cubicBezTo>
                  <a:pt x="1278855" y="478328"/>
                  <a:pt x="1258177" y="497374"/>
                  <a:pt x="1233689" y="497374"/>
                </a:cubicBezTo>
                <a:cubicBezTo>
                  <a:pt x="1209745" y="496830"/>
                  <a:pt x="1189066" y="476151"/>
                  <a:pt x="1189611" y="451664"/>
                </a:cubicBezTo>
                <a:cubicBezTo>
                  <a:pt x="1189611" y="429352"/>
                  <a:pt x="1209201" y="404864"/>
                  <a:pt x="1235865" y="408130"/>
                </a:cubicBezTo>
                <a:close/>
                <a:moveTo>
                  <a:pt x="1396941" y="403776"/>
                </a:moveTo>
                <a:cubicBezTo>
                  <a:pt x="1425238" y="403232"/>
                  <a:pt x="1445373" y="423911"/>
                  <a:pt x="1446461" y="450575"/>
                </a:cubicBezTo>
                <a:cubicBezTo>
                  <a:pt x="1447005" y="476696"/>
                  <a:pt x="1426327" y="500096"/>
                  <a:pt x="1399118" y="500640"/>
                </a:cubicBezTo>
                <a:cubicBezTo>
                  <a:pt x="1372453" y="501184"/>
                  <a:pt x="1349598" y="479961"/>
                  <a:pt x="1349598" y="453296"/>
                </a:cubicBezTo>
                <a:cubicBezTo>
                  <a:pt x="1349598" y="424999"/>
                  <a:pt x="1370277" y="404865"/>
                  <a:pt x="1396941" y="403776"/>
                </a:cubicBezTo>
                <a:close/>
                <a:moveTo>
                  <a:pt x="1560738" y="402144"/>
                </a:moveTo>
                <a:cubicBezTo>
                  <a:pt x="1588491" y="402144"/>
                  <a:pt x="1611347" y="427176"/>
                  <a:pt x="1611347" y="453297"/>
                </a:cubicBezTo>
                <a:cubicBezTo>
                  <a:pt x="1610803" y="476152"/>
                  <a:pt x="1590668" y="502817"/>
                  <a:pt x="1560194" y="502272"/>
                </a:cubicBezTo>
                <a:cubicBezTo>
                  <a:pt x="1534074" y="501728"/>
                  <a:pt x="1508498" y="479961"/>
                  <a:pt x="1511218" y="451664"/>
                </a:cubicBezTo>
                <a:cubicBezTo>
                  <a:pt x="1508498" y="425544"/>
                  <a:pt x="1534618" y="402144"/>
                  <a:pt x="1560738" y="402144"/>
                </a:cubicBezTo>
                <a:close/>
                <a:moveTo>
                  <a:pt x="1723991" y="399423"/>
                </a:moveTo>
                <a:cubicBezTo>
                  <a:pt x="1756097" y="402688"/>
                  <a:pt x="1777320" y="422278"/>
                  <a:pt x="1776776" y="452752"/>
                </a:cubicBezTo>
                <a:cubicBezTo>
                  <a:pt x="1776232" y="483226"/>
                  <a:pt x="1757730" y="501728"/>
                  <a:pt x="1725079" y="504993"/>
                </a:cubicBezTo>
                <a:cubicBezTo>
                  <a:pt x="1697870" y="507714"/>
                  <a:pt x="1670117" y="479961"/>
                  <a:pt x="1671750" y="452752"/>
                </a:cubicBezTo>
                <a:cubicBezTo>
                  <a:pt x="1673382" y="420102"/>
                  <a:pt x="1692428" y="403232"/>
                  <a:pt x="1723991" y="399423"/>
                </a:cubicBezTo>
                <a:close/>
                <a:moveTo>
                  <a:pt x="2051040" y="398335"/>
                </a:moveTo>
                <a:lnTo>
                  <a:pt x="2051041" y="398335"/>
                </a:lnTo>
                <a:lnTo>
                  <a:pt x="2051041" y="506936"/>
                </a:lnTo>
                <a:lnTo>
                  <a:pt x="2049952" y="507170"/>
                </a:lnTo>
                <a:cubicBezTo>
                  <a:pt x="2020566" y="506626"/>
                  <a:pt x="1995534" y="481593"/>
                  <a:pt x="1995534" y="452208"/>
                </a:cubicBezTo>
                <a:cubicBezTo>
                  <a:pt x="1996078" y="424455"/>
                  <a:pt x="2021655" y="397246"/>
                  <a:pt x="2051040" y="398335"/>
                </a:cubicBezTo>
                <a:close/>
                <a:moveTo>
                  <a:pt x="1888332" y="398335"/>
                </a:moveTo>
                <a:cubicBezTo>
                  <a:pt x="1915541" y="398879"/>
                  <a:pt x="1941661" y="423911"/>
                  <a:pt x="1941661" y="452208"/>
                </a:cubicBezTo>
                <a:cubicBezTo>
                  <a:pt x="1941661" y="481594"/>
                  <a:pt x="1916085" y="507170"/>
                  <a:pt x="1886699" y="506082"/>
                </a:cubicBezTo>
                <a:cubicBezTo>
                  <a:pt x="1857314" y="505538"/>
                  <a:pt x="1833914" y="481594"/>
                  <a:pt x="1833370" y="452208"/>
                </a:cubicBezTo>
                <a:cubicBezTo>
                  <a:pt x="1833370" y="423911"/>
                  <a:pt x="1860035" y="398335"/>
                  <a:pt x="1888332" y="398335"/>
                </a:cubicBezTo>
                <a:close/>
                <a:moveTo>
                  <a:pt x="12014" y="364052"/>
                </a:moveTo>
                <a:cubicBezTo>
                  <a:pt x="13102" y="365140"/>
                  <a:pt x="15279" y="367317"/>
                  <a:pt x="15823" y="370038"/>
                </a:cubicBezTo>
                <a:cubicBezTo>
                  <a:pt x="16911" y="374391"/>
                  <a:pt x="14191" y="377656"/>
                  <a:pt x="9293" y="377656"/>
                </a:cubicBezTo>
                <a:cubicBezTo>
                  <a:pt x="4940" y="377656"/>
                  <a:pt x="3307" y="374936"/>
                  <a:pt x="3307" y="371126"/>
                </a:cubicBezTo>
                <a:cubicBezTo>
                  <a:pt x="3307" y="367317"/>
                  <a:pt x="4940" y="364052"/>
                  <a:pt x="12014" y="364052"/>
                </a:cubicBezTo>
                <a:close/>
                <a:moveTo>
                  <a:pt x="172545" y="353713"/>
                </a:moveTo>
                <a:cubicBezTo>
                  <a:pt x="184517" y="353713"/>
                  <a:pt x="190503" y="359154"/>
                  <a:pt x="190503" y="370582"/>
                </a:cubicBezTo>
                <a:cubicBezTo>
                  <a:pt x="190503" y="381466"/>
                  <a:pt x="184517" y="387996"/>
                  <a:pt x="173090" y="387996"/>
                </a:cubicBezTo>
                <a:cubicBezTo>
                  <a:pt x="163839" y="388540"/>
                  <a:pt x="155676" y="381466"/>
                  <a:pt x="155676" y="371126"/>
                </a:cubicBezTo>
                <a:cubicBezTo>
                  <a:pt x="155676" y="362419"/>
                  <a:pt x="161662" y="352080"/>
                  <a:pt x="172545" y="353713"/>
                </a:cubicBezTo>
                <a:close/>
                <a:moveTo>
                  <a:pt x="336886" y="345550"/>
                </a:moveTo>
                <a:cubicBezTo>
                  <a:pt x="350490" y="346094"/>
                  <a:pt x="362462" y="358610"/>
                  <a:pt x="361374" y="371670"/>
                </a:cubicBezTo>
                <a:cubicBezTo>
                  <a:pt x="360286" y="385275"/>
                  <a:pt x="348858" y="395614"/>
                  <a:pt x="335798" y="395070"/>
                </a:cubicBezTo>
                <a:cubicBezTo>
                  <a:pt x="319472" y="394526"/>
                  <a:pt x="311854" y="381466"/>
                  <a:pt x="311854" y="370038"/>
                </a:cubicBezTo>
                <a:cubicBezTo>
                  <a:pt x="311854" y="356978"/>
                  <a:pt x="324370" y="345550"/>
                  <a:pt x="336886" y="345550"/>
                </a:cubicBezTo>
                <a:close/>
                <a:moveTo>
                  <a:pt x="499596" y="342284"/>
                </a:moveTo>
                <a:cubicBezTo>
                  <a:pt x="518642" y="341196"/>
                  <a:pt x="528437" y="354256"/>
                  <a:pt x="528437" y="370582"/>
                </a:cubicBezTo>
                <a:cubicBezTo>
                  <a:pt x="528437" y="386363"/>
                  <a:pt x="518642" y="399967"/>
                  <a:pt x="499051" y="399423"/>
                </a:cubicBezTo>
                <a:cubicBezTo>
                  <a:pt x="481094" y="399423"/>
                  <a:pt x="470210" y="387995"/>
                  <a:pt x="470210" y="370037"/>
                </a:cubicBezTo>
                <a:cubicBezTo>
                  <a:pt x="470754" y="352624"/>
                  <a:pt x="481638" y="341740"/>
                  <a:pt x="499596" y="342284"/>
                </a:cubicBezTo>
                <a:close/>
                <a:moveTo>
                  <a:pt x="663392" y="337387"/>
                </a:moveTo>
                <a:cubicBezTo>
                  <a:pt x="680262" y="337387"/>
                  <a:pt x="697675" y="354801"/>
                  <a:pt x="697131" y="371126"/>
                </a:cubicBezTo>
                <a:cubicBezTo>
                  <a:pt x="696043" y="390172"/>
                  <a:pt x="682982" y="404321"/>
                  <a:pt x="662304" y="404321"/>
                </a:cubicBezTo>
                <a:cubicBezTo>
                  <a:pt x="643258" y="405953"/>
                  <a:pt x="629109" y="389084"/>
                  <a:pt x="629109" y="371126"/>
                </a:cubicBezTo>
                <a:cubicBezTo>
                  <a:pt x="629109" y="352624"/>
                  <a:pt x="645434" y="337387"/>
                  <a:pt x="663392" y="337387"/>
                </a:cubicBezTo>
                <a:close/>
                <a:moveTo>
                  <a:pt x="825556" y="332489"/>
                </a:moveTo>
                <a:cubicBezTo>
                  <a:pt x="847323" y="333577"/>
                  <a:pt x="864193" y="349358"/>
                  <a:pt x="864737" y="370037"/>
                </a:cubicBezTo>
                <a:cubicBezTo>
                  <a:pt x="864193" y="391260"/>
                  <a:pt x="847323" y="409218"/>
                  <a:pt x="826645" y="409218"/>
                </a:cubicBezTo>
                <a:cubicBezTo>
                  <a:pt x="808687" y="412483"/>
                  <a:pt x="788008" y="387995"/>
                  <a:pt x="787464" y="371126"/>
                </a:cubicBezTo>
                <a:cubicBezTo>
                  <a:pt x="787464" y="353712"/>
                  <a:pt x="808687" y="331945"/>
                  <a:pt x="825556" y="332489"/>
                </a:cubicBezTo>
                <a:close/>
                <a:moveTo>
                  <a:pt x="989898" y="328680"/>
                </a:moveTo>
                <a:cubicBezTo>
                  <a:pt x="1013297" y="329224"/>
                  <a:pt x="1030167" y="347182"/>
                  <a:pt x="1031255" y="371126"/>
                </a:cubicBezTo>
                <a:cubicBezTo>
                  <a:pt x="1029623" y="396702"/>
                  <a:pt x="1010576" y="413027"/>
                  <a:pt x="989354" y="413027"/>
                </a:cubicBezTo>
                <a:cubicBezTo>
                  <a:pt x="964866" y="412483"/>
                  <a:pt x="946908" y="393981"/>
                  <a:pt x="947452" y="370037"/>
                </a:cubicBezTo>
                <a:cubicBezTo>
                  <a:pt x="947996" y="346094"/>
                  <a:pt x="964866" y="328680"/>
                  <a:pt x="989898" y="328680"/>
                </a:cubicBezTo>
                <a:close/>
                <a:moveTo>
                  <a:pt x="1153150" y="326504"/>
                </a:moveTo>
                <a:cubicBezTo>
                  <a:pt x="1177094" y="326504"/>
                  <a:pt x="1197228" y="347727"/>
                  <a:pt x="1197228" y="370582"/>
                </a:cubicBezTo>
                <a:cubicBezTo>
                  <a:pt x="1197228" y="392894"/>
                  <a:pt x="1176550" y="417925"/>
                  <a:pt x="1152606" y="414661"/>
                </a:cubicBezTo>
                <a:cubicBezTo>
                  <a:pt x="1130295" y="417925"/>
                  <a:pt x="1107984" y="393982"/>
                  <a:pt x="1108528" y="370038"/>
                </a:cubicBezTo>
                <a:cubicBezTo>
                  <a:pt x="1109072" y="347727"/>
                  <a:pt x="1129751" y="326504"/>
                  <a:pt x="1153150" y="326504"/>
                </a:cubicBezTo>
                <a:close/>
                <a:moveTo>
                  <a:pt x="1317492" y="323239"/>
                </a:moveTo>
                <a:cubicBezTo>
                  <a:pt x="1341979" y="322151"/>
                  <a:pt x="1367012" y="348271"/>
                  <a:pt x="1364835" y="372215"/>
                </a:cubicBezTo>
                <a:cubicBezTo>
                  <a:pt x="1361026" y="399968"/>
                  <a:pt x="1344700" y="416837"/>
                  <a:pt x="1314771" y="419014"/>
                </a:cubicBezTo>
                <a:cubicBezTo>
                  <a:pt x="1286474" y="415205"/>
                  <a:pt x="1267972" y="398879"/>
                  <a:pt x="1268516" y="370582"/>
                </a:cubicBezTo>
                <a:cubicBezTo>
                  <a:pt x="1268516" y="341197"/>
                  <a:pt x="1288650" y="324327"/>
                  <a:pt x="1317492" y="323239"/>
                </a:cubicBezTo>
                <a:close/>
                <a:moveTo>
                  <a:pt x="1479112" y="320517"/>
                </a:moveTo>
                <a:cubicBezTo>
                  <a:pt x="1503600" y="319973"/>
                  <a:pt x="1530265" y="343917"/>
                  <a:pt x="1529720" y="371670"/>
                </a:cubicBezTo>
                <a:cubicBezTo>
                  <a:pt x="1528632" y="395069"/>
                  <a:pt x="1506321" y="423366"/>
                  <a:pt x="1478568" y="420101"/>
                </a:cubicBezTo>
                <a:cubicBezTo>
                  <a:pt x="1452447" y="422822"/>
                  <a:pt x="1429592" y="397246"/>
                  <a:pt x="1429592" y="370037"/>
                </a:cubicBezTo>
                <a:cubicBezTo>
                  <a:pt x="1429592" y="342284"/>
                  <a:pt x="1455713" y="320517"/>
                  <a:pt x="1479112" y="320517"/>
                </a:cubicBezTo>
                <a:close/>
                <a:moveTo>
                  <a:pt x="1642364" y="318341"/>
                </a:moveTo>
                <a:cubicBezTo>
                  <a:pt x="1670661" y="318341"/>
                  <a:pt x="1692973" y="339020"/>
                  <a:pt x="1695694" y="370582"/>
                </a:cubicBezTo>
                <a:cubicBezTo>
                  <a:pt x="1696238" y="397791"/>
                  <a:pt x="1671206" y="423367"/>
                  <a:pt x="1643453" y="424455"/>
                </a:cubicBezTo>
                <a:cubicBezTo>
                  <a:pt x="1616788" y="425544"/>
                  <a:pt x="1589035" y="398335"/>
                  <a:pt x="1589035" y="371670"/>
                </a:cubicBezTo>
                <a:cubicBezTo>
                  <a:pt x="1589035" y="345006"/>
                  <a:pt x="1615155" y="317797"/>
                  <a:pt x="1642364" y="318341"/>
                </a:cubicBezTo>
                <a:close/>
                <a:moveTo>
                  <a:pt x="90919" y="273718"/>
                </a:moveTo>
                <a:cubicBezTo>
                  <a:pt x="96361" y="273174"/>
                  <a:pt x="106156" y="282425"/>
                  <a:pt x="106700" y="288411"/>
                </a:cubicBezTo>
                <a:cubicBezTo>
                  <a:pt x="106700" y="294941"/>
                  <a:pt x="97993" y="303648"/>
                  <a:pt x="91463" y="303648"/>
                </a:cubicBezTo>
                <a:cubicBezTo>
                  <a:pt x="84933" y="303648"/>
                  <a:pt x="76226" y="294941"/>
                  <a:pt x="76770" y="288411"/>
                </a:cubicBezTo>
                <a:cubicBezTo>
                  <a:pt x="76770" y="283513"/>
                  <a:pt x="86021" y="274262"/>
                  <a:pt x="90919" y="273718"/>
                </a:cubicBezTo>
                <a:close/>
                <a:moveTo>
                  <a:pt x="254716" y="267733"/>
                </a:moveTo>
                <a:cubicBezTo>
                  <a:pt x="267776" y="267733"/>
                  <a:pt x="276483" y="276440"/>
                  <a:pt x="276483" y="288956"/>
                </a:cubicBezTo>
                <a:cubicBezTo>
                  <a:pt x="276483" y="301472"/>
                  <a:pt x="266688" y="311811"/>
                  <a:pt x="254172" y="311811"/>
                </a:cubicBezTo>
                <a:cubicBezTo>
                  <a:pt x="243289" y="311811"/>
                  <a:pt x="232405" y="300384"/>
                  <a:pt x="232405" y="289500"/>
                </a:cubicBezTo>
                <a:cubicBezTo>
                  <a:pt x="232405" y="276984"/>
                  <a:pt x="242744" y="267733"/>
                  <a:pt x="254716" y="267733"/>
                </a:cubicBezTo>
                <a:close/>
                <a:moveTo>
                  <a:pt x="1941117" y="263202"/>
                </a:moveTo>
                <a:cubicBezTo>
                  <a:pt x="1937852" y="261570"/>
                  <a:pt x="1936219" y="263202"/>
                  <a:pt x="1936219" y="266467"/>
                </a:cubicBezTo>
                <a:cubicBezTo>
                  <a:pt x="1936763" y="268644"/>
                  <a:pt x="1937852" y="270276"/>
                  <a:pt x="1938396" y="272453"/>
                </a:cubicBezTo>
                <a:cubicBezTo>
                  <a:pt x="1944382" y="290955"/>
                  <a:pt x="1943838" y="308913"/>
                  <a:pt x="1932954" y="325782"/>
                </a:cubicBezTo>
                <a:cubicBezTo>
                  <a:pt x="1931866" y="327415"/>
                  <a:pt x="1931866" y="329047"/>
                  <a:pt x="1930777" y="331224"/>
                </a:cubicBezTo>
                <a:cubicBezTo>
                  <a:pt x="1932410" y="331224"/>
                  <a:pt x="1935131" y="331224"/>
                  <a:pt x="1936219" y="330136"/>
                </a:cubicBezTo>
                <a:cubicBezTo>
                  <a:pt x="1945470" y="323061"/>
                  <a:pt x="1955265" y="320885"/>
                  <a:pt x="1966693" y="320340"/>
                </a:cubicBezTo>
                <a:cubicBezTo>
                  <a:pt x="1978121" y="319796"/>
                  <a:pt x="1989004" y="323061"/>
                  <a:pt x="1998799" y="328503"/>
                </a:cubicBezTo>
                <a:cubicBezTo>
                  <a:pt x="2000432" y="329047"/>
                  <a:pt x="2001520" y="329592"/>
                  <a:pt x="2003153" y="330136"/>
                </a:cubicBezTo>
                <a:cubicBezTo>
                  <a:pt x="2002609" y="328503"/>
                  <a:pt x="2002609" y="326326"/>
                  <a:pt x="2001520" y="324694"/>
                </a:cubicBezTo>
                <a:cubicBezTo>
                  <a:pt x="1999344" y="319796"/>
                  <a:pt x="1995534" y="314899"/>
                  <a:pt x="1994446" y="309457"/>
                </a:cubicBezTo>
                <a:cubicBezTo>
                  <a:pt x="1992269" y="295308"/>
                  <a:pt x="1990093" y="281160"/>
                  <a:pt x="1998255" y="267555"/>
                </a:cubicBezTo>
                <a:cubicBezTo>
                  <a:pt x="2000432" y="267555"/>
                  <a:pt x="2000432" y="265923"/>
                  <a:pt x="2000976" y="263746"/>
                </a:cubicBezTo>
                <a:cubicBezTo>
                  <a:pt x="1998799" y="263746"/>
                  <a:pt x="1996623" y="262658"/>
                  <a:pt x="1995534" y="263746"/>
                </a:cubicBezTo>
                <a:cubicBezTo>
                  <a:pt x="1977577" y="272997"/>
                  <a:pt x="1959075" y="272997"/>
                  <a:pt x="1941117" y="263202"/>
                </a:cubicBezTo>
                <a:close/>
                <a:moveTo>
                  <a:pt x="417425" y="262291"/>
                </a:moveTo>
                <a:cubicBezTo>
                  <a:pt x="434839" y="262291"/>
                  <a:pt x="445178" y="272086"/>
                  <a:pt x="445178" y="288956"/>
                </a:cubicBezTo>
                <a:cubicBezTo>
                  <a:pt x="445178" y="305825"/>
                  <a:pt x="434839" y="316164"/>
                  <a:pt x="417969" y="317253"/>
                </a:cubicBezTo>
                <a:cubicBezTo>
                  <a:pt x="404909" y="317797"/>
                  <a:pt x="389672" y="306369"/>
                  <a:pt x="390216" y="290044"/>
                </a:cubicBezTo>
                <a:cubicBezTo>
                  <a:pt x="391305" y="272086"/>
                  <a:pt x="400011" y="262291"/>
                  <a:pt x="417425" y="262291"/>
                </a:cubicBezTo>
                <a:close/>
                <a:moveTo>
                  <a:pt x="580678" y="256304"/>
                </a:moveTo>
                <a:cubicBezTo>
                  <a:pt x="596459" y="255760"/>
                  <a:pt x="616049" y="273174"/>
                  <a:pt x="613872" y="288955"/>
                </a:cubicBezTo>
                <a:cubicBezTo>
                  <a:pt x="615505" y="304736"/>
                  <a:pt x="598635" y="322150"/>
                  <a:pt x="581222" y="322150"/>
                </a:cubicBezTo>
                <a:cubicBezTo>
                  <a:pt x="564352" y="322150"/>
                  <a:pt x="548571" y="308001"/>
                  <a:pt x="548027" y="289499"/>
                </a:cubicBezTo>
                <a:cubicBezTo>
                  <a:pt x="547483" y="272086"/>
                  <a:pt x="565441" y="256849"/>
                  <a:pt x="580678" y="256304"/>
                </a:cubicBezTo>
                <a:close/>
                <a:moveTo>
                  <a:pt x="743930" y="251951"/>
                </a:moveTo>
                <a:cubicBezTo>
                  <a:pt x="764609" y="251951"/>
                  <a:pt x="782566" y="268820"/>
                  <a:pt x="782022" y="289499"/>
                </a:cubicBezTo>
                <a:cubicBezTo>
                  <a:pt x="781478" y="311266"/>
                  <a:pt x="765153" y="326503"/>
                  <a:pt x="744474" y="326503"/>
                </a:cubicBezTo>
                <a:cubicBezTo>
                  <a:pt x="723795" y="326503"/>
                  <a:pt x="708014" y="311266"/>
                  <a:pt x="707470" y="289499"/>
                </a:cubicBezTo>
                <a:cubicBezTo>
                  <a:pt x="706926" y="271541"/>
                  <a:pt x="722163" y="252495"/>
                  <a:pt x="743930" y="251951"/>
                </a:cubicBezTo>
                <a:close/>
                <a:moveTo>
                  <a:pt x="907183" y="249775"/>
                </a:moveTo>
                <a:cubicBezTo>
                  <a:pt x="929494" y="249775"/>
                  <a:pt x="946908" y="263924"/>
                  <a:pt x="947452" y="289500"/>
                </a:cubicBezTo>
                <a:cubicBezTo>
                  <a:pt x="947996" y="311811"/>
                  <a:pt x="931127" y="330313"/>
                  <a:pt x="908271" y="329225"/>
                </a:cubicBezTo>
                <a:cubicBezTo>
                  <a:pt x="885960" y="330857"/>
                  <a:pt x="868002" y="312355"/>
                  <a:pt x="867458" y="290044"/>
                </a:cubicBezTo>
                <a:cubicBezTo>
                  <a:pt x="867458" y="266100"/>
                  <a:pt x="884872" y="249775"/>
                  <a:pt x="907183" y="249775"/>
                </a:cubicBezTo>
                <a:close/>
                <a:moveTo>
                  <a:pt x="1070435" y="245965"/>
                </a:moveTo>
                <a:cubicBezTo>
                  <a:pt x="1093291" y="245421"/>
                  <a:pt x="1116146" y="264467"/>
                  <a:pt x="1114513" y="290043"/>
                </a:cubicBezTo>
                <a:cubicBezTo>
                  <a:pt x="1115602" y="312899"/>
                  <a:pt x="1092202" y="334122"/>
                  <a:pt x="1069347" y="333578"/>
                </a:cubicBezTo>
                <a:cubicBezTo>
                  <a:pt x="1047036" y="333034"/>
                  <a:pt x="1026357" y="311266"/>
                  <a:pt x="1026357" y="288955"/>
                </a:cubicBezTo>
                <a:cubicBezTo>
                  <a:pt x="1026901" y="268276"/>
                  <a:pt x="1045403" y="245965"/>
                  <a:pt x="1070435" y="245965"/>
                </a:cubicBezTo>
                <a:close/>
                <a:moveTo>
                  <a:pt x="1233689" y="241613"/>
                </a:moveTo>
                <a:cubicBezTo>
                  <a:pt x="1257632" y="241068"/>
                  <a:pt x="1281032" y="263924"/>
                  <a:pt x="1282120" y="288412"/>
                </a:cubicBezTo>
                <a:cubicBezTo>
                  <a:pt x="1282665" y="312900"/>
                  <a:pt x="1260898" y="336299"/>
                  <a:pt x="1235321" y="335755"/>
                </a:cubicBezTo>
                <a:cubicBezTo>
                  <a:pt x="1206480" y="335211"/>
                  <a:pt x="1190155" y="318886"/>
                  <a:pt x="1187434" y="289500"/>
                </a:cubicBezTo>
                <a:cubicBezTo>
                  <a:pt x="1184713" y="266100"/>
                  <a:pt x="1208657" y="242701"/>
                  <a:pt x="1233689" y="241613"/>
                </a:cubicBezTo>
                <a:close/>
                <a:moveTo>
                  <a:pt x="1397485" y="238891"/>
                </a:moveTo>
                <a:cubicBezTo>
                  <a:pt x="1421973" y="237259"/>
                  <a:pt x="1448638" y="264467"/>
                  <a:pt x="1448094" y="288955"/>
                </a:cubicBezTo>
                <a:cubicBezTo>
                  <a:pt x="1447005" y="312355"/>
                  <a:pt x="1424150" y="341196"/>
                  <a:pt x="1398029" y="338475"/>
                </a:cubicBezTo>
                <a:cubicBezTo>
                  <a:pt x="1372453" y="340652"/>
                  <a:pt x="1347421" y="315620"/>
                  <a:pt x="1348509" y="289499"/>
                </a:cubicBezTo>
                <a:cubicBezTo>
                  <a:pt x="1349598" y="261202"/>
                  <a:pt x="1369732" y="240524"/>
                  <a:pt x="1397485" y="238891"/>
                </a:cubicBezTo>
                <a:close/>
                <a:moveTo>
                  <a:pt x="1559650" y="237258"/>
                </a:moveTo>
                <a:cubicBezTo>
                  <a:pt x="1590668" y="236170"/>
                  <a:pt x="1611891" y="259570"/>
                  <a:pt x="1613523" y="288955"/>
                </a:cubicBezTo>
                <a:cubicBezTo>
                  <a:pt x="1613523" y="316164"/>
                  <a:pt x="1587403" y="342829"/>
                  <a:pt x="1560738" y="342829"/>
                </a:cubicBezTo>
                <a:cubicBezTo>
                  <a:pt x="1534618" y="342829"/>
                  <a:pt x="1505776" y="315620"/>
                  <a:pt x="1507953" y="289499"/>
                </a:cubicBezTo>
                <a:cubicBezTo>
                  <a:pt x="1510130" y="261202"/>
                  <a:pt x="1526455" y="238347"/>
                  <a:pt x="1559650" y="237258"/>
                </a:cubicBezTo>
                <a:close/>
                <a:moveTo>
                  <a:pt x="9837" y="198078"/>
                </a:moveTo>
                <a:cubicBezTo>
                  <a:pt x="14190" y="198078"/>
                  <a:pt x="19632" y="202976"/>
                  <a:pt x="19632" y="207873"/>
                </a:cubicBezTo>
                <a:cubicBezTo>
                  <a:pt x="19632" y="212227"/>
                  <a:pt x="14190" y="217668"/>
                  <a:pt x="10381" y="218213"/>
                </a:cubicBezTo>
                <a:cubicBezTo>
                  <a:pt x="5483" y="218757"/>
                  <a:pt x="-503" y="212771"/>
                  <a:pt x="42" y="207873"/>
                </a:cubicBezTo>
                <a:cubicBezTo>
                  <a:pt x="42" y="202976"/>
                  <a:pt x="5483" y="198078"/>
                  <a:pt x="9837" y="198078"/>
                </a:cubicBezTo>
                <a:close/>
                <a:moveTo>
                  <a:pt x="173090" y="187739"/>
                </a:moveTo>
                <a:cubicBezTo>
                  <a:pt x="183429" y="188283"/>
                  <a:pt x="192136" y="196990"/>
                  <a:pt x="192136" y="207329"/>
                </a:cubicBezTo>
                <a:cubicBezTo>
                  <a:pt x="192136" y="217669"/>
                  <a:pt x="182341" y="228008"/>
                  <a:pt x="172546" y="227464"/>
                </a:cubicBezTo>
                <a:cubicBezTo>
                  <a:pt x="163839" y="226920"/>
                  <a:pt x="154588" y="217669"/>
                  <a:pt x="154044" y="208418"/>
                </a:cubicBezTo>
                <a:cubicBezTo>
                  <a:pt x="153500" y="198078"/>
                  <a:pt x="162751" y="187739"/>
                  <a:pt x="173090" y="187739"/>
                </a:cubicBezTo>
                <a:close/>
                <a:moveTo>
                  <a:pt x="336887" y="182297"/>
                </a:moveTo>
                <a:cubicBezTo>
                  <a:pt x="350491" y="182841"/>
                  <a:pt x="361919" y="191548"/>
                  <a:pt x="363007" y="207329"/>
                </a:cubicBezTo>
                <a:cubicBezTo>
                  <a:pt x="363551" y="219845"/>
                  <a:pt x="349947" y="233449"/>
                  <a:pt x="336887" y="233994"/>
                </a:cubicBezTo>
                <a:cubicBezTo>
                  <a:pt x="324371" y="233994"/>
                  <a:pt x="311311" y="221478"/>
                  <a:pt x="310766" y="208961"/>
                </a:cubicBezTo>
                <a:cubicBezTo>
                  <a:pt x="310222" y="195357"/>
                  <a:pt x="323282" y="181753"/>
                  <a:pt x="336887" y="182297"/>
                </a:cubicBezTo>
                <a:close/>
                <a:moveTo>
                  <a:pt x="1856225" y="180487"/>
                </a:moveTo>
                <a:cubicBezTo>
                  <a:pt x="1856225" y="182664"/>
                  <a:pt x="1855137" y="184841"/>
                  <a:pt x="1855681" y="185929"/>
                </a:cubicBezTo>
                <a:cubicBezTo>
                  <a:pt x="1863844" y="206064"/>
                  <a:pt x="1863844" y="226198"/>
                  <a:pt x="1851872" y="244700"/>
                </a:cubicBezTo>
                <a:cubicBezTo>
                  <a:pt x="1851328" y="245788"/>
                  <a:pt x="1851328" y="246877"/>
                  <a:pt x="1851328" y="247965"/>
                </a:cubicBezTo>
                <a:cubicBezTo>
                  <a:pt x="1852416" y="247965"/>
                  <a:pt x="1854049" y="247965"/>
                  <a:pt x="1854593" y="247421"/>
                </a:cubicBezTo>
                <a:cubicBezTo>
                  <a:pt x="1868197" y="237082"/>
                  <a:pt x="1883434" y="237082"/>
                  <a:pt x="1899215" y="238714"/>
                </a:cubicBezTo>
                <a:cubicBezTo>
                  <a:pt x="1904113" y="239258"/>
                  <a:pt x="1909010" y="241979"/>
                  <a:pt x="1913908" y="243067"/>
                </a:cubicBezTo>
                <a:cubicBezTo>
                  <a:pt x="1915541" y="243612"/>
                  <a:pt x="1917173" y="242523"/>
                  <a:pt x="1918806" y="242523"/>
                </a:cubicBezTo>
                <a:cubicBezTo>
                  <a:pt x="1918806" y="240891"/>
                  <a:pt x="1918806" y="239258"/>
                  <a:pt x="1918261" y="238170"/>
                </a:cubicBezTo>
                <a:cubicBezTo>
                  <a:pt x="1908466" y="220756"/>
                  <a:pt x="1910099" y="203887"/>
                  <a:pt x="1917173" y="185929"/>
                </a:cubicBezTo>
                <a:cubicBezTo>
                  <a:pt x="1917717" y="184297"/>
                  <a:pt x="1917717" y="183208"/>
                  <a:pt x="1918261" y="181576"/>
                </a:cubicBezTo>
                <a:cubicBezTo>
                  <a:pt x="1916629" y="182120"/>
                  <a:pt x="1914996" y="182120"/>
                  <a:pt x="1913908" y="182664"/>
                </a:cubicBezTo>
                <a:cubicBezTo>
                  <a:pt x="1895950" y="189738"/>
                  <a:pt x="1877992" y="190827"/>
                  <a:pt x="1860579" y="180487"/>
                </a:cubicBezTo>
                <a:cubicBezTo>
                  <a:pt x="1858946" y="181031"/>
                  <a:pt x="1857858" y="181031"/>
                  <a:pt x="1856225" y="180487"/>
                </a:cubicBezTo>
                <a:close/>
                <a:moveTo>
                  <a:pt x="499595" y="175767"/>
                </a:moveTo>
                <a:cubicBezTo>
                  <a:pt x="514832" y="175767"/>
                  <a:pt x="531702" y="193181"/>
                  <a:pt x="531158" y="207874"/>
                </a:cubicBezTo>
                <a:cubicBezTo>
                  <a:pt x="530613" y="223110"/>
                  <a:pt x="513744" y="239980"/>
                  <a:pt x="498507" y="238347"/>
                </a:cubicBezTo>
                <a:cubicBezTo>
                  <a:pt x="479461" y="236715"/>
                  <a:pt x="469666" y="224743"/>
                  <a:pt x="468033" y="207329"/>
                </a:cubicBezTo>
                <a:cubicBezTo>
                  <a:pt x="466945" y="192636"/>
                  <a:pt x="484903" y="175767"/>
                  <a:pt x="499595" y="175767"/>
                </a:cubicBezTo>
                <a:close/>
                <a:moveTo>
                  <a:pt x="662304" y="173046"/>
                </a:moveTo>
                <a:cubicBezTo>
                  <a:pt x="683527" y="171958"/>
                  <a:pt x="698220" y="189916"/>
                  <a:pt x="697676" y="207873"/>
                </a:cubicBezTo>
                <a:cubicBezTo>
                  <a:pt x="697131" y="227464"/>
                  <a:pt x="684615" y="243245"/>
                  <a:pt x="662304" y="242156"/>
                </a:cubicBezTo>
                <a:cubicBezTo>
                  <a:pt x="639993" y="241612"/>
                  <a:pt x="628565" y="229096"/>
                  <a:pt x="628021" y="207873"/>
                </a:cubicBezTo>
                <a:cubicBezTo>
                  <a:pt x="628021" y="187739"/>
                  <a:pt x="642714" y="172502"/>
                  <a:pt x="662304" y="173046"/>
                </a:cubicBezTo>
                <a:close/>
                <a:moveTo>
                  <a:pt x="826645" y="168148"/>
                </a:moveTo>
                <a:cubicBezTo>
                  <a:pt x="844602" y="168148"/>
                  <a:pt x="867458" y="187194"/>
                  <a:pt x="864737" y="207329"/>
                </a:cubicBezTo>
                <a:cubicBezTo>
                  <a:pt x="867458" y="229096"/>
                  <a:pt x="844058" y="247054"/>
                  <a:pt x="826100" y="247054"/>
                </a:cubicBezTo>
                <a:cubicBezTo>
                  <a:pt x="808687" y="247054"/>
                  <a:pt x="787464" y="228552"/>
                  <a:pt x="787464" y="207873"/>
                </a:cubicBezTo>
                <a:cubicBezTo>
                  <a:pt x="787464" y="187194"/>
                  <a:pt x="807054" y="168148"/>
                  <a:pt x="826645" y="168148"/>
                </a:cubicBezTo>
                <a:close/>
                <a:moveTo>
                  <a:pt x="987721" y="164883"/>
                </a:moveTo>
                <a:cubicBezTo>
                  <a:pt x="1012209" y="164339"/>
                  <a:pt x="1030711" y="181753"/>
                  <a:pt x="1031799" y="207329"/>
                </a:cubicBezTo>
                <a:cubicBezTo>
                  <a:pt x="1031255" y="232361"/>
                  <a:pt x="1011665" y="250319"/>
                  <a:pt x="988809" y="250319"/>
                </a:cubicBezTo>
                <a:cubicBezTo>
                  <a:pt x="965954" y="250319"/>
                  <a:pt x="946364" y="231273"/>
                  <a:pt x="945819" y="208417"/>
                </a:cubicBezTo>
                <a:cubicBezTo>
                  <a:pt x="945275" y="185018"/>
                  <a:pt x="962689" y="165428"/>
                  <a:pt x="987721" y="164883"/>
                </a:cubicBezTo>
                <a:close/>
                <a:moveTo>
                  <a:pt x="1153150" y="162707"/>
                </a:moveTo>
                <a:cubicBezTo>
                  <a:pt x="1177638" y="161619"/>
                  <a:pt x="1197772" y="180665"/>
                  <a:pt x="1197772" y="207874"/>
                </a:cubicBezTo>
                <a:cubicBezTo>
                  <a:pt x="1197772" y="235083"/>
                  <a:pt x="1176005" y="253584"/>
                  <a:pt x="1151517" y="253584"/>
                </a:cubicBezTo>
                <a:cubicBezTo>
                  <a:pt x="1128118" y="253040"/>
                  <a:pt x="1106895" y="234538"/>
                  <a:pt x="1107439" y="207329"/>
                </a:cubicBezTo>
                <a:cubicBezTo>
                  <a:pt x="1107983" y="179576"/>
                  <a:pt x="1129206" y="161075"/>
                  <a:pt x="1153150" y="162707"/>
                </a:cubicBezTo>
                <a:close/>
                <a:moveTo>
                  <a:pt x="1315315" y="158353"/>
                </a:moveTo>
                <a:cubicBezTo>
                  <a:pt x="1341435" y="156177"/>
                  <a:pt x="1365923" y="184474"/>
                  <a:pt x="1365379" y="206785"/>
                </a:cubicBezTo>
                <a:cubicBezTo>
                  <a:pt x="1365379" y="229640"/>
                  <a:pt x="1344156" y="256849"/>
                  <a:pt x="1315859" y="256305"/>
                </a:cubicBezTo>
                <a:cubicBezTo>
                  <a:pt x="1290283" y="256305"/>
                  <a:pt x="1267427" y="233994"/>
                  <a:pt x="1266883" y="207873"/>
                </a:cubicBezTo>
                <a:cubicBezTo>
                  <a:pt x="1265795" y="181209"/>
                  <a:pt x="1292460" y="157265"/>
                  <a:pt x="1315315" y="158353"/>
                </a:cubicBezTo>
                <a:close/>
                <a:moveTo>
                  <a:pt x="1478567" y="156721"/>
                </a:moveTo>
                <a:cubicBezTo>
                  <a:pt x="1510129" y="156721"/>
                  <a:pt x="1530264" y="180665"/>
                  <a:pt x="1529720" y="207329"/>
                </a:cubicBezTo>
                <a:cubicBezTo>
                  <a:pt x="1530264" y="236715"/>
                  <a:pt x="1510129" y="258482"/>
                  <a:pt x="1478567" y="258482"/>
                </a:cubicBezTo>
                <a:cubicBezTo>
                  <a:pt x="1449182" y="257938"/>
                  <a:pt x="1428503" y="238892"/>
                  <a:pt x="1427959" y="207874"/>
                </a:cubicBezTo>
                <a:cubicBezTo>
                  <a:pt x="1427415" y="179576"/>
                  <a:pt x="1447549" y="156721"/>
                  <a:pt x="1478567" y="156721"/>
                </a:cubicBezTo>
                <a:close/>
                <a:moveTo>
                  <a:pt x="1644541" y="153456"/>
                </a:moveTo>
                <a:cubicBezTo>
                  <a:pt x="1672294" y="154544"/>
                  <a:pt x="1697870" y="180665"/>
                  <a:pt x="1697326" y="209506"/>
                </a:cubicBezTo>
                <a:cubicBezTo>
                  <a:pt x="1696782" y="238347"/>
                  <a:pt x="1669573" y="263924"/>
                  <a:pt x="1641276" y="262835"/>
                </a:cubicBezTo>
                <a:cubicBezTo>
                  <a:pt x="1612979" y="261203"/>
                  <a:pt x="1587402" y="236715"/>
                  <a:pt x="1587947" y="206785"/>
                </a:cubicBezTo>
                <a:cubicBezTo>
                  <a:pt x="1587947" y="180121"/>
                  <a:pt x="1613523" y="152368"/>
                  <a:pt x="1644541" y="153456"/>
                </a:cubicBezTo>
                <a:close/>
                <a:moveTo>
                  <a:pt x="91463" y="109922"/>
                </a:moveTo>
                <a:cubicBezTo>
                  <a:pt x="97993" y="109922"/>
                  <a:pt x="107244" y="119173"/>
                  <a:pt x="107244" y="126247"/>
                </a:cubicBezTo>
                <a:cubicBezTo>
                  <a:pt x="107788" y="132777"/>
                  <a:pt x="98537" y="142028"/>
                  <a:pt x="91463" y="142028"/>
                </a:cubicBezTo>
                <a:cubicBezTo>
                  <a:pt x="83845" y="142028"/>
                  <a:pt x="75682" y="133866"/>
                  <a:pt x="75682" y="126247"/>
                </a:cubicBezTo>
                <a:cubicBezTo>
                  <a:pt x="75682" y="118629"/>
                  <a:pt x="84389" y="109922"/>
                  <a:pt x="91463" y="109922"/>
                </a:cubicBezTo>
                <a:close/>
                <a:moveTo>
                  <a:pt x="1942341" y="104915"/>
                </a:moveTo>
                <a:cubicBezTo>
                  <a:pt x="1941389" y="105799"/>
                  <a:pt x="1941389" y="107840"/>
                  <a:pt x="1942205" y="111377"/>
                </a:cubicBezTo>
                <a:cubicBezTo>
                  <a:pt x="1943294" y="118451"/>
                  <a:pt x="1944926" y="124437"/>
                  <a:pt x="1946559" y="131511"/>
                </a:cubicBezTo>
                <a:cubicBezTo>
                  <a:pt x="1944382" y="139674"/>
                  <a:pt x="1941661" y="148381"/>
                  <a:pt x="1939484" y="157088"/>
                </a:cubicBezTo>
                <a:cubicBezTo>
                  <a:pt x="1939484" y="158176"/>
                  <a:pt x="1941117" y="160353"/>
                  <a:pt x="1941117" y="160353"/>
                </a:cubicBezTo>
                <a:cubicBezTo>
                  <a:pt x="1955810" y="154367"/>
                  <a:pt x="1971046" y="150558"/>
                  <a:pt x="1986828" y="157088"/>
                </a:cubicBezTo>
                <a:cubicBezTo>
                  <a:pt x="1987372" y="157088"/>
                  <a:pt x="1987916" y="157088"/>
                  <a:pt x="1987916" y="157088"/>
                </a:cubicBezTo>
                <a:cubicBezTo>
                  <a:pt x="1994990" y="157632"/>
                  <a:pt x="1996623" y="155999"/>
                  <a:pt x="1993902" y="150013"/>
                </a:cubicBezTo>
                <a:cubicBezTo>
                  <a:pt x="1988460" y="136409"/>
                  <a:pt x="1988460" y="123349"/>
                  <a:pt x="1993902" y="109744"/>
                </a:cubicBezTo>
                <a:cubicBezTo>
                  <a:pt x="1995534" y="105935"/>
                  <a:pt x="1994446" y="103214"/>
                  <a:pt x="1989004" y="105391"/>
                </a:cubicBezTo>
                <a:cubicBezTo>
                  <a:pt x="1975400" y="109744"/>
                  <a:pt x="1961796" y="109744"/>
                  <a:pt x="1948191" y="105391"/>
                </a:cubicBezTo>
                <a:cubicBezTo>
                  <a:pt x="1945198" y="104303"/>
                  <a:pt x="1943294" y="104031"/>
                  <a:pt x="1942341" y="104915"/>
                </a:cubicBezTo>
                <a:close/>
                <a:moveTo>
                  <a:pt x="255804" y="103392"/>
                </a:moveTo>
                <a:cubicBezTo>
                  <a:pt x="269409" y="103392"/>
                  <a:pt x="277571" y="112643"/>
                  <a:pt x="277571" y="126791"/>
                </a:cubicBezTo>
                <a:cubicBezTo>
                  <a:pt x="277027" y="139852"/>
                  <a:pt x="267776" y="148558"/>
                  <a:pt x="254172" y="148014"/>
                </a:cubicBezTo>
                <a:cubicBezTo>
                  <a:pt x="241112" y="148014"/>
                  <a:pt x="231861" y="138763"/>
                  <a:pt x="232405" y="125159"/>
                </a:cubicBezTo>
                <a:cubicBezTo>
                  <a:pt x="232405" y="112099"/>
                  <a:pt x="242200" y="102848"/>
                  <a:pt x="255804" y="103392"/>
                </a:cubicBezTo>
                <a:close/>
                <a:moveTo>
                  <a:pt x="1773511" y="99405"/>
                </a:moveTo>
                <a:cubicBezTo>
                  <a:pt x="1773511" y="102126"/>
                  <a:pt x="1772966" y="104303"/>
                  <a:pt x="1773511" y="107023"/>
                </a:cubicBezTo>
                <a:cubicBezTo>
                  <a:pt x="1776232" y="114098"/>
                  <a:pt x="1778408" y="121716"/>
                  <a:pt x="1780585" y="130423"/>
                </a:cubicBezTo>
                <a:cubicBezTo>
                  <a:pt x="1778408" y="139130"/>
                  <a:pt x="1775687" y="147293"/>
                  <a:pt x="1773511" y="155999"/>
                </a:cubicBezTo>
                <a:cubicBezTo>
                  <a:pt x="1772966" y="157632"/>
                  <a:pt x="1772966" y="160897"/>
                  <a:pt x="1774055" y="161985"/>
                </a:cubicBezTo>
                <a:cubicBezTo>
                  <a:pt x="1775143" y="163074"/>
                  <a:pt x="1778408" y="163074"/>
                  <a:pt x="1780041" y="162529"/>
                </a:cubicBezTo>
                <a:cubicBezTo>
                  <a:pt x="1789836" y="155455"/>
                  <a:pt x="1800719" y="157632"/>
                  <a:pt x="1811059" y="157632"/>
                </a:cubicBezTo>
                <a:cubicBezTo>
                  <a:pt x="1817589" y="157632"/>
                  <a:pt x="1824119" y="156543"/>
                  <a:pt x="1829561" y="161985"/>
                </a:cubicBezTo>
                <a:cubicBezTo>
                  <a:pt x="1830649" y="163074"/>
                  <a:pt x="1834458" y="161985"/>
                  <a:pt x="1836635" y="161985"/>
                </a:cubicBezTo>
                <a:cubicBezTo>
                  <a:pt x="1835547" y="160353"/>
                  <a:pt x="1835002" y="158720"/>
                  <a:pt x="1833914" y="157088"/>
                </a:cubicBezTo>
                <a:cubicBezTo>
                  <a:pt x="1826840" y="139674"/>
                  <a:pt x="1826296" y="121716"/>
                  <a:pt x="1834458" y="104303"/>
                </a:cubicBezTo>
                <a:cubicBezTo>
                  <a:pt x="1835002" y="102670"/>
                  <a:pt x="1835547" y="101038"/>
                  <a:pt x="1835547" y="99405"/>
                </a:cubicBezTo>
                <a:cubicBezTo>
                  <a:pt x="1833914" y="99949"/>
                  <a:pt x="1832282" y="99949"/>
                  <a:pt x="1831193" y="101038"/>
                </a:cubicBezTo>
                <a:cubicBezTo>
                  <a:pt x="1814324" y="109200"/>
                  <a:pt x="1797454" y="109200"/>
                  <a:pt x="1780041" y="101582"/>
                </a:cubicBezTo>
                <a:cubicBezTo>
                  <a:pt x="1777864" y="100493"/>
                  <a:pt x="1775687" y="100493"/>
                  <a:pt x="1773511" y="99405"/>
                </a:cubicBezTo>
                <a:close/>
                <a:moveTo>
                  <a:pt x="417424" y="97950"/>
                </a:moveTo>
                <a:cubicBezTo>
                  <a:pt x="435382" y="97950"/>
                  <a:pt x="445721" y="108289"/>
                  <a:pt x="445721" y="126247"/>
                </a:cubicBezTo>
                <a:cubicBezTo>
                  <a:pt x="445721" y="143661"/>
                  <a:pt x="435382" y="153456"/>
                  <a:pt x="417424" y="153456"/>
                </a:cubicBezTo>
                <a:cubicBezTo>
                  <a:pt x="402187" y="155088"/>
                  <a:pt x="389127" y="141484"/>
                  <a:pt x="390215" y="125159"/>
                </a:cubicBezTo>
                <a:cubicBezTo>
                  <a:pt x="391304" y="107745"/>
                  <a:pt x="400555" y="97950"/>
                  <a:pt x="417424" y="97950"/>
                </a:cubicBezTo>
                <a:close/>
                <a:moveTo>
                  <a:pt x="580677" y="92508"/>
                </a:moveTo>
                <a:cubicBezTo>
                  <a:pt x="599724" y="92508"/>
                  <a:pt x="613328" y="106112"/>
                  <a:pt x="614960" y="125159"/>
                </a:cubicBezTo>
                <a:cubicBezTo>
                  <a:pt x="616049" y="141484"/>
                  <a:pt x="598091" y="161618"/>
                  <a:pt x="581766" y="158353"/>
                </a:cubicBezTo>
                <a:cubicBezTo>
                  <a:pt x="561631" y="158353"/>
                  <a:pt x="548571" y="145293"/>
                  <a:pt x="548571" y="125703"/>
                </a:cubicBezTo>
                <a:cubicBezTo>
                  <a:pt x="548571" y="106657"/>
                  <a:pt x="562175" y="92508"/>
                  <a:pt x="580677" y="92508"/>
                </a:cubicBezTo>
                <a:close/>
                <a:moveTo>
                  <a:pt x="745019" y="88154"/>
                </a:moveTo>
                <a:cubicBezTo>
                  <a:pt x="763521" y="87610"/>
                  <a:pt x="783111" y="107745"/>
                  <a:pt x="782567" y="126791"/>
                </a:cubicBezTo>
                <a:cubicBezTo>
                  <a:pt x="782023" y="147469"/>
                  <a:pt x="761344" y="164339"/>
                  <a:pt x="743930" y="164339"/>
                </a:cubicBezTo>
                <a:cubicBezTo>
                  <a:pt x="723796" y="163795"/>
                  <a:pt x="705838" y="144204"/>
                  <a:pt x="706382" y="125702"/>
                </a:cubicBezTo>
                <a:cubicBezTo>
                  <a:pt x="706926" y="109377"/>
                  <a:pt x="723252" y="87066"/>
                  <a:pt x="745019" y="88154"/>
                </a:cubicBezTo>
                <a:close/>
                <a:moveTo>
                  <a:pt x="1685898" y="84712"/>
                </a:moveTo>
                <a:lnTo>
                  <a:pt x="1685681" y="85147"/>
                </a:lnTo>
                <a:lnTo>
                  <a:pt x="1685354" y="85256"/>
                </a:lnTo>
                <a:cubicBezTo>
                  <a:pt x="1685354" y="85256"/>
                  <a:pt x="1685898" y="84712"/>
                  <a:pt x="1685898" y="84712"/>
                </a:cubicBezTo>
                <a:close/>
                <a:moveTo>
                  <a:pt x="907183" y="84345"/>
                </a:moveTo>
                <a:cubicBezTo>
                  <a:pt x="916978" y="84345"/>
                  <a:pt x="926773" y="87610"/>
                  <a:pt x="934935" y="95228"/>
                </a:cubicBezTo>
                <a:cubicBezTo>
                  <a:pt x="944187" y="103935"/>
                  <a:pt x="946907" y="114819"/>
                  <a:pt x="949628" y="125158"/>
                </a:cubicBezTo>
                <a:cubicBezTo>
                  <a:pt x="946907" y="150190"/>
                  <a:pt x="932759" y="166515"/>
                  <a:pt x="908271" y="167060"/>
                </a:cubicBezTo>
                <a:cubicBezTo>
                  <a:pt x="884871" y="167604"/>
                  <a:pt x="867458" y="150734"/>
                  <a:pt x="866369" y="125702"/>
                </a:cubicBezTo>
                <a:cubicBezTo>
                  <a:pt x="865825" y="103935"/>
                  <a:pt x="884871" y="83801"/>
                  <a:pt x="907183" y="84345"/>
                </a:cubicBezTo>
                <a:close/>
                <a:moveTo>
                  <a:pt x="1070979" y="82169"/>
                </a:moveTo>
                <a:cubicBezTo>
                  <a:pt x="1095467" y="79448"/>
                  <a:pt x="1115602" y="103936"/>
                  <a:pt x="1115602" y="126247"/>
                </a:cubicBezTo>
                <a:cubicBezTo>
                  <a:pt x="1115602" y="148014"/>
                  <a:pt x="1094923" y="170325"/>
                  <a:pt x="1071524" y="170325"/>
                </a:cubicBezTo>
                <a:cubicBezTo>
                  <a:pt x="1047580" y="170325"/>
                  <a:pt x="1026357" y="148558"/>
                  <a:pt x="1026357" y="125703"/>
                </a:cubicBezTo>
                <a:cubicBezTo>
                  <a:pt x="1026357" y="103936"/>
                  <a:pt x="1047036" y="79448"/>
                  <a:pt x="1070979" y="82169"/>
                </a:cubicBezTo>
                <a:close/>
                <a:moveTo>
                  <a:pt x="1684811" y="82168"/>
                </a:moveTo>
                <a:cubicBezTo>
                  <a:pt x="1684811" y="82168"/>
                  <a:pt x="1684266" y="82713"/>
                  <a:pt x="1684266" y="82713"/>
                </a:cubicBezTo>
                <a:lnTo>
                  <a:pt x="1684469" y="82365"/>
                </a:lnTo>
                <a:close/>
                <a:moveTo>
                  <a:pt x="1234777" y="78360"/>
                </a:moveTo>
                <a:cubicBezTo>
                  <a:pt x="1259809" y="76727"/>
                  <a:pt x="1284297" y="101759"/>
                  <a:pt x="1282664" y="126791"/>
                </a:cubicBezTo>
                <a:cubicBezTo>
                  <a:pt x="1280487" y="152912"/>
                  <a:pt x="1264162" y="171958"/>
                  <a:pt x="1234232" y="174135"/>
                </a:cubicBezTo>
                <a:cubicBezTo>
                  <a:pt x="1205935" y="172502"/>
                  <a:pt x="1186345" y="153456"/>
                  <a:pt x="1186889" y="126791"/>
                </a:cubicBezTo>
                <a:cubicBezTo>
                  <a:pt x="1187433" y="96318"/>
                  <a:pt x="1207024" y="79992"/>
                  <a:pt x="1234777" y="78360"/>
                </a:cubicBezTo>
                <a:close/>
                <a:moveTo>
                  <a:pt x="1398574" y="76182"/>
                </a:moveTo>
                <a:cubicBezTo>
                  <a:pt x="1424150" y="74006"/>
                  <a:pt x="1448638" y="99582"/>
                  <a:pt x="1448094" y="127335"/>
                </a:cubicBezTo>
                <a:cubicBezTo>
                  <a:pt x="1447549" y="151823"/>
                  <a:pt x="1426327" y="176311"/>
                  <a:pt x="1396941" y="175766"/>
                </a:cubicBezTo>
                <a:cubicBezTo>
                  <a:pt x="1367011" y="175222"/>
                  <a:pt x="1347421" y="151278"/>
                  <a:pt x="1347421" y="125702"/>
                </a:cubicBezTo>
                <a:cubicBezTo>
                  <a:pt x="1347421" y="99038"/>
                  <a:pt x="1369732" y="74006"/>
                  <a:pt x="1398574" y="76182"/>
                </a:cubicBezTo>
                <a:close/>
                <a:moveTo>
                  <a:pt x="1561282" y="72373"/>
                </a:moveTo>
                <a:cubicBezTo>
                  <a:pt x="1588491" y="72373"/>
                  <a:pt x="1614611" y="96861"/>
                  <a:pt x="1614611" y="126247"/>
                </a:cubicBezTo>
                <a:cubicBezTo>
                  <a:pt x="1614067" y="155632"/>
                  <a:pt x="1590667" y="180120"/>
                  <a:pt x="1560738" y="179576"/>
                </a:cubicBezTo>
                <a:cubicBezTo>
                  <a:pt x="1530808" y="179576"/>
                  <a:pt x="1507953" y="156176"/>
                  <a:pt x="1507409" y="126247"/>
                </a:cubicBezTo>
                <a:cubicBezTo>
                  <a:pt x="1506864" y="96861"/>
                  <a:pt x="1532441" y="72373"/>
                  <a:pt x="1561282" y="72373"/>
                </a:cubicBezTo>
                <a:close/>
                <a:moveTo>
                  <a:pt x="10381" y="33737"/>
                </a:moveTo>
                <a:cubicBezTo>
                  <a:pt x="15822" y="33737"/>
                  <a:pt x="20720" y="39179"/>
                  <a:pt x="20720" y="45165"/>
                </a:cubicBezTo>
                <a:cubicBezTo>
                  <a:pt x="20176" y="50606"/>
                  <a:pt x="14734" y="55504"/>
                  <a:pt x="9292" y="54960"/>
                </a:cubicBezTo>
                <a:cubicBezTo>
                  <a:pt x="4395" y="54416"/>
                  <a:pt x="41" y="49518"/>
                  <a:pt x="41" y="44621"/>
                </a:cubicBezTo>
                <a:cubicBezTo>
                  <a:pt x="-503" y="38635"/>
                  <a:pt x="4395" y="33737"/>
                  <a:pt x="10381" y="33737"/>
                </a:cubicBezTo>
                <a:close/>
                <a:moveTo>
                  <a:pt x="172546" y="23942"/>
                </a:moveTo>
                <a:cubicBezTo>
                  <a:pt x="181796" y="22854"/>
                  <a:pt x="193224" y="34826"/>
                  <a:pt x="193224" y="44621"/>
                </a:cubicBezTo>
                <a:cubicBezTo>
                  <a:pt x="193224" y="53872"/>
                  <a:pt x="182341" y="64755"/>
                  <a:pt x="173090" y="64755"/>
                </a:cubicBezTo>
                <a:cubicBezTo>
                  <a:pt x="164383" y="64755"/>
                  <a:pt x="152411" y="52784"/>
                  <a:pt x="152411" y="44621"/>
                </a:cubicBezTo>
                <a:cubicBezTo>
                  <a:pt x="152411" y="36458"/>
                  <a:pt x="164927" y="24486"/>
                  <a:pt x="172546" y="23942"/>
                </a:cubicBezTo>
                <a:close/>
                <a:moveTo>
                  <a:pt x="1861123" y="22132"/>
                </a:moveTo>
                <a:cubicBezTo>
                  <a:pt x="1861123" y="26485"/>
                  <a:pt x="1860035" y="31383"/>
                  <a:pt x="1861123" y="35737"/>
                </a:cubicBezTo>
                <a:cubicBezTo>
                  <a:pt x="1863844" y="44443"/>
                  <a:pt x="1864932" y="52606"/>
                  <a:pt x="1861123" y="61313"/>
                </a:cubicBezTo>
                <a:cubicBezTo>
                  <a:pt x="1860035" y="64034"/>
                  <a:pt x="1860035" y="67299"/>
                  <a:pt x="1858946" y="72740"/>
                </a:cubicBezTo>
                <a:cubicBezTo>
                  <a:pt x="1858402" y="76550"/>
                  <a:pt x="1861123" y="77638"/>
                  <a:pt x="1866021" y="76550"/>
                </a:cubicBezTo>
                <a:cubicBezTo>
                  <a:pt x="1868741" y="76006"/>
                  <a:pt x="1871462" y="76006"/>
                  <a:pt x="1873639" y="74917"/>
                </a:cubicBezTo>
                <a:cubicBezTo>
                  <a:pt x="1882346" y="71108"/>
                  <a:pt x="1891053" y="71108"/>
                  <a:pt x="1900304" y="74373"/>
                </a:cubicBezTo>
                <a:cubicBezTo>
                  <a:pt x="1902480" y="75461"/>
                  <a:pt x="1905201" y="76006"/>
                  <a:pt x="1907922" y="76006"/>
                </a:cubicBezTo>
                <a:cubicBezTo>
                  <a:pt x="1912276" y="76550"/>
                  <a:pt x="1914996" y="75461"/>
                  <a:pt x="1912820" y="70020"/>
                </a:cubicBezTo>
                <a:cubicBezTo>
                  <a:pt x="1907378" y="55871"/>
                  <a:pt x="1906834" y="41178"/>
                  <a:pt x="1912820" y="27030"/>
                </a:cubicBezTo>
                <a:cubicBezTo>
                  <a:pt x="1914996" y="22132"/>
                  <a:pt x="1911731" y="21588"/>
                  <a:pt x="1908466" y="22132"/>
                </a:cubicBezTo>
                <a:cubicBezTo>
                  <a:pt x="1906290" y="22676"/>
                  <a:pt x="1904657" y="24309"/>
                  <a:pt x="1902480" y="24309"/>
                </a:cubicBezTo>
                <a:cubicBezTo>
                  <a:pt x="1892685" y="24309"/>
                  <a:pt x="1882890" y="24853"/>
                  <a:pt x="1873095" y="24309"/>
                </a:cubicBezTo>
                <a:cubicBezTo>
                  <a:pt x="1868741" y="24309"/>
                  <a:pt x="1864932" y="22676"/>
                  <a:pt x="1861123" y="22132"/>
                </a:cubicBezTo>
                <a:close/>
                <a:moveTo>
                  <a:pt x="336886" y="17412"/>
                </a:moveTo>
                <a:cubicBezTo>
                  <a:pt x="347770" y="17412"/>
                  <a:pt x="363551" y="31016"/>
                  <a:pt x="363007" y="44077"/>
                </a:cubicBezTo>
                <a:cubicBezTo>
                  <a:pt x="363007" y="57681"/>
                  <a:pt x="350491" y="70741"/>
                  <a:pt x="337431" y="71285"/>
                </a:cubicBezTo>
                <a:cubicBezTo>
                  <a:pt x="324370" y="71830"/>
                  <a:pt x="310766" y="58769"/>
                  <a:pt x="310222" y="45165"/>
                </a:cubicBezTo>
                <a:cubicBezTo>
                  <a:pt x="309678" y="31016"/>
                  <a:pt x="323282" y="17956"/>
                  <a:pt x="336886" y="17412"/>
                </a:cubicBezTo>
                <a:close/>
                <a:moveTo>
                  <a:pt x="498507" y="13059"/>
                </a:moveTo>
                <a:cubicBezTo>
                  <a:pt x="514832" y="11970"/>
                  <a:pt x="531702" y="28296"/>
                  <a:pt x="531702" y="44621"/>
                </a:cubicBezTo>
                <a:cubicBezTo>
                  <a:pt x="531702" y="60402"/>
                  <a:pt x="515376" y="76183"/>
                  <a:pt x="499595" y="76727"/>
                </a:cubicBezTo>
                <a:cubicBezTo>
                  <a:pt x="483270" y="76727"/>
                  <a:pt x="467489" y="61490"/>
                  <a:pt x="467489" y="45165"/>
                </a:cubicBezTo>
                <a:cubicBezTo>
                  <a:pt x="467489" y="28840"/>
                  <a:pt x="482182" y="13059"/>
                  <a:pt x="498507" y="13059"/>
                </a:cubicBezTo>
                <a:close/>
                <a:moveTo>
                  <a:pt x="662303" y="7616"/>
                </a:moveTo>
                <a:cubicBezTo>
                  <a:pt x="680805" y="7072"/>
                  <a:pt x="698763" y="25030"/>
                  <a:pt x="698763" y="44076"/>
                </a:cubicBezTo>
                <a:cubicBezTo>
                  <a:pt x="698763" y="62578"/>
                  <a:pt x="680261" y="81624"/>
                  <a:pt x="662303" y="81080"/>
                </a:cubicBezTo>
                <a:cubicBezTo>
                  <a:pt x="644346" y="80536"/>
                  <a:pt x="626932" y="62578"/>
                  <a:pt x="626932" y="44076"/>
                </a:cubicBezTo>
                <a:cubicBezTo>
                  <a:pt x="626932" y="25574"/>
                  <a:pt x="643257" y="8160"/>
                  <a:pt x="662303" y="7616"/>
                </a:cubicBezTo>
                <a:close/>
                <a:moveTo>
                  <a:pt x="825557" y="5440"/>
                </a:moveTo>
                <a:cubicBezTo>
                  <a:pt x="847868" y="5440"/>
                  <a:pt x="865281" y="23942"/>
                  <a:pt x="865281" y="44621"/>
                </a:cubicBezTo>
                <a:cubicBezTo>
                  <a:pt x="865281" y="63667"/>
                  <a:pt x="847324" y="85978"/>
                  <a:pt x="826101" y="83257"/>
                </a:cubicBezTo>
                <a:cubicBezTo>
                  <a:pt x="805422" y="85978"/>
                  <a:pt x="786920" y="64211"/>
                  <a:pt x="786920" y="44621"/>
                </a:cubicBezTo>
                <a:cubicBezTo>
                  <a:pt x="786920" y="22854"/>
                  <a:pt x="805422" y="5440"/>
                  <a:pt x="825557" y="5440"/>
                </a:cubicBezTo>
                <a:close/>
                <a:moveTo>
                  <a:pt x="989353" y="1086"/>
                </a:moveTo>
                <a:cubicBezTo>
                  <a:pt x="1013297" y="1086"/>
                  <a:pt x="1032343" y="21220"/>
                  <a:pt x="1032343" y="43532"/>
                </a:cubicBezTo>
                <a:cubicBezTo>
                  <a:pt x="1032887" y="66931"/>
                  <a:pt x="1012753" y="88698"/>
                  <a:pt x="989897" y="87610"/>
                </a:cubicBezTo>
                <a:cubicBezTo>
                  <a:pt x="967042" y="88698"/>
                  <a:pt x="945819" y="65843"/>
                  <a:pt x="945819" y="44620"/>
                </a:cubicBezTo>
                <a:cubicBezTo>
                  <a:pt x="945819" y="23941"/>
                  <a:pt x="964321" y="1086"/>
                  <a:pt x="989353" y="1086"/>
                </a:cubicBezTo>
                <a:close/>
                <a:moveTo>
                  <a:pt x="1614056" y="0"/>
                </a:moveTo>
                <a:lnTo>
                  <a:pt x="1675529" y="0"/>
                </a:lnTo>
                <a:lnTo>
                  <a:pt x="1682905" y="4720"/>
                </a:lnTo>
                <a:lnTo>
                  <a:pt x="1933639" y="4720"/>
                </a:lnTo>
                <a:cubicBezTo>
                  <a:pt x="1966059" y="4720"/>
                  <a:pt x="1995409" y="17861"/>
                  <a:pt x="2016655" y="39107"/>
                </a:cubicBezTo>
                <a:lnTo>
                  <a:pt x="2028934" y="57318"/>
                </a:lnTo>
                <a:lnTo>
                  <a:pt x="2026008" y="71108"/>
                </a:lnTo>
                <a:cubicBezTo>
                  <a:pt x="2023832" y="74917"/>
                  <a:pt x="2026552" y="77094"/>
                  <a:pt x="2030906" y="75461"/>
                </a:cubicBezTo>
                <a:lnTo>
                  <a:pt x="2039929" y="73627"/>
                </a:lnTo>
                <a:lnTo>
                  <a:pt x="2041815" y="76424"/>
                </a:lnTo>
                <a:cubicBezTo>
                  <a:pt x="2047756" y="90470"/>
                  <a:pt x="2051041" y="105912"/>
                  <a:pt x="2051041" y="122122"/>
                </a:cubicBezTo>
                <a:lnTo>
                  <a:pt x="2051041" y="186473"/>
                </a:lnTo>
                <a:lnTo>
                  <a:pt x="2029818" y="186473"/>
                </a:lnTo>
                <a:cubicBezTo>
                  <a:pt x="2023832" y="184297"/>
                  <a:pt x="2022743" y="185929"/>
                  <a:pt x="2023287" y="192459"/>
                </a:cubicBezTo>
                <a:cubicBezTo>
                  <a:pt x="2023287" y="193548"/>
                  <a:pt x="2023287" y="195180"/>
                  <a:pt x="2023832" y="196268"/>
                </a:cubicBezTo>
                <a:cubicBezTo>
                  <a:pt x="2028185" y="210961"/>
                  <a:pt x="2026008" y="225110"/>
                  <a:pt x="2019478" y="239258"/>
                </a:cubicBezTo>
                <a:cubicBezTo>
                  <a:pt x="2018934" y="240347"/>
                  <a:pt x="2019478" y="241979"/>
                  <a:pt x="2020022" y="242523"/>
                </a:cubicBezTo>
                <a:cubicBezTo>
                  <a:pt x="2020566" y="243067"/>
                  <a:pt x="2022743" y="243612"/>
                  <a:pt x="2023287" y="243067"/>
                </a:cubicBezTo>
                <a:cubicBezTo>
                  <a:pt x="2032266" y="238986"/>
                  <a:pt x="2041245" y="237082"/>
                  <a:pt x="2050224" y="237150"/>
                </a:cubicBezTo>
                <a:lnTo>
                  <a:pt x="2051041" y="237329"/>
                </a:lnTo>
                <a:lnTo>
                  <a:pt x="2051041" y="348996"/>
                </a:lnTo>
                <a:lnTo>
                  <a:pt x="2036552" y="347754"/>
                </a:lnTo>
                <a:cubicBezTo>
                  <a:pt x="2031178" y="346733"/>
                  <a:pt x="2026009" y="344829"/>
                  <a:pt x="2021111" y="341019"/>
                </a:cubicBezTo>
                <a:cubicBezTo>
                  <a:pt x="2020022" y="339931"/>
                  <a:pt x="2018390" y="339387"/>
                  <a:pt x="2016757" y="338842"/>
                </a:cubicBezTo>
                <a:cubicBezTo>
                  <a:pt x="2016757" y="340475"/>
                  <a:pt x="2016757" y="343196"/>
                  <a:pt x="2017301" y="344284"/>
                </a:cubicBezTo>
                <a:cubicBezTo>
                  <a:pt x="2022743" y="354079"/>
                  <a:pt x="2026008" y="364419"/>
                  <a:pt x="2025464" y="376391"/>
                </a:cubicBezTo>
                <a:cubicBezTo>
                  <a:pt x="2024376" y="398702"/>
                  <a:pt x="2014580" y="413939"/>
                  <a:pt x="1994446" y="424278"/>
                </a:cubicBezTo>
                <a:cubicBezTo>
                  <a:pt x="1972135" y="435706"/>
                  <a:pt x="1950912" y="431352"/>
                  <a:pt x="1933498" y="416115"/>
                </a:cubicBezTo>
                <a:cubicBezTo>
                  <a:pt x="1917173" y="401967"/>
                  <a:pt x="1908466" y="378567"/>
                  <a:pt x="1920438" y="352447"/>
                </a:cubicBezTo>
                <a:cubicBezTo>
                  <a:pt x="1922615" y="348093"/>
                  <a:pt x="1923703" y="343196"/>
                  <a:pt x="1925336" y="338298"/>
                </a:cubicBezTo>
                <a:cubicBezTo>
                  <a:pt x="1920982" y="339931"/>
                  <a:pt x="1916085" y="341563"/>
                  <a:pt x="1911731" y="343196"/>
                </a:cubicBezTo>
                <a:cubicBezTo>
                  <a:pt x="1907378" y="344828"/>
                  <a:pt x="1903024" y="347005"/>
                  <a:pt x="1898671" y="347005"/>
                </a:cubicBezTo>
                <a:cubicBezTo>
                  <a:pt x="1882890" y="348638"/>
                  <a:pt x="1867653" y="348638"/>
                  <a:pt x="1854593" y="336666"/>
                </a:cubicBezTo>
                <a:lnTo>
                  <a:pt x="1847690" y="333480"/>
                </a:lnTo>
                <a:lnTo>
                  <a:pt x="1852961" y="344461"/>
                </a:lnTo>
                <a:cubicBezTo>
                  <a:pt x="1868742" y="372214"/>
                  <a:pt x="1855137" y="408674"/>
                  <a:pt x="1826840" y="420646"/>
                </a:cubicBezTo>
                <a:cubicBezTo>
                  <a:pt x="1803441" y="430985"/>
                  <a:pt x="1777864" y="422278"/>
                  <a:pt x="1765893" y="408130"/>
                </a:cubicBezTo>
                <a:cubicBezTo>
                  <a:pt x="1749567" y="388539"/>
                  <a:pt x="1744126" y="368405"/>
                  <a:pt x="1759362" y="342829"/>
                </a:cubicBezTo>
                <a:cubicBezTo>
                  <a:pt x="1771199" y="322422"/>
                  <a:pt x="1795584" y="313341"/>
                  <a:pt x="1815991" y="317193"/>
                </a:cubicBezTo>
                <a:cubicBezTo>
                  <a:pt x="1822793" y="318477"/>
                  <a:pt x="1829153" y="321198"/>
                  <a:pt x="1834459" y="325415"/>
                </a:cubicBezTo>
                <a:lnTo>
                  <a:pt x="1845023" y="330169"/>
                </a:lnTo>
                <a:lnTo>
                  <a:pt x="1840444" y="321429"/>
                </a:lnTo>
                <a:cubicBezTo>
                  <a:pt x="1831193" y="306736"/>
                  <a:pt x="1832282" y="290955"/>
                  <a:pt x="1834458" y="275174"/>
                </a:cubicBezTo>
                <a:cubicBezTo>
                  <a:pt x="1835002" y="269732"/>
                  <a:pt x="1838812" y="265379"/>
                  <a:pt x="1840988" y="259937"/>
                </a:cubicBezTo>
                <a:cubicBezTo>
                  <a:pt x="1841533" y="258849"/>
                  <a:pt x="1842077" y="257216"/>
                  <a:pt x="1842077" y="255584"/>
                </a:cubicBezTo>
                <a:cubicBezTo>
                  <a:pt x="1840444" y="256128"/>
                  <a:pt x="1838812" y="256672"/>
                  <a:pt x="1837723" y="257216"/>
                </a:cubicBezTo>
                <a:cubicBezTo>
                  <a:pt x="1831193" y="259937"/>
                  <a:pt x="1824663" y="263746"/>
                  <a:pt x="1817589" y="264834"/>
                </a:cubicBezTo>
                <a:cubicBezTo>
                  <a:pt x="1799631" y="268100"/>
                  <a:pt x="1782762" y="264290"/>
                  <a:pt x="1768069" y="251774"/>
                </a:cubicBezTo>
                <a:lnTo>
                  <a:pt x="1764740" y="250110"/>
                </a:lnTo>
                <a:lnTo>
                  <a:pt x="1773510" y="267189"/>
                </a:lnTo>
                <a:cubicBezTo>
                  <a:pt x="1786571" y="292765"/>
                  <a:pt x="1773510" y="323239"/>
                  <a:pt x="1750655" y="336843"/>
                </a:cubicBezTo>
                <a:cubicBezTo>
                  <a:pt x="1721270" y="354257"/>
                  <a:pt x="1685354" y="337388"/>
                  <a:pt x="1673926" y="310723"/>
                </a:cubicBezTo>
                <a:cubicBezTo>
                  <a:pt x="1664675" y="289500"/>
                  <a:pt x="1669029" y="271542"/>
                  <a:pt x="1681545" y="254673"/>
                </a:cubicBezTo>
                <a:cubicBezTo>
                  <a:pt x="1694605" y="237803"/>
                  <a:pt x="1712563" y="231817"/>
                  <a:pt x="1733786" y="235083"/>
                </a:cubicBezTo>
                <a:cubicBezTo>
                  <a:pt x="1739771" y="236171"/>
                  <a:pt x="1745757" y="239980"/>
                  <a:pt x="1751743" y="242157"/>
                </a:cubicBezTo>
                <a:lnTo>
                  <a:pt x="1762506" y="246769"/>
                </a:lnTo>
                <a:lnTo>
                  <a:pt x="1757185" y="236537"/>
                </a:lnTo>
                <a:cubicBezTo>
                  <a:pt x="1747934" y="219668"/>
                  <a:pt x="1747390" y="203343"/>
                  <a:pt x="1756097" y="185929"/>
                </a:cubicBezTo>
                <a:cubicBezTo>
                  <a:pt x="1757185" y="183752"/>
                  <a:pt x="1756641" y="180487"/>
                  <a:pt x="1757185" y="177766"/>
                </a:cubicBezTo>
                <a:cubicBezTo>
                  <a:pt x="1754464" y="177766"/>
                  <a:pt x="1751199" y="177222"/>
                  <a:pt x="1749023" y="178311"/>
                </a:cubicBezTo>
                <a:cubicBezTo>
                  <a:pt x="1722358" y="193003"/>
                  <a:pt x="1688075" y="178855"/>
                  <a:pt x="1676103" y="154911"/>
                </a:cubicBezTo>
                <a:cubicBezTo>
                  <a:pt x="1665220" y="133688"/>
                  <a:pt x="1667396" y="113554"/>
                  <a:pt x="1681001" y="94507"/>
                </a:cubicBezTo>
                <a:lnTo>
                  <a:pt x="1685681" y="85147"/>
                </a:lnTo>
                <a:lnTo>
                  <a:pt x="1693517" y="82536"/>
                </a:lnTo>
                <a:cubicBezTo>
                  <a:pt x="1710930" y="71108"/>
                  <a:pt x="1728888" y="71108"/>
                  <a:pt x="1747934" y="77638"/>
                </a:cubicBezTo>
                <a:cubicBezTo>
                  <a:pt x="1750655" y="78726"/>
                  <a:pt x="1753920" y="78726"/>
                  <a:pt x="1756641" y="79271"/>
                </a:cubicBezTo>
                <a:cubicBezTo>
                  <a:pt x="1756097" y="76550"/>
                  <a:pt x="1755553" y="74373"/>
                  <a:pt x="1754464" y="71652"/>
                </a:cubicBezTo>
                <a:cubicBezTo>
                  <a:pt x="1753920" y="70564"/>
                  <a:pt x="1753376" y="69475"/>
                  <a:pt x="1752832" y="68387"/>
                </a:cubicBezTo>
                <a:cubicBezTo>
                  <a:pt x="1747934" y="52062"/>
                  <a:pt x="1747390" y="35737"/>
                  <a:pt x="1756097" y="20500"/>
                </a:cubicBezTo>
                <a:cubicBezTo>
                  <a:pt x="1756641" y="19411"/>
                  <a:pt x="1757185" y="16690"/>
                  <a:pt x="1756641" y="16146"/>
                </a:cubicBezTo>
                <a:cubicBezTo>
                  <a:pt x="1755553" y="15058"/>
                  <a:pt x="1753376" y="14514"/>
                  <a:pt x="1751744" y="15058"/>
                </a:cubicBezTo>
                <a:cubicBezTo>
                  <a:pt x="1747934" y="16146"/>
                  <a:pt x="1744669" y="19411"/>
                  <a:pt x="1741404" y="19955"/>
                </a:cubicBezTo>
                <a:cubicBezTo>
                  <a:pt x="1724535" y="21588"/>
                  <a:pt x="1707121" y="23765"/>
                  <a:pt x="1691884" y="11249"/>
                </a:cubicBezTo>
                <a:lnTo>
                  <a:pt x="1685645" y="8369"/>
                </a:lnTo>
                <a:lnTo>
                  <a:pt x="1688620" y="14691"/>
                </a:lnTo>
                <a:cubicBezTo>
                  <a:pt x="1700048" y="32648"/>
                  <a:pt x="1700048" y="50606"/>
                  <a:pt x="1691885" y="69652"/>
                </a:cubicBezTo>
                <a:lnTo>
                  <a:pt x="1684469" y="82365"/>
                </a:lnTo>
                <a:lnTo>
                  <a:pt x="1663044" y="94684"/>
                </a:lnTo>
                <a:cubicBezTo>
                  <a:pt x="1651072" y="101759"/>
                  <a:pt x="1638556" y="100126"/>
                  <a:pt x="1626584" y="96861"/>
                </a:cubicBezTo>
                <a:cubicBezTo>
                  <a:pt x="1608082" y="91419"/>
                  <a:pt x="1595566" y="78359"/>
                  <a:pt x="1590124" y="60401"/>
                </a:cubicBezTo>
                <a:cubicBezTo>
                  <a:pt x="1586315" y="48974"/>
                  <a:pt x="1586315" y="37002"/>
                  <a:pt x="1591757" y="25030"/>
                </a:cubicBezTo>
                <a:close/>
                <a:moveTo>
                  <a:pt x="1460066" y="0"/>
                </a:moveTo>
                <a:lnTo>
                  <a:pt x="1498513" y="0"/>
                </a:lnTo>
                <a:lnTo>
                  <a:pt x="1517204" y="8092"/>
                </a:lnTo>
                <a:cubicBezTo>
                  <a:pt x="1526183" y="17411"/>
                  <a:pt x="1531352" y="30199"/>
                  <a:pt x="1531896" y="45164"/>
                </a:cubicBezTo>
                <a:cubicBezTo>
                  <a:pt x="1532985" y="71829"/>
                  <a:pt x="1505776" y="97949"/>
                  <a:pt x="1479111" y="97949"/>
                </a:cubicBezTo>
                <a:cubicBezTo>
                  <a:pt x="1451902" y="97949"/>
                  <a:pt x="1425238" y="71829"/>
                  <a:pt x="1426870" y="45164"/>
                </a:cubicBezTo>
                <a:cubicBezTo>
                  <a:pt x="1427687" y="29655"/>
                  <a:pt x="1432720" y="16867"/>
                  <a:pt x="1441631" y="7684"/>
                </a:cubicBezTo>
                <a:close/>
                <a:moveTo>
                  <a:pt x="1296749" y="0"/>
                </a:moveTo>
                <a:lnTo>
                  <a:pt x="1335755" y="0"/>
                </a:lnTo>
                <a:lnTo>
                  <a:pt x="1350278" y="10270"/>
                </a:lnTo>
                <a:cubicBezTo>
                  <a:pt x="1359937" y="19861"/>
                  <a:pt x="1366467" y="32649"/>
                  <a:pt x="1365923" y="45165"/>
                </a:cubicBezTo>
                <a:cubicBezTo>
                  <a:pt x="1364291" y="71829"/>
                  <a:pt x="1343068" y="93052"/>
                  <a:pt x="1315315" y="93052"/>
                </a:cubicBezTo>
                <a:cubicBezTo>
                  <a:pt x="1290283" y="95229"/>
                  <a:pt x="1266339" y="69109"/>
                  <a:pt x="1266339" y="44076"/>
                </a:cubicBezTo>
                <a:cubicBezTo>
                  <a:pt x="1266339" y="30472"/>
                  <a:pt x="1273141" y="18228"/>
                  <a:pt x="1282732" y="9317"/>
                </a:cubicBezTo>
                <a:close/>
                <a:moveTo>
                  <a:pt x="1148085" y="0"/>
                </a:moveTo>
                <a:lnTo>
                  <a:pt x="1161802" y="0"/>
                </a:lnTo>
                <a:lnTo>
                  <a:pt x="1169637" y="1315"/>
                </a:lnTo>
                <a:cubicBezTo>
                  <a:pt x="1186447" y="8432"/>
                  <a:pt x="1199813" y="26798"/>
                  <a:pt x="1199405" y="45164"/>
                </a:cubicBezTo>
                <a:cubicBezTo>
                  <a:pt x="1198861" y="69652"/>
                  <a:pt x="1175462" y="93596"/>
                  <a:pt x="1151518" y="91419"/>
                </a:cubicBezTo>
                <a:cubicBezTo>
                  <a:pt x="1123765" y="88154"/>
                  <a:pt x="1109072" y="72373"/>
                  <a:pt x="1105807" y="44620"/>
                </a:cubicBezTo>
                <a:cubicBezTo>
                  <a:pt x="1107440" y="30472"/>
                  <a:pt x="1111657" y="19588"/>
                  <a:pt x="1119139" y="11902"/>
                </a:cubicBezTo>
                <a:close/>
              </a:path>
            </a:pathLst>
          </a:custGeom>
          <a:solidFill>
            <a:srgbClr val="0070C0">
              <a:alpha val="28000"/>
            </a:srgbClr>
          </a:solidFill>
          <a:ln w="543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grpSp>
        <p:nvGrpSpPr>
          <p:cNvPr id="18" name="Group 17">
            <a:extLst>
              <a:ext uri="{FF2B5EF4-FFF2-40B4-BE49-F238E27FC236}">
                <a16:creationId xmlns:a16="http://schemas.microsoft.com/office/drawing/2014/main" id="{D95A3469-9422-47DD-9B40-ED4A21175239}"/>
              </a:ext>
            </a:extLst>
          </p:cNvPr>
          <p:cNvGrpSpPr/>
          <p:nvPr/>
        </p:nvGrpSpPr>
        <p:grpSpPr>
          <a:xfrm>
            <a:off x="865383" y="2516359"/>
            <a:ext cx="6092008" cy="1280160"/>
            <a:chOff x="715483" y="2516359"/>
            <a:chExt cx="4466519" cy="1280160"/>
          </a:xfrm>
        </p:grpSpPr>
        <p:sp>
          <p:nvSpPr>
            <p:cNvPr id="20" name="Rectangle: Rounded Corners 19">
              <a:extLst>
                <a:ext uri="{FF2B5EF4-FFF2-40B4-BE49-F238E27FC236}">
                  <a16:creationId xmlns:a16="http://schemas.microsoft.com/office/drawing/2014/main" id="{12228746-B132-495C-9CFC-5F42E0B69EE6}"/>
                </a:ext>
              </a:extLst>
            </p:cNvPr>
            <p:cNvSpPr/>
            <p:nvPr/>
          </p:nvSpPr>
          <p:spPr>
            <a:xfrm>
              <a:off x="5136282" y="2516359"/>
              <a:ext cx="45720" cy="1280160"/>
            </a:xfrm>
            <a:prstGeom prst="roundRect">
              <a:avLst/>
            </a:prstGeom>
            <a:solidFill>
              <a:srgbClr val="892EA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2800">
                <a:latin typeface="Publica Sans Medium" panose="00000600000000000000" pitchFamily="50" charset="0"/>
                <a:cs typeface="Publica Sans Medium" panose="00000600000000000000" pitchFamily="50" charset="0"/>
              </a:endParaRPr>
            </a:p>
          </p:txBody>
        </p:sp>
        <p:sp>
          <p:nvSpPr>
            <p:cNvPr id="21" name="TextBox 20">
              <a:extLst>
                <a:ext uri="{FF2B5EF4-FFF2-40B4-BE49-F238E27FC236}">
                  <a16:creationId xmlns:a16="http://schemas.microsoft.com/office/drawing/2014/main" id="{2486D768-0283-4A50-952A-131B81B01217}"/>
                </a:ext>
              </a:extLst>
            </p:cNvPr>
            <p:cNvSpPr txBox="1"/>
            <p:nvPr/>
          </p:nvSpPr>
          <p:spPr>
            <a:xfrm>
              <a:off x="715483" y="2907140"/>
              <a:ext cx="4466519" cy="498598"/>
            </a:xfrm>
            <a:prstGeom prst="rect">
              <a:avLst/>
            </a:prstGeom>
            <a:noFill/>
          </p:spPr>
          <p:txBody>
            <a:bodyPr wrap="square" tIns="0" bIns="0" rtlCol="0" anchor="ctr">
              <a:spAutoFit/>
            </a:bodyPr>
            <a:lstStyle/>
            <a:p>
              <a:pPr>
                <a:lnSpc>
                  <a:spcPct val="90000"/>
                </a:lnSpc>
              </a:pPr>
              <a:r>
                <a:rPr lang="en-US" sz="3600" b="1" dirty="0">
                  <a:solidFill>
                    <a:srgbClr val="4CF6FE"/>
                  </a:solidFill>
                  <a:cs typeface="Publica Sans" panose="00000500000000000000" pitchFamily="50" charset="0"/>
                </a:rPr>
                <a:t>HPR Spend Analytics</a:t>
              </a:r>
            </a:p>
          </p:txBody>
        </p:sp>
      </p:grpSp>
      <p:sp>
        <p:nvSpPr>
          <p:cNvPr id="23" name="TextBox 22">
            <a:extLst>
              <a:ext uri="{FF2B5EF4-FFF2-40B4-BE49-F238E27FC236}">
                <a16:creationId xmlns:a16="http://schemas.microsoft.com/office/drawing/2014/main" id="{0612BA44-ED5D-44D3-B7E1-595B4B2CFB41}"/>
              </a:ext>
            </a:extLst>
          </p:cNvPr>
          <p:cNvSpPr txBox="1"/>
          <p:nvPr/>
        </p:nvSpPr>
        <p:spPr>
          <a:xfrm>
            <a:off x="865384" y="4347716"/>
            <a:ext cx="1319016" cy="307777"/>
          </a:xfrm>
          <a:prstGeom prst="rect">
            <a:avLst/>
          </a:prstGeom>
          <a:noFill/>
        </p:spPr>
        <p:txBody>
          <a:bodyPr wrap="square" lIns="91440" tIns="45720" rIns="91440" bIns="45720" rtlCol="0" anchor="t">
            <a:spAutoFit/>
          </a:bodyPr>
          <a:lstStyle/>
          <a:p>
            <a:r>
              <a:rPr lang="en-US" sz="1400" b="1" dirty="0">
                <a:solidFill>
                  <a:srgbClr val="FFFFFF"/>
                </a:solidFill>
              </a:rPr>
              <a:t>Jan 2023</a:t>
            </a:r>
          </a:p>
        </p:txBody>
      </p:sp>
    </p:spTree>
    <p:extLst>
      <p:ext uri="{BB962C8B-B14F-4D97-AF65-F5344CB8AC3E}">
        <p14:creationId xmlns:p14="http://schemas.microsoft.com/office/powerpoint/2010/main" val="131798280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34E159A-7778-419C-8245-779133AE7779}"/>
              </a:ext>
            </a:extLst>
          </p:cNvPr>
          <p:cNvSpPr>
            <a:spLocks noGrp="1"/>
          </p:cNvSpPr>
          <p:nvPr>
            <p:ph type="title"/>
          </p:nvPr>
        </p:nvSpPr>
        <p:spPr/>
        <p:txBody>
          <a:bodyPr/>
          <a:lstStyle/>
          <a:p>
            <a:r>
              <a:rPr lang="en-US" dirty="0"/>
              <a:t>HPR Spend Analytics</a:t>
            </a:r>
            <a:endParaRPr lang="en-IN" dirty="0"/>
          </a:p>
        </p:txBody>
      </p:sp>
      <p:sp>
        <p:nvSpPr>
          <p:cNvPr id="3" name="Text Placeholder 2">
            <a:extLst>
              <a:ext uri="{FF2B5EF4-FFF2-40B4-BE49-F238E27FC236}">
                <a16:creationId xmlns:a16="http://schemas.microsoft.com/office/drawing/2014/main" id="{4BB8E2C4-D51C-4B6A-93B1-E4C911340422}"/>
              </a:ext>
            </a:extLst>
          </p:cNvPr>
          <p:cNvSpPr>
            <a:spLocks noGrp="1"/>
          </p:cNvSpPr>
          <p:nvPr>
            <p:ph type="body" idx="17"/>
          </p:nvPr>
        </p:nvSpPr>
        <p:spPr/>
        <p:txBody>
          <a:bodyPr/>
          <a:lstStyle/>
          <a:p>
            <a:r>
              <a:rPr lang="en-US" dirty="0"/>
              <a:t>Objective</a:t>
            </a:r>
            <a:endParaRPr lang="en-IN" dirty="0"/>
          </a:p>
        </p:txBody>
      </p:sp>
      <p:sp>
        <p:nvSpPr>
          <p:cNvPr id="4" name="Text Placeholder 3">
            <a:extLst>
              <a:ext uri="{FF2B5EF4-FFF2-40B4-BE49-F238E27FC236}">
                <a16:creationId xmlns:a16="http://schemas.microsoft.com/office/drawing/2014/main" id="{514CFC9F-9050-483C-AF94-AA22200F5910}"/>
              </a:ext>
            </a:extLst>
          </p:cNvPr>
          <p:cNvSpPr>
            <a:spLocks noGrp="1"/>
          </p:cNvSpPr>
          <p:nvPr>
            <p:ph type="body" idx="18"/>
          </p:nvPr>
        </p:nvSpPr>
        <p:spPr/>
        <p:txBody>
          <a:bodyPr/>
          <a:lstStyle/>
          <a:p>
            <a:r>
              <a:rPr lang="en-US" dirty="0"/>
              <a:t>Summary</a:t>
            </a:r>
            <a:endParaRPr lang="en-IN" dirty="0"/>
          </a:p>
        </p:txBody>
      </p:sp>
      <p:sp>
        <p:nvSpPr>
          <p:cNvPr id="5" name="Text Placeholder 4">
            <a:extLst>
              <a:ext uri="{FF2B5EF4-FFF2-40B4-BE49-F238E27FC236}">
                <a16:creationId xmlns:a16="http://schemas.microsoft.com/office/drawing/2014/main" id="{9B72D855-E048-4E55-B230-4DA41F654A56}"/>
              </a:ext>
            </a:extLst>
          </p:cNvPr>
          <p:cNvSpPr>
            <a:spLocks noGrp="1"/>
          </p:cNvSpPr>
          <p:nvPr>
            <p:ph type="body" idx="19"/>
          </p:nvPr>
        </p:nvSpPr>
        <p:spPr/>
        <p:txBody>
          <a:bodyPr/>
          <a:lstStyle/>
          <a:p>
            <a:r>
              <a:rPr lang="en-US" dirty="0"/>
              <a:t>Solution</a:t>
            </a:r>
            <a:endParaRPr lang="en-IN" dirty="0"/>
          </a:p>
        </p:txBody>
      </p:sp>
      <p:sp>
        <p:nvSpPr>
          <p:cNvPr id="6" name="Text Placeholder 5">
            <a:extLst>
              <a:ext uri="{FF2B5EF4-FFF2-40B4-BE49-F238E27FC236}">
                <a16:creationId xmlns:a16="http://schemas.microsoft.com/office/drawing/2014/main" id="{2DE22CF1-8753-45AA-B41F-82CC240172EF}"/>
              </a:ext>
            </a:extLst>
          </p:cNvPr>
          <p:cNvSpPr>
            <a:spLocks noGrp="1"/>
          </p:cNvSpPr>
          <p:nvPr>
            <p:ph type="body" idx="20"/>
          </p:nvPr>
        </p:nvSpPr>
        <p:spPr/>
        <p:txBody>
          <a:bodyPr/>
          <a:lstStyle/>
          <a:p>
            <a:r>
              <a:rPr lang="en-US" dirty="0"/>
              <a:t>Type of Solution</a:t>
            </a:r>
            <a:endParaRPr lang="en-IN" dirty="0"/>
          </a:p>
        </p:txBody>
      </p:sp>
      <p:sp>
        <p:nvSpPr>
          <p:cNvPr id="7" name="Text Placeholder 6">
            <a:extLst>
              <a:ext uri="{FF2B5EF4-FFF2-40B4-BE49-F238E27FC236}">
                <a16:creationId xmlns:a16="http://schemas.microsoft.com/office/drawing/2014/main" id="{FEF7FEDC-D288-458F-87B8-0CF13C36B786}"/>
              </a:ext>
            </a:extLst>
          </p:cNvPr>
          <p:cNvSpPr>
            <a:spLocks noGrp="1"/>
          </p:cNvSpPr>
          <p:nvPr>
            <p:ph type="body" sz="half" idx="21"/>
          </p:nvPr>
        </p:nvSpPr>
        <p:spPr>
          <a:xfrm>
            <a:off x="3326507" y="1320115"/>
            <a:ext cx="7563104" cy="1080000"/>
          </a:xfrm>
        </p:spPr>
        <p:txBody>
          <a:bodyPr>
            <a:normAutofit/>
          </a:bodyPr>
          <a:lstStyle/>
          <a:p>
            <a:pPr marL="0" indent="0">
              <a:buNone/>
            </a:pPr>
            <a:r>
              <a:rPr lang="en-US" b="1" dirty="0"/>
              <a:t>To estimate how the operational &amp; purchase budget is spend by the hospital. To breakdown into different categories in an EDA tool, that can be utilized by leadership for actionable insights.</a:t>
            </a:r>
          </a:p>
        </p:txBody>
      </p:sp>
      <p:sp>
        <p:nvSpPr>
          <p:cNvPr id="8" name="Text Placeholder 7">
            <a:extLst>
              <a:ext uri="{FF2B5EF4-FFF2-40B4-BE49-F238E27FC236}">
                <a16:creationId xmlns:a16="http://schemas.microsoft.com/office/drawing/2014/main" id="{9535508B-0F05-4858-ADD8-EB8252B5403F}"/>
              </a:ext>
            </a:extLst>
          </p:cNvPr>
          <p:cNvSpPr>
            <a:spLocks noGrp="1"/>
          </p:cNvSpPr>
          <p:nvPr>
            <p:ph type="body" sz="half" idx="22"/>
          </p:nvPr>
        </p:nvSpPr>
        <p:spPr/>
        <p:txBody>
          <a:bodyPr>
            <a:normAutofit/>
          </a:bodyPr>
          <a:lstStyle/>
          <a:p>
            <a:pPr marL="0" indent="0">
              <a:buNone/>
            </a:pPr>
            <a:r>
              <a:rPr lang="en-US" dirty="0"/>
              <a:t>Spent can be categorized in multiple categories based on Suppliers, Quantity, Piece Cost etc. The insights can help in better financial planning and Optimization.</a:t>
            </a:r>
          </a:p>
        </p:txBody>
      </p:sp>
      <p:sp>
        <p:nvSpPr>
          <p:cNvPr id="9" name="Text Placeholder 8">
            <a:extLst>
              <a:ext uri="{FF2B5EF4-FFF2-40B4-BE49-F238E27FC236}">
                <a16:creationId xmlns:a16="http://schemas.microsoft.com/office/drawing/2014/main" id="{FC1F832F-F253-4C30-9565-CCA2AAB5F7F0}"/>
              </a:ext>
            </a:extLst>
          </p:cNvPr>
          <p:cNvSpPr>
            <a:spLocks noGrp="1"/>
          </p:cNvSpPr>
          <p:nvPr>
            <p:ph type="body" sz="half" idx="23"/>
          </p:nvPr>
        </p:nvSpPr>
        <p:spPr>
          <a:xfrm>
            <a:off x="3326506" y="3780118"/>
            <a:ext cx="7785441" cy="1080000"/>
          </a:xfrm>
        </p:spPr>
        <p:txBody>
          <a:bodyPr>
            <a:normAutofit/>
          </a:bodyPr>
          <a:lstStyle/>
          <a:p>
            <a:pPr marL="0" indent="0">
              <a:buNone/>
            </a:pPr>
            <a:r>
              <a:rPr lang="en-US" dirty="0"/>
              <a:t>A system using AI can monitor and present in a centralized dashboard. It can also prescribe future spends so as to increase profit or decrease cost.</a:t>
            </a:r>
          </a:p>
        </p:txBody>
      </p:sp>
      <p:sp>
        <p:nvSpPr>
          <p:cNvPr id="10" name="Text Placeholder 9">
            <a:extLst>
              <a:ext uri="{FF2B5EF4-FFF2-40B4-BE49-F238E27FC236}">
                <a16:creationId xmlns:a16="http://schemas.microsoft.com/office/drawing/2014/main" id="{2465AB03-86E8-4F61-90FC-11287468EF7C}"/>
              </a:ext>
            </a:extLst>
          </p:cNvPr>
          <p:cNvSpPr>
            <a:spLocks noGrp="1"/>
          </p:cNvSpPr>
          <p:nvPr>
            <p:ph type="body" sz="half" idx="24"/>
          </p:nvPr>
        </p:nvSpPr>
        <p:spPr>
          <a:xfrm>
            <a:off x="3326507" y="5369390"/>
            <a:ext cx="7563104" cy="1080000"/>
          </a:xfrm>
        </p:spPr>
        <p:txBody>
          <a:bodyPr/>
          <a:lstStyle/>
          <a:p>
            <a:pPr marL="0" indent="0">
              <a:buNone/>
            </a:pPr>
            <a:r>
              <a:rPr lang="en-US" dirty="0"/>
              <a:t>Data Analytics &amp; Visualization</a:t>
            </a:r>
          </a:p>
          <a:p>
            <a:pPr marL="0" indent="0">
              <a:buNone/>
            </a:pPr>
            <a:r>
              <a:rPr lang="en-US" dirty="0"/>
              <a:t>Clustering &amp; Predictive modeling techniques</a:t>
            </a:r>
            <a:endParaRPr lang="en-IN" dirty="0"/>
          </a:p>
        </p:txBody>
      </p:sp>
    </p:spTree>
    <p:extLst>
      <p:ext uri="{BB962C8B-B14F-4D97-AF65-F5344CB8AC3E}">
        <p14:creationId xmlns:p14="http://schemas.microsoft.com/office/powerpoint/2010/main" val="149783827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97EF54FE-9B4F-4386-88B8-724606FFA831}"/>
              </a:ext>
            </a:extLst>
          </p:cNvPr>
          <p:cNvSpPr>
            <a:spLocks noGrp="1"/>
          </p:cNvSpPr>
          <p:nvPr>
            <p:ph type="body" sz="half" idx="2"/>
          </p:nvPr>
        </p:nvSpPr>
        <p:spPr/>
        <p:txBody>
          <a:bodyPr>
            <a:normAutofit/>
          </a:bodyPr>
          <a:lstStyle/>
          <a:p>
            <a:pPr marL="228600" indent="-228600">
              <a:buFont typeface="+mj-lt"/>
              <a:buAutoNum type="arabicPeriod"/>
            </a:pPr>
            <a:r>
              <a:rPr lang="en-US" sz="2000" dirty="0"/>
              <a:t>Analyze the hospital’s current and historic expenditure</a:t>
            </a:r>
          </a:p>
          <a:p>
            <a:pPr marL="228600" indent="-228600">
              <a:buFont typeface="+mj-lt"/>
              <a:buAutoNum type="arabicPeriod"/>
            </a:pPr>
            <a:r>
              <a:rPr lang="en-US" sz="2000" dirty="0"/>
              <a:t>Classify Total Spend into various categories</a:t>
            </a:r>
          </a:p>
          <a:p>
            <a:pPr marL="228600" indent="-228600">
              <a:buFont typeface="+mj-lt"/>
              <a:buAutoNum type="arabicPeriod"/>
            </a:pPr>
            <a:r>
              <a:rPr lang="en-US" sz="2000" dirty="0"/>
              <a:t>Investigate Maverick Spend*</a:t>
            </a:r>
          </a:p>
          <a:p>
            <a:pPr marL="228600" indent="-228600">
              <a:buFont typeface="+mj-lt"/>
              <a:buAutoNum type="arabicPeriod"/>
            </a:pPr>
            <a:r>
              <a:rPr lang="en-US" sz="2000" dirty="0"/>
              <a:t>Forecast spends to predict future savings</a:t>
            </a:r>
          </a:p>
          <a:p>
            <a:pPr marL="228600" indent="-228600">
              <a:buFont typeface="+mj-lt"/>
              <a:buAutoNum type="arabicPeriod"/>
            </a:pPr>
            <a:r>
              <a:rPr lang="en-US" sz="2000" dirty="0"/>
              <a:t>Reduce supplier costs by identifying better negotiation opportunities with suppliers</a:t>
            </a:r>
          </a:p>
          <a:p>
            <a:pPr marL="228600" indent="-228600">
              <a:buFont typeface="+mj-lt"/>
              <a:buAutoNum type="arabicPeriod"/>
            </a:pPr>
            <a:r>
              <a:rPr lang="en-US" sz="2000" dirty="0"/>
              <a:t>Perform What-if analysis</a:t>
            </a:r>
          </a:p>
          <a:p>
            <a:pPr marL="228600" indent="-228600">
              <a:buFont typeface="+mj-lt"/>
              <a:buAutoNum type="arabicPeriod"/>
            </a:pPr>
            <a:r>
              <a:rPr lang="en-IN" sz="2000" dirty="0"/>
              <a:t>hospital charges (list prices)  vs </a:t>
            </a:r>
            <a:r>
              <a:rPr lang="en-US" sz="2000" dirty="0"/>
              <a:t>actual prices paid by health plans</a:t>
            </a:r>
            <a:endParaRPr lang="en-IN" sz="2000" dirty="0"/>
          </a:p>
        </p:txBody>
      </p:sp>
      <p:sp>
        <p:nvSpPr>
          <p:cNvPr id="3" name="Title 2">
            <a:extLst>
              <a:ext uri="{FF2B5EF4-FFF2-40B4-BE49-F238E27FC236}">
                <a16:creationId xmlns:a16="http://schemas.microsoft.com/office/drawing/2014/main" id="{5936E7E9-3367-4674-8E9A-13FFE31AFC97}"/>
              </a:ext>
            </a:extLst>
          </p:cNvPr>
          <p:cNvSpPr>
            <a:spLocks noGrp="1"/>
          </p:cNvSpPr>
          <p:nvPr>
            <p:ph type="title"/>
          </p:nvPr>
        </p:nvSpPr>
        <p:spPr/>
        <p:txBody>
          <a:bodyPr/>
          <a:lstStyle/>
          <a:p>
            <a:r>
              <a:rPr lang="en-US" dirty="0"/>
              <a:t>Key Uses of Dashboard</a:t>
            </a:r>
            <a:endParaRPr lang="en-IN" dirty="0"/>
          </a:p>
        </p:txBody>
      </p:sp>
      <p:sp>
        <p:nvSpPr>
          <p:cNvPr id="5" name="TextBox 4">
            <a:hlinkClick r:id="rId2"/>
            <a:extLst>
              <a:ext uri="{FF2B5EF4-FFF2-40B4-BE49-F238E27FC236}">
                <a16:creationId xmlns:a16="http://schemas.microsoft.com/office/drawing/2014/main" id="{4B76B182-C367-42AB-AA9F-AA4EC2774366}"/>
              </a:ext>
            </a:extLst>
          </p:cNvPr>
          <p:cNvSpPr txBox="1"/>
          <p:nvPr/>
        </p:nvSpPr>
        <p:spPr>
          <a:xfrm>
            <a:off x="10201275" y="6144903"/>
            <a:ext cx="1126783" cy="369332"/>
          </a:xfrm>
          <a:prstGeom prst="rect">
            <a:avLst/>
          </a:prstGeom>
          <a:noFill/>
        </p:spPr>
        <p:txBody>
          <a:bodyPr wrap="none" rtlCol="0">
            <a:spAutoFit/>
          </a:bodyPr>
          <a:lstStyle/>
          <a:p>
            <a:r>
              <a:rPr lang="en-US" dirty="0"/>
              <a:t>Reference</a:t>
            </a:r>
            <a:endParaRPr lang="en-IN" dirty="0"/>
          </a:p>
        </p:txBody>
      </p:sp>
      <p:sp>
        <p:nvSpPr>
          <p:cNvPr id="8" name="TextBox 7">
            <a:extLst>
              <a:ext uri="{FF2B5EF4-FFF2-40B4-BE49-F238E27FC236}">
                <a16:creationId xmlns:a16="http://schemas.microsoft.com/office/drawing/2014/main" id="{966DA90A-69EA-4DDA-B334-9064E76CF379}"/>
              </a:ext>
            </a:extLst>
          </p:cNvPr>
          <p:cNvSpPr txBox="1"/>
          <p:nvPr/>
        </p:nvSpPr>
        <p:spPr>
          <a:xfrm>
            <a:off x="464908" y="5088513"/>
            <a:ext cx="11596251" cy="369332"/>
          </a:xfrm>
          <a:prstGeom prst="rect">
            <a:avLst/>
          </a:prstGeom>
          <a:noFill/>
        </p:spPr>
        <p:txBody>
          <a:bodyPr wrap="none" rtlCol="0">
            <a:spAutoFit/>
          </a:bodyPr>
          <a:lstStyle/>
          <a:p>
            <a:r>
              <a:rPr lang="en-US" dirty="0"/>
              <a:t>*Maverick spend is defined as buying from suppliers without following the company's pre-established procurement policy</a:t>
            </a:r>
            <a:endParaRPr lang="en-IN" dirty="0"/>
          </a:p>
        </p:txBody>
      </p:sp>
    </p:spTree>
    <p:extLst>
      <p:ext uri="{BB962C8B-B14F-4D97-AF65-F5344CB8AC3E}">
        <p14:creationId xmlns:p14="http://schemas.microsoft.com/office/powerpoint/2010/main" val="25641803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8DF15D1E-3C3F-44B8-8ED9-F9A436448EA3}"/>
              </a:ext>
            </a:extLst>
          </p:cNvPr>
          <p:cNvSpPr>
            <a:spLocks noGrp="1"/>
          </p:cNvSpPr>
          <p:nvPr>
            <p:ph type="body" sz="half" idx="2"/>
          </p:nvPr>
        </p:nvSpPr>
        <p:spPr>
          <a:xfrm>
            <a:off x="464908" y="861806"/>
            <a:ext cx="10907942" cy="3811588"/>
          </a:xfrm>
        </p:spPr>
        <p:txBody>
          <a:bodyPr>
            <a:normAutofit/>
          </a:bodyPr>
          <a:lstStyle/>
          <a:p>
            <a:pPr marL="228600" indent="-228600">
              <a:buFont typeface="+mj-lt"/>
              <a:buAutoNum type="arabicPeriod"/>
            </a:pPr>
            <a:r>
              <a:rPr lang="en-IN" sz="2000" dirty="0"/>
              <a:t>Standardizing ordering new supplies i.e., Reducing the number of suppliers. Lesser variance = More efficiency</a:t>
            </a:r>
          </a:p>
          <a:p>
            <a:pPr marL="228600" indent="-228600">
              <a:buFont typeface="+mj-lt"/>
              <a:buAutoNum type="arabicPeriod"/>
            </a:pPr>
            <a:r>
              <a:rPr lang="en-IN" sz="2000" dirty="0"/>
              <a:t>Utilize Long-term contracts</a:t>
            </a:r>
          </a:p>
          <a:p>
            <a:pPr marL="228600" indent="-228600">
              <a:buFont typeface="+mj-lt"/>
              <a:buAutoNum type="arabicPeriod"/>
            </a:pPr>
            <a:r>
              <a:rPr lang="en-IN" sz="2000" dirty="0"/>
              <a:t>Utilize economies of scale i.e., discounts for volume</a:t>
            </a:r>
          </a:p>
          <a:p>
            <a:pPr marL="228600" indent="-228600">
              <a:buFont typeface="+mj-lt"/>
              <a:buAutoNum type="arabicPeriod"/>
            </a:pPr>
            <a:r>
              <a:rPr lang="en-IN" sz="2000" dirty="0"/>
              <a:t>Standardize Physician Preference Items (PPI) </a:t>
            </a:r>
            <a:r>
              <a:rPr lang="en-IN" sz="2000" dirty="0">
                <a:sym typeface="Wingdings" panose="05000000000000000000" pitchFamily="2" charset="2"/>
              </a:rPr>
              <a:t> </a:t>
            </a:r>
            <a:r>
              <a:rPr lang="en-US" sz="2000" dirty="0">
                <a:sym typeface="Wingdings" panose="05000000000000000000" pitchFamily="2" charset="2"/>
              </a:rPr>
              <a:t>determine which items are “preference” driven versus procedural requirement driven</a:t>
            </a:r>
            <a:endParaRPr lang="en-IN" sz="2000" dirty="0"/>
          </a:p>
          <a:p>
            <a:pPr marL="228600" indent="-228600">
              <a:buFont typeface="+mj-lt"/>
              <a:buAutoNum type="arabicPeriod"/>
            </a:pPr>
            <a:r>
              <a:rPr lang="en-US" sz="2000" dirty="0"/>
              <a:t>Show physicians their cost per case and comparisons with others</a:t>
            </a:r>
          </a:p>
          <a:p>
            <a:pPr marL="228600" indent="-228600">
              <a:buFont typeface="+mj-lt"/>
              <a:buAutoNum type="arabicPeriod"/>
            </a:pPr>
            <a:r>
              <a:rPr lang="en-US" sz="2000" dirty="0"/>
              <a:t>Utilize less expensive devices that offer the same clinical outcomes</a:t>
            </a:r>
          </a:p>
          <a:p>
            <a:pPr marL="228600" indent="-228600">
              <a:buFont typeface="+mj-lt"/>
              <a:buAutoNum type="arabicPeriod"/>
            </a:pPr>
            <a:r>
              <a:rPr lang="en-US" sz="2000" dirty="0"/>
              <a:t>Utilize Group purchasing organization (GPOs) </a:t>
            </a:r>
            <a:r>
              <a:rPr lang="en-US" sz="2000" dirty="0">
                <a:sym typeface="Wingdings" panose="05000000000000000000" pitchFamily="2" charset="2"/>
              </a:rPr>
              <a:t> to negotiate bulk discounts</a:t>
            </a:r>
            <a:endParaRPr lang="en-US" sz="2000" dirty="0"/>
          </a:p>
          <a:p>
            <a:pPr marL="228600" indent="-228600">
              <a:buFont typeface="+mj-lt"/>
              <a:buAutoNum type="arabicPeriod"/>
            </a:pPr>
            <a:r>
              <a:rPr lang="en-US" sz="2000" dirty="0"/>
              <a:t>Aggregating purchasing power with other healthcare providers </a:t>
            </a:r>
            <a:r>
              <a:rPr lang="en-US" sz="2000" dirty="0">
                <a:sym typeface="Wingdings" panose="05000000000000000000" pitchFamily="2" charset="2"/>
              </a:rPr>
              <a:t> for </a:t>
            </a:r>
            <a:r>
              <a:rPr lang="en-US" sz="2000" dirty="0"/>
              <a:t>consolidated purchasing volume and subsequent negotiating power of intermediaries such as wholesalers, distributors and GPOs</a:t>
            </a:r>
            <a:endParaRPr lang="en-IN" sz="2000" dirty="0"/>
          </a:p>
        </p:txBody>
      </p:sp>
      <p:sp>
        <p:nvSpPr>
          <p:cNvPr id="3" name="Title 2">
            <a:extLst>
              <a:ext uri="{FF2B5EF4-FFF2-40B4-BE49-F238E27FC236}">
                <a16:creationId xmlns:a16="http://schemas.microsoft.com/office/drawing/2014/main" id="{6FA077FE-83A1-4183-A837-A62A759D03FC}"/>
              </a:ext>
            </a:extLst>
          </p:cNvPr>
          <p:cNvSpPr>
            <a:spLocks noGrp="1"/>
          </p:cNvSpPr>
          <p:nvPr>
            <p:ph type="title"/>
          </p:nvPr>
        </p:nvSpPr>
        <p:spPr/>
        <p:txBody>
          <a:bodyPr/>
          <a:lstStyle/>
          <a:p>
            <a:r>
              <a:rPr lang="en-US" dirty="0"/>
              <a:t>Cost Cutting Strategies for Hospitals</a:t>
            </a:r>
            <a:endParaRPr lang="en-IN" dirty="0"/>
          </a:p>
        </p:txBody>
      </p:sp>
      <p:sp>
        <p:nvSpPr>
          <p:cNvPr id="4" name="TextBox 3">
            <a:extLst>
              <a:ext uri="{FF2B5EF4-FFF2-40B4-BE49-F238E27FC236}">
                <a16:creationId xmlns:a16="http://schemas.microsoft.com/office/drawing/2014/main" id="{56F800D4-F5B7-47BA-9F3B-9E164B2EEEE4}"/>
              </a:ext>
            </a:extLst>
          </p:cNvPr>
          <p:cNvSpPr txBox="1"/>
          <p:nvPr/>
        </p:nvSpPr>
        <p:spPr>
          <a:xfrm>
            <a:off x="464908" y="4891204"/>
            <a:ext cx="8433847" cy="1429622"/>
          </a:xfrm>
          <a:prstGeom prst="rect">
            <a:avLst/>
          </a:prstGeom>
        </p:spPr>
        <p:txBody>
          <a:bodyPr vert="horz" lIns="0" tIns="0" rIns="0" bIns="0" rtlCol="0">
            <a:normAutofit/>
          </a:bodyPr>
          <a:lstStyle>
            <a:lvl1pPr marL="228600" indent="-228600" defTabSz="457200">
              <a:lnSpc>
                <a:spcPct val="110000"/>
              </a:lnSpc>
              <a:spcBef>
                <a:spcPts val="0"/>
              </a:spcBef>
              <a:spcAft>
                <a:spcPts val="0"/>
              </a:spcAft>
              <a:buClr>
                <a:schemeClr val="accent3"/>
              </a:buClr>
              <a:buFont typeface="+mj-lt"/>
              <a:buAutoNum type="arabicPeriod"/>
              <a:defRPr lang="en-GB" sz="2000" dirty="0">
                <a:solidFill>
                  <a:schemeClr val="tx1">
                    <a:lumMod val="75000"/>
                    <a:lumOff val="25000"/>
                  </a:schemeClr>
                </a:solidFill>
              </a:defRPr>
            </a:lvl1pPr>
            <a:lvl2pPr marL="171450" indent="-171450" defTabSz="457200">
              <a:lnSpc>
                <a:spcPct val="110000"/>
              </a:lnSpc>
              <a:spcBef>
                <a:spcPts val="0"/>
              </a:spcBef>
              <a:spcAft>
                <a:spcPts val="0"/>
              </a:spcAft>
              <a:buClr>
                <a:schemeClr val="accent3"/>
              </a:buClr>
              <a:buFont typeface="Wingdings" panose="05000000000000000000" pitchFamily="2" charset="2"/>
              <a:buChar char="§"/>
              <a:defRPr lang="en-US" sz="1200" dirty="0" smtClean="0">
                <a:solidFill>
                  <a:schemeClr val="tx1">
                    <a:lumMod val="75000"/>
                    <a:lumOff val="25000"/>
                  </a:schemeClr>
                </a:solidFill>
              </a:defRPr>
            </a:lvl2pPr>
            <a:lvl3pPr marL="342900" indent="-171450" defTabSz="457200">
              <a:lnSpc>
                <a:spcPct val="110000"/>
              </a:lnSpc>
              <a:spcBef>
                <a:spcPts val="0"/>
              </a:spcBef>
              <a:spcAft>
                <a:spcPts val="0"/>
              </a:spcAft>
              <a:buClr>
                <a:schemeClr val="accent3"/>
              </a:buClr>
              <a:buFont typeface="Calibri" panose="020F0502020204030204" pitchFamily="34" charset="0"/>
              <a:buChar char="–"/>
              <a:defRPr lang="en-US" sz="1200" dirty="0" smtClean="0">
                <a:solidFill>
                  <a:schemeClr val="tx1">
                    <a:lumMod val="75000"/>
                    <a:lumOff val="25000"/>
                  </a:schemeClr>
                </a:solidFill>
              </a:defRPr>
            </a:lvl3pPr>
            <a:lvl4pPr marL="514350" indent="-171450" defTabSz="457200">
              <a:lnSpc>
                <a:spcPct val="110000"/>
              </a:lnSpc>
              <a:spcBef>
                <a:spcPts val="0"/>
              </a:spcBef>
              <a:spcAft>
                <a:spcPts val="0"/>
              </a:spcAft>
              <a:buClr>
                <a:schemeClr val="accent3"/>
              </a:buClr>
              <a:buFont typeface="Arial" panose="020B0604020202020204" pitchFamily="34" charset="0"/>
              <a:buChar char="•"/>
              <a:defRPr lang="en-US" sz="1200" dirty="0" smtClean="0">
                <a:solidFill>
                  <a:schemeClr val="tx1">
                    <a:lumMod val="75000"/>
                    <a:lumOff val="25000"/>
                  </a:schemeClr>
                </a:solidFill>
              </a:defRPr>
            </a:lvl4pPr>
            <a:lvl5pPr marL="685800" indent="-171450" defTabSz="457200">
              <a:lnSpc>
                <a:spcPct val="110000"/>
              </a:lnSpc>
              <a:spcBef>
                <a:spcPts val="0"/>
              </a:spcBef>
              <a:spcAft>
                <a:spcPts val="0"/>
              </a:spcAft>
              <a:buClr>
                <a:schemeClr val="accent3"/>
              </a:buClr>
              <a:buFont typeface="Calibri" panose="020F0502020204030204" pitchFamily="34" charset="0"/>
              <a:buChar char="▫"/>
              <a:defRPr lang="en-US" sz="1200" dirty="0">
                <a:solidFill>
                  <a:schemeClr val="tx1">
                    <a:lumMod val="75000"/>
                    <a:lumOff val="25000"/>
                  </a:schemeClr>
                </a:solidFill>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indent="0">
              <a:buNone/>
            </a:pPr>
            <a:r>
              <a:rPr lang="en-US" dirty="0"/>
              <a:t>Few Additional Points</a:t>
            </a:r>
          </a:p>
          <a:p>
            <a:r>
              <a:rPr lang="en-US" dirty="0"/>
              <a:t>Supply costs are usually the second largest expense in a hospital after </a:t>
            </a:r>
            <a:r>
              <a:rPr lang="en-US" dirty="0" err="1"/>
              <a:t>labour</a:t>
            </a:r>
            <a:endParaRPr lang="en-US" dirty="0"/>
          </a:p>
          <a:p>
            <a:r>
              <a:rPr lang="en-US" dirty="0"/>
              <a:t>payment models are moving from fee-for-service to value-based care</a:t>
            </a:r>
          </a:p>
          <a:p>
            <a:endParaRPr lang="en-IN" dirty="0"/>
          </a:p>
        </p:txBody>
      </p:sp>
    </p:spTree>
    <p:extLst>
      <p:ext uri="{BB962C8B-B14F-4D97-AF65-F5344CB8AC3E}">
        <p14:creationId xmlns:p14="http://schemas.microsoft.com/office/powerpoint/2010/main" val="24735201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8DF15D1E-3C3F-44B8-8ED9-F9A436448EA3}"/>
              </a:ext>
            </a:extLst>
          </p:cNvPr>
          <p:cNvSpPr>
            <a:spLocks noGrp="1"/>
          </p:cNvSpPr>
          <p:nvPr>
            <p:ph type="body" sz="half" idx="2"/>
          </p:nvPr>
        </p:nvSpPr>
        <p:spPr>
          <a:xfrm>
            <a:off x="464908" y="861805"/>
            <a:ext cx="10907942" cy="5358019"/>
          </a:xfrm>
        </p:spPr>
        <p:txBody>
          <a:bodyPr>
            <a:normAutofit/>
          </a:bodyPr>
          <a:lstStyle/>
          <a:p>
            <a:pPr marL="228600" indent="-228600">
              <a:buFont typeface="+mj-lt"/>
              <a:buAutoNum type="arabicPeriod"/>
            </a:pPr>
            <a:r>
              <a:rPr lang="en-IN" sz="2000" dirty="0"/>
              <a:t> Total Spend</a:t>
            </a:r>
          </a:p>
          <a:p>
            <a:pPr marL="228600" indent="-228600">
              <a:buFont typeface="+mj-lt"/>
              <a:buAutoNum type="arabicPeriod"/>
            </a:pPr>
            <a:r>
              <a:rPr lang="en-IN" sz="2000" dirty="0"/>
              <a:t> PO Count</a:t>
            </a:r>
          </a:p>
          <a:p>
            <a:pPr marL="228600" indent="-228600">
              <a:buFont typeface="+mj-lt"/>
              <a:buAutoNum type="arabicPeriod"/>
            </a:pPr>
            <a:r>
              <a:rPr lang="en-IN" sz="2000" dirty="0"/>
              <a:t> Spend Over the period / Spend Trend (Monthly Spend) </a:t>
            </a:r>
          </a:p>
          <a:p>
            <a:pPr marL="228600" indent="-228600">
              <a:buFont typeface="+mj-lt"/>
              <a:buAutoNum type="arabicPeriod"/>
            </a:pPr>
            <a:r>
              <a:rPr lang="en-IN" sz="2000" dirty="0"/>
              <a:t> Spend by Department</a:t>
            </a:r>
          </a:p>
          <a:p>
            <a:pPr marL="228600" indent="-228600">
              <a:buFont typeface="+mj-lt"/>
              <a:buAutoNum type="arabicPeriod"/>
            </a:pPr>
            <a:r>
              <a:rPr lang="en-IN" sz="2000" dirty="0"/>
              <a:t> Spend by location (City)</a:t>
            </a:r>
          </a:p>
          <a:p>
            <a:pPr marL="228600" indent="-228600">
              <a:buFont typeface="+mj-lt"/>
              <a:buAutoNum type="arabicPeriod"/>
            </a:pPr>
            <a:r>
              <a:rPr lang="en-IN" sz="2000" dirty="0"/>
              <a:t> Spend By Category (Each Item spend)</a:t>
            </a:r>
          </a:p>
          <a:p>
            <a:pPr marL="228600" indent="-228600">
              <a:buFont typeface="+mj-lt"/>
              <a:buAutoNum type="arabicPeriod"/>
            </a:pPr>
            <a:r>
              <a:rPr lang="en-IN" sz="2000" dirty="0"/>
              <a:t> Spend By Contract</a:t>
            </a:r>
          </a:p>
          <a:p>
            <a:pPr marL="228600" indent="-228600">
              <a:buFont typeface="+mj-lt"/>
              <a:buAutoNum type="arabicPeriod"/>
            </a:pPr>
            <a:r>
              <a:rPr lang="en-IN" sz="2000" dirty="0"/>
              <a:t> No. of Suppliers</a:t>
            </a:r>
          </a:p>
          <a:p>
            <a:pPr marL="228600" indent="-228600">
              <a:buFont typeface="+mj-lt"/>
              <a:buAutoNum type="arabicPeriod"/>
            </a:pPr>
            <a:r>
              <a:rPr lang="en-IN" sz="2000" dirty="0"/>
              <a:t> No. of Items</a:t>
            </a:r>
          </a:p>
          <a:p>
            <a:pPr marL="228600" indent="-228600">
              <a:buFont typeface="+mj-lt"/>
              <a:buAutoNum type="arabicPeriod"/>
            </a:pPr>
            <a:r>
              <a:rPr lang="en-IN" sz="2000" dirty="0"/>
              <a:t> Top 5 Vendors/suppliers by spend</a:t>
            </a:r>
          </a:p>
          <a:p>
            <a:pPr marL="228600" indent="-228600">
              <a:buFont typeface="+mj-lt"/>
              <a:buAutoNum type="arabicPeriod"/>
            </a:pPr>
            <a:r>
              <a:rPr lang="en-IN" sz="2000" dirty="0"/>
              <a:t> Top 5 Category</a:t>
            </a:r>
          </a:p>
          <a:p>
            <a:pPr marL="228600" indent="-228600">
              <a:buFont typeface="+mj-lt"/>
              <a:buAutoNum type="arabicPeriod"/>
            </a:pPr>
            <a:r>
              <a:rPr lang="en-IN" sz="2000" dirty="0"/>
              <a:t> Active Vendors</a:t>
            </a:r>
          </a:p>
          <a:p>
            <a:pPr marL="228600" indent="-228600">
              <a:buFont typeface="+mj-lt"/>
              <a:buAutoNum type="arabicPeriod"/>
            </a:pPr>
            <a:r>
              <a:rPr lang="en-IN" sz="2000" dirty="0"/>
              <a:t> Spend Per Vendor</a:t>
            </a:r>
          </a:p>
          <a:p>
            <a:pPr marL="228600" indent="-228600">
              <a:buFont typeface="+mj-lt"/>
              <a:buAutoNum type="arabicPeriod"/>
            </a:pPr>
            <a:r>
              <a:rPr lang="en-IN" sz="2000" dirty="0"/>
              <a:t> Supplier spend by item category</a:t>
            </a:r>
          </a:p>
        </p:txBody>
      </p:sp>
      <p:sp>
        <p:nvSpPr>
          <p:cNvPr id="3" name="Title 2">
            <a:extLst>
              <a:ext uri="{FF2B5EF4-FFF2-40B4-BE49-F238E27FC236}">
                <a16:creationId xmlns:a16="http://schemas.microsoft.com/office/drawing/2014/main" id="{6FA077FE-83A1-4183-A837-A62A759D03FC}"/>
              </a:ext>
            </a:extLst>
          </p:cNvPr>
          <p:cNvSpPr>
            <a:spLocks noGrp="1"/>
          </p:cNvSpPr>
          <p:nvPr>
            <p:ph type="title"/>
          </p:nvPr>
        </p:nvSpPr>
        <p:spPr/>
        <p:txBody>
          <a:bodyPr/>
          <a:lstStyle/>
          <a:p>
            <a:r>
              <a:rPr lang="en-US" dirty="0"/>
              <a:t>Dashboard Ideas</a:t>
            </a:r>
            <a:endParaRPr lang="en-IN" dirty="0"/>
          </a:p>
        </p:txBody>
      </p:sp>
    </p:spTree>
    <p:extLst>
      <p:ext uri="{BB962C8B-B14F-4D97-AF65-F5344CB8AC3E}">
        <p14:creationId xmlns:p14="http://schemas.microsoft.com/office/powerpoint/2010/main" val="424051539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FA077FE-83A1-4183-A837-A62A759D03FC}"/>
              </a:ext>
            </a:extLst>
          </p:cNvPr>
          <p:cNvSpPr>
            <a:spLocks noGrp="1"/>
          </p:cNvSpPr>
          <p:nvPr>
            <p:ph type="title"/>
          </p:nvPr>
        </p:nvSpPr>
        <p:spPr>
          <a:xfrm>
            <a:off x="464908" y="185817"/>
            <a:ext cx="10515600" cy="608663"/>
          </a:xfrm>
        </p:spPr>
        <p:txBody>
          <a:bodyPr/>
          <a:lstStyle/>
          <a:p>
            <a:r>
              <a:rPr lang="en-US" dirty="0"/>
              <a:t>Master Table Connection Architecture</a:t>
            </a:r>
            <a:endParaRPr lang="en-IN" dirty="0"/>
          </a:p>
        </p:txBody>
      </p:sp>
      <p:graphicFrame>
        <p:nvGraphicFramePr>
          <p:cNvPr id="9" name="Table 9">
            <a:extLst>
              <a:ext uri="{FF2B5EF4-FFF2-40B4-BE49-F238E27FC236}">
                <a16:creationId xmlns:a16="http://schemas.microsoft.com/office/drawing/2014/main" id="{7F4193EE-B306-4396-8ACA-68D070BB1DD5}"/>
              </a:ext>
            </a:extLst>
          </p:cNvPr>
          <p:cNvGraphicFramePr>
            <a:graphicFrameLocks noGrp="1"/>
          </p:cNvGraphicFramePr>
          <p:nvPr>
            <p:extLst>
              <p:ext uri="{D42A27DB-BD31-4B8C-83A1-F6EECF244321}">
                <p14:modId xmlns:p14="http://schemas.microsoft.com/office/powerpoint/2010/main" val="1504375357"/>
              </p:ext>
            </p:extLst>
          </p:nvPr>
        </p:nvGraphicFramePr>
        <p:xfrm>
          <a:off x="4693100" y="1609080"/>
          <a:ext cx="2059216" cy="4029504"/>
        </p:xfrm>
        <a:graphic>
          <a:graphicData uri="http://schemas.openxmlformats.org/drawingml/2006/table">
            <a:tbl>
              <a:tblPr firstRow="1" bandRow="1">
                <a:tableStyleId>{5C22544A-7EE6-4342-B048-85BDC9FD1C3A}</a:tableStyleId>
              </a:tblPr>
              <a:tblGrid>
                <a:gridCol w="2059216">
                  <a:extLst>
                    <a:ext uri="{9D8B030D-6E8A-4147-A177-3AD203B41FA5}">
                      <a16:colId xmlns:a16="http://schemas.microsoft.com/office/drawing/2014/main" val="3955333484"/>
                    </a:ext>
                  </a:extLst>
                </a:gridCol>
              </a:tblGrid>
              <a:tr h="335792">
                <a:tc>
                  <a:txBody>
                    <a:bodyPr/>
                    <a:lstStyle/>
                    <a:p>
                      <a:r>
                        <a:rPr lang="en-IN" sz="1450" dirty="0" err="1"/>
                        <a:t>Purchase_Order_History</a:t>
                      </a:r>
                      <a:endParaRPr lang="en-IN" sz="1450" dirty="0"/>
                    </a:p>
                  </a:txBody>
                  <a:tcPr anchor="ctr"/>
                </a:tc>
                <a:extLst>
                  <a:ext uri="{0D108BD9-81ED-4DB2-BD59-A6C34878D82A}">
                    <a16:rowId xmlns:a16="http://schemas.microsoft.com/office/drawing/2014/main" val="3246421841"/>
                  </a:ext>
                </a:extLst>
              </a:tr>
              <a:tr h="335792">
                <a:tc>
                  <a:txBody>
                    <a:bodyPr/>
                    <a:lstStyle/>
                    <a:p>
                      <a:r>
                        <a:rPr lang="en-IN" sz="1400" dirty="0" err="1"/>
                        <a:t>PO_Date</a:t>
                      </a:r>
                      <a:endParaRPr lang="en-IN" sz="1400" dirty="0"/>
                    </a:p>
                  </a:txBody>
                  <a:tcPr anchor="ctr"/>
                </a:tc>
                <a:extLst>
                  <a:ext uri="{0D108BD9-81ED-4DB2-BD59-A6C34878D82A}">
                    <a16:rowId xmlns:a16="http://schemas.microsoft.com/office/drawing/2014/main" val="4003538116"/>
                  </a:ext>
                </a:extLst>
              </a:tr>
              <a:tr h="335792">
                <a:tc>
                  <a:txBody>
                    <a:bodyPr/>
                    <a:lstStyle/>
                    <a:p>
                      <a:r>
                        <a:rPr lang="en-IN" sz="1400" dirty="0" err="1"/>
                        <a:t>PO_Number</a:t>
                      </a:r>
                      <a:endParaRPr lang="en-IN" sz="1400" dirty="0"/>
                    </a:p>
                  </a:txBody>
                  <a:tcPr anchor="ctr"/>
                </a:tc>
                <a:extLst>
                  <a:ext uri="{0D108BD9-81ED-4DB2-BD59-A6C34878D82A}">
                    <a16:rowId xmlns:a16="http://schemas.microsoft.com/office/drawing/2014/main" val="787762264"/>
                  </a:ext>
                </a:extLst>
              </a:tr>
              <a:tr h="335792">
                <a:tc>
                  <a:txBody>
                    <a:bodyPr/>
                    <a:lstStyle/>
                    <a:p>
                      <a:r>
                        <a:rPr lang="en-IN" sz="1400" dirty="0" err="1"/>
                        <a:t>Item_ID</a:t>
                      </a:r>
                      <a:endParaRPr lang="en-IN" sz="1400" dirty="0"/>
                    </a:p>
                  </a:txBody>
                  <a:tcPr anchor="ctr"/>
                </a:tc>
                <a:extLst>
                  <a:ext uri="{0D108BD9-81ED-4DB2-BD59-A6C34878D82A}">
                    <a16:rowId xmlns:a16="http://schemas.microsoft.com/office/drawing/2014/main" val="2569306784"/>
                  </a:ext>
                </a:extLst>
              </a:tr>
              <a:tr h="335792">
                <a:tc>
                  <a:txBody>
                    <a:bodyPr/>
                    <a:lstStyle/>
                    <a:p>
                      <a:r>
                        <a:rPr lang="en-IN" sz="1400" dirty="0" err="1"/>
                        <a:t>Item_Description</a:t>
                      </a:r>
                      <a:endParaRPr lang="en-IN" sz="1400" dirty="0"/>
                    </a:p>
                  </a:txBody>
                  <a:tcPr anchor="ctr"/>
                </a:tc>
                <a:extLst>
                  <a:ext uri="{0D108BD9-81ED-4DB2-BD59-A6C34878D82A}">
                    <a16:rowId xmlns:a16="http://schemas.microsoft.com/office/drawing/2014/main" val="1973943868"/>
                  </a:ext>
                </a:extLst>
              </a:tr>
              <a:tr h="335792">
                <a:tc>
                  <a:txBody>
                    <a:bodyPr/>
                    <a:lstStyle/>
                    <a:p>
                      <a:r>
                        <a:rPr lang="en-IN" sz="1400" dirty="0" err="1"/>
                        <a:t>Manufacturer_Name</a:t>
                      </a:r>
                      <a:endParaRPr lang="en-IN" sz="1400" dirty="0"/>
                    </a:p>
                  </a:txBody>
                  <a:tcPr anchor="ctr"/>
                </a:tc>
                <a:extLst>
                  <a:ext uri="{0D108BD9-81ED-4DB2-BD59-A6C34878D82A}">
                    <a16:rowId xmlns:a16="http://schemas.microsoft.com/office/drawing/2014/main" val="688939832"/>
                  </a:ext>
                </a:extLst>
              </a:tr>
              <a:tr h="335792">
                <a:tc>
                  <a:txBody>
                    <a:bodyPr/>
                    <a:lstStyle/>
                    <a:p>
                      <a:r>
                        <a:rPr lang="en-IN" sz="1400" dirty="0" err="1"/>
                        <a:t>Vendor_Name</a:t>
                      </a:r>
                      <a:endParaRPr lang="en-IN" sz="1400" dirty="0"/>
                    </a:p>
                  </a:txBody>
                  <a:tcPr anchor="ctr"/>
                </a:tc>
                <a:extLst>
                  <a:ext uri="{0D108BD9-81ED-4DB2-BD59-A6C34878D82A}">
                    <a16:rowId xmlns:a16="http://schemas.microsoft.com/office/drawing/2014/main" val="2788146008"/>
                  </a:ext>
                </a:extLst>
              </a:tr>
              <a:tr h="335792">
                <a:tc>
                  <a:txBody>
                    <a:bodyPr/>
                    <a:lstStyle/>
                    <a:p>
                      <a:r>
                        <a:rPr lang="en-IN" sz="1400" dirty="0"/>
                        <a:t>Department</a:t>
                      </a:r>
                    </a:p>
                  </a:txBody>
                  <a:tcPr anchor="ctr"/>
                </a:tc>
                <a:extLst>
                  <a:ext uri="{0D108BD9-81ED-4DB2-BD59-A6C34878D82A}">
                    <a16:rowId xmlns:a16="http://schemas.microsoft.com/office/drawing/2014/main" val="737021269"/>
                  </a:ext>
                </a:extLst>
              </a:tr>
              <a:tr h="335792">
                <a:tc>
                  <a:txBody>
                    <a:bodyPr/>
                    <a:lstStyle/>
                    <a:p>
                      <a:r>
                        <a:rPr lang="en-IN" sz="1400" dirty="0" err="1"/>
                        <a:t>Unit_Of_Measure</a:t>
                      </a:r>
                      <a:endParaRPr lang="en-IN" sz="1400" dirty="0"/>
                    </a:p>
                  </a:txBody>
                  <a:tcPr anchor="ctr"/>
                </a:tc>
                <a:extLst>
                  <a:ext uri="{0D108BD9-81ED-4DB2-BD59-A6C34878D82A}">
                    <a16:rowId xmlns:a16="http://schemas.microsoft.com/office/drawing/2014/main" val="4291383494"/>
                  </a:ext>
                </a:extLst>
              </a:tr>
              <a:tr h="335792">
                <a:tc>
                  <a:txBody>
                    <a:bodyPr/>
                    <a:lstStyle/>
                    <a:p>
                      <a:r>
                        <a:rPr lang="en-IN" sz="1400" dirty="0"/>
                        <a:t>Quantity_(</a:t>
                      </a:r>
                      <a:r>
                        <a:rPr lang="en-IN" sz="1400" dirty="0" err="1"/>
                        <a:t>at_UOM</a:t>
                      </a:r>
                      <a:r>
                        <a:rPr lang="en-IN" sz="1400" dirty="0"/>
                        <a:t>)</a:t>
                      </a:r>
                    </a:p>
                  </a:txBody>
                  <a:tcPr anchor="ctr"/>
                </a:tc>
                <a:extLst>
                  <a:ext uri="{0D108BD9-81ED-4DB2-BD59-A6C34878D82A}">
                    <a16:rowId xmlns:a16="http://schemas.microsoft.com/office/drawing/2014/main" val="3143967758"/>
                  </a:ext>
                </a:extLst>
              </a:tr>
              <a:tr h="335792">
                <a:tc>
                  <a:txBody>
                    <a:bodyPr/>
                    <a:lstStyle/>
                    <a:p>
                      <a:r>
                        <a:rPr lang="en-IN" sz="1400" dirty="0" err="1"/>
                        <a:t>Unit_Price</a:t>
                      </a:r>
                      <a:r>
                        <a:rPr lang="en-IN" sz="1400" dirty="0"/>
                        <a:t> ($)	</a:t>
                      </a:r>
                    </a:p>
                  </a:txBody>
                  <a:tcPr anchor="ctr"/>
                </a:tc>
                <a:extLst>
                  <a:ext uri="{0D108BD9-81ED-4DB2-BD59-A6C34878D82A}">
                    <a16:rowId xmlns:a16="http://schemas.microsoft.com/office/drawing/2014/main" val="2508933794"/>
                  </a:ext>
                </a:extLst>
              </a:tr>
              <a:tr h="335792">
                <a:tc>
                  <a:txBody>
                    <a:bodyPr/>
                    <a:lstStyle/>
                    <a:p>
                      <a:r>
                        <a:rPr lang="en-IN" sz="1400" dirty="0" err="1"/>
                        <a:t>Total_Price</a:t>
                      </a:r>
                      <a:r>
                        <a:rPr lang="en-IN" sz="1400" dirty="0"/>
                        <a:t> ($)</a:t>
                      </a:r>
                    </a:p>
                  </a:txBody>
                  <a:tcPr anchor="ctr"/>
                </a:tc>
                <a:extLst>
                  <a:ext uri="{0D108BD9-81ED-4DB2-BD59-A6C34878D82A}">
                    <a16:rowId xmlns:a16="http://schemas.microsoft.com/office/drawing/2014/main" val="309415355"/>
                  </a:ext>
                </a:extLst>
              </a:tr>
            </a:tbl>
          </a:graphicData>
        </a:graphic>
      </p:graphicFrame>
      <p:graphicFrame>
        <p:nvGraphicFramePr>
          <p:cNvPr id="10" name="Table 9">
            <a:extLst>
              <a:ext uri="{FF2B5EF4-FFF2-40B4-BE49-F238E27FC236}">
                <a16:creationId xmlns:a16="http://schemas.microsoft.com/office/drawing/2014/main" id="{4514822E-4216-435B-B54E-D04DE17D7A7C}"/>
              </a:ext>
            </a:extLst>
          </p:cNvPr>
          <p:cNvGraphicFramePr>
            <a:graphicFrameLocks noGrp="1"/>
          </p:cNvGraphicFramePr>
          <p:nvPr>
            <p:extLst>
              <p:ext uri="{D42A27DB-BD31-4B8C-83A1-F6EECF244321}">
                <p14:modId xmlns:p14="http://schemas.microsoft.com/office/powerpoint/2010/main" val="7423925"/>
              </p:ext>
            </p:extLst>
          </p:nvPr>
        </p:nvGraphicFramePr>
        <p:xfrm>
          <a:off x="464907" y="1214674"/>
          <a:ext cx="2059217" cy="1655588"/>
        </p:xfrm>
        <a:graphic>
          <a:graphicData uri="http://schemas.openxmlformats.org/drawingml/2006/table">
            <a:tbl>
              <a:tblPr firstRow="1" bandRow="1">
                <a:tableStyleId>{5C22544A-7EE6-4342-B048-85BDC9FD1C3A}</a:tableStyleId>
              </a:tblPr>
              <a:tblGrid>
                <a:gridCol w="2059217">
                  <a:extLst>
                    <a:ext uri="{9D8B030D-6E8A-4147-A177-3AD203B41FA5}">
                      <a16:colId xmlns:a16="http://schemas.microsoft.com/office/drawing/2014/main" val="3955333484"/>
                    </a:ext>
                  </a:extLst>
                </a:gridCol>
              </a:tblGrid>
              <a:tr h="221856">
                <a:tc>
                  <a:txBody>
                    <a:bodyPr/>
                    <a:lstStyle/>
                    <a:p>
                      <a:pPr marL="0" algn="l" defTabSz="914400" rtl="0" eaLnBrk="1" latinLnBrk="0" hangingPunct="1"/>
                      <a:r>
                        <a:rPr lang="en-IN" sz="1450" b="1" kern="1200" dirty="0" err="1">
                          <a:solidFill>
                            <a:schemeClr val="lt1"/>
                          </a:solidFill>
                          <a:latin typeface="+mn-lt"/>
                          <a:ea typeface="+mn-ea"/>
                          <a:cs typeface="+mn-cs"/>
                        </a:rPr>
                        <a:t>Vendor_Master</a:t>
                      </a:r>
                      <a:endParaRPr lang="en-IN" sz="1450" b="1" kern="1200" dirty="0">
                        <a:solidFill>
                          <a:schemeClr val="lt1"/>
                        </a:solidFill>
                        <a:latin typeface="+mn-lt"/>
                        <a:ea typeface="+mn-ea"/>
                        <a:cs typeface="+mn-cs"/>
                      </a:endParaRPr>
                    </a:p>
                  </a:txBody>
                  <a:tcPr anchor="ctr"/>
                </a:tc>
                <a:extLst>
                  <a:ext uri="{0D108BD9-81ED-4DB2-BD59-A6C34878D82A}">
                    <a16:rowId xmlns:a16="http://schemas.microsoft.com/office/drawing/2014/main" val="3246421841"/>
                  </a:ext>
                </a:extLst>
              </a:tr>
              <a:tr h="335792">
                <a:tc>
                  <a:txBody>
                    <a:bodyPr/>
                    <a:lstStyle/>
                    <a:p>
                      <a:r>
                        <a:rPr lang="en-IN" sz="1400" dirty="0" err="1"/>
                        <a:t>Vendor_ID</a:t>
                      </a:r>
                      <a:endParaRPr lang="en-IN" sz="1400" dirty="0"/>
                    </a:p>
                  </a:txBody>
                  <a:tcPr anchor="ctr"/>
                </a:tc>
                <a:extLst>
                  <a:ext uri="{0D108BD9-81ED-4DB2-BD59-A6C34878D82A}">
                    <a16:rowId xmlns:a16="http://schemas.microsoft.com/office/drawing/2014/main" val="4003538116"/>
                  </a:ext>
                </a:extLst>
              </a:tr>
              <a:tr h="335792">
                <a:tc>
                  <a:txBody>
                    <a:bodyPr/>
                    <a:lstStyle/>
                    <a:p>
                      <a:r>
                        <a:rPr lang="en-IN" sz="1400" dirty="0" err="1"/>
                        <a:t>Vendor_Name</a:t>
                      </a:r>
                      <a:endParaRPr lang="en-IN" sz="1400" dirty="0"/>
                    </a:p>
                  </a:txBody>
                  <a:tcPr anchor="ctr"/>
                </a:tc>
                <a:extLst>
                  <a:ext uri="{0D108BD9-81ED-4DB2-BD59-A6C34878D82A}">
                    <a16:rowId xmlns:a16="http://schemas.microsoft.com/office/drawing/2014/main" val="787762264"/>
                  </a:ext>
                </a:extLst>
              </a:tr>
              <a:tr h="335792">
                <a:tc>
                  <a:txBody>
                    <a:bodyPr/>
                    <a:lstStyle/>
                    <a:p>
                      <a:r>
                        <a:rPr lang="en-IN" sz="1400" dirty="0" err="1"/>
                        <a:t>Vendor_City</a:t>
                      </a:r>
                      <a:endParaRPr lang="en-IN" sz="1400" dirty="0"/>
                    </a:p>
                  </a:txBody>
                  <a:tcPr anchor="ctr"/>
                </a:tc>
                <a:extLst>
                  <a:ext uri="{0D108BD9-81ED-4DB2-BD59-A6C34878D82A}">
                    <a16:rowId xmlns:a16="http://schemas.microsoft.com/office/drawing/2014/main" val="2569306784"/>
                  </a:ext>
                </a:extLst>
              </a:tr>
              <a:tr h="335792">
                <a:tc>
                  <a:txBody>
                    <a:bodyPr/>
                    <a:lstStyle/>
                    <a:p>
                      <a:r>
                        <a:rPr lang="en-IN" sz="1400" dirty="0" err="1"/>
                        <a:t>Vendor_Active_Status</a:t>
                      </a:r>
                      <a:endParaRPr lang="en-IN" sz="1400" dirty="0"/>
                    </a:p>
                  </a:txBody>
                  <a:tcPr anchor="ctr"/>
                </a:tc>
                <a:extLst>
                  <a:ext uri="{0D108BD9-81ED-4DB2-BD59-A6C34878D82A}">
                    <a16:rowId xmlns:a16="http://schemas.microsoft.com/office/drawing/2014/main" val="1973943868"/>
                  </a:ext>
                </a:extLst>
              </a:tr>
            </a:tbl>
          </a:graphicData>
        </a:graphic>
      </p:graphicFrame>
      <p:graphicFrame>
        <p:nvGraphicFramePr>
          <p:cNvPr id="11" name="Table 10">
            <a:extLst>
              <a:ext uri="{FF2B5EF4-FFF2-40B4-BE49-F238E27FC236}">
                <a16:creationId xmlns:a16="http://schemas.microsoft.com/office/drawing/2014/main" id="{2E7600C3-8DE1-4CDD-9E3C-085DFFFC94B4}"/>
              </a:ext>
            </a:extLst>
          </p:cNvPr>
          <p:cNvGraphicFramePr>
            <a:graphicFrameLocks noGrp="1"/>
          </p:cNvGraphicFramePr>
          <p:nvPr>
            <p:extLst>
              <p:ext uri="{D42A27DB-BD31-4B8C-83A1-F6EECF244321}">
                <p14:modId xmlns:p14="http://schemas.microsoft.com/office/powerpoint/2010/main" val="106803373"/>
              </p:ext>
            </p:extLst>
          </p:nvPr>
        </p:nvGraphicFramePr>
        <p:xfrm>
          <a:off x="464907" y="3623832"/>
          <a:ext cx="2059217" cy="2717687"/>
        </p:xfrm>
        <a:graphic>
          <a:graphicData uri="http://schemas.openxmlformats.org/drawingml/2006/table">
            <a:tbl>
              <a:tblPr firstRow="1" bandRow="1">
                <a:tableStyleId>{5C22544A-7EE6-4342-B048-85BDC9FD1C3A}</a:tableStyleId>
              </a:tblPr>
              <a:tblGrid>
                <a:gridCol w="2059217">
                  <a:extLst>
                    <a:ext uri="{9D8B030D-6E8A-4147-A177-3AD203B41FA5}">
                      <a16:colId xmlns:a16="http://schemas.microsoft.com/office/drawing/2014/main" val="3955333484"/>
                    </a:ext>
                  </a:extLst>
                </a:gridCol>
              </a:tblGrid>
              <a:tr h="367143">
                <a:tc>
                  <a:txBody>
                    <a:bodyPr/>
                    <a:lstStyle/>
                    <a:p>
                      <a:pPr marL="0" algn="l" defTabSz="914400" rtl="0" eaLnBrk="1" latinLnBrk="0" hangingPunct="1"/>
                      <a:r>
                        <a:rPr lang="en-IN" sz="1450" b="1" kern="1200" dirty="0" err="1">
                          <a:solidFill>
                            <a:schemeClr val="lt1"/>
                          </a:solidFill>
                          <a:latin typeface="+mn-lt"/>
                          <a:ea typeface="+mn-ea"/>
                          <a:cs typeface="+mn-cs"/>
                        </a:rPr>
                        <a:t>Contract_Headers</a:t>
                      </a:r>
                      <a:endParaRPr lang="en-IN" sz="1450" b="1" kern="1200" dirty="0">
                        <a:solidFill>
                          <a:schemeClr val="lt1"/>
                        </a:solidFill>
                        <a:latin typeface="+mn-lt"/>
                        <a:ea typeface="+mn-ea"/>
                        <a:cs typeface="+mn-cs"/>
                      </a:endParaRPr>
                    </a:p>
                  </a:txBody>
                  <a:tcPr anchor="ctr"/>
                </a:tc>
                <a:extLst>
                  <a:ext uri="{0D108BD9-81ED-4DB2-BD59-A6C34878D82A}">
                    <a16:rowId xmlns:a16="http://schemas.microsoft.com/office/drawing/2014/main" val="3246421841"/>
                  </a:ext>
                </a:extLst>
              </a:tr>
              <a:tr h="335792">
                <a:tc>
                  <a:txBody>
                    <a:bodyPr/>
                    <a:lstStyle/>
                    <a:p>
                      <a:r>
                        <a:rPr lang="en-IN" sz="1400" dirty="0" err="1"/>
                        <a:t>Contract_ID</a:t>
                      </a:r>
                      <a:endParaRPr lang="en-IN" sz="1400" dirty="0"/>
                    </a:p>
                  </a:txBody>
                  <a:tcPr anchor="ctr"/>
                </a:tc>
                <a:extLst>
                  <a:ext uri="{0D108BD9-81ED-4DB2-BD59-A6C34878D82A}">
                    <a16:rowId xmlns:a16="http://schemas.microsoft.com/office/drawing/2014/main" val="4003538116"/>
                  </a:ext>
                </a:extLst>
              </a:tr>
              <a:tr h="335792">
                <a:tc>
                  <a:txBody>
                    <a:bodyPr/>
                    <a:lstStyle/>
                    <a:p>
                      <a:r>
                        <a:rPr lang="en-IN" sz="1400" dirty="0" err="1"/>
                        <a:t>Contract_Description</a:t>
                      </a:r>
                      <a:endParaRPr lang="en-IN" sz="1400" dirty="0"/>
                    </a:p>
                  </a:txBody>
                  <a:tcPr anchor="ctr"/>
                </a:tc>
                <a:extLst>
                  <a:ext uri="{0D108BD9-81ED-4DB2-BD59-A6C34878D82A}">
                    <a16:rowId xmlns:a16="http://schemas.microsoft.com/office/drawing/2014/main" val="787762264"/>
                  </a:ext>
                </a:extLst>
              </a:tr>
              <a:tr h="335792">
                <a:tc>
                  <a:txBody>
                    <a:bodyPr/>
                    <a:lstStyle/>
                    <a:p>
                      <a:r>
                        <a:rPr lang="en-IN" sz="1400" dirty="0" err="1"/>
                        <a:t>Contract_Start_Date</a:t>
                      </a:r>
                      <a:endParaRPr lang="en-IN" sz="1400" dirty="0"/>
                    </a:p>
                  </a:txBody>
                  <a:tcPr anchor="ctr"/>
                </a:tc>
                <a:extLst>
                  <a:ext uri="{0D108BD9-81ED-4DB2-BD59-A6C34878D82A}">
                    <a16:rowId xmlns:a16="http://schemas.microsoft.com/office/drawing/2014/main" val="2569306784"/>
                  </a:ext>
                </a:extLst>
              </a:tr>
              <a:tr h="335792">
                <a:tc>
                  <a:txBody>
                    <a:bodyPr/>
                    <a:lstStyle/>
                    <a:p>
                      <a:r>
                        <a:rPr lang="en-IN" sz="1400" dirty="0" err="1"/>
                        <a:t>Contract_End_Date</a:t>
                      </a:r>
                      <a:endParaRPr lang="en-IN" sz="1400" dirty="0"/>
                    </a:p>
                  </a:txBody>
                  <a:tcPr anchor="ctr"/>
                </a:tc>
                <a:extLst>
                  <a:ext uri="{0D108BD9-81ED-4DB2-BD59-A6C34878D82A}">
                    <a16:rowId xmlns:a16="http://schemas.microsoft.com/office/drawing/2014/main" val="1973943868"/>
                  </a:ext>
                </a:extLst>
              </a:tr>
              <a:tr h="335792">
                <a:tc>
                  <a:txBody>
                    <a:bodyPr/>
                    <a:lstStyle/>
                    <a:p>
                      <a:r>
                        <a:rPr lang="en-IN" sz="1400" dirty="0" err="1"/>
                        <a:t>Contract_Type</a:t>
                      </a:r>
                      <a:endParaRPr lang="en-IN" sz="1400" dirty="0"/>
                    </a:p>
                  </a:txBody>
                  <a:tcPr anchor="ctr"/>
                </a:tc>
                <a:extLst>
                  <a:ext uri="{0D108BD9-81ED-4DB2-BD59-A6C34878D82A}">
                    <a16:rowId xmlns:a16="http://schemas.microsoft.com/office/drawing/2014/main" val="688939832"/>
                  </a:ext>
                </a:extLst>
              </a:tr>
              <a:tr h="335792">
                <a:tc>
                  <a:txBody>
                    <a:bodyPr/>
                    <a:lstStyle/>
                    <a:p>
                      <a:r>
                        <a:rPr lang="en-IN" sz="1400" dirty="0" err="1"/>
                        <a:t>Vendor_Name</a:t>
                      </a:r>
                      <a:endParaRPr lang="en-IN" sz="1400" dirty="0"/>
                    </a:p>
                  </a:txBody>
                  <a:tcPr anchor="ctr"/>
                </a:tc>
                <a:extLst>
                  <a:ext uri="{0D108BD9-81ED-4DB2-BD59-A6C34878D82A}">
                    <a16:rowId xmlns:a16="http://schemas.microsoft.com/office/drawing/2014/main" val="2788146008"/>
                  </a:ext>
                </a:extLst>
              </a:tr>
              <a:tr h="335792">
                <a:tc>
                  <a:txBody>
                    <a:bodyPr/>
                    <a:lstStyle/>
                    <a:p>
                      <a:r>
                        <a:rPr lang="en-IN" sz="1400" dirty="0" err="1"/>
                        <a:t>Vendor_ID</a:t>
                      </a:r>
                      <a:endParaRPr lang="en-IN" sz="1400" dirty="0"/>
                    </a:p>
                  </a:txBody>
                  <a:tcPr anchor="ctr"/>
                </a:tc>
                <a:extLst>
                  <a:ext uri="{0D108BD9-81ED-4DB2-BD59-A6C34878D82A}">
                    <a16:rowId xmlns:a16="http://schemas.microsoft.com/office/drawing/2014/main" val="737021269"/>
                  </a:ext>
                </a:extLst>
              </a:tr>
            </a:tbl>
          </a:graphicData>
        </a:graphic>
      </p:graphicFrame>
      <p:graphicFrame>
        <p:nvGraphicFramePr>
          <p:cNvPr id="12" name="Table 11">
            <a:extLst>
              <a:ext uri="{FF2B5EF4-FFF2-40B4-BE49-F238E27FC236}">
                <a16:creationId xmlns:a16="http://schemas.microsoft.com/office/drawing/2014/main" id="{78E638B0-E15B-4983-8320-8C667F6115E4}"/>
              </a:ext>
            </a:extLst>
          </p:cNvPr>
          <p:cNvGraphicFramePr>
            <a:graphicFrameLocks noGrp="1"/>
          </p:cNvGraphicFramePr>
          <p:nvPr>
            <p:extLst>
              <p:ext uri="{D42A27DB-BD31-4B8C-83A1-F6EECF244321}">
                <p14:modId xmlns:p14="http://schemas.microsoft.com/office/powerpoint/2010/main" val="3176617741"/>
              </p:ext>
            </p:extLst>
          </p:nvPr>
        </p:nvGraphicFramePr>
        <p:xfrm>
          <a:off x="9144002" y="344468"/>
          <a:ext cx="2059216" cy="1740411"/>
        </p:xfrm>
        <a:graphic>
          <a:graphicData uri="http://schemas.openxmlformats.org/drawingml/2006/table">
            <a:tbl>
              <a:tblPr firstRow="1" bandRow="1">
                <a:tableStyleId>{5C22544A-7EE6-4342-B048-85BDC9FD1C3A}</a:tableStyleId>
              </a:tblPr>
              <a:tblGrid>
                <a:gridCol w="2059216">
                  <a:extLst>
                    <a:ext uri="{9D8B030D-6E8A-4147-A177-3AD203B41FA5}">
                      <a16:colId xmlns:a16="http://schemas.microsoft.com/office/drawing/2014/main" val="3955333484"/>
                    </a:ext>
                  </a:extLst>
                </a:gridCol>
              </a:tblGrid>
              <a:tr h="397243">
                <a:tc>
                  <a:txBody>
                    <a:bodyPr/>
                    <a:lstStyle/>
                    <a:p>
                      <a:pPr marL="0" algn="l" defTabSz="914400" rtl="0" eaLnBrk="1" latinLnBrk="0" hangingPunct="1"/>
                      <a:r>
                        <a:rPr lang="en-IN" sz="1450" b="1" kern="1200" dirty="0">
                          <a:solidFill>
                            <a:schemeClr val="lt1"/>
                          </a:solidFill>
                          <a:latin typeface="+mn-lt"/>
                          <a:ea typeface="+mn-ea"/>
                          <a:cs typeface="+mn-cs"/>
                        </a:rPr>
                        <a:t>Contract Item Lines</a:t>
                      </a:r>
                    </a:p>
                  </a:txBody>
                  <a:tcPr anchor="ctr"/>
                </a:tc>
                <a:extLst>
                  <a:ext uri="{0D108BD9-81ED-4DB2-BD59-A6C34878D82A}">
                    <a16:rowId xmlns:a16="http://schemas.microsoft.com/office/drawing/2014/main" val="3246421841"/>
                  </a:ext>
                </a:extLst>
              </a:tr>
              <a:tr h="335792">
                <a:tc>
                  <a:txBody>
                    <a:bodyPr/>
                    <a:lstStyle/>
                    <a:p>
                      <a:r>
                        <a:rPr lang="en-IN" sz="1400" dirty="0" err="1"/>
                        <a:t>Item_ID</a:t>
                      </a:r>
                      <a:endParaRPr lang="en-IN" sz="1400" dirty="0"/>
                    </a:p>
                  </a:txBody>
                  <a:tcPr anchor="ctr"/>
                </a:tc>
                <a:extLst>
                  <a:ext uri="{0D108BD9-81ED-4DB2-BD59-A6C34878D82A}">
                    <a16:rowId xmlns:a16="http://schemas.microsoft.com/office/drawing/2014/main" val="4003538116"/>
                  </a:ext>
                </a:extLst>
              </a:tr>
              <a:tr h="335792">
                <a:tc>
                  <a:txBody>
                    <a:bodyPr/>
                    <a:lstStyle/>
                    <a:p>
                      <a:r>
                        <a:rPr lang="en-IN" sz="1400" dirty="0" err="1"/>
                        <a:t>Item_Description</a:t>
                      </a:r>
                      <a:endParaRPr lang="en-IN" sz="1400" dirty="0"/>
                    </a:p>
                  </a:txBody>
                  <a:tcPr anchor="ctr"/>
                </a:tc>
                <a:extLst>
                  <a:ext uri="{0D108BD9-81ED-4DB2-BD59-A6C34878D82A}">
                    <a16:rowId xmlns:a16="http://schemas.microsoft.com/office/drawing/2014/main" val="787762264"/>
                  </a:ext>
                </a:extLst>
              </a:tr>
              <a:tr h="335792">
                <a:tc>
                  <a:txBody>
                    <a:bodyPr/>
                    <a:lstStyle/>
                    <a:p>
                      <a:r>
                        <a:rPr lang="en-IN" sz="1400" dirty="0" err="1"/>
                        <a:t>Contract_Price</a:t>
                      </a:r>
                      <a:r>
                        <a:rPr lang="en-IN" sz="1400" dirty="0"/>
                        <a:t>(Million) </a:t>
                      </a:r>
                    </a:p>
                  </a:txBody>
                  <a:tcPr anchor="ctr"/>
                </a:tc>
                <a:extLst>
                  <a:ext uri="{0D108BD9-81ED-4DB2-BD59-A6C34878D82A}">
                    <a16:rowId xmlns:a16="http://schemas.microsoft.com/office/drawing/2014/main" val="2569306784"/>
                  </a:ext>
                </a:extLst>
              </a:tr>
              <a:tr h="335792">
                <a:tc>
                  <a:txBody>
                    <a:bodyPr/>
                    <a:lstStyle/>
                    <a:p>
                      <a:r>
                        <a:rPr lang="en-IN" sz="1400" dirty="0" err="1"/>
                        <a:t>Contract_UOM</a:t>
                      </a:r>
                      <a:endParaRPr lang="en-IN" sz="1400" dirty="0"/>
                    </a:p>
                  </a:txBody>
                  <a:tcPr anchor="ctr"/>
                </a:tc>
                <a:extLst>
                  <a:ext uri="{0D108BD9-81ED-4DB2-BD59-A6C34878D82A}">
                    <a16:rowId xmlns:a16="http://schemas.microsoft.com/office/drawing/2014/main" val="1973943868"/>
                  </a:ext>
                </a:extLst>
              </a:tr>
            </a:tbl>
          </a:graphicData>
        </a:graphic>
      </p:graphicFrame>
      <p:graphicFrame>
        <p:nvGraphicFramePr>
          <p:cNvPr id="13" name="Table 9">
            <a:extLst>
              <a:ext uri="{FF2B5EF4-FFF2-40B4-BE49-F238E27FC236}">
                <a16:creationId xmlns:a16="http://schemas.microsoft.com/office/drawing/2014/main" id="{F56C7998-EA2F-42B3-AA6F-08B627E8018A}"/>
              </a:ext>
            </a:extLst>
          </p:cNvPr>
          <p:cNvGraphicFramePr>
            <a:graphicFrameLocks noGrp="1"/>
          </p:cNvGraphicFramePr>
          <p:nvPr>
            <p:extLst>
              <p:ext uri="{D42A27DB-BD31-4B8C-83A1-F6EECF244321}">
                <p14:modId xmlns:p14="http://schemas.microsoft.com/office/powerpoint/2010/main" val="2466947134"/>
              </p:ext>
            </p:extLst>
          </p:nvPr>
        </p:nvGraphicFramePr>
        <p:xfrm>
          <a:off x="9144002" y="2312015"/>
          <a:ext cx="2583091" cy="4029504"/>
        </p:xfrm>
        <a:graphic>
          <a:graphicData uri="http://schemas.openxmlformats.org/drawingml/2006/table">
            <a:tbl>
              <a:tblPr firstRow="1" bandRow="1">
                <a:tableStyleId>{5C22544A-7EE6-4342-B048-85BDC9FD1C3A}</a:tableStyleId>
              </a:tblPr>
              <a:tblGrid>
                <a:gridCol w="2583091">
                  <a:extLst>
                    <a:ext uri="{9D8B030D-6E8A-4147-A177-3AD203B41FA5}">
                      <a16:colId xmlns:a16="http://schemas.microsoft.com/office/drawing/2014/main" val="3955333484"/>
                    </a:ext>
                  </a:extLst>
                </a:gridCol>
              </a:tblGrid>
              <a:tr h="335792">
                <a:tc>
                  <a:txBody>
                    <a:bodyPr/>
                    <a:lstStyle/>
                    <a:p>
                      <a:pPr marL="0" algn="l" defTabSz="914400" rtl="0" eaLnBrk="1" latinLnBrk="0" hangingPunct="1"/>
                      <a:r>
                        <a:rPr lang="en-IN" sz="1450" b="1" kern="1200" dirty="0" err="1">
                          <a:solidFill>
                            <a:schemeClr val="lt1"/>
                          </a:solidFill>
                          <a:latin typeface="+mn-lt"/>
                          <a:ea typeface="+mn-ea"/>
                          <a:cs typeface="+mn-cs"/>
                        </a:rPr>
                        <a:t>Item_Master</a:t>
                      </a:r>
                      <a:endParaRPr lang="en-IN" sz="1450" b="1" kern="1200" dirty="0">
                        <a:solidFill>
                          <a:schemeClr val="lt1"/>
                        </a:solidFill>
                        <a:latin typeface="+mn-lt"/>
                        <a:ea typeface="+mn-ea"/>
                        <a:cs typeface="+mn-cs"/>
                      </a:endParaRPr>
                    </a:p>
                  </a:txBody>
                  <a:tcPr/>
                </a:tc>
                <a:extLst>
                  <a:ext uri="{0D108BD9-81ED-4DB2-BD59-A6C34878D82A}">
                    <a16:rowId xmlns:a16="http://schemas.microsoft.com/office/drawing/2014/main" val="3246421841"/>
                  </a:ext>
                </a:extLst>
              </a:tr>
              <a:tr h="335792">
                <a:tc>
                  <a:txBody>
                    <a:bodyPr/>
                    <a:lstStyle/>
                    <a:p>
                      <a:r>
                        <a:rPr lang="en-IN" sz="1400" dirty="0" err="1"/>
                        <a:t>Item_ID</a:t>
                      </a:r>
                      <a:endParaRPr lang="en-IN" sz="1400" dirty="0"/>
                    </a:p>
                  </a:txBody>
                  <a:tcPr/>
                </a:tc>
                <a:extLst>
                  <a:ext uri="{0D108BD9-81ED-4DB2-BD59-A6C34878D82A}">
                    <a16:rowId xmlns:a16="http://schemas.microsoft.com/office/drawing/2014/main" val="4003538116"/>
                  </a:ext>
                </a:extLst>
              </a:tr>
              <a:tr h="335792">
                <a:tc>
                  <a:txBody>
                    <a:bodyPr/>
                    <a:lstStyle/>
                    <a:p>
                      <a:r>
                        <a:rPr lang="en-IN" sz="1400" dirty="0" err="1"/>
                        <a:t>Item_Description</a:t>
                      </a:r>
                      <a:endParaRPr lang="en-IN" sz="1400" dirty="0"/>
                    </a:p>
                  </a:txBody>
                  <a:tcPr/>
                </a:tc>
                <a:extLst>
                  <a:ext uri="{0D108BD9-81ED-4DB2-BD59-A6C34878D82A}">
                    <a16:rowId xmlns:a16="http://schemas.microsoft.com/office/drawing/2014/main" val="787762264"/>
                  </a:ext>
                </a:extLst>
              </a:tr>
              <a:tr h="335792">
                <a:tc>
                  <a:txBody>
                    <a:bodyPr/>
                    <a:lstStyle/>
                    <a:p>
                      <a:r>
                        <a:rPr lang="en-IN" sz="1400" dirty="0" err="1"/>
                        <a:t>Manufacturer_Name</a:t>
                      </a:r>
                      <a:endParaRPr lang="en-IN" sz="1400" dirty="0"/>
                    </a:p>
                  </a:txBody>
                  <a:tcPr/>
                </a:tc>
                <a:extLst>
                  <a:ext uri="{0D108BD9-81ED-4DB2-BD59-A6C34878D82A}">
                    <a16:rowId xmlns:a16="http://schemas.microsoft.com/office/drawing/2014/main" val="2569306784"/>
                  </a:ext>
                </a:extLst>
              </a:tr>
              <a:tr h="335792">
                <a:tc>
                  <a:txBody>
                    <a:bodyPr/>
                    <a:lstStyle/>
                    <a:p>
                      <a:r>
                        <a:rPr lang="en-IN" sz="1400" dirty="0" err="1"/>
                        <a:t>Manufacturer_ID</a:t>
                      </a:r>
                      <a:endParaRPr lang="en-IN" sz="1400" dirty="0"/>
                    </a:p>
                  </a:txBody>
                  <a:tcPr/>
                </a:tc>
                <a:extLst>
                  <a:ext uri="{0D108BD9-81ED-4DB2-BD59-A6C34878D82A}">
                    <a16:rowId xmlns:a16="http://schemas.microsoft.com/office/drawing/2014/main" val="1973943868"/>
                  </a:ext>
                </a:extLst>
              </a:tr>
              <a:tr h="33579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N" sz="1400" dirty="0" err="1"/>
                        <a:t>Vendor_Name</a:t>
                      </a:r>
                      <a:endParaRPr lang="en-IN" sz="1400" dirty="0"/>
                    </a:p>
                  </a:txBody>
                  <a:tcPr/>
                </a:tc>
                <a:extLst>
                  <a:ext uri="{0D108BD9-81ED-4DB2-BD59-A6C34878D82A}">
                    <a16:rowId xmlns:a16="http://schemas.microsoft.com/office/drawing/2014/main" val="688939832"/>
                  </a:ext>
                </a:extLst>
              </a:tr>
              <a:tr h="335792">
                <a:tc>
                  <a:txBody>
                    <a:bodyPr/>
                    <a:lstStyle/>
                    <a:p>
                      <a:r>
                        <a:rPr lang="en-IN" sz="1400" dirty="0" err="1"/>
                        <a:t>Vendor_ID</a:t>
                      </a:r>
                      <a:endParaRPr lang="en-IN" sz="1400" dirty="0"/>
                    </a:p>
                  </a:txBody>
                  <a:tcPr/>
                </a:tc>
                <a:extLst>
                  <a:ext uri="{0D108BD9-81ED-4DB2-BD59-A6C34878D82A}">
                    <a16:rowId xmlns:a16="http://schemas.microsoft.com/office/drawing/2014/main" val="2788146008"/>
                  </a:ext>
                </a:extLst>
              </a:tr>
              <a:tr h="33579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N" sz="1400" dirty="0" err="1"/>
                        <a:t>Vendor_Active_Status</a:t>
                      </a:r>
                      <a:endParaRPr lang="en-IN" sz="1400" dirty="0"/>
                    </a:p>
                  </a:txBody>
                  <a:tcPr/>
                </a:tc>
                <a:extLst>
                  <a:ext uri="{0D108BD9-81ED-4DB2-BD59-A6C34878D82A}">
                    <a16:rowId xmlns:a16="http://schemas.microsoft.com/office/drawing/2014/main" val="737021269"/>
                  </a:ext>
                </a:extLst>
              </a:tr>
              <a:tr h="335792">
                <a:tc>
                  <a:txBody>
                    <a:bodyPr/>
                    <a:lstStyle/>
                    <a:p>
                      <a:r>
                        <a:rPr lang="en-IN" sz="1400" dirty="0" err="1"/>
                        <a:t>Lowest_Unit_Of_Measure</a:t>
                      </a:r>
                      <a:endParaRPr lang="en-IN" sz="1400" dirty="0"/>
                    </a:p>
                  </a:txBody>
                  <a:tcPr/>
                </a:tc>
                <a:extLst>
                  <a:ext uri="{0D108BD9-81ED-4DB2-BD59-A6C34878D82A}">
                    <a16:rowId xmlns:a16="http://schemas.microsoft.com/office/drawing/2014/main" val="4291383494"/>
                  </a:ext>
                </a:extLst>
              </a:tr>
              <a:tr h="335792">
                <a:tc>
                  <a:txBody>
                    <a:bodyPr/>
                    <a:lstStyle/>
                    <a:p>
                      <a:r>
                        <a:rPr lang="en-IN" sz="1400" dirty="0" err="1"/>
                        <a:t>Purchasing_Unit_Of_Measure</a:t>
                      </a:r>
                      <a:endParaRPr lang="en-IN" sz="1400" dirty="0"/>
                    </a:p>
                  </a:txBody>
                  <a:tcPr/>
                </a:tc>
                <a:extLst>
                  <a:ext uri="{0D108BD9-81ED-4DB2-BD59-A6C34878D82A}">
                    <a16:rowId xmlns:a16="http://schemas.microsoft.com/office/drawing/2014/main" val="3143967758"/>
                  </a:ext>
                </a:extLst>
              </a:tr>
              <a:tr h="335792">
                <a:tc>
                  <a:txBody>
                    <a:bodyPr/>
                    <a:lstStyle/>
                    <a:p>
                      <a:r>
                        <a:rPr lang="en-US" sz="1400" dirty="0" err="1"/>
                        <a:t>Unit_Of_Measure_In_Number</a:t>
                      </a:r>
                      <a:endParaRPr lang="en-IN" sz="1400" dirty="0"/>
                    </a:p>
                  </a:txBody>
                  <a:tcPr/>
                </a:tc>
                <a:extLst>
                  <a:ext uri="{0D108BD9-81ED-4DB2-BD59-A6C34878D82A}">
                    <a16:rowId xmlns:a16="http://schemas.microsoft.com/office/drawing/2014/main" val="2508933794"/>
                  </a:ext>
                </a:extLst>
              </a:tr>
              <a:tr h="335792">
                <a:tc>
                  <a:txBody>
                    <a:bodyPr/>
                    <a:lstStyle/>
                    <a:p>
                      <a:r>
                        <a:rPr lang="en-IN" sz="1400" dirty="0"/>
                        <a:t>Department</a:t>
                      </a:r>
                    </a:p>
                  </a:txBody>
                  <a:tcPr/>
                </a:tc>
                <a:extLst>
                  <a:ext uri="{0D108BD9-81ED-4DB2-BD59-A6C34878D82A}">
                    <a16:rowId xmlns:a16="http://schemas.microsoft.com/office/drawing/2014/main" val="309415355"/>
                  </a:ext>
                </a:extLst>
              </a:tr>
            </a:tbl>
          </a:graphicData>
        </a:graphic>
      </p:graphicFrame>
      <p:cxnSp>
        <p:nvCxnSpPr>
          <p:cNvPr id="15" name="Connector: Elbow 14">
            <a:extLst>
              <a:ext uri="{FF2B5EF4-FFF2-40B4-BE49-F238E27FC236}">
                <a16:creationId xmlns:a16="http://schemas.microsoft.com/office/drawing/2014/main" id="{862BE37D-5419-4F6D-BFE3-D2FA12EA2632}"/>
              </a:ext>
            </a:extLst>
          </p:cNvPr>
          <p:cNvCxnSpPr>
            <a:cxnSpLocks/>
          </p:cNvCxnSpPr>
          <p:nvPr/>
        </p:nvCxnSpPr>
        <p:spPr>
          <a:xfrm>
            <a:off x="2524123" y="1962150"/>
            <a:ext cx="2168977" cy="1854200"/>
          </a:xfrm>
          <a:prstGeom prst="bentConnector3">
            <a:avLst>
              <a:gd name="adj1" fmla="val 50000"/>
            </a:avLst>
          </a:prstGeom>
          <a:ln w="38100">
            <a:headEnd type="triangle"/>
            <a:tailEnd type="triangle"/>
          </a:ln>
        </p:spPr>
        <p:style>
          <a:lnRef idx="1">
            <a:schemeClr val="accent1"/>
          </a:lnRef>
          <a:fillRef idx="0">
            <a:schemeClr val="accent1"/>
          </a:fillRef>
          <a:effectRef idx="0">
            <a:schemeClr val="accent1"/>
          </a:effectRef>
          <a:fontRef idx="minor">
            <a:schemeClr val="tx1"/>
          </a:fontRef>
        </p:style>
      </p:cxnSp>
      <p:grpSp>
        <p:nvGrpSpPr>
          <p:cNvPr id="69" name="Group 68">
            <a:extLst>
              <a:ext uri="{FF2B5EF4-FFF2-40B4-BE49-F238E27FC236}">
                <a16:creationId xmlns:a16="http://schemas.microsoft.com/office/drawing/2014/main" id="{5FF29B2F-4FA0-4D4E-8EC4-D07F22FA5FE9}"/>
              </a:ext>
            </a:extLst>
          </p:cNvPr>
          <p:cNvGrpSpPr/>
          <p:nvPr/>
        </p:nvGrpSpPr>
        <p:grpSpPr>
          <a:xfrm>
            <a:off x="2524121" y="2100262"/>
            <a:ext cx="546103" cy="3773488"/>
            <a:chOff x="2286000" y="2220913"/>
            <a:chExt cx="511291" cy="3617123"/>
          </a:xfrm>
        </p:grpSpPr>
        <p:cxnSp>
          <p:nvCxnSpPr>
            <p:cNvPr id="64" name="Straight Connector 63">
              <a:extLst>
                <a:ext uri="{FF2B5EF4-FFF2-40B4-BE49-F238E27FC236}">
                  <a16:creationId xmlns:a16="http://schemas.microsoft.com/office/drawing/2014/main" id="{BC001BC0-3E11-4A76-9EAE-507D7DB0FEC7}"/>
                </a:ext>
              </a:extLst>
            </p:cNvPr>
            <p:cNvCxnSpPr>
              <a:cxnSpLocks/>
            </p:cNvCxnSpPr>
            <p:nvPr/>
          </p:nvCxnSpPr>
          <p:spPr>
            <a:xfrm>
              <a:off x="2797291" y="2220913"/>
              <a:ext cx="0" cy="3617123"/>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66" name="Straight Arrow Connector 65">
              <a:extLst>
                <a:ext uri="{FF2B5EF4-FFF2-40B4-BE49-F238E27FC236}">
                  <a16:creationId xmlns:a16="http://schemas.microsoft.com/office/drawing/2014/main" id="{05629788-F9F5-4B78-B867-E4CCF8212CE5}"/>
                </a:ext>
              </a:extLst>
            </p:cNvPr>
            <p:cNvCxnSpPr>
              <a:cxnSpLocks/>
            </p:cNvCxnSpPr>
            <p:nvPr/>
          </p:nvCxnSpPr>
          <p:spPr>
            <a:xfrm flipH="1">
              <a:off x="2286000" y="2238375"/>
              <a:ext cx="511291" cy="0"/>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68" name="Straight Arrow Connector 67">
              <a:extLst>
                <a:ext uri="{FF2B5EF4-FFF2-40B4-BE49-F238E27FC236}">
                  <a16:creationId xmlns:a16="http://schemas.microsoft.com/office/drawing/2014/main" id="{FFDFBDB7-E1DF-4E2C-A71E-87D6C414CC53}"/>
                </a:ext>
              </a:extLst>
            </p:cNvPr>
            <p:cNvCxnSpPr/>
            <p:nvPr/>
          </p:nvCxnSpPr>
          <p:spPr>
            <a:xfrm flipH="1">
              <a:off x="2286000" y="5819775"/>
              <a:ext cx="511291" cy="0"/>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grpSp>
      <p:cxnSp>
        <p:nvCxnSpPr>
          <p:cNvPr id="76" name="Straight Arrow Connector 75">
            <a:extLst>
              <a:ext uri="{FF2B5EF4-FFF2-40B4-BE49-F238E27FC236}">
                <a16:creationId xmlns:a16="http://schemas.microsoft.com/office/drawing/2014/main" id="{23D714FB-E927-4651-BDF0-2EDE991BE80D}"/>
              </a:ext>
            </a:extLst>
          </p:cNvPr>
          <p:cNvCxnSpPr>
            <a:cxnSpLocks/>
          </p:cNvCxnSpPr>
          <p:nvPr/>
        </p:nvCxnSpPr>
        <p:spPr>
          <a:xfrm>
            <a:off x="6752316" y="2852194"/>
            <a:ext cx="2391686" cy="0"/>
          </a:xfrm>
          <a:prstGeom prst="straightConnector1">
            <a:avLst/>
          </a:prstGeom>
          <a:ln w="38100">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78" name="Straight Connector 77">
            <a:extLst>
              <a:ext uri="{FF2B5EF4-FFF2-40B4-BE49-F238E27FC236}">
                <a16:creationId xmlns:a16="http://schemas.microsoft.com/office/drawing/2014/main" id="{18F03BCD-6BF1-4D13-8832-8D737FE68CED}"/>
              </a:ext>
            </a:extLst>
          </p:cNvPr>
          <p:cNvCxnSpPr>
            <a:cxnSpLocks/>
          </p:cNvCxnSpPr>
          <p:nvPr/>
        </p:nvCxnSpPr>
        <p:spPr>
          <a:xfrm>
            <a:off x="7948159" y="931029"/>
            <a:ext cx="0" cy="1767721"/>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79" name="Straight Arrow Connector 78">
            <a:extLst>
              <a:ext uri="{FF2B5EF4-FFF2-40B4-BE49-F238E27FC236}">
                <a16:creationId xmlns:a16="http://schemas.microsoft.com/office/drawing/2014/main" id="{E5D7EF93-4D84-4BA9-8B84-B2FC13E361DC}"/>
              </a:ext>
            </a:extLst>
          </p:cNvPr>
          <p:cNvCxnSpPr>
            <a:cxnSpLocks/>
          </p:cNvCxnSpPr>
          <p:nvPr/>
        </p:nvCxnSpPr>
        <p:spPr>
          <a:xfrm>
            <a:off x="7931150" y="931029"/>
            <a:ext cx="1212852" cy="0"/>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80" name="Straight Arrow Connector 79">
            <a:extLst>
              <a:ext uri="{FF2B5EF4-FFF2-40B4-BE49-F238E27FC236}">
                <a16:creationId xmlns:a16="http://schemas.microsoft.com/office/drawing/2014/main" id="{E8EDDB4D-5D2E-44C4-9886-FFB428D0FBCB}"/>
              </a:ext>
            </a:extLst>
          </p:cNvPr>
          <p:cNvCxnSpPr>
            <a:cxnSpLocks/>
          </p:cNvCxnSpPr>
          <p:nvPr/>
        </p:nvCxnSpPr>
        <p:spPr>
          <a:xfrm flipH="1">
            <a:off x="6752316" y="2698750"/>
            <a:ext cx="1213759" cy="0"/>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grpSp>
        <p:nvGrpSpPr>
          <p:cNvPr id="92" name="Group 91">
            <a:extLst>
              <a:ext uri="{FF2B5EF4-FFF2-40B4-BE49-F238E27FC236}">
                <a16:creationId xmlns:a16="http://schemas.microsoft.com/office/drawing/2014/main" id="{00816A6D-651B-4D8A-A490-FB49976380EC}"/>
              </a:ext>
            </a:extLst>
          </p:cNvPr>
          <p:cNvGrpSpPr/>
          <p:nvPr/>
        </p:nvGrpSpPr>
        <p:grpSpPr>
          <a:xfrm>
            <a:off x="5376201" y="1001581"/>
            <a:ext cx="495734" cy="523220"/>
            <a:chOff x="5376201" y="1001581"/>
            <a:chExt cx="495734" cy="523220"/>
          </a:xfrm>
        </p:grpSpPr>
        <p:sp>
          <p:nvSpPr>
            <p:cNvPr id="90" name="Flowchart: Connector 89">
              <a:extLst>
                <a:ext uri="{FF2B5EF4-FFF2-40B4-BE49-F238E27FC236}">
                  <a16:creationId xmlns:a16="http://schemas.microsoft.com/office/drawing/2014/main" id="{0260A48D-E0E5-4044-A2CC-52337F6C70B0}"/>
                </a:ext>
              </a:extLst>
            </p:cNvPr>
            <p:cNvSpPr/>
            <p:nvPr/>
          </p:nvSpPr>
          <p:spPr>
            <a:xfrm>
              <a:off x="5376201" y="1020277"/>
              <a:ext cx="495734" cy="485829"/>
            </a:xfrm>
            <a:prstGeom prst="flowChartConnector">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91" name="TextBox 90">
              <a:extLst>
                <a:ext uri="{FF2B5EF4-FFF2-40B4-BE49-F238E27FC236}">
                  <a16:creationId xmlns:a16="http://schemas.microsoft.com/office/drawing/2014/main" id="{F9878251-61A3-4F30-AA9A-507F67D51EF4}"/>
                </a:ext>
              </a:extLst>
            </p:cNvPr>
            <p:cNvSpPr txBox="1"/>
            <p:nvPr/>
          </p:nvSpPr>
          <p:spPr>
            <a:xfrm>
              <a:off x="5442049" y="1001581"/>
              <a:ext cx="364038" cy="523220"/>
            </a:xfrm>
            <a:prstGeom prst="rect">
              <a:avLst/>
            </a:prstGeom>
            <a:noFill/>
          </p:spPr>
          <p:txBody>
            <a:bodyPr wrap="square" rtlCol="0">
              <a:spAutoFit/>
            </a:bodyPr>
            <a:lstStyle/>
            <a:p>
              <a:r>
                <a:rPr lang="en-IN" sz="2800" b="1" dirty="0">
                  <a:solidFill>
                    <a:schemeClr val="bg1"/>
                  </a:solidFill>
                </a:rPr>
                <a:t>1</a:t>
              </a:r>
            </a:p>
          </p:txBody>
        </p:sp>
      </p:grpSp>
      <p:grpSp>
        <p:nvGrpSpPr>
          <p:cNvPr id="93" name="Group 92">
            <a:extLst>
              <a:ext uri="{FF2B5EF4-FFF2-40B4-BE49-F238E27FC236}">
                <a16:creationId xmlns:a16="http://schemas.microsoft.com/office/drawing/2014/main" id="{90911411-CB76-41AA-A80D-B8186712060A}"/>
              </a:ext>
            </a:extLst>
          </p:cNvPr>
          <p:cNvGrpSpPr/>
          <p:nvPr/>
        </p:nvGrpSpPr>
        <p:grpSpPr>
          <a:xfrm>
            <a:off x="2574490" y="1065192"/>
            <a:ext cx="495734" cy="523220"/>
            <a:chOff x="5376201" y="1001581"/>
            <a:chExt cx="495734" cy="523220"/>
          </a:xfrm>
        </p:grpSpPr>
        <p:sp>
          <p:nvSpPr>
            <p:cNvPr id="94" name="Flowchart: Connector 93">
              <a:extLst>
                <a:ext uri="{FF2B5EF4-FFF2-40B4-BE49-F238E27FC236}">
                  <a16:creationId xmlns:a16="http://schemas.microsoft.com/office/drawing/2014/main" id="{67973A8A-54C6-4E18-8499-54B51C051822}"/>
                </a:ext>
              </a:extLst>
            </p:cNvPr>
            <p:cNvSpPr/>
            <p:nvPr/>
          </p:nvSpPr>
          <p:spPr>
            <a:xfrm>
              <a:off x="5376201" y="1020277"/>
              <a:ext cx="495734" cy="485829"/>
            </a:xfrm>
            <a:prstGeom prst="flowChartConnector">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95" name="TextBox 94">
              <a:extLst>
                <a:ext uri="{FF2B5EF4-FFF2-40B4-BE49-F238E27FC236}">
                  <a16:creationId xmlns:a16="http://schemas.microsoft.com/office/drawing/2014/main" id="{43C5F994-93C2-4275-A0DA-FB25E110E072}"/>
                </a:ext>
              </a:extLst>
            </p:cNvPr>
            <p:cNvSpPr txBox="1"/>
            <p:nvPr/>
          </p:nvSpPr>
          <p:spPr>
            <a:xfrm>
              <a:off x="5442049" y="1001581"/>
              <a:ext cx="364038" cy="523220"/>
            </a:xfrm>
            <a:prstGeom prst="rect">
              <a:avLst/>
            </a:prstGeom>
            <a:noFill/>
          </p:spPr>
          <p:txBody>
            <a:bodyPr wrap="square" rtlCol="0">
              <a:spAutoFit/>
            </a:bodyPr>
            <a:lstStyle/>
            <a:p>
              <a:r>
                <a:rPr lang="en-IN" sz="2800" b="1" dirty="0">
                  <a:solidFill>
                    <a:schemeClr val="bg1"/>
                  </a:solidFill>
                </a:rPr>
                <a:t>2</a:t>
              </a:r>
            </a:p>
          </p:txBody>
        </p:sp>
      </p:grpSp>
      <p:grpSp>
        <p:nvGrpSpPr>
          <p:cNvPr id="96" name="Group 95">
            <a:extLst>
              <a:ext uri="{FF2B5EF4-FFF2-40B4-BE49-F238E27FC236}">
                <a16:creationId xmlns:a16="http://schemas.microsoft.com/office/drawing/2014/main" id="{973A8B7F-0D74-4B29-B101-8AEF57F3B873}"/>
              </a:ext>
            </a:extLst>
          </p:cNvPr>
          <p:cNvGrpSpPr/>
          <p:nvPr/>
        </p:nvGrpSpPr>
        <p:grpSpPr>
          <a:xfrm>
            <a:off x="2574490" y="6156760"/>
            <a:ext cx="495734" cy="523220"/>
            <a:chOff x="5376201" y="1001581"/>
            <a:chExt cx="495734" cy="523220"/>
          </a:xfrm>
        </p:grpSpPr>
        <p:sp>
          <p:nvSpPr>
            <p:cNvPr id="97" name="Flowchart: Connector 96">
              <a:extLst>
                <a:ext uri="{FF2B5EF4-FFF2-40B4-BE49-F238E27FC236}">
                  <a16:creationId xmlns:a16="http://schemas.microsoft.com/office/drawing/2014/main" id="{330545DB-DB79-45C0-B94F-96685842789F}"/>
                </a:ext>
              </a:extLst>
            </p:cNvPr>
            <p:cNvSpPr/>
            <p:nvPr/>
          </p:nvSpPr>
          <p:spPr>
            <a:xfrm>
              <a:off x="5376201" y="1020277"/>
              <a:ext cx="495734" cy="485829"/>
            </a:xfrm>
            <a:prstGeom prst="flowChartConnector">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98" name="TextBox 97">
              <a:extLst>
                <a:ext uri="{FF2B5EF4-FFF2-40B4-BE49-F238E27FC236}">
                  <a16:creationId xmlns:a16="http://schemas.microsoft.com/office/drawing/2014/main" id="{D0C5E0F0-E706-4B87-8CF4-F798346200B8}"/>
                </a:ext>
              </a:extLst>
            </p:cNvPr>
            <p:cNvSpPr txBox="1"/>
            <p:nvPr/>
          </p:nvSpPr>
          <p:spPr>
            <a:xfrm>
              <a:off x="5442049" y="1001581"/>
              <a:ext cx="364038" cy="523220"/>
            </a:xfrm>
            <a:prstGeom prst="rect">
              <a:avLst/>
            </a:prstGeom>
            <a:noFill/>
          </p:spPr>
          <p:txBody>
            <a:bodyPr wrap="square" rtlCol="0">
              <a:spAutoFit/>
            </a:bodyPr>
            <a:lstStyle/>
            <a:p>
              <a:r>
                <a:rPr lang="en-IN" sz="2800" b="1" dirty="0">
                  <a:solidFill>
                    <a:schemeClr val="bg1"/>
                  </a:solidFill>
                </a:rPr>
                <a:t>3</a:t>
              </a:r>
            </a:p>
          </p:txBody>
        </p:sp>
      </p:grpSp>
      <p:grpSp>
        <p:nvGrpSpPr>
          <p:cNvPr id="99" name="Group 98">
            <a:extLst>
              <a:ext uri="{FF2B5EF4-FFF2-40B4-BE49-F238E27FC236}">
                <a16:creationId xmlns:a16="http://schemas.microsoft.com/office/drawing/2014/main" id="{5ACFEF3A-27AF-43AC-B111-7A028ADB75FD}"/>
              </a:ext>
            </a:extLst>
          </p:cNvPr>
          <p:cNvGrpSpPr/>
          <p:nvPr/>
        </p:nvGrpSpPr>
        <p:grpSpPr>
          <a:xfrm>
            <a:off x="8537576" y="228538"/>
            <a:ext cx="495734" cy="523220"/>
            <a:chOff x="5376201" y="1001581"/>
            <a:chExt cx="495734" cy="523220"/>
          </a:xfrm>
        </p:grpSpPr>
        <p:sp>
          <p:nvSpPr>
            <p:cNvPr id="100" name="Flowchart: Connector 99">
              <a:extLst>
                <a:ext uri="{FF2B5EF4-FFF2-40B4-BE49-F238E27FC236}">
                  <a16:creationId xmlns:a16="http://schemas.microsoft.com/office/drawing/2014/main" id="{24A0751B-8F9E-46AC-B3AC-AD12AED866A8}"/>
                </a:ext>
              </a:extLst>
            </p:cNvPr>
            <p:cNvSpPr/>
            <p:nvPr/>
          </p:nvSpPr>
          <p:spPr>
            <a:xfrm>
              <a:off x="5376201" y="1020277"/>
              <a:ext cx="495734" cy="485829"/>
            </a:xfrm>
            <a:prstGeom prst="flowChartConnector">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101" name="TextBox 100">
              <a:extLst>
                <a:ext uri="{FF2B5EF4-FFF2-40B4-BE49-F238E27FC236}">
                  <a16:creationId xmlns:a16="http://schemas.microsoft.com/office/drawing/2014/main" id="{FDACBA28-CA73-4D2A-A95D-1E9A08625795}"/>
                </a:ext>
              </a:extLst>
            </p:cNvPr>
            <p:cNvSpPr txBox="1"/>
            <p:nvPr/>
          </p:nvSpPr>
          <p:spPr>
            <a:xfrm>
              <a:off x="5442049" y="1001581"/>
              <a:ext cx="364038" cy="523220"/>
            </a:xfrm>
            <a:prstGeom prst="rect">
              <a:avLst/>
            </a:prstGeom>
            <a:noFill/>
          </p:spPr>
          <p:txBody>
            <a:bodyPr wrap="square" rtlCol="0">
              <a:spAutoFit/>
            </a:bodyPr>
            <a:lstStyle/>
            <a:p>
              <a:r>
                <a:rPr lang="en-IN" sz="2800" b="1" dirty="0">
                  <a:solidFill>
                    <a:schemeClr val="bg1"/>
                  </a:solidFill>
                </a:rPr>
                <a:t>4</a:t>
              </a:r>
            </a:p>
          </p:txBody>
        </p:sp>
      </p:grpSp>
      <p:grpSp>
        <p:nvGrpSpPr>
          <p:cNvPr id="102" name="Group 101">
            <a:extLst>
              <a:ext uri="{FF2B5EF4-FFF2-40B4-BE49-F238E27FC236}">
                <a16:creationId xmlns:a16="http://schemas.microsoft.com/office/drawing/2014/main" id="{0C3BE09A-547F-4264-B60A-DA67F2589ADE}"/>
              </a:ext>
            </a:extLst>
          </p:cNvPr>
          <p:cNvGrpSpPr/>
          <p:nvPr/>
        </p:nvGrpSpPr>
        <p:grpSpPr>
          <a:xfrm>
            <a:off x="8534619" y="6138065"/>
            <a:ext cx="495734" cy="523220"/>
            <a:chOff x="5376201" y="1001581"/>
            <a:chExt cx="495734" cy="523220"/>
          </a:xfrm>
        </p:grpSpPr>
        <p:sp>
          <p:nvSpPr>
            <p:cNvPr id="103" name="Flowchart: Connector 102">
              <a:extLst>
                <a:ext uri="{FF2B5EF4-FFF2-40B4-BE49-F238E27FC236}">
                  <a16:creationId xmlns:a16="http://schemas.microsoft.com/office/drawing/2014/main" id="{D81847FE-FFAB-46C2-B719-C9D0D1726259}"/>
                </a:ext>
              </a:extLst>
            </p:cNvPr>
            <p:cNvSpPr/>
            <p:nvPr/>
          </p:nvSpPr>
          <p:spPr>
            <a:xfrm>
              <a:off x="5376201" y="1020277"/>
              <a:ext cx="495734" cy="485829"/>
            </a:xfrm>
            <a:prstGeom prst="flowChartConnector">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104" name="TextBox 103">
              <a:extLst>
                <a:ext uri="{FF2B5EF4-FFF2-40B4-BE49-F238E27FC236}">
                  <a16:creationId xmlns:a16="http://schemas.microsoft.com/office/drawing/2014/main" id="{514F6195-212E-41B1-89AE-F8698EA1D390}"/>
                </a:ext>
              </a:extLst>
            </p:cNvPr>
            <p:cNvSpPr txBox="1"/>
            <p:nvPr/>
          </p:nvSpPr>
          <p:spPr>
            <a:xfrm>
              <a:off x="5442049" y="1001581"/>
              <a:ext cx="364038" cy="523220"/>
            </a:xfrm>
            <a:prstGeom prst="rect">
              <a:avLst/>
            </a:prstGeom>
            <a:noFill/>
          </p:spPr>
          <p:txBody>
            <a:bodyPr wrap="square" rtlCol="0">
              <a:spAutoFit/>
            </a:bodyPr>
            <a:lstStyle/>
            <a:p>
              <a:r>
                <a:rPr lang="en-IN" sz="2800" b="1" dirty="0">
                  <a:solidFill>
                    <a:schemeClr val="bg1"/>
                  </a:solidFill>
                </a:rPr>
                <a:t>5</a:t>
              </a:r>
            </a:p>
          </p:txBody>
        </p:sp>
      </p:grpSp>
    </p:spTree>
    <p:extLst>
      <p:ext uri="{BB962C8B-B14F-4D97-AF65-F5344CB8AC3E}">
        <p14:creationId xmlns:p14="http://schemas.microsoft.com/office/powerpoint/2010/main" val="339528577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JPM_INFOGRAPHIC" val="INFOGRAPHIC_LABEL"/>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heme3">
  <a:themeElements>
    <a:clrScheme name="citius tech">
      <a:dk1>
        <a:srgbClr val="000000"/>
      </a:dk1>
      <a:lt1>
        <a:srgbClr val="FFFFFF"/>
      </a:lt1>
      <a:dk2>
        <a:srgbClr val="44546A"/>
      </a:dk2>
      <a:lt2>
        <a:srgbClr val="E7E6E6"/>
      </a:lt2>
      <a:accent1>
        <a:srgbClr val="004582"/>
      </a:accent1>
      <a:accent2>
        <a:srgbClr val="45AAC4"/>
      </a:accent2>
      <a:accent3>
        <a:srgbClr val="16BDB6"/>
      </a:accent3>
      <a:accent4>
        <a:srgbClr val="99A7C4"/>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Theme3" id="{308CB1DC-21C6-45F3-B225-9303358B99E2}" vid="{6E3D8C23-58A9-46F2-8743-24C5FCA765FD}"/>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_activity xmlns="5c4cc830-21ae-4687-95c9-cb7211c98eac"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26D0CC1FDB25CA44BDD925B4C1B10AA4" ma:contentTypeVersion="17" ma:contentTypeDescription="Create a new document." ma:contentTypeScope="" ma:versionID="e9f373d1128157584880bd1a15a84dab">
  <xsd:schema xmlns:xsd="http://www.w3.org/2001/XMLSchema" xmlns:xs="http://www.w3.org/2001/XMLSchema" xmlns:p="http://schemas.microsoft.com/office/2006/metadata/properties" xmlns:ns1="http://schemas.microsoft.com/sharepoint/v3" xmlns:ns3="5c4cc830-21ae-4687-95c9-cb7211c98eac" xmlns:ns4="964e26a6-2627-4339-88db-6557058806a7" targetNamespace="http://schemas.microsoft.com/office/2006/metadata/properties" ma:root="true" ma:fieldsID="5f369791ce14d9b693b3f271f058d0cb" ns1:_="" ns3:_="" ns4:_="">
    <xsd:import namespace="http://schemas.microsoft.com/sharepoint/v3"/>
    <xsd:import namespace="5c4cc830-21ae-4687-95c9-cb7211c98eac"/>
    <xsd:import namespace="964e26a6-2627-4339-88db-6557058806a7"/>
    <xsd:element name="properties">
      <xsd:complexType>
        <xsd:sequence>
          <xsd:element name="documentManagement">
            <xsd:complexType>
              <xsd:all>
                <xsd:element ref="ns3:MediaServiceMetadata" minOccurs="0"/>
                <xsd:element ref="ns3:MediaServiceFastMetadata" minOccurs="0"/>
                <xsd:element ref="ns3:MediaServiceAutoTags" minOccurs="0"/>
                <xsd:element ref="ns3:MediaServiceOCR" minOccurs="0"/>
                <xsd:element ref="ns3:MediaServiceGenerationTime" minOccurs="0"/>
                <xsd:element ref="ns3:MediaServiceEventHashCode" minOccurs="0"/>
                <xsd:element ref="ns4:SharedWithUsers" minOccurs="0"/>
                <xsd:element ref="ns4:SharedWithDetails" minOccurs="0"/>
                <xsd:element ref="ns4:SharingHintHash" minOccurs="0"/>
                <xsd:element ref="ns3:MediaServiceAutoKeyPoints" minOccurs="0"/>
                <xsd:element ref="ns3:MediaServiceKeyPoints" minOccurs="0"/>
                <xsd:element ref="ns3:MediaServiceDateTaken" minOccurs="0"/>
                <xsd:element ref="ns3:MediaServiceLocation" minOccurs="0"/>
                <xsd:element ref="ns3:MediaLengthInSeconds" minOccurs="0"/>
                <xsd:element ref="ns1:_ip_UnifiedCompliancePolicyProperties" minOccurs="0"/>
                <xsd:element ref="ns1:_ip_UnifiedCompliancePolicyUIAction" minOccurs="0"/>
                <xsd:element ref="ns3:_activity"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22" nillable="true" ma:displayName="Unified Compliance Policy Properties" ma:hidden="true" ma:internalName="_ip_UnifiedCompliancePolicyProperties">
      <xsd:simpleType>
        <xsd:restriction base="dms:Note"/>
      </xsd:simpleType>
    </xsd:element>
    <xsd:element name="_ip_UnifiedCompliancePolicyUIAction" ma:index="23"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5c4cc830-21ae-4687-95c9-cb7211c98eac"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AutoKeyPoints" ma:index="17" nillable="true" ma:displayName="MediaServiceAutoKeyPoints" ma:hidden="true" ma:internalName="MediaServiceAutoKeyPoints" ma:readOnly="true">
      <xsd:simpleType>
        <xsd:restriction base="dms:Note"/>
      </xsd:simpleType>
    </xsd:element>
    <xsd:element name="MediaServiceKeyPoints" ma:index="18" nillable="true" ma:displayName="KeyPoints" ma:internalName="MediaServiceKeyPoints" ma:readOnly="true">
      <xsd:simpleType>
        <xsd:restriction base="dms:Note">
          <xsd:maxLength value="255"/>
        </xsd:restriction>
      </xsd:simpleType>
    </xsd:element>
    <xsd:element name="MediaServiceDateTaken" ma:index="19" nillable="true" ma:displayName="MediaServiceDateTaken" ma:hidden="true" ma:internalName="MediaServiceDateTaken" ma:readOnly="true">
      <xsd:simpleType>
        <xsd:restriction base="dms:Text"/>
      </xsd:simpleType>
    </xsd:element>
    <xsd:element name="MediaServiceLocation" ma:index="20" nillable="true" ma:displayName="Location" ma:internalName="MediaServiceLocation" ma:readOnly="true">
      <xsd:simpleType>
        <xsd:restriction base="dms:Text"/>
      </xsd:simpleType>
    </xsd:element>
    <xsd:element name="MediaLengthInSeconds" ma:index="21" nillable="true" ma:displayName="Length (seconds)" ma:internalName="MediaLengthInSeconds" ma:readOnly="true">
      <xsd:simpleType>
        <xsd:restriction base="dms:Unknown"/>
      </xsd:simpleType>
    </xsd:element>
    <xsd:element name="_activity" ma:index="24" nillable="true" ma:displayName="_activity" ma:hidden="true" ma:internalName="_activity">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964e26a6-2627-4339-88db-6557058806a7" elementFormDefault="qualified">
    <xsd:import namespace="http://schemas.microsoft.com/office/2006/documentManagement/types"/>
    <xsd:import namespace="http://schemas.microsoft.com/office/infopath/2007/PartnerControls"/>
    <xsd:element name="SharedWithUsers" ma:index="14"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Shared With Details" ma:internalName="SharedWithDetails" ma:readOnly="true">
      <xsd:simpleType>
        <xsd:restriction base="dms:Note">
          <xsd:maxLength value="255"/>
        </xsd:restriction>
      </xsd:simpleType>
    </xsd:element>
    <xsd:element name="SharingHintHash" ma:index="16"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DBDCF5D3-6B77-4457-9EEF-F1A1203D3069}">
  <ds:schemaRefs>
    <ds:schemaRef ds:uri="http://schemas.microsoft.com/sharepoint/v3"/>
    <ds:schemaRef ds:uri="http://purl.org/dc/dcmitype/"/>
    <ds:schemaRef ds:uri="http://schemas.microsoft.com/office/infopath/2007/PartnerControls"/>
    <ds:schemaRef ds:uri="http://www.w3.org/XML/1998/namespace"/>
    <ds:schemaRef ds:uri="http://purl.org/dc/elements/1.1/"/>
    <ds:schemaRef ds:uri="964e26a6-2627-4339-88db-6557058806a7"/>
    <ds:schemaRef ds:uri="http://schemas.microsoft.com/office/2006/documentManagement/types"/>
    <ds:schemaRef ds:uri="http://schemas.microsoft.com/office/2006/metadata/properties"/>
    <ds:schemaRef ds:uri="http://schemas.openxmlformats.org/package/2006/metadata/core-properties"/>
    <ds:schemaRef ds:uri="5c4cc830-21ae-4687-95c9-cb7211c98eac"/>
    <ds:schemaRef ds:uri="http://purl.org/dc/terms/"/>
  </ds:schemaRefs>
</ds:datastoreItem>
</file>

<file path=customXml/itemProps2.xml><?xml version="1.0" encoding="utf-8"?>
<ds:datastoreItem xmlns:ds="http://schemas.openxmlformats.org/officeDocument/2006/customXml" ds:itemID="{C28E5890-F5D5-4C06-9CA3-DFB1E51BC1E6}">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5c4cc830-21ae-4687-95c9-cb7211c98eac"/>
    <ds:schemaRef ds:uri="964e26a6-2627-4339-88db-6557058806a7"/>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BC163606-591D-48BB-9C9D-8406A689CD81}">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5752</TotalTime>
  <Words>622</Words>
  <Application>Microsoft Office PowerPoint</Application>
  <PresentationFormat>Widescreen</PresentationFormat>
  <Paragraphs>100</Paragraphs>
  <Slides>6</Slides>
  <Notes>1</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6</vt:i4>
      </vt:variant>
    </vt:vector>
  </HeadingPairs>
  <TitlesOfParts>
    <vt:vector size="15" baseType="lpstr">
      <vt:lpstr>Arial</vt:lpstr>
      <vt:lpstr>Calibri</vt:lpstr>
      <vt:lpstr>Calibri Light</vt:lpstr>
      <vt:lpstr>Publica Sans Medium</vt:lpstr>
      <vt:lpstr>System Font Regular</vt:lpstr>
      <vt:lpstr>Tahoma</vt:lpstr>
      <vt:lpstr>Wingdings</vt:lpstr>
      <vt:lpstr>Theme3</vt:lpstr>
      <vt:lpstr>think-cell Slide</vt:lpstr>
      <vt:lpstr>PowerPoint Presentation</vt:lpstr>
      <vt:lpstr>HPR Spend Analytics</vt:lpstr>
      <vt:lpstr>Key Uses of Dashboard</vt:lpstr>
      <vt:lpstr>Cost Cutting Strategies for Hospitals</vt:lpstr>
      <vt:lpstr>Dashboard Ideas</vt:lpstr>
      <vt:lpstr>Master Table Connection Architecture</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HS PDM Data Quality framework</dc:title>
  <dc:creator>Varsha Khamitkar</dc:creator>
  <cp:lastModifiedBy>Shubham Mhaske</cp:lastModifiedBy>
  <cp:revision>37</cp:revision>
  <dcterms:created xsi:type="dcterms:W3CDTF">2022-12-23T11:49:55Z</dcterms:created>
  <dcterms:modified xsi:type="dcterms:W3CDTF">2023-01-24T04:55:2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6D0CC1FDB25CA44BDD925B4C1B10AA4</vt:lpwstr>
  </property>
</Properties>
</file>